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s/slide58.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36.xml" ContentType="application/vnd.openxmlformats-officedocument.presentationml.slide+xml"/>
  <Override PartName="/ppt/notesSlides/notesSlide38.xml" ContentType="application/vnd.openxmlformats-officedocument.presentationml.notesSlide+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notesSlides/notesSlide16.xml" ContentType="application/vnd.openxmlformats-officedocument.presentationml.notes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notesSlides/notesSlide41.xml" ContentType="application/vnd.openxmlformats-officedocument.presentationml.notesSlide+xml"/>
  <Override PartName="/ppt/tags/tag52.xml" ContentType="application/vnd.openxmlformats-officedocument.presentationml.tags+xml"/>
  <Override PartName="/ppt/notesSlides/notesSlide30.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notesSlides/notesSlide7.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charts/style1.xml" ContentType="application/vnd.ms-office.chartstyl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57.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Default Extension="gif" ContentType="image/gif"/>
  <Override PartName="/ppt/tags/tag53.xml" ContentType="application/vnd.openxmlformats-officedocument.presentationml.tags+xml"/>
  <Override PartName="/ppt/notesSlides/notesSlide8.xml" ContentType="application/vnd.openxmlformats-officedocument.presentationml.notesSlide+xml"/>
  <Override PartName="/ppt/notesSlides/notesSlide20.xml" ContentType="application/vnd.openxmlformats-officedocument.presentationml.notesSlide+xml"/>
  <Override PartName="/ppt/diagrams/layout2.xml" ContentType="application/vnd.openxmlformats-officedocument.drawingml.diagramLayout+xml"/>
  <Override PartName="/ppt/notesSlides/notesSlide31.xml" ContentType="application/vnd.openxmlformats-officedocument.presentationml.notesSlide+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slides/slide49.xml" ContentType="application/vnd.openxmlformats-officedocument.presentationml.slide+xml"/>
  <Override PartName="/ppt/handoutMasters/handoutMaster1.xml" ContentType="application/vnd.openxmlformats-officedocument.presentationml.handoutMaster+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charts/style2.xml" ContentType="application/vnd.ms-office.chartstyl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Override PartName="/ppt/notesSlides/notesSlide18.xml" ContentType="application/vnd.openxmlformats-officedocument.presentationml.notesSlide+xml"/>
  <Default Extension="wmf" ContentType="image/x-wmf"/>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diagrams/quickStyle1.xml" ContentType="application/vnd.openxmlformats-officedocument.drawingml.diagramStyle+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charts/colors1.xml" ContentType="application/vnd.ms-office.chartcolorstyl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charts/chart2.xml" ContentType="application/vnd.openxmlformats-officedocument.drawingml.chart+xml"/>
  <Override PartName="/ppt/diagrams/data1.xml" ContentType="application/vnd.openxmlformats-officedocument.drawingml.diagramData+xml"/>
  <Override PartName="/ppt/slides/slide29.xml" ContentType="application/vnd.openxmlformats-officedocument.presentationml.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diagrams/quickStyle2.xml" ContentType="application/vnd.openxmlformats-officedocument.drawingml.diagramStyle+xml"/>
  <Override PartName="/ppt/slides/slide43.xml" ContentType="application/vnd.openxmlformats-officedocument.presentationml.slide+xml"/>
  <Override PartName="/ppt/theme/theme1.xml" ContentType="application/vnd.openxmlformats-officedocument.theme+xml"/>
  <Override PartName="/ppt/slides/slide32.xml" ContentType="application/vnd.openxmlformats-officedocument.presentationml.slide+xml"/>
  <Override PartName="/ppt/tags/tag56.xml" ContentType="application/vnd.openxmlformats-officedocument.presentationml.tags+xml"/>
  <Override PartName="/ppt/notesSlides/notesSlide34.xml" ContentType="application/vnd.openxmlformats-officedocument.presentationml.notesSlide+xml"/>
  <Override PartName="/ppt/charts/colors2.xml" ContentType="application/vnd.ms-office.chartcolorstyle+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notesSlides/notesSlide12.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46" r:id="rId2"/>
    <p:sldMasterId id="2147483939" r:id="rId3"/>
  </p:sldMasterIdLst>
  <p:notesMasterIdLst>
    <p:notesMasterId r:id="rId67"/>
  </p:notesMasterIdLst>
  <p:handoutMasterIdLst>
    <p:handoutMasterId r:id="rId68"/>
  </p:handoutMasterIdLst>
  <p:sldIdLst>
    <p:sldId id="427" r:id="rId4"/>
    <p:sldId id="428" r:id="rId5"/>
    <p:sldId id="363" r:id="rId6"/>
    <p:sldId id="426" r:id="rId7"/>
    <p:sldId id="424" r:id="rId8"/>
    <p:sldId id="421" r:id="rId9"/>
    <p:sldId id="423" r:id="rId10"/>
    <p:sldId id="366" r:id="rId11"/>
    <p:sldId id="425" r:id="rId12"/>
    <p:sldId id="420" r:id="rId13"/>
    <p:sldId id="368" r:id="rId14"/>
    <p:sldId id="369" r:id="rId15"/>
    <p:sldId id="370" r:id="rId16"/>
    <p:sldId id="371" r:id="rId17"/>
    <p:sldId id="372" r:id="rId18"/>
    <p:sldId id="373" r:id="rId19"/>
    <p:sldId id="374" r:id="rId20"/>
    <p:sldId id="375" r:id="rId21"/>
    <p:sldId id="376" r:id="rId22"/>
    <p:sldId id="377" r:id="rId23"/>
    <p:sldId id="378" r:id="rId24"/>
    <p:sldId id="417" r:id="rId25"/>
    <p:sldId id="379" r:id="rId26"/>
    <p:sldId id="380" r:id="rId27"/>
    <p:sldId id="381" r:id="rId28"/>
    <p:sldId id="382" r:id="rId29"/>
    <p:sldId id="383" r:id="rId30"/>
    <p:sldId id="384" r:id="rId31"/>
    <p:sldId id="385" r:id="rId32"/>
    <p:sldId id="386" r:id="rId33"/>
    <p:sldId id="387" r:id="rId34"/>
    <p:sldId id="388" r:id="rId35"/>
    <p:sldId id="429" r:id="rId36"/>
    <p:sldId id="390" r:id="rId37"/>
    <p:sldId id="391" r:id="rId38"/>
    <p:sldId id="392" r:id="rId39"/>
    <p:sldId id="393" r:id="rId40"/>
    <p:sldId id="394" r:id="rId41"/>
    <p:sldId id="395" r:id="rId42"/>
    <p:sldId id="396" r:id="rId43"/>
    <p:sldId id="397" r:id="rId44"/>
    <p:sldId id="398" r:id="rId45"/>
    <p:sldId id="399" r:id="rId46"/>
    <p:sldId id="400" r:id="rId47"/>
    <p:sldId id="401" r:id="rId48"/>
    <p:sldId id="402" r:id="rId49"/>
    <p:sldId id="403" r:id="rId50"/>
    <p:sldId id="404" r:id="rId51"/>
    <p:sldId id="433" r:id="rId52"/>
    <p:sldId id="434" r:id="rId53"/>
    <p:sldId id="405" r:id="rId54"/>
    <p:sldId id="406" r:id="rId55"/>
    <p:sldId id="407" r:id="rId56"/>
    <p:sldId id="408" r:id="rId57"/>
    <p:sldId id="409" r:id="rId58"/>
    <p:sldId id="410" r:id="rId59"/>
    <p:sldId id="411" r:id="rId60"/>
    <p:sldId id="412" r:id="rId61"/>
    <p:sldId id="413" r:id="rId62"/>
    <p:sldId id="414" r:id="rId63"/>
    <p:sldId id="415" r:id="rId64"/>
    <p:sldId id="416" r:id="rId65"/>
    <p:sldId id="360" r:id="rId66"/>
  </p:sldIdLst>
  <p:sldSz cx="9906000" cy="6858000" type="A4"/>
  <p:notesSz cx="6797675" cy="9874250"/>
  <p:custDataLst>
    <p:tags r:id="rId6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954">
          <p15:clr>
            <a:srgbClr val="A4A3A4"/>
          </p15:clr>
        </p15:guide>
        <p15:guide id="2" pos="5957">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55" autoAdjust="0"/>
    <p:restoredTop sz="94564" autoAdjust="0"/>
  </p:normalViewPr>
  <p:slideViewPr>
    <p:cSldViewPr snapToGrid="0">
      <p:cViewPr varScale="1">
        <p:scale>
          <a:sx n="88" d="100"/>
          <a:sy n="88" d="100"/>
        </p:scale>
        <p:origin x="-955" y="-82"/>
      </p:cViewPr>
      <p:guideLst>
        <p:guide orient="horz" pos="954"/>
        <p:guide pos="5957"/>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1982" y="2045"/>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handoutMaster" Target="handoutMasters/handoutMaster1.xml"/><Relationship Id="rId7" Type="http://schemas.openxmlformats.org/officeDocument/2006/relationships/slide" Target="slides/slide4.xml"/><Relationship Id="rId71"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tags" Target="tags/tag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notesMaster" Target="notesMasters/notesMaster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Office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Worksheet3.xlsx"/></Relationships>
</file>

<file path=ppt/charts/chart1.xml><?xml version="1.0" encoding="utf-8"?>
<c:chartSpace xmlns:c="http://schemas.openxmlformats.org/drawingml/2006/chart" xmlns:a="http://schemas.openxmlformats.org/drawingml/2006/main" xmlns:r="http://schemas.openxmlformats.org/officeDocument/2006/relationships">
  <c:lang val="en-US"/>
  <c:chart>
    <c:autoTitleDeleted val="1"/>
    <c:plotArea>
      <c:layout>
        <c:manualLayout>
          <c:layoutTarget val="inner"/>
          <c:xMode val="edge"/>
          <c:yMode val="edge"/>
          <c:x val="5.8823529411764712E-2"/>
          <c:y val="1.6000000000000028E-2"/>
          <c:w val="0.87908496732026098"/>
          <c:h val="0.97200000000000153"/>
        </c:manualLayout>
      </c:layout>
      <c:doughnutChart>
        <c:varyColors val="1"/>
        <c:ser>
          <c:idx val="0"/>
          <c:order val="0"/>
          <c:tx>
            <c:strRef>
              <c:f>Sheet1!$A$2</c:f>
              <c:strCache>
                <c:ptCount val="1"/>
                <c:pt idx="0">
                  <c:v>FY 2015</c:v>
                </c:pt>
              </c:strCache>
            </c:strRef>
          </c:tx>
          <c:dPt>
            <c:idx val="0"/>
            <c:spPr>
              <a:solidFill>
                <a:schemeClr val="accent1"/>
              </a:solidFill>
              <a:ln>
                <a:noFill/>
              </a:ln>
              <a:effectLst/>
            </c:spPr>
            <c:extLst xmlns:c16r2="http://schemas.microsoft.com/office/drawing/2015/06/chart">
              <c:ext xmlns:c16="http://schemas.microsoft.com/office/drawing/2014/chart" uri="{C3380CC4-5D6E-409C-BE32-E72D297353CC}">
                <c16:uniqueId val="{00000001-4333-492C-B9FB-3ADBF01DA228}"/>
              </c:ext>
            </c:extLst>
          </c:dPt>
          <c:dPt>
            <c:idx val="1"/>
            <c:spPr>
              <a:solidFill>
                <a:schemeClr val="accent2"/>
              </a:solidFill>
              <a:ln>
                <a:noFill/>
              </a:ln>
              <a:effectLst/>
            </c:spPr>
            <c:extLst xmlns:c16r2="http://schemas.microsoft.com/office/drawing/2015/06/chart">
              <c:ext xmlns:c16="http://schemas.microsoft.com/office/drawing/2014/chart" uri="{C3380CC4-5D6E-409C-BE32-E72D297353CC}">
                <c16:uniqueId val="{00000003-4333-492C-B9FB-3ADBF01DA228}"/>
              </c:ext>
            </c:extLst>
          </c:dPt>
          <c:dPt>
            <c:idx val="2"/>
            <c:spPr>
              <a:solidFill>
                <a:schemeClr val="accent3"/>
              </a:solidFill>
              <a:ln>
                <a:noFill/>
              </a:ln>
              <a:effectLst/>
            </c:spPr>
            <c:extLst xmlns:c16r2="http://schemas.microsoft.com/office/drawing/2015/06/chart">
              <c:ext xmlns:c16="http://schemas.microsoft.com/office/drawing/2014/chart" uri="{C3380CC4-5D6E-409C-BE32-E72D297353CC}">
                <c16:uniqueId val="{00000005-4333-492C-B9FB-3ADBF01DA228}"/>
              </c:ext>
            </c:extLst>
          </c:dPt>
          <c:dPt>
            <c:idx val="3"/>
            <c:spPr>
              <a:solidFill>
                <a:schemeClr val="accent4"/>
              </a:solidFill>
              <a:ln>
                <a:noFill/>
              </a:ln>
              <a:effectLst/>
            </c:spPr>
            <c:extLst xmlns:c16r2="http://schemas.microsoft.com/office/drawing/2015/06/chart">
              <c:ext xmlns:c16="http://schemas.microsoft.com/office/drawing/2014/chart" uri="{C3380CC4-5D6E-409C-BE32-E72D297353CC}">
                <c16:uniqueId val="{00000007-4333-492C-B9FB-3ADBF01DA228}"/>
              </c:ext>
            </c:extLst>
          </c:dPt>
          <c:dLbls>
            <c:dLbl>
              <c:idx val="0"/>
              <c:layout>
                <c:manualLayout>
                  <c:x val="1.2750929585028601E-2"/>
                  <c:y val="-3.7463723338190702E-2"/>
                </c:manualLayout>
              </c:layout>
              <c:showVal val="1"/>
              <c:extLst xmlns:c16r2="http://schemas.microsoft.com/office/drawing/2015/06/chart">
                <c:ext xmlns:c16="http://schemas.microsoft.com/office/drawing/2014/chart" uri="{C3380CC4-5D6E-409C-BE32-E72D297353CC}">
                  <c16:uniqueId val="{00000001-4333-492C-B9FB-3ADBF01DA228}"/>
                </c:ex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Val val="1"/>
            <c:showLeaderLines val="1"/>
            <c:leaderLines>
              <c:spPr>
                <a:ln w="9525" cap="flat" cmpd="sng" algn="ctr">
                  <a:solidFill>
                    <a:schemeClr val="tx1">
                      <a:shade val="95000"/>
                      <a:satMod val="105000"/>
                    </a:schemeClr>
                  </a:solidFill>
                  <a:prstDash val="solid"/>
                  <a:round/>
                </a:ln>
                <a:effectLst/>
              </c:spPr>
            </c:leaderLines>
            <c:extLst xmlns:c16r2="http://schemas.microsoft.com/office/drawing/2015/06/chart">
              <c:ext xmlns:c15="http://schemas.microsoft.com/office/drawing/2012/chart" uri="{CE6537A1-D6FC-4f65-9D91-7224C49458BB}">
                <c15:layout/>
              </c:ext>
            </c:extLst>
          </c:dLbls>
          <c:val>
            <c:numRef>
              <c:f>Sheet1!$B$2:$E$2</c:f>
              <c:numCache>
                <c:formatCode>0%</c:formatCode>
                <c:ptCount val="4"/>
                <c:pt idx="0">
                  <c:v>4.0000000000000036E-2</c:v>
                </c:pt>
                <c:pt idx="1">
                  <c:v>0.60000000000000064</c:v>
                </c:pt>
                <c:pt idx="2">
                  <c:v>0.21000000000000021</c:v>
                </c:pt>
                <c:pt idx="3">
                  <c:v>0.15000000000000022</c:v>
                </c:pt>
              </c:numCache>
            </c:numRef>
          </c:val>
          <c:extLst xmlns:c16r2="http://schemas.microsoft.com/office/drawing/2015/06/chart">
            <c:ext xmlns:c16="http://schemas.microsoft.com/office/drawing/2014/chart" uri="{C3380CC4-5D6E-409C-BE32-E72D297353CC}">
              <c16:uniqueId val="{00000008-4333-492C-B9FB-3ADBF01DA228}"/>
            </c:ext>
          </c:extLst>
        </c:ser>
        <c:firstSliceAng val="0"/>
        <c:holeSize val="50"/>
      </c:doughnutChart>
      <c:spPr>
        <a:noFill/>
        <a:ln>
          <a:noFill/>
        </a:ln>
        <a:effectLst/>
      </c:spPr>
    </c:plotArea>
    <c:plotVisOnly val="1"/>
    <c:dispBlanksAs val="zero"/>
  </c:chart>
  <c:spPr>
    <a:noFill/>
    <a:ln w="9525" cap="flat" cmpd="sng" algn="ctr">
      <a:noFill/>
      <a:prstDash val="solid"/>
    </a:ln>
    <a:effectLst/>
  </c:spPr>
  <c:txPr>
    <a:bodyPr/>
    <a:lstStyle/>
    <a:p>
      <a:pPr>
        <a:defRPr sz="1800"/>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hart>
    <c:autoTitleDeleted val="1"/>
    <c:plotArea>
      <c:layout>
        <c:manualLayout>
          <c:layoutTarget val="inner"/>
          <c:xMode val="edge"/>
          <c:yMode val="edge"/>
          <c:x val="5.8032754368251713E-2"/>
          <c:y val="1.0053384360635101E-3"/>
          <c:w val="0.90544350741306201"/>
          <c:h val="0.99093416047478999"/>
        </c:manualLayout>
      </c:layout>
      <c:doughnutChart>
        <c:varyColors val="1"/>
        <c:ser>
          <c:idx val="0"/>
          <c:order val="0"/>
          <c:tx>
            <c:strRef>
              <c:f>Feuil1!$B$1</c:f>
              <c:strCache>
                <c:ptCount val="1"/>
                <c:pt idx="0">
                  <c:v>Colonne2</c:v>
                </c:pt>
              </c:strCache>
            </c:strRef>
          </c:tx>
          <c:dPt>
            <c:idx val="0"/>
            <c:spPr>
              <a:solidFill>
                <a:schemeClr val="accent1"/>
              </a:solidFill>
              <a:ln>
                <a:noFill/>
              </a:ln>
              <a:effectLst/>
            </c:spPr>
            <c:extLst xmlns:c16r2="http://schemas.microsoft.com/office/drawing/2015/06/chart">
              <c:ext xmlns:c16="http://schemas.microsoft.com/office/drawing/2014/chart" uri="{C3380CC4-5D6E-409C-BE32-E72D297353CC}">
                <c16:uniqueId val="{00000000-C58C-493C-8D1A-A685AA3C80AC}"/>
              </c:ext>
            </c:extLst>
          </c:dPt>
          <c:dPt>
            <c:idx val="1"/>
            <c:spPr>
              <a:solidFill>
                <a:schemeClr val="accent2"/>
              </a:solidFill>
              <a:ln>
                <a:noFill/>
              </a:ln>
              <a:effectLst/>
            </c:spPr>
            <c:extLst xmlns:c16r2="http://schemas.microsoft.com/office/drawing/2015/06/chart">
              <c:ext xmlns:c16="http://schemas.microsoft.com/office/drawing/2014/chart" uri="{C3380CC4-5D6E-409C-BE32-E72D297353CC}">
                <c16:uniqueId val="{00000001-C58C-493C-8D1A-A685AA3C80AC}"/>
              </c:ext>
            </c:extLst>
          </c:dPt>
          <c:dPt>
            <c:idx val="2"/>
            <c:spPr>
              <a:solidFill>
                <a:schemeClr val="accent3"/>
              </a:solidFill>
              <a:ln>
                <a:noFill/>
              </a:ln>
              <a:effectLst/>
            </c:spPr>
            <c:extLst xmlns:c16r2="http://schemas.microsoft.com/office/drawing/2015/06/chart">
              <c:ext xmlns:c16="http://schemas.microsoft.com/office/drawing/2014/chart" uri="{C3380CC4-5D6E-409C-BE32-E72D297353CC}">
                <c16:uniqueId val="{00000000-0F30-4C19-AB3E-0A0F3B79E911}"/>
              </c:ext>
            </c:extLst>
          </c:dPt>
          <c:dPt>
            <c:idx val="3"/>
            <c:spPr>
              <a:solidFill>
                <a:schemeClr val="accent4"/>
              </a:solidFill>
              <a:ln>
                <a:noFill/>
              </a:ln>
              <a:effectLst/>
            </c:spPr>
            <c:extLst xmlns:c16r2="http://schemas.microsoft.com/office/drawing/2015/06/chart">
              <c:ext xmlns:c16="http://schemas.microsoft.com/office/drawing/2014/chart" uri="{C3380CC4-5D6E-409C-BE32-E72D297353CC}">
                <c16:uniqueId val="{00000005-C58C-493C-8D1A-A685AA3C80AC}"/>
              </c:ext>
            </c:extLst>
          </c:dPt>
          <c:dPt>
            <c:idx val="4"/>
            <c:spPr>
              <a:solidFill>
                <a:schemeClr val="accent5"/>
              </a:solidFill>
              <a:ln>
                <a:noFill/>
              </a:ln>
              <a:effectLst/>
            </c:spPr>
            <c:extLst xmlns:c16r2="http://schemas.microsoft.com/office/drawing/2015/06/chart">
              <c:ext xmlns:c16="http://schemas.microsoft.com/office/drawing/2014/chart" uri="{C3380CC4-5D6E-409C-BE32-E72D297353CC}">
                <c16:uniqueId val="{00000003-C58C-493C-8D1A-A685AA3C80AC}"/>
              </c:ext>
            </c:extLst>
          </c:dPt>
          <c:dPt>
            <c:idx val="5"/>
            <c:spPr>
              <a:solidFill>
                <a:schemeClr val="accent6"/>
              </a:solidFill>
              <a:ln>
                <a:noFill/>
              </a:ln>
              <a:effectLst/>
            </c:spPr>
            <c:extLst xmlns:c16r2="http://schemas.microsoft.com/office/drawing/2015/06/chart">
              <c:ext xmlns:c16="http://schemas.microsoft.com/office/drawing/2014/chart" uri="{C3380CC4-5D6E-409C-BE32-E72D297353CC}">
                <c16:uniqueId val="{00000004-C58C-493C-8D1A-A685AA3C80AC}"/>
              </c:ext>
            </c:extLst>
          </c:dPt>
          <c:dPt>
            <c:idx val="6"/>
            <c:spPr>
              <a:solidFill>
                <a:srgbClr val="5A8E1F"/>
              </a:solidFill>
              <a:ln>
                <a:noFill/>
              </a:ln>
              <a:effectLst/>
            </c:spPr>
            <c:extLst xmlns:c16r2="http://schemas.microsoft.com/office/drawing/2015/06/chart">
              <c:ext xmlns:c16="http://schemas.microsoft.com/office/drawing/2014/chart" uri="{C3380CC4-5D6E-409C-BE32-E72D297353CC}">
                <c16:uniqueId val="{00000001-0F30-4C19-AB3E-0A0F3B79E911}"/>
              </c:ext>
            </c:extLst>
          </c:dPt>
          <c:dLbls>
            <c:dLbl>
              <c:idx val="2"/>
              <c:layout>
                <c:manualLayout>
                  <c:x val="6.7113875693524498E-3"/>
                  <c:y val="-6.4781987119533089E-3"/>
                </c:manualLayout>
              </c:layout>
              <c:showVal val="1"/>
              <c:extLst>
                <c:ext xmlns:c15="http://schemas.microsoft.com/office/drawing/2012/chart" uri="{CE6537A1-D6FC-4f65-9D91-7224C49458BB}">
                  <c15:layout/>
                </c:ext>
              </c:extLst>
            </c:dLbl>
            <c:dLbl>
              <c:idx val="5"/>
              <c:layout>
                <c:manualLayout>
                  <c:x val="-4.5891682620350024E-3"/>
                  <c:y val="-1.0044945197705501E-2"/>
                </c:manualLayout>
              </c:layout>
              <c:showVal val="1"/>
              <c:extLst>
                <c:ext xmlns:c15="http://schemas.microsoft.com/office/drawing/2012/chart" uri="{CE6537A1-D6FC-4f65-9D91-7224C49458BB}">
                  <c15:layout/>
                </c:ext>
              </c:extLst>
            </c:dLbl>
            <c:dLbl>
              <c:idx val="6"/>
              <c:layout>
                <c:manualLayout>
                  <c:x val="6.9249465018613281E-3"/>
                  <c:y val="-3.8934049398193102E-2"/>
                </c:manualLayout>
              </c:layout>
              <c:showVal val="1"/>
              <c:extLst>
                <c:ext xmlns:c15="http://schemas.microsoft.com/office/drawing/2012/chart" uri="{CE6537A1-D6FC-4f65-9D91-7224C49458BB}">
                  <c15:layout/>
                </c:ext>
              </c:extLst>
            </c:dLbl>
            <c:spPr>
              <a:noFill/>
              <a:ln>
                <a:noFill/>
              </a:ln>
              <a:effectLst/>
            </c:spPr>
            <c:txPr>
              <a:bodyPr rot="0" spcFirstLastPara="1" vertOverflow="ellipsis" vert="horz" wrap="none" lIns="36000" tIns="36000" rIns="36000" bIns="36000" anchor="ctr" anchorCtr="1"/>
              <a:lstStyle/>
              <a:p>
                <a:pPr>
                  <a:defRPr sz="16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Val val="1"/>
            <c:extLst xmlns:c16r2="http://schemas.microsoft.com/office/drawing/2015/06/chart">
              <c:ext xmlns:c15="http://schemas.microsoft.com/office/drawing/2012/chart" uri="{CE6537A1-D6FC-4f65-9D91-7224C49458BB}">
                <c15:spPr xmlns:c15="http://schemas.microsoft.com/office/drawing/2012/chart">
                  <a:prstGeom prst="rect">
                    <a:avLst/>
                  </a:prstGeom>
                  <a:noFill/>
                  <a:ln>
                    <a:noFill/>
                  </a:ln>
                </c15:spPr>
                <c15:layout/>
              </c:ext>
            </c:extLst>
          </c:dLbls>
          <c:cat>
            <c:strRef>
              <c:f>Feuil1!$A$2:$A$8</c:f>
              <c:strCache>
                <c:ptCount val="7"/>
                <c:pt idx="0">
                  <c:v>EUC</c:v>
                </c:pt>
                <c:pt idx="1">
                  <c:v>FS</c:v>
                </c:pt>
                <c:pt idx="2">
                  <c:v>PS</c:v>
                </c:pt>
                <c:pt idx="3">
                  <c:v>OTHERS</c:v>
                </c:pt>
                <c:pt idx="4">
                  <c:v>MANUF</c:v>
                </c:pt>
                <c:pt idx="5">
                  <c:v>TME</c:v>
                </c:pt>
                <c:pt idx="6">
                  <c:v>CPRDT</c:v>
                </c:pt>
              </c:strCache>
            </c:strRef>
          </c:cat>
          <c:val>
            <c:numRef>
              <c:f>Feuil1!$B$2:$B$8</c:f>
              <c:numCache>
                <c:formatCode>0%</c:formatCode>
                <c:ptCount val="7"/>
                <c:pt idx="0">
                  <c:v>0.11</c:v>
                </c:pt>
                <c:pt idx="1">
                  <c:v>0.26</c:v>
                </c:pt>
                <c:pt idx="2">
                  <c:v>0.17</c:v>
                </c:pt>
                <c:pt idx="3">
                  <c:v>4.0000000000000022E-2</c:v>
                </c:pt>
                <c:pt idx="4">
                  <c:v>0.19</c:v>
                </c:pt>
                <c:pt idx="5">
                  <c:v>7.0000000000000021E-2</c:v>
                </c:pt>
                <c:pt idx="6">
                  <c:v>0.16</c:v>
                </c:pt>
              </c:numCache>
            </c:numRef>
          </c:val>
          <c:extLst xmlns:c16r2="http://schemas.microsoft.com/office/drawing/2015/06/chart">
            <c:ext xmlns:c16="http://schemas.microsoft.com/office/drawing/2014/chart" uri="{C3380CC4-5D6E-409C-BE32-E72D297353CC}">
              <c16:uniqueId val="{00000002-0F30-4C19-AB3E-0A0F3B79E911}"/>
            </c:ext>
          </c:extLst>
        </c:ser>
        <c:firstSliceAng val="0"/>
        <c:holeSize val="50"/>
      </c:doughnutChart>
      <c:spPr>
        <a:noFill/>
        <a:ln>
          <a:noFill/>
        </a:ln>
        <a:effectLst/>
      </c:spPr>
    </c:plotArea>
    <c:plotVisOnly val="1"/>
    <c:dispBlanksAs val="zero"/>
  </c:chart>
  <c:spPr>
    <a:noFill/>
    <a:ln w="9525" cap="flat" cmpd="sng" algn="ctr">
      <a:noFill/>
      <a:prstDash val="solid"/>
    </a:ln>
    <a:effectLst/>
  </c:spPr>
  <c:txPr>
    <a:bodyPr/>
    <a:lstStyle/>
    <a:p>
      <a:pPr>
        <a:defRPr sz="1800"/>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US"/>
  <c:style val="26"/>
  <c:chart>
    <c:autoTitleDeleted val="1"/>
    <c:plotArea>
      <c:layout>
        <c:manualLayout>
          <c:layoutTarget val="inner"/>
          <c:xMode val="edge"/>
          <c:yMode val="edge"/>
          <c:x val="0.10384388308477914"/>
          <c:y val="3.4938385122283241E-2"/>
          <c:w val="0.89615605544111954"/>
          <c:h val="0.85271603841255261"/>
        </c:manualLayout>
      </c:layout>
      <c:barChart>
        <c:barDir val="col"/>
        <c:grouping val="clustered"/>
        <c:ser>
          <c:idx val="0"/>
          <c:order val="0"/>
          <c:tx>
            <c:strRef>
              <c:f>Sheet1!$B$4</c:f>
              <c:strCache>
                <c:ptCount val="1"/>
                <c:pt idx="0">
                  <c:v>FS Revenue</c:v>
                </c:pt>
              </c:strCache>
            </c:strRef>
          </c:tx>
          <c:spPr>
            <a:solidFill>
              <a:schemeClr val="accent6"/>
            </a:solidFill>
          </c:spPr>
          <c:dLbls>
            <c:numFmt formatCode="#,##0.00" sourceLinked="0"/>
            <c:spPr>
              <a:noFill/>
              <a:ln>
                <a:noFill/>
              </a:ln>
              <a:effectLst/>
            </c:spPr>
            <c:txPr>
              <a:bodyPr/>
              <a:lstStyle/>
              <a:p>
                <a:pPr>
                  <a:defRPr sz="1400" b="1"/>
                </a:pPr>
                <a:endParaRPr lang="en-US"/>
              </a:p>
            </c:txPr>
            <c:dLblPos val="outEnd"/>
            <c:showVal val="1"/>
            <c:extLst>
              <c:ext xmlns:c15="http://schemas.microsoft.com/office/drawing/2012/chart" uri="{CE6537A1-D6FC-4f65-9D91-7224C49458BB}">
                <c15:layout/>
                <c15:showLeaderLines val="0"/>
              </c:ext>
            </c:extLst>
          </c:dLbls>
          <c:cat>
            <c:strRef>
              <c:f>Sheet1!$A$5:$A$12</c:f>
              <c:strCache>
                <c:ptCount val="8"/>
                <c:pt idx="0">
                  <c:v>2009</c:v>
                </c:pt>
                <c:pt idx="1">
                  <c:v>2010</c:v>
                </c:pt>
                <c:pt idx="2">
                  <c:v>2011</c:v>
                </c:pt>
                <c:pt idx="3">
                  <c:v>2012</c:v>
                </c:pt>
                <c:pt idx="4">
                  <c:v>2013</c:v>
                </c:pt>
                <c:pt idx="5">
                  <c:v>2014</c:v>
                </c:pt>
                <c:pt idx="6">
                  <c:v>2015</c:v>
                </c:pt>
                <c:pt idx="7">
                  <c:v>2016</c:v>
                </c:pt>
              </c:strCache>
            </c:strRef>
          </c:cat>
          <c:val>
            <c:numRef>
              <c:f>Sheet1!$B$5:$B$12</c:f>
              <c:numCache>
                <c:formatCode>0.0</c:formatCode>
                <c:ptCount val="8"/>
                <c:pt idx="0">
                  <c:v>1.3859999999999983</c:v>
                </c:pt>
                <c:pt idx="1">
                  <c:v>1.6007999999999998</c:v>
                </c:pt>
                <c:pt idx="2">
                  <c:v>2.0175999999999998</c:v>
                </c:pt>
                <c:pt idx="3">
                  <c:v>2.0393999999999997</c:v>
                </c:pt>
                <c:pt idx="4">
                  <c:v>2.222</c:v>
                </c:pt>
                <c:pt idx="5">
                  <c:v>2.3319999999999967</c:v>
                </c:pt>
                <c:pt idx="6">
                  <c:v>2.8595999999999977</c:v>
                </c:pt>
                <c:pt idx="7">
                  <c:v>3.2577999999999996</c:v>
                </c:pt>
              </c:numCache>
            </c:numRef>
          </c:val>
        </c:ser>
        <c:gapWidth val="100"/>
        <c:axId val="133813760"/>
        <c:axId val="133812224"/>
      </c:barChart>
      <c:valAx>
        <c:axId val="133812224"/>
        <c:scaling>
          <c:orientation val="minMax"/>
          <c:max val="3.5"/>
        </c:scaling>
        <c:axPos val="l"/>
        <c:numFmt formatCode="#,##0.0" sourceLinked="0"/>
        <c:tickLblPos val="nextTo"/>
        <c:txPr>
          <a:bodyPr/>
          <a:lstStyle/>
          <a:p>
            <a:pPr>
              <a:defRPr sz="1400"/>
            </a:pPr>
            <a:endParaRPr lang="en-US"/>
          </a:p>
        </c:txPr>
        <c:crossAx val="133813760"/>
        <c:crosses val="autoZero"/>
        <c:crossBetween val="between"/>
      </c:valAx>
      <c:catAx>
        <c:axId val="133813760"/>
        <c:scaling>
          <c:orientation val="minMax"/>
        </c:scaling>
        <c:axPos val="b"/>
        <c:numFmt formatCode="General" sourceLinked="0"/>
        <c:tickLblPos val="nextTo"/>
        <c:txPr>
          <a:bodyPr/>
          <a:lstStyle/>
          <a:p>
            <a:pPr>
              <a:defRPr sz="1400"/>
            </a:pPr>
            <a:endParaRPr lang="en-US"/>
          </a:p>
        </c:txPr>
        <c:crossAx val="133812224"/>
        <c:crosses val="autoZero"/>
        <c:auto val="1"/>
        <c:lblAlgn val="ctr"/>
        <c:lblOffset val="100"/>
      </c:catAx>
      <c:spPr>
        <a:ln w="6350">
          <a:solidFill>
            <a:schemeClr val="bg2">
              <a:lumMod val="75000"/>
            </a:schemeClr>
          </a:solidFill>
        </a:ln>
      </c:spPr>
    </c:plotArea>
    <c:plotVisOnly val="1"/>
    <c:dispBlanksAs val="zero"/>
  </c:chart>
  <c:spPr>
    <a:ln w="6350">
      <a:solidFill>
        <a:schemeClr val="accent2"/>
      </a:solidFill>
    </a:ln>
  </c:spPr>
  <c:txPr>
    <a:bodyPr/>
    <a:lstStyle/>
    <a:p>
      <a:pPr>
        <a:defRPr sz="1800"/>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271C76E-6F29-44AF-9C8A-5D82591188DA}" type="doc">
      <dgm:prSet loTypeId="urn:microsoft.com/office/officeart/2005/8/layout/radial1" loCatId="cycle" qsTypeId="urn:microsoft.com/office/officeart/2005/8/quickstyle/simple1" qsCatId="simple" csTypeId="urn:microsoft.com/office/officeart/2005/8/colors/colorful1#1" csCatId="colorful" phldr="1"/>
      <dgm:spPr/>
      <dgm:t>
        <a:bodyPr/>
        <a:lstStyle/>
        <a:p>
          <a:endParaRPr lang="en-US"/>
        </a:p>
      </dgm:t>
    </dgm:pt>
    <dgm:pt modelId="{1569B88E-4F93-4CA2-A1A6-6498F52A6EFC}">
      <dgm:prSet phldrT="[Text]"/>
      <dgm:spPr>
        <a:solidFill>
          <a:srgbClr val="00A0D6"/>
        </a:solidFill>
      </dgm:spPr>
      <dgm:t>
        <a:bodyPr/>
        <a:lstStyle/>
        <a:p>
          <a:r>
            <a:rPr lang="en-US" b="1" dirty="0" smtClean="0"/>
            <a:t>iConnect</a:t>
          </a:r>
          <a:endParaRPr lang="en-US" b="1" dirty="0"/>
        </a:p>
      </dgm:t>
    </dgm:pt>
    <dgm:pt modelId="{31595225-DDFF-490C-A1E2-5C065E6D695D}" type="parTrans" cxnId="{F6231C58-036A-498E-8CCF-F048F37B9BD7}">
      <dgm:prSet/>
      <dgm:spPr/>
      <dgm:t>
        <a:bodyPr/>
        <a:lstStyle/>
        <a:p>
          <a:endParaRPr lang="en-US"/>
        </a:p>
      </dgm:t>
    </dgm:pt>
    <dgm:pt modelId="{929D08A8-5934-40BD-A3D2-D4275BC24410}" type="sibTrans" cxnId="{F6231C58-036A-498E-8CCF-F048F37B9BD7}">
      <dgm:prSet/>
      <dgm:spPr/>
      <dgm:t>
        <a:bodyPr/>
        <a:lstStyle/>
        <a:p>
          <a:endParaRPr lang="en-US"/>
        </a:p>
      </dgm:t>
    </dgm:pt>
    <dgm:pt modelId="{B103D04A-5B51-45D8-859F-F8CB3CD52D0D}">
      <dgm:prSet phldrT="[Text]"/>
      <dgm:spPr/>
      <dgm:t>
        <a:bodyPr/>
        <a:lstStyle/>
        <a:p>
          <a:r>
            <a:rPr lang="en-US" dirty="0" smtClean="0"/>
            <a:t>Finance</a:t>
          </a:r>
        </a:p>
      </dgm:t>
    </dgm:pt>
    <dgm:pt modelId="{0242D273-F1EA-4D91-A24E-1C8FB934F2D7}" type="parTrans" cxnId="{46710092-E3D3-4A0B-A2F6-1E658A67E9F7}">
      <dgm:prSet/>
      <dgm:spPr/>
      <dgm:t>
        <a:bodyPr/>
        <a:lstStyle/>
        <a:p>
          <a:endParaRPr lang="en-US"/>
        </a:p>
      </dgm:t>
    </dgm:pt>
    <dgm:pt modelId="{6E658643-30A5-45A5-BA5D-F9F9B6E743D6}" type="sibTrans" cxnId="{46710092-E3D3-4A0B-A2F6-1E658A67E9F7}">
      <dgm:prSet/>
      <dgm:spPr/>
      <dgm:t>
        <a:bodyPr/>
        <a:lstStyle/>
        <a:p>
          <a:endParaRPr lang="en-US"/>
        </a:p>
      </dgm:t>
    </dgm:pt>
    <dgm:pt modelId="{285806F4-46A7-4452-BBDF-F24D95B752A8}">
      <dgm:prSet phldrT="[Text]"/>
      <dgm:spPr/>
      <dgm:t>
        <a:bodyPr/>
        <a:lstStyle/>
        <a:p>
          <a:r>
            <a:rPr lang="en-US" dirty="0" smtClean="0"/>
            <a:t>Facility</a:t>
          </a:r>
          <a:endParaRPr lang="en-US" dirty="0"/>
        </a:p>
      </dgm:t>
    </dgm:pt>
    <dgm:pt modelId="{F1235851-5FFA-464B-A157-9D13D11C1416}" type="parTrans" cxnId="{337AB890-615D-4318-AB7F-42EF84BCF6E9}">
      <dgm:prSet/>
      <dgm:spPr/>
      <dgm:t>
        <a:bodyPr/>
        <a:lstStyle/>
        <a:p>
          <a:endParaRPr lang="en-US"/>
        </a:p>
      </dgm:t>
    </dgm:pt>
    <dgm:pt modelId="{2E361CD3-BF51-44C6-8886-F83B9B30036E}" type="sibTrans" cxnId="{337AB890-615D-4318-AB7F-42EF84BCF6E9}">
      <dgm:prSet/>
      <dgm:spPr/>
      <dgm:t>
        <a:bodyPr/>
        <a:lstStyle/>
        <a:p>
          <a:endParaRPr lang="en-US"/>
        </a:p>
      </dgm:t>
    </dgm:pt>
    <dgm:pt modelId="{C96ED7AC-C708-4A47-995C-5F89281309C5}">
      <dgm:prSet phldrT="[Text]"/>
      <dgm:spPr/>
      <dgm:t>
        <a:bodyPr/>
        <a:lstStyle/>
        <a:p>
          <a:r>
            <a:rPr lang="en-US" dirty="0" smtClean="0"/>
            <a:t>Delivery</a:t>
          </a:r>
          <a:endParaRPr lang="en-US" dirty="0"/>
        </a:p>
      </dgm:t>
    </dgm:pt>
    <dgm:pt modelId="{7419F5D3-FA74-48A0-8BBD-AFBD6474DD36}" type="parTrans" cxnId="{104D562B-DA4F-4F2B-9816-9031BE7DB58F}">
      <dgm:prSet/>
      <dgm:spPr/>
      <dgm:t>
        <a:bodyPr/>
        <a:lstStyle/>
        <a:p>
          <a:endParaRPr lang="en-US"/>
        </a:p>
      </dgm:t>
    </dgm:pt>
    <dgm:pt modelId="{B252C002-9F39-4D60-94D9-BF152394BB7C}" type="sibTrans" cxnId="{104D562B-DA4F-4F2B-9816-9031BE7DB58F}">
      <dgm:prSet/>
      <dgm:spPr/>
      <dgm:t>
        <a:bodyPr/>
        <a:lstStyle/>
        <a:p>
          <a:endParaRPr lang="en-US"/>
        </a:p>
      </dgm:t>
    </dgm:pt>
    <dgm:pt modelId="{DDFE6CB9-D42E-4ADA-9BBB-D2C335D594EF}">
      <dgm:prSet phldrT="[Text]"/>
      <dgm:spPr>
        <a:solidFill>
          <a:srgbClr val="92D050"/>
        </a:solidFill>
      </dgm:spPr>
      <dgm:t>
        <a:bodyPr/>
        <a:lstStyle/>
        <a:p>
          <a:r>
            <a:rPr lang="en-US" dirty="0" smtClean="0"/>
            <a:t>Employee</a:t>
          </a:r>
        </a:p>
        <a:p>
          <a:r>
            <a:rPr lang="en-US" dirty="0" smtClean="0"/>
            <a:t>Management</a:t>
          </a:r>
          <a:endParaRPr lang="en-US" dirty="0"/>
        </a:p>
      </dgm:t>
    </dgm:pt>
    <dgm:pt modelId="{C5AD25C5-9627-48B2-BD62-60FF7ECAC555}" type="parTrans" cxnId="{3D843962-DEC7-4148-BED9-9F8AD0335904}">
      <dgm:prSet/>
      <dgm:spPr/>
      <dgm:t>
        <a:bodyPr/>
        <a:lstStyle/>
        <a:p>
          <a:endParaRPr lang="en-US"/>
        </a:p>
      </dgm:t>
    </dgm:pt>
    <dgm:pt modelId="{0839897C-5E3A-42CA-AD38-14F358027CCF}" type="sibTrans" cxnId="{3D843962-DEC7-4148-BED9-9F8AD0335904}">
      <dgm:prSet/>
      <dgm:spPr/>
      <dgm:t>
        <a:bodyPr/>
        <a:lstStyle/>
        <a:p>
          <a:endParaRPr lang="en-US"/>
        </a:p>
      </dgm:t>
    </dgm:pt>
    <dgm:pt modelId="{7090231D-2F89-4238-BD3E-855242F0D7DD}" type="pres">
      <dgm:prSet presAssocID="{9271C76E-6F29-44AF-9C8A-5D82591188DA}" presName="cycle" presStyleCnt="0">
        <dgm:presLayoutVars>
          <dgm:chMax val="1"/>
          <dgm:dir/>
          <dgm:animLvl val="ctr"/>
          <dgm:resizeHandles val="exact"/>
        </dgm:presLayoutVars>
      </dgm:prSet>
      <dgm:spPr/>
      <dgm:t>
        <a:bodyPr/>
        <a:lstStyle/>
        <a:p>
          <a:endParaRPr lang="en-US"/>
        </a:p>
      </dgm:t>
    </dgm:pt>
    <dgm:pt modelId="{C2C0CBA5-306C-4F72-9466-46E529E92ED1}" type="pres">
      <dgm:prSet presAssocID="{1569B88E-4F93-4CA2-A1A6-6498F52A6EFC}" presName="centerShape" presStyleLbl="node0" presStyleIdx="0" presStyleCnt="1" custScaleX="124533" custScaleY="124532"/>
      <dgm:spPr/>
      <dgm:t>
        <a:bodyPr/>
        <a:lstStyle/>
        <a:p>
          <a:endParaRPr lang="en-US"/>
        </a:p>
      </dgm:t>
    </dgm:pt>
    <dgm:pt modelId="{AC97C551-F1C1-4529-B7C9-58EFC82326D3}" type="pres">
      <dgm:prSet presAssocID="{0242D273-F1EA-4D91-A24E-1C8FB934F2D7}" presName="Name9" presStyleLbl="parChTrans1D2" presStyleIdx="0" presStyleCnt="4"/>
      <dgm:spPr/>
      <dgm:t>
        <a:bodyPr/>
        <a:lstStyle/>
        <a:p>
          <a:endParaRPr lang="en-US"/>
        </a:p>
      </dgm:t>
    </dgm:pt>
    <dgm:pt modelId="{619734AB-6FAA-4E0A-92A6-CF2B47E6E858}" type="pres">
      <dgm:prSet presAssocID="{0242D273-F1EA-4D91-A24E-1C8FB934F2D7}" presName="connTx" presStyleLbl="parChTrans1D2" presStyleIdx="0" presStyleCnt="4"/>
      <dgm:spPr/>
      <dgm:t>
        <a:bodyPr/>
        <a:lstStyle/>
        <a:p>
          <a:endParaRPr lang="en-US"/>
        </a:p>
      </dgm:t>
    </dgm:pt>
    <dgm:pt modelId="{703BAD75-EFA5-4BF8-B68B-CE9702C4F986}" type="pres">
      <dgm:prSet presAssocID="{B103D04A-5B51-45D8-859F-F8CB3CD52D0D}" presName="node" presStyleLbl="node1" presStyleIdx="0" presStyleCnt="4" custScaleX="87729" custScaleY="87729">
        <dgm:presLayoutVars>
          <dgm:bulletEnabled val="1"/>
        </dgm:presLayoutVars>
      </dgm:prSet>
      <dgm:spPr/>
      <dgm:t>
        <a:bodyPr/>
        <a:lstStyle/>
        <a:p>
          <a:endParaRPr lang="en-US"/>
        </a:p>
      </dgm:t>
    </dgm:pt>
    <dgm:pt modelId="{EC086FE8-7FA2-42D9-93BD-4009E62CD518}" type="pres">
      <dgm:prSet presAssocID="{7419F5D3-FA74-48A0-8BBD-AFBD6474DD36}" presName="Name9" presStyleLbl="parChTrans1D2" presStyleIdx="1" presStyleCnt="4"/>
      <dgm:spPr/>
      <dgm:t>
        <a:bodyPr/>
        <a:lstStyle/>
        <a:p>
          <a:endParaRPr lang="en-US"/>
        </a:p>
      </dgm:t>
    </dgm:pt>
    <dgm:pt modelId="{8E7CE93B-2822-4A8B-8D2D-5CDF85BE607E}" type="pres">
      <dgm:prSet presAssocID="{7419F5D3-FA74-48A0-8BBD-AFBD6474DD36}" presName="connTx" presStyleLbl="parChTrans1D2" presStyleIdx="1" presStyleCnt="4"/>
      <dgm:spPr/>
      <dgm:t>
        <a:bodyPr/>
        <a:lstStyle/>
        <a:p>
          <a:endParaRPr lang="en-US"/>
        </a:p>
      </dgm:t>
    </dgm:pt>
    <dgm:pt modelId="{37E7D0FB-4897-43D3-AEED-C979D3C4F50B}" type="pres">
      <dgm:prSet presAssocID="{C96ED7AC-C708-4A47-995C-5F89281309C5}" presName="node" presStyleLbl="node1" presStyleIdx="1" presStyleCnt="4" custScaleX="87729" custScaleY="87729">
        <dgm:presLayoutVars>
          <dgm:bulletEnabled val="1"/>
        </dgm:presLayoutVars>
      </dgm:prSet>
      <dgm:spPr/>
      <dgm:t>
        <a:bodyPr/>
        <a:lstStyle/>
        <a:p>
          <a:endParaRPr lang="en-US"/>
        </a:p>
      </dgm:t>
    </dgm:pt>
    <dgm:pt modelId="{3F668537-4486-4C04-8786-4B3B551109D8}" type="pres">
      <dgm:prSet presAssocID="{F1235851-5FFA-464B-A157-9D13D11C1416}" presName="Name9" presStyleLbl="parChTrans1D2" presStyleIdx="2" presStyleCnt="4"/>
      <dgm:spPr/>
      <dgm:t>
        <a:bodyPr/>
        <a:lstStyle/>
        <a:p>
          <a:endParaRPr lang="en-US"/>
        </a:p>
      </dgm:t>
    </dgm:pt>
    <dgm:pt modelId="{7E922653-54F4-4835-8368-120AD80578E9}" type="pres">
      <dgm:prSet presAssocID="{F1235851-5FFA-464B-A157-9D13D11C1416}" presName="connTx" presStyleLbl="parChTrans1D2" presStyleIdx="2" presStyleCnt="4"/>
      <dgm:spPr/>
      <dgm:t>
        <a:bodyPr/>
        <a:lstStyle/>
        <a:p>
          <a:endParaRPr lang="en-US"/>
        </a:p>
      </dgm:t>
    </dgm:pt>
    <dgm:pt modelId="{8DE75BC6-448C-49DD-97C3-F977CE5FFD93}" type="pres">
      <dgm:prSet presAssocID="{285806F4-46A7-4452-BBDF-F24D95B752A8}" presName="node" presStyleLbl="node1" presStyleIdx="2" presStyleCnt="4" custScaleX="87729" custScaleY="87729">
        <dgm:presLayoutVars>
          <dgm:bulletEnabled val="1"/>
        </dgm:presLayoutVars>
      </dgm:prSet>
      <dgm:spPr/>
      <dgm:t>
        <a:bodyPr/>
        <a:lstStyle/>
        <a:p>
          <a:endParaRPr lang="en-US"/>
        </a:p>
      </dgm:t>
    </dgm:pt>
    <dgm:pt modelId="{B52037B5-173A-4531-A2C7-C4D3B300719C}" type="pres">
      <dgm:prSet presAssocID="{C5AD25C5-9627-48B2-BD62-60FF7ECAC555}" presName="Name9" presStyleLbl="parChTrans1D2" presStyleIdx="3" presStyleCnt="4"/>
      <dgm:spPr/>
      <dgm:t>
        <a:bodyPr/>
        <a:lstStyle/>
        <a:p>
          <a:endParaRPr lang="en-US"/>
        </a:p>
      </dgm:t>
    </dgm:pt>
    <dgm:pt modelId="{A014C3F3-CBE9-4525-9577-01C7E0BACF22}" type="pres">
      <dgm:prSet presAssocID="{C5AD25C5-9627-48B2-BD62-60FF7ECAC555}" presName="connTx" presStyleLbl="parChTrans1D2" presStyleIdx="3" presStyleCnt="4"/>
      <dgm:spPr/>
      <dgm:t>
        <a:bodyPr/>
        <a:lstStyle/>
        <a:p>
          <a:endParaRPr lang="en-US"/>
        </a:p>
      </dgm:t>
    </dgm:pt>
    <dgm:pt modelId="{2D06CB04-5AFD-482D-A391-BF4FDADC5DAE}" type="pres">
      <dgm:prSet presAssocID="{DDFE6CB9-D42E-4ADA-9BBB-D2C335D594EF}" presName="node" presStyleLbl="node1" presStyleIdx="3" presStyleCnt="4">
        <dgm:presLayoutVars>
          <dgm:bulletEnabled val="1"/>
        </dgm:presLayoutVars>
      </dgm:prSet>
      <dgm:spPr/>
      <dgm:t>
        <a:bodyPr/>
        <a:lstStyle/>
        <a:p>
          <a:endParaRPr lang="en-US"/>
        </a:p>
      </dgm:t>
    </dgm:pt>
  </dgm:ptLst>
  <dgm:cxnLst>
    <dgm:cxn modelId="{3D843962-DEC7-4148-BED9-9F8AD0335904}" srcId="{1569B88E-4F93-4CA2-A1A6-6498F52A6EFC}" destId="{DDFE6CB9-D42E-4ADA-9BBB-D2C335D594EF}" srcOrd="3" destOrd="0" parTransId="{C5AD25C5-9627-48B2-BD62-60FF7ECAC555}" sibTransId="{0839897C-5E3A-42CA-AD38-14F358027CCF}"/>
    <dgm:cxn modelId="{104D562B-DA4F-4F2B-9816-9031BE7DB58F}" srcId="{1569B88E-4F93-4CA2-A1A6-6498F52A6EFC}" destId="{C96ED7AC-C708-4A47-995C-5F89281309C5}" srcOrd="1" destOrd="0" parTransId="{7419F5D3-FA74-48A0-8BBD-AFBD6474DD36}" sibTransId="{B252C002-9F39-4D60-94D9-BF152394BB7C}"/>
    <dgm:cxn modelId="{3D80AC32-1471-4B7D-8D2A-D66B05CBF509}" type="presOf" srcId="{C96ED7AC-C708-4A47-995C-5F89281309C5}" destId="{37E7D0FB-4897-43D3-AEED-C979D3C4F50B}" srcOrd="0" destOrd="0" presId="urn:microsoft.com/office/officeart/2005/8/layout/radial1"/>
    <dgm:cxn modelId="{86C73E13-352D-418B-AD13-19FEBED525B6}" type="presOf" srcId="{285806F4-46A7-4452-BBDF-F24D95B752A8}" destId="{8DE75BC6-448C-49DD-97C3-F977CE5FFD93}" srcOrd="0" destOrd="0" presId="urn:microsoft.com/office/officeart/2005/8/layout/radial1"/>
    <dgm:cxn modelId="{5274B507-F60A-4855-A084-F5ECE85C7032}" type="presOf" srcId="{F1235851-5FFA-464B-A157-9D13D11C1416}" destId="{7E922653-54F4-4835-8368-120AD80578E9}" srcOrd="1" destOrd="0" presId="urn:microsoft.com/office/officeart/2005/8/layout/radial1"/>
    <dgm:cxn modelId="{F6231C58-036A-498E-8CCF-F048F37B9BD7}" srcId="{9271C76E-6F29-44AF-9C8A-5D82591188DA}" destId="{1569B88E-4F93-4CA2-A1A6-6498F52A6EFC}" srcOrd="0" destOrd="0" parTransId="{31595225-DDFF-490C-A1E2-5C065E6D695D}" sibTransId="{929D08A8-5934-40BD-A3D2-D4275BC24410}"/>
    <dgm:cxn modelId="{BC2F3421-AFE1-448E-80DF-E00E2D1C11ED}" type="presOf" srcId="{7419F5D3-FA74-48A0-8BBD-AFBD6474DD36}" destId="{8E7CE93B-2822-4A8B-8D2D-5CDF85BE607E}" srcOrd="1" destOrd="0" presId="urn:microsoft.com/office/officeart/2005/8/layout/radial1"/>
    <dgm:cxn modelId="{46710092-E3D3-4A0B-A2F6-1E658A67E9F7}" srcId="{1569B88E-4F93-4CA2-A1A6-6498F52A6EFC}" destId="{B103D04A-5B51-45D8-859F-F8CB3CD52D0D}" srcOrd="0" destOrd="0" parTransId="{0242D273-F1EA-4D91-A24E-1C8FB934F2D7}" sibTransId="{6E658643-30A5-45A5-BA5D-F9F9B6E743D6}"/>
    <dgm:cxn modelId="{37D28071-43B6-46DE-8BAB-8FF371728916}" type="presOf" srcId="{9271C76E-6F29-44AF-9C8A-5D82591188DA}" destId="{7090231D-2F89-4238-BD3E-855242F0D7DD}" srcOrd="0" destOrd="0" presId="urn:microsoft.com/office/officeart/2005/8/layout/radial1"/>
    <dgm:cxn modelId="{711DDC58-C507-4138-8F9F-2FAD3EC62E9F}" type="presOf" srcId="{F1235851-5FFA-464B-A157-9D13D11C1416}" destId="{3F668537-4486-4C04-8786-4B3B551109D8}" srcOrd="0" destOrd="0" presId="urn:microsoft.com/office/officeart/2005/8/layout/radial1"/>
    <dgm:cxn modelId="{C72DB555-057A-4076-8B80-BE219A7E08BE}" type="presOf" srcId="{0242D273-F1EA-4D91-A24E-1C8FB934F2D7}" destId="{619734AB-6FAA-4E0A-92A6-CF2B47E6E858}" srcOrd="1" destOrd="0" presId="urn:microsoft.com/office/officeart/2005/8/layout/radial1"/>
    <dgm:cxn modelId="{6E8D0757-A85D-42FC-8092-791C0EC9A764}" type="presOf" srcId="{0242D273-F1EA-4D91-A24E-1C8FB934F2D7}" destId="{AC97C551-F1C1-4529-B7C9-58EFC82326D3}" srcOrd="0" destOrd="0" presId="urn:microsoft.com/office/officeart/2005/8/layout/radial1"/>
    <dgm:cxn modelId="{8994C67C-7411-429F-99C0-0C6B4777A3E4}" type="presOf" srcId="{C5AD25C5-9627-48B2-BD62-60FF7ECAC555}" destId="{B52037B5-173A-4531-A2C7-C4D3B300719C}" srcOrd="0" destOrd="0" presId="urn:microsoft.com/office/officeart/2005/8/layout/radial1"/>
    <dgm:cxn modelId="{A4678958-A653-41FD-B2F9-1B4F324E7424}" type="presOf" srcId="{1569B88E-4F93-4CA2-A1A6-6498F52A6EFC}" destId="{C2C0CBA5-306C-4F72-9466-46E529E92ED1}" srcOrd="0" destOrd="0" presId="urn:microsoft.com/office/officeart/2005/8/layout/radial1"/>
    <dgm:cxn modelId="{852D9C2F-B26E-46D0-BA79-82D688D8E3F2}" type="presOf" srcId="{DDFE6CB9-D42E-4ADA-9BBB-D2C335D594EF}" destId="{2D06CB04-5AFD-482D-A391-BF4FDADC5DAE}" srcOrd="0" destOrd="0" presId="urn:microsoft.com/office/officeart/2005/8/layout/radial1"/>
    <dgm:cxn modelId="{337AB890-615D-4318-AB7F-42EF84BCF6E9}" srcId="{1569B88E-4F93-4CA2-A1A6-6498F52A6EFC}" destId="{285806F4-46A7-4452-BBDF-F24D95B752A8}" srcOrd="2" destOrd="0" parTransId="{F1235851-5FFA-464B-A157-9D13D11C1416}" sibTransId="{2E361CD3-BF51-44C6-8886-F83B9B30036E}"/>
    <dgm:cxn modelId="{1B0A8687-0A7F-4299-8206-1068E4CF4E12}" type="presOf" srcId="{7419F5D3-FA74-48A0-8BBD-AFBD6474DD36}" destId="{EC086FE8-7FA2-42D9-93BD-4009E62CD518}" srcOrd="0" destOrd="0" presId="urn:microsoft.com/office/officeart/2005/8/layout/radial1"/>
    <dgm:cxn modelId="{4F44CF72-F9FE-40E5-9D2A-E12E6205CE8F}" type="presOf" srcId="{C5AD25C5-9627-48B2-BD62-60FF7ECAC555}" destId="{A014C3F3-CBE9-4525-9577-01C7E0BACF22}" srcOrd="1" destOrd="0" presId="urn:microsoft.com/office/officeart/2005/8/layout/radial1"/>
    <dgm:cxn modelId="{2350887B-82F3-4213-9D9E-4C53796D8C02}" type="presOf" srcId="{B103D04A-5B51-45D8-859F-F8CB3CD52D0D}" destId="{703BAD75-EFA5-4BF8-B68B-CE9702C4F986}" srcOrd="0" destOrd="0" presId="urn:microsoft.com/office/officeart/2005/8/layout/radial1"/>
    <dgm:cxn modelId="{A5F57ABE-2469-4717-A247-B1F5C7858564}" type="presParOf" srcId="{7090231D-2F89-4238-BD3E-855242F0D7DD}" destId="{C2C0CBA5-306C-4F72-9466-46E529E92ED1}" srcOrd="0" destOrd="0" presId="urn:microsoft.com/office/officeart/2005/8/layout/radial1"/>
    <dgm:cxn modelId="{A2792CA6-C9C2-4033-9036-3E32AED2D688}" type="presParOf" srcId="{7090231D-2F89-4238-BD3E-855242F0D7DD}" destId="{AC97C551-F1C1-4529-B7C9-58EFC82326D3}" srcOrd="1" destOrd="0" presId="urn:microsoft.com/office/officeart/2005/8/layout/radial1"/>
    <dgm:cxn modelId="{FCE798A5-C1F2-4861-9D9C-64D23C4D9664}" type="presParOf" srcId="{AC97C551-F1C1-4529-B7C9-58EFC82326D3}" destId="{619734AB-6FAA-4E0A-92A6-CF2B47E6E858}" srcOrd="0" destOrd="0" presId="urn:microsoft.com/office/officeart/2005/8/layout/radial1"/>
    <dgm:cxn modelId="{4A4F9F21-F77F-4133-81CF-3199C34A9A1F}" type="presParOf" srcId="{7090231D-2F89-4238-BD3E-855242F0D7DD}" destId="{703BAD75-EFA5-4BF8-B68B-CE9702C4F986}" srcOrd="2" destOrd="0" presId="urn:microsoft.com/office/officeart/2005/8/layout/radial1"/>
    <dgm:cxn modelId="{C2DF93DA-5898-4569-8CE5-C3EF04BDDB3D}" type="presParOf" srcId="{7090231D-2F89-4238-BD3E-855242F0D7DD}" destId="{EC086FE8-7FA2-42D9-93BD-4009E62CD518}" srcOrd="3" destOrd="0" presId="urn:microsoft.com/office/officeart/2005/8/layout/radial1"/>
    <dgm:cxn modelId="{04F99F82-3A99-4483-AAA2-DFA3B8F843FF}" type="presParOf" srcId="{EC086FE8-7FA2-42D9-93BD-4009E62CD518}" destId="{8E7CE93B-2822-4A8B-8D2D-5CDF85BE607E}" srcOrd="0" destOrd="0" presId="urn:microsoft.com/office/officeart/2005/8/layout/radial1"/>
    <dgm:cxn modelId="{A5248647-0726-47DA-99D4-D0767943D0CB}" type="presParOf" srcId="{7090231D-2F89-4238-BD3E-855242F0D7DD}" destId="{37E7D0FB-4897-43D3-AEED-C979D3C4F50B}" srcOrd="4" destOrd="0" presId="urn:microsoft.com/office/officeart/2005/8/layout/radial1"/>
    <dgm:cxn modelId="{27649F0D-18DB-4FC8-A192-93A127EFC21C}" type="presParOf" srcId="{7090231D-2F89-4238-BD3E-855242F0D7DD}" destId="{3F668537-4486-4C04-8786-4B3B551109D8}" srcOrd="5" destOrd="0" presId="urn:microsoft.com/office/officeart/2005/8/layout/radial1"/>
    <dgm:cxn modelId="{EAA8483B-CCB3-4277-A53D-733DFEFA10D5}" type="presParOf" srcId="{3F668537-4486-4C04-8786-4B3B551109D8}" destId="{7E922653-54F4-4835-8368-120AD80578E9}" srcOrd="0" destOrd="0" presId="urn:microsoft.com/office/officeart/2005/8/layout/radial1"/>
    <dgm:cxn modelId="{878B1831-A152-46F2-BB99-4E2E7C3C4CF9}" type="presParOf" srcId="{7090231D-2F89-4238-BD3E-855242F0D7DD}" destId="{8DE75BC6-448C-49DD-97C3-F977CE5FFD93}" srcOrd="6" destOrd="0" presId="urn:microsoft.com/office/officeart/2005/8/layout/radial1"/>
    <dgm:cxn modelId="{CF640C11-1E45-4981-B0AF-D2D52557BDF2}" type="presParOf" srcId="{7090231D-2F89-4238-BD3E-855242F0D7DD}" destId="{B52037B5-173A-4531-A2C7-C4D3B300719C}" srcOrd="7" destOrd="0" presId="urn:microsoft.com/office/officeart/2005/8/layout/radial1"/>
    <dgm:cxn modelId="{786F72FD-BE3D-4179-8216-4DBC8C433AB6}" type="presParOf" srcId="{B52037B5-173A-4531-A2C7-C4D3B300719C}" destId="{A014C3F3-CBE9-4525-9577-01C7E0BACF22}" srcOrd="0" destOrd="0" presId="urn:microsoft.com/office/officeart/2005/8/layout/radial1"/>
    <dgm:cxn modelId="{285A7DEA-7F10-47C4-AC48-24979AEDF172}" type="presParOf" srcId="{7090231D-2F89-4238-BD3E-855242F0D7DD}" destId="{2D06CB04-5AFD-482D-A391-BF4FDADC5DAE}" srcOrd="8" destOrd="0" presId="urn:microsoft.com/office/officeart/2005/8/layout/radial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A0D601A-013C-49ED-A627-C4B5B31718C3}"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129D9143-8F8B-4728-8925-8EFD5E9379D0}">
      <dgm:prSet phldrT="[Text]" custT="1"/>
      <dgm:spPr>
        <a:solidFill>
          <a:srgbClr val="00A0D6"/>
        </a:solidFill>
      </dgm:spPr>
      <dgm:t>
        <a:bodyPr/>
        <a:lstStyle/>
        <a:p>
          <a:r>
            <a:rPr lang="en-US" sz="1600" b="1" dirty="0" smtClean="0"/>
            <a:t>People Care Organization</a:t>
          </a:r>
          <a:endParaRPr lang="en-US" sz="1600" b="1" dirty="0"/>
        </a:p>
      </dgm:t>
    </dgm:pt>
    <dgm:pt modelId="{AC9720A2-EF36-4B27-B67E-8930C2E213F4}" type="parTrans" cxnId="{243B5274-F759-4C36-B012-F845F6AC214A}">
      <dgm:prSet/>
      <dgm:spPr/>
      <dgm:t>
        <a:bodyPr/>
        <a:lstStyle/>
        <a:p>
          <a:endParaRPr lang="en-US"/>
        </a:p>
      </dgm:t>
    </dgm:pt>
    <dgm:pt modelId="{CAC0B46E-2D97-44B9-819A-44E5BBA6D5DB}" type="sibTrans" cxnId="{243B5274-F759-4C36-B012-F845F6AC214A}">
      <dgm:prSet/>
      <dgm:spPr/>
      <dgm:t>
        <a:bodyPr/>
        <a:lstStyle/>
        <a:p>
          <a:endParaRPr lang="en-US"/>
        </a:p>
      </dgm:t>
    </dgm:pt>
    <dgm:pt modelId="{87A6DE04-4D9E-4203-BE46-1B32B7641221}">
      <dgm:prSet phldrT="[Text]" custT="1"/>
      <dgm:spPr>
        <a:solidFill>
          <a:srgbClr val="00A0D6"/>
        </a:solidFill>
      </dgm:spPr>
      <dgm:t>
        <a:bodyPr/>
        <a:lstStyle/>
        <a:p>
          <a:r>
            <a:rPr lang="en-US" sz="1600" b="1" dirty="0" smtClean="0"/>
            <a:t>Learning and Development</a:t>
          </a:r>
        </a:p>
        <a:p>
          <a:endParaRPr lang="en-US" sz="1600" b="1" dirty="0" smtClean="0"/>
        </a:p>
      </dgm:t>
    </dgm:pt>
    <dgm:pt modelId="{32820CC6-9FBF-46E3-AD09-05CC6233FDBF}" type="parTrans" cxnId="{CAD85D8E-D379-4BE8-8DF9-60B0D0E7347A}">
      <dgm:prSet/>
      <dgm:spPr>
        <a:solidFill>
          <a:srgbClr val="ACB7B2"/>
        </a:solidFill>
      </dgm:spPr>
      <dgm:t>
        <a:bodyPr/>
        <a:lstStyle/>
        <a:p>
          <a:endParaRPr lang="en-US"/>
        </a:p>
      </dgm:t>
    </dgm:pt>
    <dgm:pt modelId="{A2788AFA-1DCF-4204-B0DF-EC2383DF1A06}" type="sibTrans" cxnId="{CAD85D8E-D379-4BE8-8DF9-60B0D0E7347A}">
      <dgm:prSet/>
      <dgm:spPr/>
      <dgm:t>
        <a:bodyPr/>
        <a:lstStyle/>
        <a:p>
          <a:endParaRPr lang="en-US"/>
        </a:p>
      </dgm:t>
    </dgm:pt>
    <dgm:pt modelId="{3237813A-E8EB-4646-BD35-EABBE8330B51}">
      <dgm:prSet phldrT="[Text]" custT="1"/>
      <dgm:spPr>
        <a:solidFill>
          <a:srgbClr val="00A0D6"/>
        </a:solidFill>
      </dgm:spPr>
      <dgm:t>
        <a:bodyPr/>
        <a:lstStyle/>
        <a:p>
          <a:r>
            <a:rPr lang="en-US" sz="1600" b="1" dirty="0" smtClean="0"/>
            <a:t>People Processes</a:t>
          </a:r>
        </a:p>
        <a:p>
          <a:endParaRPr lang="en-US" sz="1600" b="1" dirty="0" smtClean="0"/>
        </a:p>
      </dgm:t>
    </dgm:pt>
    <dgm:pt modelId="{92210389-15DB-423C-8B3D-2BAF7BAF58AE}" type="parTrans" cxnId="{56AD8EF0-718C-4ECE-9B42-6395D1F6860B}">
      <dgm:prSet/>
      <dgm:spPr>
        <a:solidFill>
          <a:srgbClr val="ACB7B2"/>
        </a:solidFill>
      </dgm:spPr>
      <dgm:t>
        <a:bodyPr/>
        <a:lstStyle/>
        <a:p>
          <a:endParaRPr lang="en-US"/>
        </a:p>
      </dgm:t>
    </dgm:pt>
    <dgm:pt modelId="{F980FDFD-6C4B-4D53-89B0-881137BAD2CC}" type="sibTrans" cxnId="{56AD8EF0-718C-4ECE-9B42-6395D1F6860B}">
      <dgm:prSet/>
      <dgm:spPr/>
      <dgm:t>
        <a:bodyPr/>
        <a:lstStyle/>
        <a:p>
          <a:endParaRPr lang="en-US"/>
        </a:p>
      </dgm:t>
    </dgm:pt>
    <dgm:pt modelId="{450B0BC9-5001-49DF-9FAE-930079F758EB}" type="pres">
      <dgm:prSet presAssocID="{0A0D601A-013C-49ED-A627-C4B5B31718C3}" presName="cycle" presStyleCnt="0">
        <dgm:presLayoutVars>
          <dgm:chMax val="1"/>
          <dgm:dir/>
          <dgm:animLvl val="ctr"/>
          <dgm:resizeHandles val="exact"/>
        </dgm:presLayoutVars>
      </dgm:prSet>
      <dgm:spPr/>
      <dgm:t>
        <a:bodyPr/>
        <a:lstStyle/>
        <a:p>
          <a:endParaRPr lang="en-US"/>
        </a:p>
      </dgm:t>
    </dgm:pt>
    <dgm:pt modelId="{A0F19432-5EF3-4CA3-A425-001A44491565}" type="pres">
      <dgm:prSet presAssocID="{129D9143-8F8B-4728-8925-8EFD5E9379D0}" presName="centerShape" presStyleLbl="node0" presStyleIdx="0" presStyleCnt="1"/>
      <dgm:spPr/>
      <dgm:t>
        <a:bodyPr/>
        <a:lstStyle/>
        <a:p>
          <a:endParaRPr lang="en-US"/>
        </a:p>
      </dgm:t>
    </dgm:pt>
    <dgm:pt modelId="{9C4E0C5C-4D53-43AA-87A6-6E767D40DE6D}" type="pres">
      <dgm:prSet presAssocID="{32820CC6-9FBF-46E3-AD09-05CC6233FDBF}" presName="parTrans" presStyleLbl="bgSibTrans2D1" presStyleIdx="0" presStyleCnt="2"/>
      <dgm:spPr/>
      <dgm:t>
        <a:bodyPr/>
        <a:lstStyle/>
        <a:p>
          <a:endParaRPr lang="en-US"/>
        </a:p>
      </dgm:t>
    </dgm:pt>
    <dgm:pt modelId="{4BB3D5B3-D66D-41B2-8E35-243146BC3FF0}" type="pres">
      <dgm:prSet presAssocID="{87A6DE04-4D9E-4203-BE46-1B32B7641221}" presName="node" presStyleLbl="node1" presStyleIdx="0" presStyleCnt="2">
        <dgm:presLayoutVars>
          <dgm:bulletEnabled val="1"/>
        </dgm:presLayoutVars>
      </dgm:prSet>
      <dgm:spPr/>
      <dgm:t>
        <a:bodyPr/>
        <a:lstStyle/>
        <a:p>
          <a:endParaRPr lang="en-US"/>
        </a:p>
      </dgm:t>
    </dgm:pt>
    <dgm:pt modelId="{B388B876-1BBE-4C12-B1E6-8EE90E4163E2}" type="pres">
      <dgm:prSet presAssocID="{92210389-15DB-423C-8B3D-2BAF7BAF58AE}" presName="parTrans" presStyleLbl="bgSibTrans2D1" presStyleIdx="1" presStyleCnt="2"/>
      <dgm:spPr/>
      <dgm:t>
        <a:bodyPr/>
        <a:lstStyle/>
        <a:p>
          <a:endParaRPr lang="en-US"/>
        </a:p>
      </dgm:t>
    </dgm:pt>
    <dgm:pt modelId="{A2AC1FA3-DE5B-459D-A03C-12EE2321DB8D}" type="pres">
      <dgm:prSet presAssocID="{3237813A-E8EB-4646-BD35-EABBE8330B51}" presName="node" presStyleLbl="node1" presStyleIdx="1" presStyleCnt="2">
        <dgm:presLayoutVars>
          <dgm:bulletEnabled val="1"/>
        </dgm:presLayoutVars>
      </dgm:prSet>
      <dgm:spPr/>
      <dgm:t>
        <a:bodyPr/>
        <a:lstStyle/>
        <a:p>
          <a:endParaRPr lang="en-US"/>
        </a:p>
      </dgm:t>
    </dgm:pt>
  </dgm:ptLst>
  <dgm:cxnLst>
    <dgm:cxn modelId="{243B5274-F759-4C36-B012-F845F6AC214A}" srcId="{0A0D601A-013C-49ED-A627-C4B5B31718C3}" destId="{129D9143-8F8B-4728-8925-8EFD5E9379D0}" srcOrd="0" destOrd="0" parTransId="{AC9720A2-EF36-4B27-B67E-8930C2E213F4}" sibTransId="{CAC0B46E-2D97-44B9-819A-44E5BBA6D5DB}"/>
    <dgm:cxn modelId="{8CC49FC2-345F-4F57-B0AE-463BDA73473F}" type="presOf" srcId="{92210389-15DB-423C-8B3D-2BAF7BAF58AE}" destId="{B388B876-1BBE-4C12-B1E6-8EE90E4163E2}" srcOrd="0" destOrd="0" presId="urn:microsoft.com/office/officeart/2005/8/layout/radial4"/>
    <dgm:cxn modelId="{AA652240-404A-48EF-B4BA-DF35B78B3276}" type="presOf" srcId="{32820CC6-9FBF-46E3-AD09-05CC6233FDBF}" destId="{9C4E0C5C-4D53-43AA-87A6-6E767D40DE6D}" srcOrd="0" destOrd="0" presId="urn:microsoft.com/office/officeart/2005/8/layout/radial4"/>
    <dgm:cxn modelId="{56AD8EF0-718C-4ECE-9B42-6395D1F6860B}" srcId="{129D9143-8F8B-4728-8925-8EFD5E9379D0}" destId="{3237813A-E8EB-4646-BD35-EABBE8330B51}" srcOrd="1" destOrd="0" parTransId="{92210389-15DB-423C-8B3D-2BAF7BAF58AE}" sibTransId="{F980FDFD-6C4B-4D53-89B0-881137BAD2CC}"/>
    <dgm:cxn modelId="{8B75155C-3F8F-44E9-B494-5A3A36C6C608}" type="presOf" srcId="{3237813A-E8EB-4646-BD35-EABBE8330B51}" destId="{A2AC1FA3-DE5B-459D-A03C-12EE2321DB8D}" srcOrd="0" destOrd="0" presId="urn:microsoft.com/office/officeart/2005/8/layout/radial4"/>
    <dgm:cxn modelId="{47F0291A-2618-4361-9E5C-1A94C756F4EB}" type="presOf" srcId="{129D9143-8F8B-4728-8925-8EFD5E9379D0}" destId="{A0F19432-5EF3-4CA3-A425-001A44491565}" srcOrd="0" destOrd="0" presId="urn:microsoft.com/office/officeart/2005/8/layout/radial4"/>
    <dgm:cxn modelId="{E3E5CB4B-6600-4085-8754-CAB2C5F82F56}" type="presOf" srcId="{87A6DE04-4D9E-4203-BE46-1B32B7641221}" destId="{4BB3D5B3-D66D-41B2-8E35-243146BC3FF0}" srcOrd="0" destOrd="0" presId="urn:microsoft.com/office/officeart/2005/8/layout/radial4"/>
    <dgm:cxn modelId="{F1C0EF9A-AF1F-4285-B28B-50125645AD07}" type="presOf" srcId="{0A0D601A-013C-49ED-A627-C4B5B31718C3}" destId="{450B0BC9-5001-49DF-9FAE-930079F758EB}" srcOrd="0" destOrd="0" presId="urn:microsoft.com/office/officeart/2005/8/layout/radial4"/>
    <dgm:cxn modelId="{CAD85D8E-D379-4BE8-8DF9-60B0D0E7347A}" srcId="{129D9143-8F8B-4728-8925-8EFD5E9379D0}" destId="{87A6DE04-4D9E-4203-BE46-1B32B7641221}" srcOrd="0" destOrd="0" parTransId="{32820CC6-9FBF-46E3-AD09-05CC6233FDBF}" sibTransId="{A2788AFA-1DCF-4204-B0DF-EC2383DF1A06}"/>
    <dgm:cxn modelId="{8A7AAD73-5F57-4854-B8BB-94D929F94C22}" type="presParOf" srcId="{450B0BC9-5001-49DF-9FAE-930079F758EB}" destId="{A0F19432-5EF3-4CA3-A425-001A44491565}" srcOrd="0" destOrd="0" presId="urn:microsoft.com/office/officeart/2005/8/layout/radial4"/>
    <dgm:cxn modelId="{66B31DB3-9966-4CC7-8891-D5F6F033BD99}" type="presParOf" srcId="{450B0BC9-5001-49DF-9FAE-930079F758EB}" destId="{9C4E0C5C-4D53-43AA-87A6-6E767D40DE6D}" srcOrd="1" destOrd="0" presId="urn:microsoft.com/office/officeart/2005/8/layout/radial4"/>
    <dgm:cxn modelId="{9031F36F-3365-4638-9FCA-2C887E140BE8}" type="presParOf" srcId="{450B0BC9-5001-49DF-9FAE-930079F758EB}" destId="{4BB3D5B3-D66D-41B2-8E35-243146BC3FF0}" srcOrd="2" destOrd="0" presId="urn:microsoft.com/office/officeart/2005/8/layout/radial4"/>
    <dgm:cxn modelId="{D242920C-42EF-4BCA-9E62-B0CA6F45EAF2}" type="presParOf" srcId="{450B0BC9-5001-49DF-9FAE-930079F758EB}" destId="{B388B876-1BBE-4C12-B1E6-8EE90E4163E2}" srcOrd="3" destOrd="0" presId="urn:microsoft.com/office/officeart/2005/8/layout/radial4"/>
    <dgm:cxn modelId="{879AF99C-0DEB-4D82-99B5-B451AA1B512C}" type="presParOf" srcId="{450B0BC9-5001-49DF-9FAE-930079F758EB}" destId="{A2AC1FA3-DE5B-459D-A03C-12EE2321DB8D}" srcOrd="4" destOrd="0" presId="urn:microsoft.com/office/officeart/2005/8/layout/radial4"/>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smtClean="0">
                <a:latin typeface="Arial" pitchFamily="34" charset="0"/>
                <a:cs typeface="Arial" pitchFamily="34" charset="0"/>
              </a:rPr>
              <a:t>© 2016 Capgemini. All rights reserved.</a:t>
            </a:r>
            <a:endParaRPr lang="en-US"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 xmlns:p14="http://schemas.microsoft.com/office/powerpoint/2010/main" val="42675920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7/4/2017</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 xmlns:p14="http://schemas.microsoft.com/office/powerpoint/2010/main" val="3737416018"/>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2"/>
          <p:cNvSpPr>
            <a:spLocks noGrp="1" noRot="1" noChangeAspect="1" noChangeArrowheads="1" noTextEdit="1"/>
          </p:cNvSpPr>
          <p:nvPr>
            <p:ph type="sldImg"/>
          </p:nvPr>
        </p:nvSpPr>
        <p:spPr>
          <a:xfrm>
            <a:off x="531813" y="620713"/>
            <a:ext cx="5734050" cy="3970337"/>
          </a:xfrm>
          <a:ln/>
        </p:spPr>
      </p:sp>
      <p:sp>
        <p:nvSpPr>
          <p:cNvPr id="19458" name="Rectangle 3"/>
          <p:cNvSpPr>
            <a:spLocks noGrp="1" noChangeArrowheads="1"/>
          </p:cNvSpPr>
          <p:nvPr>
            <p:ph type="body" idx="1"/>
          </p:nvPr>
        </p:nvSpPr>
        <p:spPr>
          <a:noFill/>
          <a:ln/>
        </p:spPr>
        <p:txBody>
          <a:bodyPr/>
          <a:lstStyle/>
          <a:p>
            <a:pPr eaLnBrk="1" hangingPunct="1"/>
            <a:endParaRPr lang="en-US" dirty="0" smtClean="0"/>
          </a:p>
        </p:txBody>
      </p:sp>
      <p:sp>
        <p:nvSpPr>
          <p:cNvPr id="19459" name="Espace réservé du numéro de diapositive 8"/>
          <p:cNvSpPr>
            <a:spLocks noGrp="1"/>
          </p:cNvSpPr>
          <p:nvPr>
            <p:ph type="sldNum" sz="quarter" idx="5"/>
          </p:nvPr>
        </p:nvSpPr>
        <p:spPr>
          <a:noFill/>
        </p:spPr>
        <p:txBody>
          <a:bodyPr/>
          <a:lstStyle/>
          <a:p>
            <a:pPr defTabSz="953686"/>
            <a:fld id="{5890CFB2-C4AF-455A-A9B2-39D7E6D30A87}" type="slidenum">
              <a:rPr lang="fr-FR" smtClean="0"/>
              <a:pPr defTabSz="953686"/>
              <a:t>1</a:t>
            </a:fld>
            <a:endParaRPr lang="fr-FR" dirty="0" smtClean="0"/>
          </a:p>
        </p:txBody>
      </p:sp>
      <p:sp>
        <p:nvSpPr>
          <p:cNvPr id="19460" name="Espace réservé du pied de page 9"/>
          <p:cNvSpPr>
            <a:spLocks noGrp="1"/>
          </p:cNvSpPr>
          <p:nvPr>
            <p:ph type="ftr" sz="quarter" idx="4"/>
          </p:nvPr>
        </p:nvSpPr>
        <p:spPr>
          <a:noFill/>
        </p:spPr>
        <p:txBody>
          <a:bodyPr/>
          <a:lstStyle/>
          <a:p>
            <a:pPr defTabSz="953686"/>
            <a:r>
              <a:rPr lang="en-US" dirty="0" smtClean="0"/>
              <a:t>© 2012 </a:t>
            </a:r>
            <a:r>
              <a:rPr lang="en-US" dirty="0" err="1" smtClean="0"/>
              <a:t>Capgemini</a:t>
            </a:r>
            <a:r>
              <a:rPr lang="en-US" dirty="0" smtClean="0"/>
              <a:t>. All rights reserved.</a:t>
            </a:r>
            <a:endParaRPr lang="fr-FR" dirty="0"/>
          </a:p>
        </p:txBody>
      </p:sp>
      <p:sp>
        <p:nvSpPr>
          <p:cNvPr id="19461" name="Espace réservé de l'en-tête 10"/>
          <p:cNvSpPr>
            <a:spLocks noGrp="1"/>
          </p:cNvSpPr>
          <p:nvPr>
            <p:ph type="hdr" sz="quarter"/>
          </p:nvPr>
        </p:nvSpPr>
        <p:spPr>
          <a:noFill/>
        </p:spPr>
        <p:txBody>
          <a:bodyPr/>
          <a:lstStyle/>
          <a:p>
            <a:pPr defTabSz="953686"/>
            <a:endParaRPr lang="en-US" dirty="0" smtClean="0"/>
          </a:p>
        </p:txBody>
      </p:sp>
    </p:spTree>
    <p:extLst>
      <p:ext uri="{BB962C8B-B14F-4D97-AF65-F5344CB8AC3E}">
        <p14:creationId xmlns="" xmlns:p14="http://schemas.microsoft.com/office/powerpoint/2010/main" val="4190899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p:spPr>
      </p:sp>
      <p:sp>
        <p:nvSpPr>
          <p:cNvPr id="13721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u="sng" dirty="0" smtClean="0"/>
              <a:t>Key Points:</a:t>
            </a:r>
          </a:p>
          <a:p>
            <a:pPr eaLnBrk="1" hangingPunct="1">
              <a:spcBef>
                <a:spcPct val="0"/>
              </a:spcBef>
              <a:buFontTx/>
              <a:buChar char="•"/>
            </a:pPr>
            <a:r>
              <a:rPr lang="en-US" dirty="0" smtClean="0"/>
              <a:t>Keep exercise within the time limit</a:t>
            </a:r>
          </a:p>
          <a:p>
            <a:pPr eaLnBrk="1" hangingPunct="1">
              <a:spcBef>
                <a:spcPct val="0"/>
              </a:spcBef>
              <a:buFontTx/>
              <a:buChar char="•"/>
            </a:pPr>
            <a:r>
              <a:rPr lang="en-US" dirty="0" smtClean="0"/>
              <a:t>Ensure everyone participates</a:t>
            </a:r>
          </a:p>
          <a:p>
            <a:pPr eaLnBrk="1" hangingPunct="1">
              <a:spcBef>
                <a:spcPct val="0"/>
              </a:spcBef>
              <a:buFontTx/>
              <a:buChar char="•"/>
            </a:pPr>
            <a:r>
              <a:rPr lang="en-US" dirty="0" smtClean="0"/>
              <a:t>Explain the “remote on VPN” instructions and clarify it is for out of office use</a:t>
            </a:r>
          </a:p>
        </p:txBody>
      </p:sp>
      <p:sp>
        <p:nvSpPr>
          <p:cNvPr id="25805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D51C458-63F0-4346-8BD4-C2BFD553BF51}" type="slidenum">
              <a:rPr lang="en-US"/>
              <a:pPr fontAlgn="base">
                <a:spcBef>
                  <a:spcPct val="0"/>
                </a:spcBef>
                <a:spcAft>
                  <a:spcPct val="0"/>
                </a:spcAft>
                <a:defRPr/>
              </a:pPr>
              <a:t>14</a:t>
            </a:fld>
            <a:endParaRPr lang="en-US"/>
          </a:p>
        </p:txBody>
      </p:sp>
    </p:spTree>
    <p:extLst>
      <p:ext uri="{BB962C8B-B14F-4D97-AF65-F5344CB8AC3E}">
        <p14:creationId xmlns="" xmlns:p14="http://schemas.microsoft.com/office/powerpoint/2010/main" val="37895936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p:cNvSpPr>
            <a:spLocks noGrp="1" noRot="1" noChangeAspect="1" noTextEdit="1"/>
          </p:cNvSpPr>
          <p:nvPr>
            <p:ph type="sldImg"/>
          </p:nvPr>
        </p:nvSpPr>
        <p:spPr bwMode="auto">
          <a:noFill/>
          <a:ln>
            <a:solidFill>
              <a:srgbClr val="000000"/>
            </a:solidFill>
            <a:miter lim="800000"/>
            <a:headEnd/>
            <a:tailEnd/>
          </a:ln>
        </p:spPr>
      </p:sp>
      <p:sp>
        <p:nvSpPr>
          <p:cNvPr id="13824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u="sng" smtClean="0"/>
              <a:t>Key Points:</a:t>
            </a:r>
          </a:p>
          <a:p>
            <a:pPr eaLnBrk="1" hangingPunct="1">
              <a:spcBef>
                <a:spcPct val="0"/>
              </a:spcBef>
              <a:buFontTx/>
              <a:buChar char="•"/>
            </a:pPr>
            <a:r>
              <a:rPr lang="en-US" smtClean="0"/>
              <a:t>Explain  that this is for out of office use</a:t>
            </a:r>
          </a:p>
          <a:p>
            <a:pPr eaLnBrk="1" hangingPunct="1">
              <a:spcBef>
                <a:spcPct val="0"/>
              </a:spcBef>
            </a:pPr>
            <a:endParaRPr lang="en-US" smtClean="0"/>
          </a:p>
        </p:txBody>
      </p:sp>
      <p:sp>
        <p:nvSpPr>
          <p:cNvPr id="25907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24E986A-CCB1-4800-8885-0502B2C8B12C}" type="slidenum">
              <a:rPr lang="en-US"/>
              <a:pPr fontAlgn="base">
                <a:spcBef>
                  <a:spcPct val="0"/>
                </a:spcBef>
                <a:spcAft>
                  <a:spcPct val="0"/>
                </a:spcAft>
                <a:defRPr/>
              </a:pPr>
              <a:t>16</a:t>
            </a:fld>
            <a:endParaRPr lang="en-US"/>
          </a:p>
        </p:txBody>
      </p:sp>
    </p:spTree>
    <p:extLst>
      <p:ext uri="{BB962C8B-B14F-4D97-AF65-F5344CB8AC3E}">
        <p14:creationId xmlns="" xmlns:p14="http://schemas.microsoft.com/office/powerpoint/2010/main" val="14318063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u="sng" smtClean="0"/>
              <a:t>Key Points:</a:t>
            </a:r>
          </a:p>
          <a:p>
            <a:pPr eaLnBrk="1" hangingPunct="1">
              <a:spcBef>
                <a:spcPct val="0"/>
              </a:spcBef>
              <a:buFontTx/>
              <a:buChar char="•"/>
            </a:pPr>
            <a:r>
              <a:rPr lang="en-US" smtClean="0"/>
              <a:t>You need to do this for Outlook and access to the intranet when out of the office</a:t>
            </a:r>
          </a:p>
        </p:txBody>
      </p:sp>
      <p:sp>
        <p:nvSpPr>
          <p:cNvPr id="26112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6599B48-E2BF-47B6-B11E-224BB2DDB836}" type="slidenum">
              <a:rPr lang="en-US"/>
              <a:pPr fontAlgn="base">
                <a:spcBef>
                  <a:spcPct val="0"/>
                </a:spcBef>
                <a:spcAft>
                  <a:spcPct val="0"/>
                </a:spcAft>
                <a:defRPr/>
              </a:pPr>
              <a:t>17</a:t>
            </a:fld>
            <a:endParaRPr lang="en-US"/>
          </a:p>
        </p:txBody>
      </p:sp>
    </p:spTree>
    <p:extLst>
      <p:ext uri="{BB962C8B-B14F-4D97-AF65-F5344CB8AC3E}">
        <p14:creationId xmlns="" xmlns:p14="http://schemas.microsoft.com/office/powerpoint/2010/main" val="32115213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p:cNvSpPr>
            <a:spLocks noGrp="1" noRot="1" noChangeAspect="1" noTextEdit="1"/>
          </p:cNvSpPr>
          <p:nvPr>
            <p:ph type="sldImg"/>
          </p:nvPr>
        </p:nvSpPr>
        <p:spPr bwMode="auto">
          <a:noFill/>
          <a:ln>
            <a:solidFill>
              <a:srgbClr val="000000"/>
            </a:solidFill>
            <a:miter lim="800000"/>
            <a:headEnd/>
            <a:tailEnd/>
          </a:ln>
        </p:spPr>
      </p:sp>
      <p:sp>
        <p:nvSpPr>
          <p:cNvPr id="14131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u="sng" smtClean="0"/>
              <a:t>Key Points:</a:t>
            </a:r>
          </a:p>
          <a:p>
            <a:pPr eaLnBrk="1" hangingPunct="1">
              <a:spcBef>
                <a:spcPct val="0"/>
              </a:spcBef>
              <a:buFontTx/>
              <a:buChar char="•"/>
            </a:pPr>
            <a:r>
              <a:rPr lang="en-US" smtClean="0"/>
              <a:t>Clean / archive frequently</a:t>
            </a:r>
          </a:p>
          <a:p>
            <a:pPr eaLnBrk="1" hangingPunct="1">
              <a:spcBef>
                <a:spcPct val="0"/>
              </a:spcBef>
              <a:buFontTx/>
              <a:buChar char="•"/>
            </a:pPr>
            <a:r>
              <a:rPr lang="en-US" smtClean="0"/>
              <a:t>You will not be ale to send / receive email once limited is reached</a:t>
            </a:r>
          </a:p>
        </p:txBody>
      </p:sp>
      <p:sp>
        <p:nvSpPr>
          <p:cNvPr id="26214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12B2562-9D6F-4E9F-B12D-0C9DA5760DBD}" type="slidenum">
              <a:rPr lang="en-US"/>
              <a:pPr fontAlgn="base">
                <a:spcBef>
                  <a:spcPct val="0"/>
                </a:spcBef>
                <a:spcAft>
                  <a:spcPct val="0"/>
                </a:spcAft>
                <a:defRPr/>
              </a:pPr>
              <a:t>18</a:t>
            </a:fld>
            <a:endParaRPr lang="en-US"/>
          </a:p>
        </p:txBody>
      </p:sp>
    </p:spTree>
    <p:extLst>
      <p:ext uri="{BB962C8B-B14F-4D97-AF65-F5344CB8AC3E}">
        <p14:creationId xmlns="" xmlns:p14="http://schemas.microsoft.com/office/powerpoint/2010/main" val="37756233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p:cNvSpPr>
            <a:spLocks noGrp="1" noRot="1" noChangeAspect="1" noTextEdit="1"/>
          </p:cNvSpPr>
          <p:nvPr>
            <p:ph type="sldImg"/>
          </p:nvPr>
        </p:nvSpPr>
        <p:spPr bwMode="auto">
          <a:noFill/>
          <a:ln>
            <a:solidFill>
              <a:srgbClr val="000000"/>
            </a:solidFill>
            <a:miter lim="800000"/>
            <a:headEnd/>
            <a:tailEnd/>
          </a:ln>
        </p:spPr>
      </p:sp>
      <p:sp>
        <p:nvSpPr>
          <p:cNvPr id="14131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u="sng" smtClean="0"/>
              <a:t>Key Points:</a:t>
            </a:r>
          </a:p>
          <a:p>
            <a:pPr eaLnBrk="1" hangingPunct="1">
              <a:spcBef>
                <a:spcPct val="0"/>
              </a:spcBef>
              <a:buFontTx/>
              <a:buChar char="•"/>
            </a:pPr>
            <a:r>
              <a:rPr lang="en-US" smtClean="0"/>
              <a:t>Clean / archive frequently</a:t>
            </a:r>
          </a:p>
          <a:p>
            <a:pPr eaLnBrk="1" hangingPunct="1">
              <a:spcBef>
                <a:spcPct val="0"/>
              </a:spcBef>
              <a:buFontTx/>
              <a:buChar char="•"/>
            </a:pPr>
            <a:r>
              <a:rPr lang="en-US" smtClean="0"/>
              <a:t>You will not be ale to send / receive email once limited is reached</a:t>
            </a:r>
          </a:p>
        </p:txBody>
      </p:sp>
      <p:sp>
        <p:nvSpPr>
          <p:cNvPr id="26214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12B2562-9D6F-4E9F-B12D-0C9DA5760DBD}" type="slidenum">
              <a:rPr lang="en-US"/>
              <a:pPr fontAlgn="base">
                <a:spcBef>
                  <a:spcPct val="0"/>
                </a:spcBef>
                <a:spcAft>
                  <a:spcPct val="0"/>
                </a:spcAft>
                <a:defRPr/>
              </a:pPr>
              <a:t>20</a:t>
            </a:fld>
            <a:endParaRPr lang="en-US"/>
          </a:p>
        </p:txBody>
      </p:sp>
    </p:spTree>
    <p:extLst>
      <p:ext uri="{BB962C8B-B14F-4D97-AF65-F5344CB8AC3E}">
        <p14:creationId xmlns="" xmlns:p14="http://schemas.microsoft.com/office/powerpoint/2010/main" val="30187104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Slide Image Placeholder 1"/>
          <p:cNvSpPr>
            <a:spLocks noGrp="1" noRot="1" noChangeAspect="1" noTextEdit="1"/>
          </p:cNvSpPr>
          <p:nvPr>
            <p:ph type="sldImg"/>
          </p:nvPr>
        </p:nvSpPr>
        <p:spPr bwMode="auto">
          <a:noFill/>
          <a:ln>
            <a:solidFill>
              <a:srgbClr val="000000"/>
            </a:solidFill>
            <a:miter lim="800000"/>
            <a:headEnd/>
            <a:tailEnd/>
          </a:ln>
        </p:spPr>
      </p:sp>
      <p:sp>
        <p:nvSpPr>
          <p:cNvPr id="14438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u="sng" smtClean="0"/>
              <a:t>Key Points:</a:t>
            </a:r>
          </a:p>
          <a:p>
            <a:pPr eaLnBrk="1" hangingPunct="1">
              <a:spcBef>
                <a:spcPct val="0"/>
              </a:spcBef>
              <a:buFontTx/>
              <a:buChar char="•"/>
            </a:pPr>
            <a:r>
              <a:rPr lang="en-US" smtClean="0"/>
              <a:t>We will now get familiar with some of the standard tools used internally</a:t>
            </a:r>
          </a:p>
        </p:txBody>
      </p:sp>
      <p:sp>
        <p:nvSpPr>
          <p:cNvPr id="24781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134E00D-E590-4607-A283-9AA8D19802D5}" type="slidenum">
              <a:rPr lang="en-US"/>
              <a:pPr fontAlgn="base">
                <a:spcBef>
                  <a:spcPct val="0"/>
                </a:spcBef>
                <a:spcAft>
                  <a:spcPct val="0"/>
                </a:spcAft>
                <a:defRPr/>
              </a:pPr>
              <a:t>24</a:t>
            </a:fld>
            <a:endParaRPr lang="en-US"/>
          </a:p>
        </p:txBody>
      </p:sp>
    </p:spTree>
    <p:extLst>
      <p:ext uri="{BB962C8B-B14F-4D97-AF65-F5344CB8AC3E}">
        <p14:creationId xmlns="" xmlns:p14="http://schemas.microsoft.com/office/powerpoint/2010/main" val="31857811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a:ln/>
        </p:spPr>
        <p:txBody>
          <a:bodyPr/>
          <a:lstStyle/>
          <a:p>
            <a:endParaRPr lang="en-US" smtClean="0">
              <a:latin typeface="Arial" pitchFamily="34" charset="0"/>
            </a:endParaRPr>
          </a:p>
        </p:txBody>
      </p:sp>
      <p:sp>
        <p:nvSpPr>
          <p:cNvPr id="32772" name="Header Placeholder 3"/>
          <p:cNvSpPr>
            <a:spLocks noGrp="1"/>
          </p:cNvSpPr>
          <p:nvPr>
            <p:ph type="hdr" sz="quarter"/>
          </p:nvPr>
        </p:nvSpPr>
        <p:spPr>
          <a:noFill/>
        </p:spPr>
        <p:txBody>
          <a:bodyPr/>
          <a:lstStyle/>
          <a:p>
            <a:r>
              <a:rPr lang="fr-FR" smtClean="0">
                <a:latin typeface="Arial" pitchFamily="34" charset="0"/>
              </a:rPr>
              <a:t>Onboarding kit</a:t>
            </a:r>
          </a:p>
        </p:txBody>
      </p:sp>
      <p:sp>
        <p:nvSpPr>
          <p:cNvPr id="32773" name="Footer Placeholder 4"/>
          <p:cNvSpPr>
            <a:spLocks noGrp="1"/>
          </p:cNvSpPr>
          <p:nvPr>
            <p:ph type="ftr" sz="quarter" idx="4"/>
          </p:nvPr>
        </p:nvSpPr>
        <p:spPr>
          <a:noFill/>
        </p:spPr>
        <p:txBody>
          <a:bodyPr/>
          <a:lstStyle/>
          <a:p>
            <a:r>
              <a:rPr lang="fr-FR" smtClean="0">
                <a:latin typeface="Arial" pitchFamily="34" charset="0"/>
              </a:rPr>
              <a:t>© 2007 Capgemini. All rights reserved.</a:t>
            </a:r>
          </a:p>
        </p:txBody>
      </p:sp>
      <p:sp>
        <p:nvSpPr>
          <p:cNvPr id="32774" name="Slide Number Placeholder 5"/>
          <p:cNvSpPr>
            <a:spLocks noGrp="1"/>
          </p:cNvSpPr>
          <p:nvPr>
            <p:ph type="sldNum" sz="quarter" idx="5"/>
          </p:nvPr>
        </p:nvSpPr>
        <p:spPr>
          <a:noFill/>
        </p:spPr>
        <p:txBody>
          <a:bodyPr/>
          <a:lstStyle/>
          <a:p>
            <a:fld id="{F4E8208A-DE58-462D-8E87-A537FE7B24C9}" type="slidenum">
              <a:rPr lang="fr-FR" smtClean="0">
                <a:latin typeface="Arial" pitchFamily="34" charset="0"/>
              </a:rPr>
              <a:pPr/>
              <a:t>26</a:t>
            </a:fld>
            <a:endParaRPr lang="fr-FR" smtClean="0">
              <a:latin typeface="Arial" pitchFamily="34" charset="0"/>
            </a:endParaRPr>
          </a:p>
        </p:txBody>
      </p:sp>
    </p:spTree>
    <p:extLst>
      <p:ext uri="{BB962C8B-B14F-4D97-AF65-F5344CB8AC3E}">
        <p14:creationId xmlns="" xmlns:p14="http://schemas.microsoft.com/office/powerpoint/2010/main" val="1592199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Slide Image Placeholder 1"/>
          <p:cNvSpPr>
            <a:spLocks noGrp="1" noRot="1" noChangeAspect="1" noTextEdit="1"/>
          </p:cNvSpPr>
          <p:nvPr>
            <p:ph type="sldImg"/>
          </p:nvPr>
        </p:nvSpPr>
        <p:spPr bwMode="auto">
          <a:noFill/>
          <a:ln>
            <a:solidFill>
              <a:srgbClr val="000000"/>
            </a:solidFill>
            <a:miter lim="800000"/>
            <a:headEnd/>
            <a:tailEnd/>
          </a:ln>
        </p:spPr>
      </p:sp>
      <p:sp>
        <p:nvSpPr>
          <p:cNvPr id="15565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u="sng" smtClean="0"/>
              <a:t>Key Points:</a:t>
            </a:r>
          </a:p>
          <a:p>
            <a:pPr eaLnBrk="1" hangingPunct="1">
              <a:spcBef>
                <a:spcPct val="0"/>
              </a:spcBef>
              <a:buFontTx/>
              <a:buChar char="•"/>
            </a:pPr>
            <a:r>
              <a:rPr lang="en-US" smtClean="0"/>
              <a:t>Keep exercise within the time limit</a:t>
            </a:r>
          </a:p>
          <a:p>
            <a:pPr eaLnBrk="1" hangingPunct="1">
              <a:spcBef>
                <a:spcPct val="0"/>
              </a:spcBef>
              <a:buFontTx/>
              <a:buChar char="•"/>
            </a:pPr>
            <a:r>
              <a:rPr lang="en-US" smtClean="0"/>
              <a:t>Promote white board or flipchart use</a:t>
            </a:r>
          </a:p>
          <a:p>
            <a:pPr eaLnBrk="1" hangingPunct="1">
              <a:spcBef>
                <a:spcPct val="0"/>
              </a:spcBef>
              <a:buFontTx/>
              <a:buChar char="•"/>
            </a:pPr>
            <a:r>
              <a:rPr lang="en-US" smtClean="0"/>
              <a:t>Ensure everyone participates</a:t>
            </a:r>
          </a:p>
        </p:txBody>
      </p:sp>
      <p:sp>
        <p:nvSpPr>
          <p:cNvPr id="28877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7F0915F-EC97-4AA2-8782-C5A7ACF78169}" type="slidenum">
              <a:rPr lang="en-US"/>
              <a:pPr fontAlgn="base">
                <a:spcBef>
                  <a:spcPct val="0"/>
                </a:spcBef>
                <a:spcAft>
                  <a:spcPct val="0"/>
                </a:spcAft>
                <a:defRPr/>
              </a:pPr>
              <a:t>27</a:t>
            </a:fld>
            <a:endParaRPr lang="en-US"/>
          </a:p>
        </p:txBody>
      </p:sp>
    </p:spTree>
    <p:extLst>
      <p:ext uri="{BB962C8B-B14F-4D97-AF65-F5344CB8AC3E}">
        <p14:creationId xmlns="" xmlns:p14="http://schemas.microsoft.com/office/powerpoint/2010/main" val="42572321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Slide Image Placeholder 1"/>
          <p:cNvSpPr>
            <a:spLocks noGrp="1" noRot="1" noChangeAspect="1" noTextEdit="1"/>
          </p:cNvSpPr>
          <p:nvPr>
            <p:ph type="sldImg"/>
          </p:nvPr>
        </p:nvSpPr>
        <p:spPr bwMode="auto">
          <a:noFill/>
          <a:ln>
            <a:solidFill>
              <a:srgbClr val="000000"/>
            </a:solidFill>
            <a:miter lim="800000"/>
            <a:headEnd/>
            <a:tailEnd/>
          </a:ln>
        </p:spPr>
      </p:sp>
      <p:sp>
        <p:nvSpPr>
          <p:cNvPr id="1536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8672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CD2C4DC-7E83-44CE-8BD1-3853FE7A911A}" type="slidenum">
              <a:rPr lang="en-US"/>
              <a:pPr fontAlgn="base">
                <a:spcBef>
                  <a:spcPct val="0"/>
                </a:spcBef>
                <a:spcAft>
                  <a:spcPct val="0"/>
                </a:spcAft>
                <a:defRPr/>
              </a:pPr>
              <a:t>28</a:t>
            </a:fld>
            <a:endParaRPr lang="en-US"/>
          </a:p>
        </p:txBody>
      </p:sp>
    </p:spTree>
    <p:extLst>
      <p:ext uri="{BB962C8B-B14F-4D97-AF65-F5344CB8AC3E}">
        <p14:creationId xmlns="" xmlns:p14="http://schemas.microsoft.com/office/powerpoint/2010/main" val="29549666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lide Image Placeholder 1"/>
          <p:cNvSpPr>
            <a:spLocks noGrp="1" noRot="1" noChangeAspect="1" noTextEdit="1"/>
          </p:cNvSpPr>
          <p:nvPr>
            <p:ph type="sldImg"/>
          </p:nvPr>
        </p:nvSpPr>
        <p:spPr bwMode="auto">
          <a:noFill/>
          <a:ln>
            <a:solidFill>
              <a:srgbClr val="000000"/>
            </a:solidFill>
            <a:miter lim="800000"/>
            <a:headEnd/>
            <a:tailEnd/>
          </a:ln>
        </p:spPr>
      </p:sp>
      <p:sp>
        <p:nvSpPr>
          <p:cNvPr id="154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u="sng" smtClean="0"/>
              <a:t>Key Points:</a:t>
            </a:r>
          </a:p>
          <a:p>
            <a:pPr eaLnBrk="1" hangingPunct="1">
              <a:spcBef>
                <a:spcPct val="0"/>
              </a:spcBef>
              <a:buFontTx/>
              <a:buChar char="•"/>
            </a:pPr>
            <a:r>
              <a:rPr lang="en-US" smtClean="0"/>
              <a:t>Keep exercise within the time limit</a:t>
            </a:r>
          </a:p>
          <a:p>
            <a:pPr eaLnBrk="1" hangingPunct="1">
              <a:spcBef>
                <a:spcPct val="0"/>
              </a:spcBef>
              <a:buFontTx/>
              <a:buChar char="•"/>
            </a:pPr>
            <a:r>
              <a:rPr lang="en-US" smtClean="0"/>
              <a:t>Promote white board or flipchart use</a:t>
            </a:r>
          </a:p>
          <a:p>
            <a:pPr eaLnBrk="1" hangingPunct="1">
              <a:spcBef>
                <a:spcPct val="0"/>
              </a:spcBef>
              <a:buFontTx/>
              <a:buChar char="•"/>
            </a:pPr>
            <a:r>
              <a:rPr lang="en-US" smtClean="0"/>
              <a:t>Ensure everyone participates</a:t>
            </a:r>
          </a:p>
        </p:txBody>
      </p:sp>
      <p:sp>
        <p:nvSpPr>
          <p:cNvPr id="28774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07D3499-9D24-4B36-9115-157F4F8A92CC}" type="slidenum">
              <a:rPr lang="en-US"/>
              <a:pPr fontAlgn="base">
                <a:spcBef>
                  <a:spcPct val="0"/>
                </a:spcBef>
                <a:spcAft>
                  <a:spcPct val="0"/>
                </a:spcAft>
                <a:defRPr/>
              </a:pPr>
              <a:t>29</a:t>
            </a:fld>
            <a:endParaRPr lang="en-US"/>
          </a:p>
        </p:txBody>
      </p:sp>
    </p:spTree>
    <p:extLst>
      <p:ext uri="{BB962C8B-B14F-4D97-AF65-F5344CB8AC3E}">
        <p14:creationId xmlns="" xmlns:p14="http://schemas.microsoft.com/office/powerpoint/2010/main" val="3930255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rPr>
              <a:pPr/>
              <a:t>3</a:t>
            </a:fld>
            <a:endParaRPr lang="en-US" dirty="0">
              <a:solidFill>
                <a:prstClr val="black"/>
              </a:solidFill>
            </a:endParaRPr>
          </a:p>
        </p:txBody>
      </p:sp>
    </p:spTree>
    <p:extLst>
      <p:ext uri="{BB962C8B-B14F-4D97-AF65-F5344CB8AC3E}">
        <p14:creationId xmlns="" xmlns:p14="http://schemas.microsoft.com/office/powerpoint/2010/main" val="9089158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lide Image Placeholder 1"/>
          <p:cNvSpPr>
            <a:spLocks noGrp="1" noRot="1" noChangeAspect="1" noTextEdit="1"/>
          </p:cNvSpPr>
          <p:nvPr>
            <p:ph type="sldImg"/>
          </p:nvPr>
        </p:nvSpPr>
        <p:spPr bwMode="auto">
          <a:noFill/>
          <a:ln>
            <a:solidFill>
              <a:srgbClr val="000000"/>
            </a:solidFill>
            <a:miter lim="800000"/>
            <a:headEnd/>
            <a:tailEnd/>
          </a:ln>
        </p:spPr>
      </p:sp>
      <p:sp>
        <p:nvSpPr>
          <p:cNvPr id="154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u="sng" smtClean="0"/>
              <a:t>Key Points:</a:t>
            </a:r>
          </a:p>
          <a:p>
            <a:pPr eaLnBrk="1" hangingPunct="1">
              <a:spcBef>
                <a:spcPct val="0"/>
              </a:spcBef>
              <a:buFontTx/>
              <a:buChar char="•"/>
            </a:pPr>
            <a:r>
              <a:rPr lang="en-US" smtClean="0"/>
              <a:t>Keep exercise within the time limit</a:t>
            </a:r>
          </a:p>
          <a:p>
            <a:pPr eaLnBrk="1" hangingPunct="1">
              <a:spcBef>
                <a:spcPct val="0"/>
              </a:spcBef>
              <a:buFontTx/>
              <a:buChar char="•"/>
            </a:pPr>
            <a:r>
              <a:rPr lang="en-US" smtClean="0"/>
              <a:t>Promote white board or flipchart use</a:t>
            </a:r>
          </a:p>
          <a:p>
            <a:pPr eaLnBrk="1" hangingPunct="1">
              <a:spcBef>
                <a:spcPct val="0"/>
              </a:spcBef>
              <a:buFontTx/>
              <a:buChar char="•"/>
            </a:pPr>
            <a:r>
              <a:rPr lang="en-US" smtClean="0"/>
              <a:t>Ensure everyone participates</a:t>
            </a:r>
          </a:p>
        </p:txBody>
      </p:sp>
      <p:sp>
        <p:nvSpPr>
          <p:cNvPr id="28774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07D3499-9D24-4B36-9115-157F4F8A92CC}" type="slidenum">
              <a:rPr lang="en-US"/>
              <a:pPr fontAlgn="base">
                <a:spcBef>
                  <a:spcPct val="0"/>
                </a:spcBef>
                <a:spcAft>
                  <a:spcPct val="0"/>
                </a:spcAft>
                <a:defRPr/>
              </a:pPr>
              <a:t>30</a:t>
            </a:fld>
            <a:endParaRPr lang="en-US"/>
          </a:p>
        </p:txBody>
      </p:sp>
    </p:spTree>
    <p:extLst>
      <p:ext uri="{BB962C8B-B14F-4D97-AF65-F5344CB8AC3E}">
        <p14:creationId xmlns="" xmlns:p14="http://schemas.microsoft.com/office/powerpoint/2010/main" val="26113157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Slide Image Placeholder 1"/>
          <p:cNvSpPr>
            <a:spLocks noGrp="1" noRot="1" noChangeAspect="1" noTextEdit="1"/>
          </p:cNvSpPr>
          <p:nvPr>
            <p:ph type="sldImg"/>
          </p:nvPr>
        </p:nvSpPr>
        <p:spPr bwMode="auto">
          <a:noFill/>
          <a:ln>
            <a:solidFill>
              <a:srgbClr val="000000"/>
            </a:solidFill>
            <a:miter lim="800000"/>
            <a:headEnd/>
            <a:tailEnd/>
          </a:ln>
        </p:spPr>
      </p:sp>
      <p:sp>
        <p:nvSpPr>
          <p:cNvPr id="1536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8672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CD2C4DC-7E83-44CE-8BD1-3853FE7A911A}" type="slidenum">
              <a:rPr lang="en-US"/>
              <a:pPr fontAlgn="base">
                <a:spcBef>
                  <a:spcPct val="0"/>
                </a:spcBef>
                <a:spcAft>
                  <a:spcPct val="0"/>
                </a:spcAft>
                <a:defRPr/>
              </a:pPr>
              <a:t>31</a:t>
            </a:fld>
            <a:endParaRPr lang="en-US"/>
          </a:p>
        </p:txBody>
      </p:sp>
    </p:spTree>
    <p:extLst>
      <p:ext uri="{BB962C8B-B14F-4D97-AF65-F5344CB8AC3E}">
        <p14:creationId xmlns="" xmlns:p14="http://schemas.microsoft.com/office/powerpoint/2010/main" val="29581751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Slide Image Placeholder 1"/>
          <p:cNvSpPr>
            <a:spLocks noGrp="1" noRot="1" noChangeAspect="1" noTextEdit="1"/>
          </p:cNvSpPr>
          <p:nvPr>
            <p:ph type="sldImg"/>
          </p:nvPr>
        </p:nvSpPr>
        <p:spPr bwMode="auto">
          <a:noFill/>
          <a:ln>
            <a:solidFill>
              <a:srgbClr val="000000"/>
            </a:solidFill>
            <a:miter lim="800000"/>
            <a:headEnd/>
            <a:tailEnd/>
          </a:ln>
        </p:spPr>
      </p:sp>
      <p:sp>
        <p:nvSpPr>
          <p:cNvPr id="1648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u="sng" dirty="0" smtClean="0"/>
              <a:t>Introduction:</a:t>
            </a:r>
          </a:p>
          <a:p>
            <a:pPr eaLnBrk="1" hangingPunct="1">
              <a:buFontTx/>
              <a:buChar char="•"/>
            </a:pPr>
            <a:r>
              <a:rPr lang="en-US" dirty="0" smtClean="0"/>
              <a:t>As a new hire, you would typically join Capgemini as an AC or C, depending on your academic qualifications and professional background.  After gaining sufficient experience and expertise, your career path could lead to becoming a Manager, later a Principal, and perhaps eventually a Vice-President.</a:t>
            </a:r>
          </a:p>
          <a:p>
            <a:pPr eaLnBrk="1" hangingPunct="1">
              <a:buFontTx/>
              <a:buChar char="•"/>
            </a:pPr>
            <a:endParaRPr lang="en-US" dirty="0" smtClean="0"/>
          </a:p>
          <a:p>
            <a:pPr eaLnBrk="1" hangingPunct="1"/>
            <a:r>
              <a:rPr lang="en-US" u="sng" dirty="0" smtClean="0"/>
              <a:t>Key Points:</a:t>
            </a:r>
          </a:p>
          <a:p>
            <a:pPr eaLnBrk="1" hangingPunct="1">
              <a:spcBef>
                <a:spcPct val="0"/>
              </a:spcBef>
              <a:buFontTx/>
              <a:buChar char="•"/>
            </a:pPr>
            <a:r>
              <a:rPr lang="en-US" dirty="0" smtClean="0"/>
              <a:t>The </a:t>
            </a:r>
            <a:r>
              <a:rPr lang="en-US" b="1" dirty="0" smtClean="0"/>
              <a:t>Associate Consultant </a:t>
            </a:r>
            <a:r>
              <a:rPr lang="en-US" dirty="0" smtClean="0"/>
              <a:t>position offers you an experience that spans across various industries, clients, and business issues.  Learning is derived from intensive orientation programs to ongoing training and on-the-job apprenticeship.</a:t>
            </a:r>
          </a:p>
          <a:p>
            <a:pPr eaLnBrk="1" hangingPunct="1">
              <a:spcBef>
                <a:spcPct val="0"/>
              </a:spcBef>
              <a:buFontTx/>
              <a:buChar char="•"/>
            </a:pPr>
            <a:r>
              <a:rPr lang="en-US" b="1" dirty="0" smtClean="0"/>
              <a:t>Senior Consultants </a:t>
            </a:r>
            <a:r>
              <a:rPr lang="en-US" dirty="0" smtClean="0"/>
              <a:t>begin to develop specialized knowledge and manage a significant portion of project. They are encouraged to coach junior team members and serve as a thought partner to colleagues.</a:t>
            </a:r>
          </a:p>
          <a:p>
            <a:pPr eaLnBrk="1" hangingPunct="1">
              <a:spcBef>
                <a:spcPct val="0"/>
              </a:spcBef>
              <a:buFontTx/>
              <a:buChar char="•"/>
            </a:pPr>
            <a:r>
              <a:rPr lang="en-US" b="1" dirty="0" smtClean="0"/>
              <a:t>Managers</a:t>
            </a:r>
            <a:r>
              <a:rPr lang="en-US" dirty="0" smtClean="0"/>
              <a:t>  build leadership skills by taking ownership of engagements while learning to keep one eye on the big picture and the other on the details.</a:t>
            </a:r>
          </a:p>
          <a:p>
            <a:pPr eaLnBrk="1" hangingPunct="1"/>
            <a:r>
              <a:rPr lang="en-US" b="1" dirty="0" smtClean="0"/>
              <a:t>Vice-Presidents </a:t>
            </a:r>
            <a:r>
              <a:rPr lang="en-US" dirty="0" smtClean="0"/>
              <a:t>define the culture and identity of Capgemini, as well as helping to manage the company. They are intellectual leaders, bringing innovative business and strategic thinking to the company and its clients.</a:t>
            </a:r>
          </a:p>
        </p:txBody>
      </p:sp>
      <p:sp>
        <p:nvSpPr>
          <p:cNvPr id="21402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F70105E-B08C-4ECA-90D9-59D02AC1F8D5}" type="slidenum">
              <a:rPr lang="en-US"/>
              <a:pPr fontAlgn="base">
                <a:spcBef>
                  <a:spcPct val="0"/>
                </a:spcBef>
                <a:spcAft>
                  <a:spcPct val="0"/>
                </a:spcAft>
                <a:defRPr/>
              </a:pPr>
              <a:t>33</a:t>
            </a:fld>
            <a:endParaRPr lang="en-US"/>
          </a:p>
        </p:txBody>
      </p:sp>
    </p:spTree>
    <p:extLst>
      <p:ext uri="{BB962C8B-B14F-4D97-AF65-F5344CB8AC3E}">
        <p14:creationId xmlns="" xmlns:p14="http://schemas.microsoft.com/office/powerpoint/2010/main" val="29309880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Slide Image Placeholder 1"/>
          <p:cNvSpPr>
            <a:spLocks noGrp="1" noRot="1" noChangeAspect="1" noTextEdit="1"/>
          </p:cNvSpPr>
          <p:nvPr>
            <p:ph type="sldImg"/>
          </p:nvPr>
        </p:nvSpPr>
        <p:spPr bwMode="auto">
          <a:noFill/>
          <a:ln>
            <a:solidFill>
              <a:srgbClr val="000000"/>
            </a:solidFill>
            <a:miter lim="800000"/>
            <a:headEnd/>
            <a:tailEnd/>
          </a:ln>
        </p:spPr>
      </p:sp>
      <p:sp>
        <p:nvSpPr>
          <p:cNvPr id="14336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u="sng" dirty="0" smtClean="0"/>
              <a:t>Key Points:</a:t>
            </a:r>
          </a:p>
          <a:p>
            <a:pPr eaLnBrk="1" hangingPunct="1">
              <a:spcBef>
                <a:spcPct val="0"/>
              </a:spcBef>
              <a:buFontTx/>
              <a:buChar char="•"/>
            </a:pPr>
            <a:r>
              <a:rPr lang="en-US" dirty="0" smtClean="0"/>
              <a:t>Keep exercise within the time limit</a:t>
            </a:r>
          </a:p>
          <a:p>
            <a:pPr eaLnBrk="1" hangingPunct="1">
              <a:spcBef>
                <a:spcPct val="0"/>
              </a:spcBef>
              <a:buFontTx/>
              <a:buChar char="•"/>
            </a:pPr>
            <a:r>
              <a:rPr lang="en-US" dirty="0" smtClean="0"/>
              <a:t>Ensure everyone participates</a:t>
            </a:r>
          </a:p>
          <a:p>
            <a:pPr eaLnBrk="1" hangingPunct="1">
              <a:spcBef>
                <a:spcPct val="0"/>
              </a:spcBef>
              <a:buFontTx/>
              <a:buChar char="•"/>
            </a:pPr>
            <a:r>
              <a:rPr lang="en-US" dirty="0" smtClean="0"/>
              <a:t>Show them your card</a:t>
            </a:r>
          </a:p>
          <a:p>
            <a:pPr eaLnBrk="1" hangingPunct="1">
              <a:spcBef>
                <a:spcPct val="0"/>
              </a:spcBef>
              <a:buFontTx/>
              <a:buChar char="•"/>
            </a:pPr>
            <a:r>
              <a:rPr lang="en-US" dirty="0" smtClean="0"/>
              <a:t>Share card with clients and colleagues</a:t>
            </a:r>
          </a:p>
        </p:txBody>
      </p:sp>
      <p:sp>
        <p:nvSpPr>
          <p:cNvPr id="28058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0298F3C-6C2F-41AB-A30E-AF81633D8C58}" type="slidenum">
              <a:rPr lang="en-US"/>
              <a:pPr fontAlgn="base">
                <a:spcBef>
                  <a:spcPct val="0"/>
                </a:spcBef>
                <a:spcAft>
                  <a:spcPct val="0"/>
                </a:spcAft>
                <a:defRPr/>
              </a:pPr>
              <a:t>34</a:t>
            </a:fld>
            <a:endParaRPr lang="en-US"/>
          </a:p>
        </p:txBody>
      </p:sp>
    </p:spTree>
    <p:extLst>
      <p:ext uri="{BB962C8B-B14F-4D97-AF65-F5344CB8AC3E}">
        <p14:creationId xmlns="" xmlns:p14="http://schemas.microsoft.com/office/powerpoint/2010/main" val="38842806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ln/>
        </p:spPr>
      </p:sp>
      <p:sp>
        <p:nvSpPr>
          <p:cNvPr id="33795" name="Notes Placeholder 2"/>
          <p:cNvSpPr>
            <a:spLocks noGrp="1"/>
          </p:cNvSpPr>
          <p:nvPr>
            <p:ph type="body" idx="1"/>
          </p:nvPr>
        </p:nvSpPr>
        <p:spPr>
          <a:noFill/>
          <a:ln/>
        </p:spPr>
        <p:txBody>
          <a:bodyPr/>
          <a:lstStyle/>
          <a:p>
            <a:endParaRPr lang="en-US" dirty="0" smtClean="0">
              <a:latin typeface="Arial" pitchFamily="34" charset="0"/>
            </a:endParaRPr>
          </a:p>
        </p:txBody>
      </p:sp>
      <p:sp>
        <p:nvSpPr>
          <p:cNvPr id="33796" name="Header Placeholder 3"/>
          <p:cNvSpPr>
            <a:spLocks noGrp="1"/>
          </p:cNvSpPr>
          <p:nvPr>
            <p:ph type="hdr" sz="quarter"/>
          </p:nvPr>
        </p:nvSpPr>
        <p:spPr>
          <a:noFill/>
        </p:spPr>
        <p:txBody>
          <a:bodyPr/>
          <a:lstStyle/>
          <a:p>
            <a:r>
              <a:rPr lang="fr-FR" smtClean="0">
                <a:latin typeface="Arial" pitchFamily="34" charset="0"/>
              </a:rPr>
              <a:t>Onboarding kit</a:t>
            </a:r>
          </a:p>
        </p:txBody>
      </p:sp>
      <p:sp>
        <p:nvSpPr>
          <p:cNvPr id="33797" name="Footer Placeholder 4"/>
          <p:cNvSpPr>
            <a:spLocks noGrp="1"/>
          </p:cNvSpPr>
          <p:nvPr>
            <p:ph type="ftr" sz="quarter" idx="4"/>
          </p:nvPr>
        </p:nvSpPr>
        <p:spPr>
          <a:noFill/>
        </p:spPr>
        <p:txBody>
          <a:bodyPr/>
          <a:lstStyle/>
          <a:p>
            <a:r>
              <a:rPr lang="fr-FR" smtClean="0">
                <a:latin typeface="Arial" pitchFamily="34" charset="0"/>
              </a:rPr>
              <a:t>© 2007 Capgemini. All rights reserved.</a:t>
            </a:r>
          </a:p>
        </p:txBody>
      </p:sp>
      <p:sp>
        <p:nvSpPr>
          <p:cNvPr id="33798" name="Slide Number Placeholder 5"/>
          <p:cNvSpPr>
            <a:spLocks noGrp="1"/>
          </p:cNvSpPr>
          <p:nvPr>
            <p:ph type="sldNum" sz="quarter" idx="5"/>
          </p:nvPr>
        </p:nvSpPr>
        <p:spPr>
          <a:noFill/>
        </p:spPr>
        <p:txBody>
          <a:bodyPr/>
          <a:lstStyle/>
          <a:p>
            <a:fld id="{962F0A08-8005-4EE3-B3BD-8BE2249B3307}" type="slidenum">
              <a:rPr lang="fr-FR" smtClean="0">
                <a:latin typeface="Arial" pitchFamily="34" charset="0"/>
              </a:rPr>
              <a:pPr/>
              <a:t>35</a:t>
            </a:fld>
            <a:endParaRPr lang="fr-FR" smtClean="0">
              <a:latin typeface="Arial" pitchFamily="34" charset="0"/>
            </a:endParaRPr>
          </a:p>
        </p:txBody>
      </p:sp>
    </p:spTree>
    <p:extLst>
      <p:ext uri="{BB962C8B-B14F-4D97-AF65-F5344CB8AC3E}">
        <p14:creationId xmlns="" xmlns:p14="http://schemas.microsoft.com/office/powerpoint/2010/main" val="7335654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Slide Image Placeholder 1"/>
          <p:cNvSpPr>
            <a:spLocks noGrp="1" noRot="1" noChangeAspect="1" noTextEdit="1"/>
          </p:cNvSpPr>
          <p:nvPr>
            <p:ph type="sldImg"/>
          </p:nvPr>
        </p:nvSpPr>
        <p:spPr bwMode="auto">
          <a:noFill/>
          <a:ln>
            <a:solidFill>
              <a:srgbClr val="000000"/>
            </a:solidFill>
            <a:miter lim="800000"/>
            <a:headEnd/>
            <a:tailEnd/>
          </a:ln>
        </p:spPr>
      </p:sp>
      <p:sp>
        <p:nvSpPr>
          <p:cNvPr id="14541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u="sng" smtClean="0"/>
              <a:t>Key Points:</a:t>
            </a:r>
          </a:p>
          <a:p>
            <a:pPr eaLnBrk="1" hangingPunct="1">
              <a:spcBef>
                <a:spcPct val="0"/>
              </a:spcBef>
              <a:buFontTx/>
              <a:buChar char="•"/>
            </a:pPr>
            <a:r>
              <a:rPr lang="en-US" smtClean="0"/>
              <a:t>Most of all collateral is here</a:t>
            </a:r>
          </a:p>
          <a:p>
            <a:pPr eaLnBrk="1" hangingPunct="1">
              <a:spcBef>
                <a:spcPct val="0"/>
              </a:spcBef>
              <a:buFontTx/>
              <a:buChar char="•"/>
            </a:pPr>
            <a:r>
              <a:rPr lang="en-US" smtClean="0"/>
              <a:t>Make sure you check “ search all KM community”</a:t>
            </a:r>
          </a:p>
          <a:p>
            <a:pPr eaLnBrk="1" hangingPunct="1">
              <a:spcBef>
                <a:spcPct val="0"/>
              </a:spcBef>
              <a:buFontTx/>
              <a:buChar char="•"/>
            </a:pPr>
            <a:r>
              <a:rPr lang="en-US" smtClean="0"/>
              <a:t>Some files are protected with owners who need to give permission</a:t>
            </a:r>
          </a:p>
          <a:p>
            <a:pPr eaLnBrk="1" hangingPunct="1">
              <a:spcBef>
                <a:spcPct val="0"/>
              </a:spcBef>
              <a:buFontTx/>
              <a:buChar char="•"/>
            </a:pPr>
            <a:endParaRPr lang="en-US" smtClean="0"/>
          </a:p>
          <a:p>
            <a:pPr eaLnBrk="1" hangingPunct="1">
              <a:spcBef>
                <a:spcPct val="0"/>
              </a:spcBef>
              <a:buFontTx/>
              <a:buChar char="•"/>
            </a:pPr>
            <a:r>
              <a:rPr lang="en-US" u="sng" smtClean="0"/>
              <a:t>Conclusion:</a:t>
            </a:r>
          </a:p>
          <a:p>
            <a:pPr eaLnBrk="1" hangingPunct="1">
              <a:spcBef>
                <a:spcPct val="0"/>
              </a:spcBef>
              <a:buFontTx/>
              <a:buChar char="•"/>
            </a:pPr>
            <a:r>
              <a:rPr lang="en-US" smtClean="0"/>
              <a:t>Share your work here</a:t>
            </a:r>
          </a:p>
        </p:txBody>
      </p:sp>
      <p:sp>
        <p:nvSpPr>
          <p:cNvPr id="24781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37AB88F-AF2D-4E13-B449-6C45CFBECCD9}" type="slidenum">
              <a:rPr lang="en-US"/>
              <a:pPr fontAlgn="base">
                <a:spcBef>
                  <a:spcPct val="0"/>
                </a:spcBef>
                <a:spcAft>
                  <a:spcPct val="0"/>
                </a:spcAft>
                <a:defRPr/>
              </a:pPr>
              <a:t>37</a:t>
            </a:fld>
            <a:endParaRPr lang="en-US"/>
          </a:p>
        </p:txBody>
      </p:sp>
    </p:spTree>
    <p:extLst>
      <p:ext uri="{BB962C8B-B14F-4D97-AF65-F5344CB8AC3E}">
        <p14:creationId xmlns="" xmlns:p14="http://schemas.microsoft.com/office/powerpoint/2010/main" val="3348239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Slide Image Placeholder 1"/>
          <p:cNvSpPr>
            <a:spLocks noGrp="1" noRot="1" noChangeAspect="1" noTextEdit="1"/>
          </p:cNvSpPr>
          <p:nvPr>
            <p:ph type="sldImg"/>
          </p:nvPr>
        </p:nvSpPr>
        <p:spPr bwMode="auto">
          <a:noFill/>
          <a:ln>
            <a:solidFill>
              <a:srgbClr val="000000"/>
            </a:solidFill>
            <a:miter lim="800000"/>
            <a:headEnd/>
            <a:tailEnd/>
          </a:ln>
        </p:spPr>
      </p:sp>
      <p:sp>
        <p:nvSpPr>
          <p:cNvPr id="1751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1504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0A81DF4-45AC-4A10-B3A4-223649C52E0B}" type="slidenum">
              <a:rPr lang="en-US"/>
              <a:pPr fontAlgn="base">
                <a:spcBef>
                  <a:spcPct val="0"/>
                </a:spcBef>
                <a:spcAft>
                  <a:spcPct val="0"/>
                </a:spcAft>
                <a:defRPr/>
              </a:pPr>
              <a:t>38</a:t>
            </a:fld>
            <a:endParaRPr lang="en-US"/>
          </a:p>
        </p:txBody>
      </p:sp>
    </p:spTree>
    <p:extLst>
      <p:ext uri="{BB962C8B-B14F-4D97-AF65-F5344CB8AC3E}">
        <p14:creationId xmlns="" xmlns:p14="http://schemas.microsoft.com/office/powerpoint/2010/main" val="41891468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Slide Image Placeholder 1"/>
          <p:cNvSpPr>
            <a:spLocks noGrp="1" noRot="1" noChangeAspect="1" noTextEdit="1"/>
          </p:cNvSpPr>
          <p:nvPr>
            <p:ph type="sldImg"/>
          </p:nvPr>
        </p:nvSpPr>
        <p:spPr bwMode="auto">
          <a:noFill/>
          <a:ln>
            <a:solidFill>
              <a:srgbClr val="000000"/>
            </a:solidFill>
            <a:miter lim="800000"/>
            <a:headEnd/>
            <a:tailEnd/>
          </a:ln>
        </p:spPr>
      </p:sp>
      <p:sp>
        <p:nvSpPr>
          <p:cNvPr id="15667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smtClean="0"/>
          </a:p>
        </p:txBody>
      </p:sp>
      <p:sp>
        <p:nvSpPr>
          <p:cNvPr id="4" name="Slide Number Placeholder 3"/>
          <p:cNvSpPr>
            <a:spLocks noGrp="1"/>
          </p:cNvSpPr>
          <p:nvPr>
            <p:ph type="sldNum" sz="quarter" idx="5"/>
          </p:nvPr>
        </p:nvSpPr>
        <p:spPr/>
        <p:txBody>
          <a:bodyPr/>
          <a:lstStyle/>
          <a:p>
            <a:pPr>
              <a:defRPr/>
            </a:pPr>
            <a:fld id="{1FE23600-A34D-46B1-88DB-1B8B965178EA}" type="slidenum">
              <a:rPr lang="en-US" smtClean="0"/>
              <a:pPr>
                <a:defRPr/>
              </a:pPr>
              <a:t>39</a:t>
            </a:fld>
            <a:endParaRPr lang="en-US"/>
          </a:p>
        </p:txBody>
      </p:sp>
    </p:spTree>
    <p:extLst>
      <p:ext uri="{BB962C8B-B14F-4D97-AF65-F5344CB8AC3E}">
        <p14:creationId xmlns="" xmlns:p14="http://schemas.microsoft.com/office/powerpoint/2010/main" val="33883860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Slide Image Placeholder 1"/>
          <p:cNvSpPr>
            <a:spLocks noGrp="1" noRot="1" noChangeAspect="1" noTextEdit="1"/>
          </p:cNvSpPr>
          <p:nvPr>
            <p:ph type="sldImg"/>
          </p:nvPr>
        </p:nvSpPr>
        <p:spPr bwMode="auto">
          <a:noFill/>
          <a:ln>
            <a:solidFill>
              <a:srgbClr val="000000"/>
            </a:solidFill>
            <a:miter lim="800000"/>
            <a:headEnd/>
            <a:tailEnd/>
          </a:ln>
        </p:spPr>
      </p:sp>
      <p:sp>
        <p:nvSpPr>
          <p:cNvPr id="15769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0890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FC3381B-753E-4646-95A9-C9CEA835698D}" type="slidenum">
              <a:rPr lang="en-US"/>
              <a:pPr fontAlgn="base">
                <a:spcBef>
                  <a:spcPct val="0"/>
                </a:spcBef>
                <a:spcAft>
                  <a:spcPct val="0"/>
                </a:spcAft>
                <a:defRPr/>
              </a:pPr>
              <a:t>40</a:t>
            </a:fld>
            <a:endParaRPr lang="en-US"/>
          </a:p>
        </p:txBody>
      </p:sp>
    </p:spTree>
    <p:extLst>
      <p:ext uri="{BB962C8B-B14F-4D97-AF65-F5344CB8AC3E}">
        <p14:creationId xmlns="" xmlns:p14="http://schemas.microsoft.com/office/powerpoint/2010/main" val="24344245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p:cNvSpPr>
            <a:spLocks noGrp="1" noRot="1" noChangeAspect="1" noTextEdit="1"/>
          </p:cNvSpPr>
          <p:nvPr>
            <p:ph type="sldImg"/>
          </p:nvPr>
        </p:nvSpPr>
        <p:spPr bwMode="auto">
          <a:noFill/>
          <a:ln>
            <a:solidFill>
              <a:srgbClr val="000000"/>
            </a:solidFill>
            <a:miter lim="800000"/>
            <a:headEnd/>
            <a:tailEnd/>
          </a:ln>
        </p:spPr>
      </p:sp>
      <p:sp>
        <p:nvSpPr>
          <p:cNvPr id="16179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1197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D7ADC1A-E130-4049-AFDB-A107E9305D79}" type="slidenum">
              <a:rPr lang="en-US"/>
              <a:pPr fontAlgn="base">
                <a:spcBef>
                  <a:spcPct val="0"/>
                </a:spcBef>
                <a:spcAft>
                  <a:spcPct val="0"/>
                </a:spcAft>
                <a:defRPr/>
              </a:pPr>
              <a:t>41</a:t>
            </a:fld>
            <a:endParaRPr lang="en-US"/>
          </a:p>
        </p:txBody>
      </p:sp>
    </p:spTree>
    <p:extLst>
      <p:ext uri="{BB962C8B-B14F-4D97-AF65-F5344CB8AC3E}">
        <p14:creationId xmlns="" xmlns:p14="http://schemas.microsoft.com/office/powerpoint/2010/main" val="41611420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6125"/>
            <a:ext cx="5372100" cy="3719513"/>
          </a:xfrm>
        </p:spPr>
      </p:sp>
      <p:sp>
        <p:nvSpPr>
          <p:cNvPr id="3" name="Notes Placeholder 2"/>
          <p:cNvSpPr>
            <a:spLocks noGrp="1"/>
          </p:cNvSpPr>
          <p:nvPr>
            <p:ph type="body" idx="1"/>
          </p:nvPr>
        </p:nvSpPr>
        <p:spPr/>
        <p:txBody>
          <a:bodyPr>
            <a:normAutofit/>
          </a:bodyPr>
          <a:lstStyle/>
          <a:p>
            <a:endParaRPr lang="pt-PT" dirty="0"/>
          </a:p>
        </p:txBody>
      </p:sp>
      <p:sp>
        <p:nvSpPr>
          <p:cNvPr id="4" name="Slide Number Placeholder 3"/>
          <p:cNvSpPr>
            <a:spLocks noGrp="1"/>
          </p:cNvSpPr>
          <p:nvPr>
            <p:ph type="sldNum" sz="quarter" idx="10"/>
          </p:nvPr>
        </p:nvSpPr>
        <p:spPr/>
        <p:txBody>
          <a:bodyPr/>
          <a:lstStyle/>
          <a:p>
            <a:pPr marL="0" marR="0" lvl="0" indent="0" algn="r" defTabSz="957756" rtl="0" eaLnBrk="1" fontAlgn="auto" latinLnBrk="0" hangingPunct="1">
              <a:lnSpc>
                <a:spcPct val="100000"/>
              </a:lnSpc>
              <a:spcBef>
                <a:spcPts val="0"/>
              </a:spcBef>
              <a:spcAft>
                <a:spcPts val="0"/>
              </a:spcAft>
              <a:buClrTx/>
              <a:buSzTx/>
              <a:buFontTx/>
              <a:buNone/>
              <a:tabLst/>
              <a:defRPr/>
            </a:pPr>
            <a:fld id="{71E7D22E-2FCF-4181-8686-08BDCDF9406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57756"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 xmlns:p14="http://schemas.microsoft.com/office/powerpoint/2010/main" val="38054545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Slide Image Placeholder 1"/>
          <p:cNvSpPr>
            <a:spLocks noGrp="1" noRot="1" noChangeAspect="1" noTextEdit="1"/>
          </p:cNvSpPr>
          <p:nvPr>
            <p:ph type="sldImg"/>
          </p:nvPr>
        </p:nvSpPr>
        <p:spPr bwMode="auto">
          <a:noFill/>
          <a:ln>
            <a:solidFill>
              <a:srgbClr val="000000"/>
            </a:solidFill>
            <a:miter lim="800000"/>
            <a:headEnd/>
            <a:tailEnd/>
          </a:ln>
        </p:spPr>
      </p:sp>
      <p:sp>
        <p:nvSpPr>
          <p:cNvPr id="16793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2118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0AB0719-21E8-4187-8FE3-8D8448EA4D93}" type="slidenum">
              <a:rPr lang="en-US"/>
              <a:pPr fontAlgn="base">
                <a:spcBef>
                  <a:spcPct val="0"/>
                </a:spcBef>
                <a:spcAft>
                  <a:spcPct val="0"/>
                </a:spcAft>
                <a:defRPr/>
              </a:pPr>
              <a:t>42</a:t>
            </a:fld>
            <a:endParaRPr lang="en-US"/>
          </a:p>
        </p:txBody>
      </p:sp>
    </p:spTree>
    <p:extLst>
      <p:ext uri="{BB962C8B-B14F-4D97-AF65-F5344CB8AC3E}">
        <p14:creationId xmlns="" xmlns:p14="http://schemas.microsoft.com/office/powerpoint/2010/main" val="12339076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Slide Image Placeholder 1"/>
          <p:cNvSpPr>
            <a:spLocks noGrp="1" noRot="1" noChangeAspect="1" noTextEdit="1"/>
          </p:cNvSpPr>
          <p:nvPr>
            <p:ph type="sldImg"/>
          </p:nvPr>
        </p:nvSpPr>
        <p:spPr bwMode="auto">
          <a:noFill/>
          <a:ln>
            <a:solidFill>
              <a:srgbClr val="000000"/>
            </a:solidFill>
            <a:miter lim="800000"/>
            <a:headEnd/>
            <a:tailEnd/>
          </a:ln>
        </p:spPr>
      </p:sp>
      <p:sp>
        <p:nvSpPr>
          <p:cNvPr id="16998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2118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A713D83-4420-46FD-9169-8B38B0916949}" type="slidenum">
              <a:rPr lang="en-US"/>
              <a:pPr fontAlgn="base">
                <a:spcBef>
                  <a:spcPct val="0"/>
                </a:spcBef>
                <a:spcAft>
                  <a:spcPct val="0"/>
                </a:spcAft>
                <a:defRPr/>
              </a:pPr>
              <a:t>46</a:t>
            </a:fld>
            <a:endParaRPr lang="en-US"/>
          </a:p>
        </p:txBody>
      </p:sp>
    </p:spTree>
    <p:extLst>
      <p:ext uri="{BB962C8B-B14F-4D97-AF65-F5344CB8AC3E}">
        <p14:creationId xmlns="" xmlns:p14="http://schemas.microsoft.com/office/powerpoint/2010/main" val="1624056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Slide Image Placeholder 1"/>
          <p:cNvSpPr>
            <a:spLocks noGrp="1" noRot="1" noChangeAspect="1" noTextEdit="1"/>
          </p:cNvSpPr>
          <p:nvPr>
            <p:ph type="sldImg"/>
          </p:nvPr>
        </p:nvSpPr>
        <p:spPr bwMode="auto">
          <a:noFill/>
          <a:ln>
            <a:solidFill>
              <a:srgbClr val="000000"/>
            </a:solidFill>
            <a:miter lim="800000"/>
            <a:headEnd/>
            <a:tailEnd/>
          </a:ln>
        </p:spPr>
      </p:sp>
      <p:sp>
        <p:nvSpPr>
          <p:cNvPr id="17203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3245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E9FA7FA-5CAF-43C4-ABF9-A610034ED6AA}" type="slidenum">
              <a:rPr lang="en-US"/>
              <a:pPr fontAlgn="base">
                <a:spcBef>
                  <a:spcPct val="0"/>
                </a:spcBef>
                <a:spcAft>
                  <a:spcPct val="0"/>
                </a:spcAft>
                <a:defRPr/>
              </a:pPr>
              <a:t>53</a:t>
            </a:fld>
            <a:endParaRPr lang="en-US"/>
          </a:p>
        </p:txBody>
      </p:sp>
    </p:spTree>
    <p:extLst>
      <p:ext uri="{BB962C8B-B14F-4D97-AF65-F5344CB8AC3E}">
        <p14:creationId xmlns="" xmlns:p14="http://schemas.microsoft.com/office/powerpoint/2010/main" val="24849838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Slide Image Placeholder 1"/>
          <p:cNvSpPr>
            <a:spLocks noGrp="1" noRot="1" noChangeAspect="1" noTextEdit="1"/>
          </p:cNvSpPr>
          <p:nvPr>
            <p:ph type="sldImg"/>
          </p:nvPr>
        </p:nvSpPr>
        <p:spPr bwMode="auto">
          <a:noFill/>
          <a:ln>
            <a:solidFill>
              <a:srgbClr val="000000"/>
            </a:solidFill>
            <a:miter lim="800000"/>
            <a:headEnd/>
            <a:tailEnd/>
          </a:ln>
        </p:spPr>
      </p:sp>
      <p:sp>
        <p:nvSpPr>
          <p:cNvPr id="17305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3245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A5289B1-848E-49A6-A6D3-7209956CD1B3}" type="slidenum">
              <a:rPr lang="en-US"/>
              <a:pPr fontAlgn="base">
                <a:spcBef>
                  <a:spcPct val="0"/>
                </a:spcBef>
                <a:spcAft>
                  <a:spcPct val="0"/>
                </a:spcAft>
                <a:defRPr/>
              </a:pPr>
              <a:t>54</a:t>
            </a:fld>
            <a:endParaRPr lang="en-US"/>
          </a:p>
        </p:txBody>
      </p:sp>
    </p:spTree>
    <p:extLst>
      <p:ext uri="{BB962C8B-B14F-4D97-AF65-F5344CB8AC3E}">
        <p14:creationId xmlns="" xmlns:p14="http://schemas.microsoft.com/office/powerpoint/2010/main" val="27135059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Slide Image Placeholder 1"/>
          <p:cNvSpPr>
            <a:spLocks noGrp="1" noRot="1" noChangeAspect="1" noTextEdit="1"/>
          </p:cNvSpPr>
          <p:nvPr>
            <p:ph type="sldImg"/>
          </p:nvPr>
        </p:nvSpPr>
        <p:spPr bwMode="auto">
          <a:noFill/>
          <a:ln>
            <a:solidFill>
              <a:srgbClr val="000000"/>
            </a:solidFill>
            <a:miter lim="800000"/>
            <a:headEnd/>
            <a:tailEnd/>
          </a:ln>
        </p:spPr>
      </p:sp>
      <p:sp>
        <p:nvSpPr>
          <p:cNvPr id="17408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3245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69BEC23-44DD-41D9-9D32-328690639AD8}" type="slidenum">
              <a:rPr lang="en-US"/>
              <a:pPr fontAlgn="base">
                <a:spcBef>
                  <a:spcPct val="0"/>
                </a:spcBef>
                <a:spcAft>
                  <a:spcPct val="0"/>
                </a:spcAft>
                <a:defRPr/>
              </a:pPr>
              <a:t>55</a:t>
            </a:fld>
            <a:endParaRPr lang="en-US"/>
          </a:p>
        </p:txBody>
      </p:sp>
    </p:spTree>
    <p:extLst>
      <p:ext uri="{BB962C8B-B14F-4D97-AF65-F5344CB8AC3E}">
        <p14:creationId xmlns="" xmlns:p14="http://schemas.microsoft.com/office/powerpoint/2010/main" val="3776621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Slide Image Placeholder 1"/>
          <p:cNvSpPr>
            <a:spLocks noGrp="1" noRot="1" noChangeAspect="1" noTextEdit="1"/>
          </p:cNvSpPr>
          <p:nvPr>
            <p:ph type="sldImg"/>
          </p:nvPr>
        </p:nvSpPr>
        <p:spPr bwMode="auto">
          <a:noFill/>
          <a:ln>
            <a:solidFill>
              <a:srgbClr val="000000"/>
            </a:solidFill>
            <a:miter lim="800000"/>
            <a:headEnd/>
            <a:tailEnd/>
          </a:ln>
        </p:spPr>
      </p:sp>
      <p:sp>
        <p:nvSpPr>
          <p:cNvPr id="17101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3142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BB614D3-F9B5-46A8-B9E5-940805CB5857}" type="slidenum">
              <a:rPr lang="en-US"/>
              <a:pPr fontAlgn="base">
                <a:spcBef>
                  <a:spcPct val="0"/>
                </a:spcBef>
                <a:spcAft>
                  <a:spcPct val="0"/>
                </a:spcAft>
                <a:defRPr/>
              </a:pPr>
              <a:t>56</a:t>
            </a:fld>
            <a:endParaRPr lang="en-US"/>
          </a:p>
        </p:txBody>
      </p:sp>
    </p:spTree>
    <p:extLst>
      <p:ext uri="{BB962C8B-B14F-4D97-AF65-F5344CB8AC3E}">
        <p14:creationId xmlns="" xmlns:p14="http://schemas.microsoft.com/office/powerpoint/2010/main" val="3228699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bwMode="auto">
          <a:noFill/>
          <a:ln>
            <a:solidFill>
              <a:srgbClr val="000000"/>
            </a:solidFill>
            <a:miter lim="800000"/>
            <a:headEnd/>
            <a:tailEnd/>
          </a:ln>
        </p:spPr>
      </p:sp>
      <p:sp>
        <p:nvSpPr>
          <p:cNvPr id="11878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u="sng" smtClean="0"/>
              <a:t>Key Points:</a:t>
            </a:r>
          </a:p>
          <a:p>
            <a:pPr eaLnBrk="1" hangingPunct="1">
              <a:spcBef>
                <a:spcPct val="0"/>
              </a:spcBef>
              <a:buFontTx/>
              <a:buChar char="•"/>
            </a:pPr>
            <a:r>
              <a:rPr lang="en-US" smtClean="0"/>
              <a:t>Facilitator needs to be prepared for questions</a:t>
            </a:r>
          </a:p>
          <a:p>
            <a:pPr eaLnBrk="1" hangingPunct="1">
              <a:spcBef>
                <a:spcPct val="0"/>
              </a:spcBef>
              <a:buFontTx/>
              <a:buChar char="•"/>
            </a:pPr>
            <a:r>
              <a:rPr lang="en-US" smtClean="0"/>
              <a:t>Generally, conservative is always more appropriate</a:t>
            </a:r>
          </a:p>
        </p:txBody>
      </p:sp>
      <p:sp>
        <p:nvSpPr>
          <p:cNvPr id="20173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34A0C3C-7236-464D-B0FC-9DA24084D77A}" type="slidenum">
              <a:rPr lang="en-US"/>
              <a:pPr fontAlgn="base">
                <a:spcBef>
                  <a:spcPct val="0"/>
                </a:spcBef>
                <a:spcAft>
                  <a:spcPct val="0"/>
                </a:spcAft>
                <a:defRPr/>
              </a:pPr>
              <a:t>57</a:t>
            </a:fld>
            <a:endParaRPr lang="en-US"/>
          </a:p>
        </p:txBody>
      </p:sp>
    </p:spTree>
    <p:extLst>
      <p:ext uri="{BB962C8B-B14F-4D97-AF65-F5344CB8AC3E}">
        <p14:creationId xmlns="" xmlns:p14="http://schemas.microsoft.com/office/powerpoint/2010/main" val="16682231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Image Placeholder 1"/>
          <p:cNvSpPr>
            <a:spLocks noGrp="1" noRot="1" noChangeAspect="1" noTextEdit="1"/>
          </p:cNvSpPr>
          <p:nvPr>
            <p:ph type="sldImg"/>
          </p:nvPr>
        </p:nvSpPr>
        <p:spPr bwMode="auto">
          <a:noFill/>
          <a:ln>
            <a:solidFill>
              <a:srgbClr val="000000"/>
            </a:solidFill>
            <a:miter lim="800000"/>
            <a:headEnd/>
            <a:tailEnd/>
          </a:ln>
        </p:spPr>
      </p:sp>
      <p:sp>
        <p:nvSpPr>
          <p:cNvPr id="12083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u="sng" dirty="0" smtClean="0"/>
              <a:t>Key Points:</a:t>
            </a:r>
          </a:p>
          <a:p>
            <a:pPr eaLnBrk="1" hangingPunct="1">
              <a:spcBef>
                <a:spcPct val="0"/>
              </a:spcBef>
              <a:buFontTx/>
              <a:buChar char="•"/>
            </a:pPr>
            <a:r>
              <a:rPr lang="en-US" dirty="0" smtClean="0"/>
              <a:t>Ask if anyone is wearing white socks (joke)</a:t>
            </a:r>
          </a:p>
          <a:p>
            <a:pPr eaLnBrk="1" hangingPunct="1">
              <a:spcBef>
                <a:spcPct val="0"/>
              </a:spcBef>
              <a:buFontTx/>
              <a:buChar char="•"/>
            </a:pPr>
            <a:r>
              <a:rPr lang="en-US" dirty="0" smtClean="0"/>
              <a:t>With clients always start formal (suit/tie) and then more casual if appropriate in the environment</a:t>
            </a:r>
          </a:p>
          <a:p>
            <a:pPr eaLnBrk="1" hangingPunct="1">
              <a:spcBef>
                <a:spcPct val="0"/>
              </a:spcBef>
              <a:buFontTx/>
              <a:buChar char="•"/>
            </a:pPr>
            <a:r>
              <a:rPr lang="en-US" dirty="0" smtClean="0"/>
              <a:t>Wrinkle free shirts are good</a:t>
            </a:r>
          </a:p>
          <a:p>
            <a:pPr eaLnBrk="1" hangingPunct="1">
              <a:spcBef>
                <a:spcPct val="0"/>
              </a:spcBef>
              <a:buFontTx/>
              <a:buChar char="•"/>
            </a:pPr>
            <a:r>
              <a:rPr lang="en-US" dirty="0" smtClean="0"/>
              <a:t>Avoid baggy clothing (shouldn’t be able to fit a second person in your shirt)</a:t>
            </a:r>
          </a:p>
        </p:txBody>
      </p:sp>
      <p:sp>
        <p:nvSpPr>
          <p:cNvPr id="20378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C31AA63-3F39-4390-97F4-D934FAE03DF0}" type="slidenum">
              <a:rPr lang="en-US"/>
              <a:pPr fontAlgn="base">
                <a:spcBef>
                  <a:spcPct val="0"/>
                </a:spcBef>
                <a:spcAft>
                  <a:spcPct val="0"/>
                </a:spcAft>
                <a:defRPr/>
              </a:pPr>
              <a:t>58</a:t>
            </a:fld>
            <a:endParaRPr lang="en-US"/>
          </a:p>
        </p:txBody>
      </p:sp>
    </p:spTree>
    <p:extLst>
      <p:ext uri="{BB962C8B-B14F-4D97-AF65-F5344CB8AC3E}">
        <p14:creationId xmlns="" xmlns:p14="http://schemas.microsoft.com/office/powerpoint/2010/main" val="23360972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Slide Image Placeholder 1"/>
          <p:cNvSpPr>
            <a:spLocks noGrp="1" noRot="1" noChangeAspect="1" noTextEdit="1"/>
          </p:cNvSpPr>
          <p:nvPr>
            <p:ph type="sldImg"/>
          </p:nvPr>
        </p:nvSpPr>
        <p:spPr bwMode="auto">
          <a:noFill/>
          <a:ln>
            <a:solidFill>
              <a:srgbClr val="000000"/>
            </a:solidFill>
            <a:miter lim="800000"/>
            <a:headEnd/>
            <a:tailEnd/>
          </a:ln>
        </p:spPr>
      </p:sp>
      <p:sp>
        <p:nvSpPr>
          <p:cNvPr id="1771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1504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7EC5A34-2547-46A0-8A61-E28738C66B1B}" type="slidenum">
              <a:rPr lang="en-US"/>
              <a:pPr fontAlgn="base">
                <a:spcBef>
                  <a:spcPct val="0"/>
                </a:spcBef>
                <a:spcAft>
                  <a:spcPct val="0"/>
                </a:spcAft>
                <a:defRPr/>
              </a:pPr>
              <a:t>59</a:t>
            </a:fld>
            <a:endParaRPr lang="en-US"/>
          </a:p>
        </p:txBody>
      </p:sp>
    </p:spTree>
    <p:extLst>
      <p:ext uri="{BB962C8B-B14F-4D97-AF65-F5344CB8AC3E}">
        <p14:creationId xmlns="" xmlns:p14="http://schemas.microsoft.com/office/powerpoint/2010/main" val="38321521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Slide Image Placeholder 1"/>
          <p:cNvSpPr>
            <a:spLocks noGrp="1" noRot="1" noChangeAspect="1" noTextEdit="1"/>
          </p:cNvSpPr>
          <p:nvPr>
            <p:ph type="sldImg"/>
          </p:nvPr>
        </p:nvSpPr>
        <p:spPr bwMode="auto">
          <a:noFill/>
          <a:ln>
            <a:solidFill>
              <a:srgbClr val="000000"/>
            </a:solidFill>
            <a:miter lim="800000"/>
            <a:headEnd/>
            <a:tailEnd/>
          </a:ln>
        </p:spPr>
      </p:sp>
      <p:sp>
        <p:nvSpPr>
          <p:cNvPr id="1802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smtClean="0"/>
          </a:p>
        </p:txBody>
      </p:sp>
      <p:sp>
        <p:nvSpPr>
          <p:cNvPr id="4" name="Slide Number Placeholder 3"/>
          <p:cNvSpPr>
            <a:spLocks noGrp="1"/>
          </p:cNvSpPr>
          <p:nvPr>
            <p:ph type="sldNum" sz="quarter" idx="5"/>
          </p:nvPr>
        </p:nvSpPr>
        <p:spPr/>
        <p:txBody>
          <a:bodyPr/>
          <a:lstStyle/>
          <a:p>
            <a:pPr>
              <a:defRPr/>
            </a:pPr>
            <a:fld id="{AD08C318-BDFF-419B-BEDD-2429C9461056}" type="slidenum">
              <a:rPr lang="en-US" smtClean="0"/>
              <a:pPr>
                <a:defRPr/>
              </a:pPr>
              <a:t>60</a:t>
            </a:fld>
            <a:endParaRPr lang="en-US"/>
          </a:p>
        </p:txBody>
      </p:sp>
    </p:spTree>
    <p:extLst>
      <p:ext uri="{BB962C8B-B14F-4D97-AF65-F5344CB8AC3E}">
        <p14:creationId xmlns="" xmlns:p14="http://schemas.microsoft.com/office/powerpoint/2010/main" val="42913249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200150" y="1143000"/>
            <a:ext cx="4457700" cy="3086100"/>
          </a:xfrm>
        </p:spPr>
      </p:sp>
      <p:sp>
        <p:nvSpPr>
          <p:cNvPr id="3" name="Espaço Reservado para Anotações 2"/>
          <p:cNvSpPr>
            <a:spLocks noGrp="1"/>
          </p:cNvSpPr>
          <p:nvPr>
            <p:ph type="body" idx="1"/>
          </p:nvPr>
        </p:nvSpPr>
        <p:spPr/>
        <p:txBody>
          <a:bodyPr/>
          <a:lstStyle/>
          <a:p>
            <a:endParaRPr lang="pt-PT"/>
          </a:p>
        </p:txBody>
      </p:sp>
      <p:sp>
        <p:nvSpPr>
          <p:cNvPr id="4" name="Espaço Reservado para Número de Slide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CDFFBA3-19B1-4436-B56F-9F34BA484878}" type="slidenum">
              <a:rPr kumimoji="0" lang="pt-PT"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pt-PT"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 xmlns:p14="http://schemas.microsoft.com/office/powerpoint/2010/main" val="135544904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Image Placeholder 1"/>
          <p:cNvSpPr>
            <a:spLocks noGrp="1" noRot="1" noChangeAspect="1" noTextEdit="1"/>
          </p:cNvSpPr>
          <p:nvPr>
            <p:ph type="sldImg"/>
          </p:nvPr>
        </p:nvSpPr>
        <p:spPr bwMode="auto">
          <a:noFill/>
          <a:ln>
            <a:solidFill>
              <a:srgbClr val="000000"/>
            </a:solidFill>
            <a:miter lim="800000"/>
            <a:headEnd/>
            <a:tailEnd/>
          </a:ln>
        </p:spPr>
      </p:sp>
      <p:sp>
        <p:nvSpPr>
          <p:cNvPr id="12083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u="sng" dirty="0" smtClean="0"/>
              <a:t>Key Points:</a:t>
            </a:r>
          </a:p>
          <a:p>
            <a:pPr eaLnBrk="1" hangingPunct="1">
              <a:spcBef>
                <a:spcPct val="0"/>
              </a:spcBef>
              <a:buFontTx/>
              <a:buChar char="•"/>
            </a:pPr>
            <a:r>
              <a:rPr lang="en-US" dirty="0" smtClean="0"/>
              <a:t>Ask if anyone is wearing white socks (joke)</a:t>
            </a:r>
          </a:p>
          <a:p>
            <a:pPr eaLnBrk="1" hangingPunct="1">
              <a:spcBef>
                <a:spcPct val="0"/>
              </a:spcBef>
              <a:buFontTx/>
              <a:buChar char="•"/>
            </a:pPr>
            <a:r>
              <a:rPr lang="en-US" dirty="0" smtClean="0"/>
              <a:t>With clients always start formal (suit/tie) and then more casual if appropriate in the environment</a:t>
            </a:r>
          </a:p>
          <a:p>
            <a:pPr eaLnBrk="1" hangingPunct="1">
              <a:spcBef>
                <a:spcPct val="0"/>
              </a:spcBef>
              <a:buFontTx/>
              <a:buChar char="•"/>
            </a:pPr>
            <a:r>
              <a:rPr lang="en-US" dirty="0" smtClean="0"/>
              <a:t>Wrinkle free shirts are good</a:t>
            </a:r>
          </a:p>
          <a:p>
            <a:pPr eaLnBrk="1" hangingPunct="1">
              <a:spcBef>
                <a:spcPct val="0"/>
              </a:spcBef>
              <a:buFontTx/>
              <a:buChar char="•"/>
            </a:pPr>
            <a:r>
              <a:rPr lang="en-US" dirty="0" smtClean="0"/>
              <a:t>Avoid baggy clothing (shouldn’t be able to fit a second person in your shirt)</a:t>
            </a:r>
          </a:p>
        </p:txBody>
      </p:sp>
      <p:sp>
        <p:nvSpPr>
          <p:cNvPr id="20378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C31AA63-3F39-4390-97F4-D934FAE03DF0}" type="slidenum">
              <a:rPr lang="en-US"/>
              <a:pPr fontAlgn="base">
                <a:spcBef>
                  <a:spcPct val="0"/>
                </a:spcBef>
                <a:spcAft>
                  <a:spcPct val="0"/>
                </a:spcAft>
                <a:defRPr/>
              </a:pPr>
              <a:t>61</a:t>
            </a:fld>
            <a:endParaRPr lang="en-US"/>
          </a:p>
        </p:txBody>
      </p:sp>
    </p:spTree>
    <p:extLst>
      <p:ext uri="{BB962C8B-B14F-4D97-AF65-F5344CB8AC3E}">
        <p14:creationId xmlns="" xmlns:p14="http://schemas.microsoft.com/office/powerpoint/2010/main" val="25207280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Slide Image Placeholder 1"/>
          <p:cNvSpPr>
            <a:spLocks noGrp="1" noRot="1" noChangeAspect="1" noTextEdit="1"/>
          </p:cNvSpPr>
          <p:nvPr>
            <p:ph type="sldImg"/>
          </p:nvPr>
        </p:nvSpPr>
        <p:spPr bwMode="auto">
          <a:noFill/>
          <a:ln>
            <a:solidFill>
              <a:srgbClr val="000000"/>
            </a:solidFill>
            <a:miter lim="800000"/>
            <a:headEnd/>
            <a:tailEnd/>
          </a:ln>
        </p:spPr>
      </p:sp>
      <p:sp>
        <p:nvSpPr>
          <p:cNvPr id="1802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smtClean="0"/>
          </a:p>
        </p:txBody>
      </p:sp>
      <p:sp>
        <p:nvSpPr>
          <p:cNvPr id="4" name="Slide Number Placeholder 3"/>
          <p:cNvSpPr>
            <a:spLocks noGrp="1"/>
          </p:cNvSpPr>
          <p:nvPr>
            <p:ph type="sldNum" sz="quarter" idx="5"/>
          </p:nvPr>
        </p:nvSpPr>
        <p:spPr/>
        <p:txBody>
          <a:bodyPr/>
          <a:lstStyle/>
          <a:p>
            <a:pPr>
              <a:defRPr/>
            </a:pPr>
            <a:fld id="{AD08C318-BDFF-419B-BEDD-2429C9461056}" type="slidenum">
              <a:rPr lang="en-US" smtClean="0"/>
              <a:pPr>
                <a:defRPr/>
              </a:pPr>
              <a:t>62</a:t>
            </a:fld>
            <a:endParaRPr lang="en-US"/>
          </a:p>
        </p:txBody>
      </p:sp>
    </p:spTree>
    <p:extLst>
      <p:ext uri="{BB962C8B-B14F-4D97-AF65-F5344CB8AC3E}">
        <p14:creationId xmlns="" xmlns:p14="http://schemas.microsoft.com/office/powerpoint/2010/main" val="1349241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200150" y="1143000"/>
            <a:ext cx="4457700" cy="3086100"/>
          </a:xfrm>
        </p:spPr>
      </p:sp>
      <p:sp>
        <p:nvSpPr>
          <p:cNvPr id="3" name="Espaço Reservado para Anotações 2"/>
          <p:cNvSpPr>
            <a:spLocks noGrp="1"/>
          </p:cNvSpPr>
          <p:nvPr>
            <p:ph type="body" idx="1"/>
          </p:nvPr>
        </p:nvSpPr>
        <p:spPr/>
        <p:txBody>
          <a:bodyPr/>
          <a:lstStyle/>
          <a:p>
            <a:endParaRPr lang="pt-PT"/>
          </a:p>
        </p:txBody>
      </p:sp>
      <p:sp>
        <p:nvSpPr>
          <p:cNvPr id="4" name="Espaço Reservado para Número de Slid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DFFBA3-19B1-4436-B56F-9F34BA484878}" type="slidenum">
              <a:rPr kumimoji="0" lang="pt-PT"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pt-PT"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 xmlns:p14="http://schemas.microsoft.com/office/powerpoint/2010/main" val="29594689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2"/>
          <p:cNvSpPr>
            <a:spLocks noGrp="1" noRot="1" noChangeAspect="1" noChangeArrowheads="1" noTextEdit="1"/>
          </p:cNvSpPr>
          <p:nvPr>
            <p:ph type="sldImg"/>
          </p:nvPr>
        </p:nvSpPr>
        <p:spPr>
          <a:xfrm>
            <a:off x="546100" y="617538"/>
            <a:ext cx="5705475" cy="3949700"/>
          </a:xfrm>
          <a:ln/>
        </p:spPr>
      </p:sp>
      <p:sp>
        <p:nvSpPr>
          <p:cNvPr id="30722" name="Rectangle 3"/>
          <p:cNvSpPr>
            <a:spLocks noGrp="1" noChangeArrowheads="1"/>
          </p:cNvSpPr>
          <p:nvPr>
            <p:ph type="body" idx="1"/>
          </p:nvPr>
        </p:nvSpPr>
        <p:spPr>
          <a:noFill/>
          <a:ln/>
        </p:spPr>
        <p:txBody>
          <a:bodyPr/>
          <a:lstStyle/>
          <a:p>
            <a:pPr eaLnBrk="1" hangingPunct="1"/>
            <a:endParaRPr lang="en-US" smtClean="0"/>
          </a:p>
        </p:txBody>
      </p:sp>
      <p:sp>
        <p:nvSpPr>
          <p:cNvPr id="30723" name="Espace réservé du numéro de diapositive 6"/>
          <p:cNvSpPr>
            <a:spLocks noGrp="1"/>
          </p:cNvSpPr>
          <p:nvPr>
            <p:ph type="sldNum" sz="quarter" idx="5"/>
          </p:nvPr>
        </p:nvSpPr>
        <p:spPr>
          <a:noFill/>
        </p:spPr>
        <p:txBody>
          <a:bodyPr/>
          <a:lstStyle/>
          <a:p>
            <a:pPr defTabSz="950508"/>
            <a:fld id="{624328E0-28B5-462F-8D87-DA1BCBCDB797}" type="slidenum">
              <a:rPr lang="fr-FR" smtClean="0"/>
              <a:pPr defTabSz="950508"/>
              <a:t>8</a:t>
            </a:fld>
            <a:endParaRPr lang="fr-FR" dirty="0" smtClean="0"/>
          </a:p>
        </p:txBody>
      </p:sp>
      <p:sp>
        <p:nvSpPr>
          <p:cNvPr id="30724" name="Espace réservé du pied de page 7"/>
          <p:cNvSpPr>
            <a:spLocks noGrp="1"/>
          </p:cNvSpPr>
          <p:nvPr>
            <p:ph type="ftr" sz="quarter" idx="4"/>
          </p:nvPr>
        </p:nvSpPr>
        <p:spPr>
          <a:noFill/>
        </p:spPr>
        <p:txBody>
          <a:bodyPr/>
          <a:lstStyle/>
          <a:p>
            <a:pPr defTabSz="950508"/>
            <a:r>
              <a:rPr lang="en-US" dirty="0" smtClean="0"/>
              <a:t>© 2012 </a:t>
            </a:r>
            <a:r>
              <a:rPr lang="en-US" dirty="0" err="1" smtClean="0"/>
              <a:t>Capgemini</a:t>
            </a:r>
            <a:r>
              <a:rPr lang="en-US" dirty="0" smtClean="0"/>
              <a:t>. All rights reserved.</a:t>
            </a:r>
            <a:endParaRPr lang="fr-FR" dirty="0"/>
          </a:p>
        </p:txBody>
      </p:sp>
      <p:sp>
        <p:nvSpPr>
          <p:cNvPr id="30725" name="Espace réservé de l'en-tête 8"/>
          <p:cNvSpPr>
            <a:spLocks noGrp="1"/>
          </p:cNvSpPr>
          <p:nvPr>
            <p:ph type="hdr" sz="quarter"/>
          </p:nvPr>
        </p:nvSpPr>
        <p:spPr>
          <a:noFill/>
        </p:spPr>
        <p:txBody>
          <a:bodyPr/>
          <a:lstStyle/>
          <a:p>
            <a:pPr defTabSz="950508"/>
            <a:endParaRPr lang="en-US" dirty="0" smtClean="0"/>
          </a:p>
        </p:txBody>
      </p:sp>
    </p:spTree>
    <p:extLst>
      <p:ext uri="{BB962C8B-B14F-4D97-AF65-F5344CB8AC3E}">
        <p14:creationId xmlns="" xmlns:p14="http://schemas.microsoft.com/office/powerpoint/2010/main" val="41484350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2"/>
          <p:cNvSpPr>
            <a:spLocks noGrp="1" noRot="1" noChangeAspect="1" noChangeArrowheads="1" noTextEdit="1"/>
          </p:cNvSpPr>
          <p:nvPr>
            <p:ph type="sldImg"/>
          </p:nvPr>
        </p:nvSpPr>
        <p:spPr>
          <a:xfrm>
            <a:off x="531813" y="622300"/>
            <a:ext cx="5734050" cy="3970338"/>
          </a:xfrm>
          <a:ln/>
        </p:spPr>
      </p:sp>
      <p:sp>
        <p:nvSpPr>
          <p:cNvPr id="30722" name="Rectangle 3"/>
          <p:cNvSpPr>
            <a:spLocks noGrp="1" noChangeArrowheads="1"/>
          </p:cNvSpPr>
          <p:nvPr>
            <p:ph type="body" idx="1"/>
          </p:nvPr>
        </p:nvSpPr>
        <p:spPr>
          <a:noFill/>
          <a:ln/>
        </p:spPr>
        <p:txBody>
          <a:bodyPr>
            <a:normAutofit/>
          </a:bodyPr>
          <a:lstStyle/>
          <a:p>
            <a:pPr eaLnBrk="1" hangingPunct="1"/>
            <a:endParaRPr lang="en-US" dirty="0"/>
          </a:p>
        </p:txBody>
      </p:sp>
      <p:sp>
        <p:nvSpPr>
          <p:cNvPr id="30723" name="Espace réservé du numéro de diapositive 6"/>
          <p:cNvSpPr>
            <a:spLocks noGrp="1"/>
          </p:cNvSpPr>
          <p:nvPr>
            <p:ph type="sldNum" sz="quarter" idx="5"/>
          </p:nvPr>
        </p:nvSpPr>
        <p:spPr>
          <a:noFill/>
        </p:spPr>
        <p:txBody>
          <a:bodyPr/>
          <a:lstStyle/>
          <a:p>
            <a:pPr marL="0" marR="0" lvl="0" indent="0" defTabSz="949439" eaLnBrk="1" fontAlgn="auto" latinLnBrk="0" hangingPunct="1">
              <a:lnSpc>
                <a:spcPct val="100000"/>
              </a:lnSpc>
              <a:spcBef>
                <a:spcPts val="0"/>
              </a:spcBef>
              <a:spcAft>
                <a:spcPts val="0"/>
              </a:spcAft>
              <a:buClrTx/>
              <a:buSzTx/>
              <a:buFontTx/>
              <a:buNone/>
              <a:tabLst/>
              <a:defRPr/>
            </a:pPr>
            <a:fld id="{624328E0-28B5-462F-8D87-DA1BCBCDB797}" type="slidenum">
              <a:rPr kumimoji="0" lang="fr-FR" sz="1800" b="0" i="0" u="none" strike="noStrike" kern="0" cap="none" spc="0" normalizeH="0" baseline="0" noProof="0" smtClean="0">
                <a:ln>
                  <a:noFill/>
                </a:ln>
                <a:solidFill>
                  <a:prstClr val="black"/>
                </a:solidFill>
                <a:effectLst/>
                <a:uLnTx/>
                <a:uFillTx/>
              </a:rPr>
              <a:pPr marL="0" marR="0" lvl="0" indent="0" defTabSz="949439" eaLnBrk="1" fontAlgn="auto" latinLnBrk="0" hangingPunct="1">
                <a:lnSpc>
                  <a:spcPct val="100000"/>
                </a:lnSpc>
                <a:spcBef>
                  <a:spcPts val="0"/>
                </a:spcBef>
                <a:spcAft>
                  <a:spcPts val="0"/>
                </a:spcAft>
                <a:buClrTx/>
                <a:buSzTx/>
                <a:buFontTx/>
                <a:buNone/>
                <a:tabLst/>
                <a:defRPr/>
              </a:pPr>
              <a:t>9</a:t>
            </a:fld>
            <a:endParaRPr kumimoji="0" lang="fr-FR" sz="1800" b="0" i="0" u="none" strike="noStrike" kern="0" cap="none" spc="0" normalizeH="0" baseline="0" noProof="0" dirty="0">
              <a:ln>
                <a:noFill/>
              </a:ln>
              <a:solidFill>
                <a:prstClr val="black"/>
              </a:solidFill>
              <a:effectLst/>
              <a:uLnTx/>
              <a:uFillTx/>
            </a:endParaRPr>
          </a:p>
        </p:txBody>
      </p:sp>
      <p:sp>
        <p:nvSpPr>
          <p:cNvPr id="30724" name="Espace réservé du pied de page 7"/>
          <p:cNvSpPr>
            <a:spLocks noGrp="1"/>
          </p:cNvSpPr>
          <p:nvPr>
            <p:ph type="ftr" sz="quarter" idx="4"/>
          </p:nvPr>
        </p:nvSpPr>
        <p:spPr>
          <a:noFill/>
        </p:spPr>
        <p:txBody>
          <a:bodyPr/>
          <a:lstStyle/>
          <a:p>
            <a:pPr marL="0" marR="0" lvl="0" indent="0" defTabSz="94943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 2012 Capgemini. All rights reserved.</a:t>
            </a:r>
            <a:endParaRPr kumimoji="0" lang="fr-FR" sz="1800" b="0" i="0" u="none" strike="noStrike" kern="0" cap="none" spc="0" normalizeH="0" baseline="0" noProof="0" dirty="0">
              <a:ln>
                <a:noFill/>
              </a:ln>
              <a:solidFill>
                <a:prstClr val="black"/>
              </a:solidFill>
              <a:effectLst/>
              <a:uLnTx/>
              <a:uFillTx/>
            </a:endParaRPr>
          </a:p>
        </p:txBody>
      </p:sp>
      <p:sp>
        <p:nvSpPr>
          <p:cNvPr id="30725" name="Espace réservé de l'en-tête 8"/>
          <p:cNvSpPr>
            <a:spLocks noGrp="1"/>
          </p:cNvSpPr>
          <p:nvPr>
            <p:ph type="hdr" sz="quarter"/>
          </p:nvPr>
        </p:nvSpPr>
        <p:spPr>
          <a:noFill/>
        </p:spPr>
        <p:txBody>
          <a:bodyPr/>
          <a:lstStyle/>
          <a:p>
            <a:pPr marL="0" marR="0" lvl="0" indent="0" defTabSz="9494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 xmlns:p14="http://schemas.microsoft.com/office/powerpoint/2010/main" val="6860305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p:cNvSpPr>
            <a:spLocks noGrp="1" noRot="1" noChangeAspect="1" noTextEdit="1"/>
          </p:cNvSpPr>
          <p:nvPr>
            <p:ph type="sldImg"/>
          </p:nvPr>
        </p:nvSpPr>
        <p:spPr bwMode="auto">
          <a:noFill/>
          <a:ln>
            <a:solidFill>
              <a:srgbClr val="000000"/>
            </a:solidFill>
            <a:miter lim="800000"/>
            <a:headEnd/>
            <a:tailEnd/>
          </a:ln>
        </p:spPr>
      </p:sp>
      <p:sp>
        <p:nvSpPr>
          <p:cNvPr id="1351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smtClean="0"/>
          </a:p>
        </p:txBody>
      </p:sp>
      <p:sp>
        <p:nvSpPr>
          <p:cNvPr id="4" name="Slide Number Placeholder 3"/>
          <p:cNvSpPr>
            <a:spLocks noGrp="1"/>
          </p:cNvSpPr>
          <p:nvPr>
            <p:ph type="sldNum" sz="quarter" idx="5"/>
          </p:nvPr>
        </p:nvSpPr>
        <p:spPr/>
        <p:txBody>
          <a:bodyPr/>
          <a:lstStyle/>
          <a:p>
            <a:pPr>
              <a:defRPr/>
            </a:pPr>
            <a:fld id="{114C07E6-9BD8-44EC-BF29-3F98E4AAC75E}" type="slidenum">
              <a:rPr lang="en-US" smtClean="0"/>
              <a:pPr>
                <a:defRPr/>
              </a:pPr>
              <a:t>12</a:t>
            </a:fld>
            <a:endParaRPr lang="en-US"/>
          </a:p>
        </p:txBody>
      </p:sp>
    </p:spTree>
    <p:extLst>
      <p:ext uri="{BB962C8B-B14F-4D97-AF65-F5344CB8AC3E}">
        <p14:creationId xmlns="" xmlns:p14="http://schemas.microsoft.com/office/powerpoint/2010/main" val="25939649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bwMode="auto">
          <a:noFill/>
          <a:ln>
            <a:solidFill>
              <a:srgbClr val="000000"/>
            </a:solidFill>
            <a:miter lim="800000"/>
            <a:headEnd/>
            <a:tailEnd/>
          </a:ln>
        </p:spPr>
      </p:sp>
      <p:sp>
        <p:nvSpPr>
          <p:cNvPr id="13619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u="sng" smtClean="0"/>
              <a:t>Key Points:</a:t>
            </a:r>
          </a:p>
          <a:p>
            <a:pPr eaLnBrk="1" hangingPunct="1">
              <a:spcBef>
                <a:spcPct val="0"/>
              </a:spcBef>
              <a:buFontTx/>
              <a:buChar char="•"/>
            </a:pPr>
            <a:r>
              <a:rPr lang="en-US" smtClean="0"/>
              <a:t>Our passwords are very complicated and can be difficult to remember (for good reason) </a:t>
            </a:r>
            <a:r>
              <a:rPr lang="en-US" smtClean="0">
                <a:sym typeface="Wingdings" pitchFamily="2" charset="2"/>
              </a:rPr>
              <a:t> client confidentiality</a:t>
            </a:r>
          </a:p>
          <a:p>
            <a:pPr eaLnBrk="1" hangingPunct="1">
              <a:spcBef>
                <a:spcPct val="0"/>
              </a:spcBef>
              <a:buFontTx/>
              <a:buChar char="•"/>
            </a:pPr>
            <a:r>
              <a:rPr lang="en-US" smtClean="0">
                <a:sym typeface="Wingdings" pitchFamily="2" charset="2"/>
              </a:rPr>
              <a:t>Passwords should be changed every 3 to 6 months</a:t>
            </a:r>
            <a:endParaRPr lang="en-US" smtClean="0"/>
          </a:p>
        </p:txBody>
      </p:sp>
      <p:sp>
        <p:nvSpPr>
          <p:cNvPr id="25702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674B653-B84C-4C5A-9B55-1B6DA88A47E1}" type="slidenum">
              <a:rPr lang="en-US"/>
              <a:pPr fontAlgn="base">
                <a:spcBef>
                  <a:spcPct val="0"/>
                </a:spcBef>
                <a:spcAft>
                  <a:spcPct val="0"/>
                </a:spcAft>
                <a:defRPr/>
              </a:pPr>
              <a:t>13</a:t>
            </a:fld>
            <a:endParaRPr lang="en-US"/>
          </a:p>
        </p:txBody>
      </p:sp>
    </p:spTree>
    <p:extLst>
      <p:ext uri="{BB962C8B-B14F-4D97-AF65-F5344CB8AC3E}">
        <p14:creationId xmlns="" xmlns:p14="http://schemas.microsoft.com/office/powerpoint/2010/main" val="140581629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5.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3.jpeg"/><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image" Target="../media/image3.jpeg"/><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4.png"/><Relationship Id="rId2" Type="http://schemas.openxmlformats.org/officeDocument/2006/relationships/tags" Target="../tags/tag48.xml"/><Relationship Id="rId1" Type="http://schemas.openxmlformats.org/officeDocument/2006/relationships/vmlDrawing" Target="../drawings/vmlDrawing17.vml"/><Relationship Id="rId6" Type="http://schemas.openxmlformats.org/officeDocument/2006/relationships/hyperlink" Target="http://www.capgemini.com/" TargetMode="External"/><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vmlDrawing" Target="../drawings/vmlDrawing18.vml"/><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4.xml"/><Relationship Id="rId7"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7.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8" cstate="print"/>
          <a:srcRect b="6147"/>
          <a:stretch>
            <a:fillRect/>
          </a:stretch>
        </p:blipFill>
        <p:spPr>
          <a:xfrm>
            <a:off x="0" y="972965"/>
            <a:ext cx="9906000" cy="5885035"/>
          </a:xfrm>
          <a:prstGeom prst="rect">
            <a:avLst/>
          </a:prstGeom>
          <a:noFill/>
          <a:ln>
            <a:noFill/>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9" cstate="print"/>
          <a:stretch>
            <a:fillRect/>
          </a:stretch>
        </p:blipFill>
        <p:spPr>
          <a:xfrm>
            <a:off x="735690" y="658705"/>
            <a:ext cx="2880000"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4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5"/>
            </p:custDataLst>
          </p:nvPr>
        </p:nvSpPr>
        <p:spPr>
          <a:xfrm>
            <a:off x="0" y="2959925"/>
            <a:ext cx="4909457" cy="1098157"/>
          </a:xfrm>
        </p:spPr>
        <p:txBody>
          <a:bodyPr lIns="720000" tIns="33059" rIns="33059" bIns="33059" anchor="t"/>
          <a:lstStyle>
            <a:lvl1pPr marL="0" indent="0" algn="l">
              <a:defRPr sz="40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865915" y="4949632"/>
            <a:ext cx="5040086"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ection Break">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5" cstate="print"/>
          <a:srcRect t="17534"/>
          <a:stretch>
            <a:fillRect/>
          </a:stretch>
        </p:blipFill>
        <p:spPr>
          <a:xfrm>
            <a:off x="0" y="0"/>
            <a:ext cx="9906000" cy="5171041"/>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05849" name="think-cell Slide" r:id="rId6" imgW="360" imgH="360" progId="">
              <p:embed/>
            </p:oleObj>
          </a:graphicData>
        </a:graphic>
      </p:graphicFrame>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07897"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08921"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95300" y="1600201"/>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51DCA3B6-2688-4B5D-A452-5DDD34FC3B94}" type="datetimeFigureOut">
              <a:rPr lang="en-US" smtClean="0"/>
              <a:pPr/>
              <a:t>7/4/2017</a:t>
            </a:fld>
            <a:endParaRPr lang="en-US"/>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178CBECB-B76D-47D0-935E-2C2634FF277F}" type="slidenum">
              <a:rPr lang="en-US" smtClean="0"/>
              <a:pPr/>
              <a:t>‹#›</a:t>
            </a:fld>
            <a:endParaRPr lang="en-US"/>
          </a:p>
        </p:txBody>
      </p:sp>
    </p:spTree>
    <p:extLst>
      <p:ext uri="{BB962C8B-B14F-4D97-AF65-F5344CB8AC3E}">
        <p14:creationId xmlns="" xmlns:p14="http://schemas.microsoft.com/office/powerpoint/2010/main" val="18970061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pic>
        <p:nvPicPr>
          <p:cNvPr id="5" name="Imagem 10"/>
          <p:cNvPicPr>
            <a:picLocks noChangeAspect="1"/>
          </p:cNvPicPr>
          <p:nvPr userDrawn="1"/>
        </p:nvPicPr>
        <p:blipFill rotWithShape="1">
          <a:blip r:embed="rId2" cstate="print">
            <a:extLst>
              <a:ext uri="{28A0092B-C50C-407E-A947-70E740481C1C}">
                <a14:useLocalDpi xmlns="" xmlns:a14="http://schemas.microsoft.com/office/drawing/2010/main" val="0"/>
              </a:ext>
            </a:extLst>
          </a:blip>
          <a:srcRect b="79030"/>
          <a:stretch/>
        </p:blipFill>
        <p:spPr>
          <a:xfrm>
            <a:off x="0" y="5"/>
            <a:ext cx="9904762" cy="1438275"/>
          </a:xfrm>
          <a:prstGeom prst="rect">
            <a:avLst/>
          </a:prstGeom>
        </p:spPr>
      </p:pic>
      <p:pic>
        <p:nvPicPr>
          <p:cNvPr id="4" name="Imagem 21"/>
          <p:cNvPicPr>
            <a:picLocks noChangeAspect="1"/>
          </p:cNvPicPr>
          <p:nvPr userDrawn="1"/>
        </p:nvPicPr>
        <p:blipFill rotWithShape="1">
          <a:blip r:embed="rId3" cstate="print">
            <a:extLst>
              <a:ext uri="{28A0092B-C50C-407E-A947-70E740481C1C}">
                <a14:useLocalDpi xmlns="" xmlns:a14="http://schemas.microsoft.com/office/drawing/2010/main" val="0"/>
              </a:ext>
            </a:extLst>
          </a:blip>
          <a:srcRect t="91806"/>
          <a:stretch/>
        </p:blipFill>
        <p:spPr>
          <a:xfrm>
            <a:off x="1238" y="6296032"/>
            <a:ext cx="9903525" cy="561975"/>
          </a:xfrm>
          <a:prstGeom prst="rect">
            <a:avLst/>
          </a:prstGeom>
        </p:spPr>
      </p:pic>
      <p:sp>
        <p:nvSpPr>
          <p:cNvPr id="2" name="Titre 1"/>
          <p:cNvSpPr>
            <a:spLocks noGrp="1"/>
          </p:cNvSpPr>
          <p:nvPr>
            <p:ph type="title"/>
          </p:nvPr>
        </p:nvSpPr>
        <p:spPr/>
        <p:txBody>
          <a:bodyPr lIns="360000" tIns="36000" rIns="72000" bIns="36000">
            <a:noAutofit/>
          </a:bodyPr>
          <a:lstStyle>
            <a:lvl1pPr>
              <a:defRPr>
                <a:solidFill>
                  <a:schemeClr val="bg1"/>
                </a:solidFill>
              </a:defRPr>
            </a:lvl1pPr>
          </a:lstStyle>
          <a:p>
            <a:r>
              <a:rPr lang="en-US" noProof="0" dirty="0" err="1" smtClean="0"/>
              <a:t>Modifiez</a:t>
            </a:r>
            <a:r>
              <a:rPr lang="en-US" noProof="0" dirty="0" smtClean="0"/>
              <a:t> le style du </a:t>
            </a:r>
            <a:r>
              <a:rPr lang="en-US" noProof="0" dirty="0" err="1" smtClean="0"/>
              <a:t>titre</a:t>
            </a:r>
            <a:endParaRPr lang="en-US" noProof="0" dirty="0"/>
          </a:p>
        </p:txBody>
      </p:sp>
      <p:sp>
        <p:nvSpPr>
          <p:cNvPr id="3" name="Espace réservé du pied de page 2"/>
          <p:cNvSpPr>
            <a:spLocks noGrp="1"/>
          </p:cNvSpPr>
          <p:nvPr>
            <p:ph type="ftr" sz="quarter" idx="10"/>
          </p:nvPr>
        </p:nvSpPr>
        <p:spPr>
          <a:xfrm>
            <a:off x="6562727" y="6356357"/>
            <a:ext cx="3343275" cy="365125"/>
          </a:xfrm>
          <a:prstGeom prst="rect">
            <a:avLst/>
          </a:prstGeom>
        </p:spPr>
        <p:txBody>
          <a:bodyPr/>
          <a:lstStyle/>
          <a:p>
            <a:r>
              <a:rPr lang="en-US">
                <a:solidFill>
                  <a:prstClr val="black">
                    <a:lumMod val="50000"/>
                    <a:lumOff val="50000"/>
                  </a:prstClr>
                </a:solidFill>
              </a:rPr>
              <a:t>© 2017 Capgemini. All rights reserved.</a:t>
            </a:r>
            <a:endParaRPr lang="en-US" dirty="0">
              <a:solidFill>
                <a:prstClr val="black">
                  <a:lumMod val="50000"/>
                  <a:lumOff val="50000"/>
                </a:prstClr>
              </a:solidFill>
            </a:endParaRPr>
          </a:p>
        </p:txBody>
      </p:sp>
      <p:sp>
        <p:nvSpPr>
          <p:cNvPr id="8" name="Espace réservé du texte 7"/>
          <p:cNvSpPr>
            <a:spLocks noGrp="1"/>
          </p:cNvSpPr>
          <p:nvPr>
            <p:ph type="body" sz="quarter" idx="11"/>
          </p:nvPr>
        </p:nvSpPr>
        <p:spPr>
          <a:xfrm>
            <a:off x="0" y="1511999"/>
            <a:ext cx="9652500" cy="4428000"/>
          </a:xfrm>
        </p:spPr>
        <p:txBody>
          <a:bodyPr vert="horz" lIns="468000" tIns="45720" rIns="72000" bIns="45720" rtlCol="0">
            <a:normAutofit/>
          </a:bodyPr>
          <a:lstStyle>
            <a:lvl1pPr>
              <a:defRPr lang="fr-FR" smtClean="0"/>
            </a:lvl1pPr>
            <a:lvl2pPr>
              <a:defRPr lang="fr-FR" smtClean="0"/>
            </a:lvl2pPr>
            <a:lvl3pPr>
              <a:defRPr lang="fr-FR" smtClean="0"/>
            </a:lvl3pPr>
            <a:lvl4pPr>
              <a:defRPr lang="fr-FR" smtClean="0"/>
            </a:lvl4pPr>
            <a:lvl5pPr>
              <a:defRPr lang="en-US"/>
            </a:lvl5pPr>
          </a:lstStyle>
          <a:p>
            <a:pPr lvl="0"/>
            <a:r>
              <a:rPr lang="en-US" noProof="0" dirty="0" err="1" smtClean="0"/>
              <a:t>Modifiez</a:t>
            </a:r>
            <a:r>
              <a:rPr lang="en-US" noProof="0" dirty="0" smtClean="0"/>
              <a:t> les styles du </a:t>
            </a:r>
            <a:r>
              <a:rPr lang="en-US" noProof="0" dirty="0" err="1" smtClean="0"/>
              <a:t>texte</a:t>
            </a:r>
            <a:r>
              <a:rPr lang="en-US" noProof="0" dirty="0" smtClean="0"/>
              <a:t> du masque</a:t>
            </a:r>
          </a:p>
          <a:p>
            <a:pPr lvl="1"/>
            <a:r>
              <a:rPr lang="en-US" noProof="0" dirty="0" err="1" smtClean="0"/>
              <a:t>Deuxième</a:t>
            </a:r>
            <a:r>
              <a:rPr lang="en-US" noProof="0" dirty="0" smtClean="0"/>
              <a:t> </a:t>
            </a:r>
            <a:r>
              <a:rPr lang="en-US" noProof="0" dirty="0" err="1" smtClean="0"/>
              <a:t>niveau</a:t>
            </a:r>
            <a:endParaRPr lang="en-US" noProof="0" dirty="0" smtClean="0"/>
          </a:p>
          <a:p>
            <a:pPr lvl="2"/>
            <a:r>
              <a:rPr lang="en-US" noProof="0" dirty="0" err="1" smtClean="0"/>
              <a:t>Troisième</a:t>
            </a:r>
            <a:r>
              <a:rPr lang="en-US" noProof="0" dirty="0" smtClean="0"/>
              <a:t> </a:t>
            </a:r>
            <a:r>
              <a:rPr lang="en-US" noProof="0" dirty="0" err="1" smtClean="0"/>
              <a:t>niveau</a:t>
            </a:r>
            <a:endParaRPr lang="en-US" noProof="0" dirty="0" smtClean="0"/>
          </a:p>
          <a:p>
            <a:pPr lvl="3"/>
            <a:r>
              <a:rPr lang="en-US" noProof="0" dirty="0" err="1" smtClean="0"/>
              <a:t>Quatrième</a:t>
            </a:r>
            <a:r>
              <a:rPr lang="en-US" noProof="0" dirty="0" smtClean="0"/>
              <a:t> </a:t>
            </a:r>
            <a:r>
              <a:rPr lang="en-US" noProof="0" dirty="0" err="1" smtClean="0"/>
              <a:t>niveau</a:t>
            </a:r>
            <a:endParaRPr lang="en-US" noProof="0" dirty="0" smtClean="0"/>
          </a:p>
          <a:p>
            <a:pPr lvl="4"/>
            <a:r>
              <a:rPr lang="en-US" noProof="0" dirty="0" err="1" smtClean="0"/>
              <a:t>Cinquième</a:t>
            </a:r>
            <a:r>
              <a:rPr lang="en-US" noProof="0" dirty="0" smtClean="0"/>
              <a:t> </a:t>
            </a:r>
            <a:r>
              <a:rPr lang="en-US" noProof="0" dirty="0" err="1" smtClean="0"/>
              <a:t>niveau</a:t>
            </a:r>
            <a:endParaRPr lang="en-US" noProof="0" dirty="0"/>
          </a:p>
        </p:txBody>
      </p:sp>
    </p:spTree>
    <p:extLst>
      <p:ext uri="{BB962C8B-B14F-4D97-AF65-F5344CB8AC3E}">
        <p14:creationId xmlns="" xmlns:p14="http://schemas.microsoft.com/office/powerpoint/2010/main" val="264687082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5" cstate="print"/>
          <a:srcRect t="17534"/>
          <a:stretch>
            <a:fillRect/>
          </a:stretch>
        </p:blipFill>
        <p:spPr>
          <a:xfrm>
            <a:off x="0" y="0"/>
            <a:ext cx="9906000" cy="5171041"/>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7481" name="think-cell Slide" r:id="rId6" imgW="360" imgH="360" progId="">
              <p:embed/>
            </p:oleObj>
          </a:graphicData>
        </a:graphic>
      </p:graphicFrame>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shutterstock_111035876.jpg"/>
          <p:cNvPicPr>
            <a:picLocks noChangeAspect="1"/>
          </p:cNvPicPr>
          <p:nvPr userDrawn="1"/>
        </p:nvPicPr>
        <p:blipFill>
          <a:blip r:embed="rId5" cstate="print"/>
          <a:srcRect b="14783"/>
          <a:stretch>
            <a:fillRect/>
          </a:stretch>
        </p:blipFill>
        <p:spPr>
          <a:xfrm>
            <a:off x="0" y="1514475"/>
            <a:ext cx="9906000" cy="5343525"/>
          </a:xfrm>
          <a:prstGeom prst="rect">
            <a:avLst/>
          </a:prstGeom>
          <a:noFill/>
          <a:ln>
            <a:noFill/>
          </a:ln>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94585"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1"/>
          <a:ext cx="147061" cy="143985"/>
        </p:xfrm>
        <a:graphic>
          <a:graphicData uri="http://schemas.openxmlformats.org/presentationml/2006/ole">
            <p:oleObj spid="_x0000_s199705" name="think-cell Slide" r:id="rId5" imgW="360" imgH="360" progId="">
              <p:embed/>
            </p:oleObj>
          </a:graphicData>
        </a:graphic>
      </p:graphicFrame>
      <p:sp>
        <p:nvSpPr>
          <p:cNvPr id="7" name="Rectangle 6"/>
          <p:cNvSpPr/>
          <p:nvPr userDrawn="1">
            <p:custDataLst>
              <p:tags r:id="rId2"/>
            </p:custDataLst>
          </p:nvPr>
        </p:nvSpPr>
        <p:spPr>
          <a:xfrm>
            <a:off x="4904793"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9"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algn="just">
              <a:defRPr/>
            </a:pPr>
            <a:r>
              <a:rPr lang="en-US" sz="1000" dirty="0" smtClean="0">
                <a:solidFill>
                  <a:prstClr val="white"/>
                </a:solidFill>
                <a:latin typeface="Arial" pitchFamily="34" charset="0"/>
                <a:cs typeface="Arial" pitchFamily="34" charset="0"/>
              </a:rPr>
              <a:t>With more than 193,000 people in over 40 countries, Capgemini is one of the world's foremost providers of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a:t>
            </a:r>
            <a:r>
              <a:rPr lang="en-US" sz="1000" dirty="0" err="1" smtClean="0">
                <a:solidFill>
                  <a:prstClr val="white"/>
                </a:solidFill>
                <a:latin typeface="Arial" pitchFamily="34" charset="0"/>
                <a:cs typeface="Arial" pitchFamily="34" charset="0"/>
              </a:rPr>
              <a:t>Rightshore</a:t>
            </a:r>
            <a:r>
              <a:rPr lang="en-US" sz="1000" dirty="0" smtClean="0">
                <a:solidFill>
                  <a:prstClr val="white"/>
                </a:solidFill>
                <a:latin typeface="Arial" pitchFamily="34" charset="0"/>
                <a:cs typeface="Arial" pitchFamily="34" charset="0"/>
              </a:rPr>
              <a:t>®, its worldwide delivery model. </a:t>
            </a:r>
          </a:p>
          <a:p>
            <a:pPr algn="just">
              <a:defRPr/>
            </a:pPr>
            <a:r>
              <a:rPr lang="en-US" sz="1000" dirty="0" smtClean="0">
                <a:solidFill>
                  <a:prstClr val="white"/>
                </a:solidFill>
                <a:latin typeface="Arial" pitchFamily="34" charset="0"/>
                <a:cs typeface="Arial" pitchFamily="34" charset="0"/>
              </a:rPr>
              <a:t>Learn more about us at </a:t>
            </a:r>
            <a:r>
              <a:rPr lang="en-US" sz="1000" u="sng" dirty="0" smtClean="0">
                <a:solidFill>
                  <a:srgbClr val="263147"/>
                </a:solidFill>
                <a:latin typeface="Arial" panose="020B0604020202020204" pitchFamily="34" charset="0"/>
                <a:cs typeface="Arial" panose="020B0604020202020204" pitchFamily="34" charset="0"/>
                <a:hlinkClick r:id="rId6"/>
              </a:rPr>
              <a:t>www.capgemini.com</a:t>
            </a:r>
            <a:r>
              <a:rPr lang="en-US" sz="1000" dirty="0" smtClean="0">
                <a:solidFill>
                  <a:srgbClr val="263147"/>
                </a:solidFill>
                <a:latin typeface="Arial" panose="020B0604020202020204" pitchFamily="34" charset="0"/>
                <a:cs typeface="Arial" panose="020B0604020202020204" pitchFamily="34" charset="0"/>
              </a:rPr>
              <a:t>. </a:t>
            </a:r>
          </a:p>
        </p:txBody>
      </p:sp>
      <p:pic>
        <p:nvPicPr>
          <p:cNvPr id="10" name="Image 9" descr="ppt_Label_CBE.png"/>
          <p:cNvPicPr>
            <a:picLocks noChangeAspect="1"/>
          </p:cNvPicPr>
          <p:nvPr userDrawn="1"/>
        </p:nvPicPr>
        <p:blipFill>
          <a:blip r:embed="rId7" cstate="email"/>
          <a:stretch>
            <a:fillRect/>
          </a:stretch>
        </p:blipFill>
        <p:spPr>
          <a:xfrm>
            <a:off x="814448" y="3458687"/>
            <a:ext cx="576000" cy="576000"/>
          </a:xfrm>
          <a:prstGeom prst="rect">
            <a:avLst/>
          </a:prstGeom>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072" name="think-cell Slide" r:id="rId4" imgW="360" imgH="360" progId="">
              <p:embed/>
            </p:oleObj>
          </a:graphicData>
        </a:graphic>
      </p:graphicFrame>
      <p:sp>
        <p:nvSpPr>
          <p:cNvPr id="4" name="Rectangle 3"/>
          <p:cNvSpPr/>
          <p:nvPr userDrawn="1">
            <p:custDataLst>
              <p:tags r:id="rId2"/>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88441" name="think-cell Slide" r:id="rId4" imgW="360" imgH="360" progId="">
              <p:embed/>
            </p:oleObj>
          </a:graphicData>
        </a:graphic>
      </p:graphicFrame>
      <p:sp>
        <p:nvSpPr>
          <p:cNvPr id="12" name="Freeform 7"/>
          <p:cNvSpPr>
            <a:spLocks/>
          </p:cNvSpPr>
          <p:nvPr userDrawn="1"/>
        </p:nvSpPr>
        <p:spPr bwMode="auto">
          <a:xfrm flipH="1">
            <a:off x="0" y="0"/>
            <a:ext cx="3981400"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2"/>
            </p:custDataLst>
          </p:nvPr>
        </p:nvSpPr>
        <p:spPr>
          <a:xfrm>
            <a:off x="314326" y="962025"/>
            <a:ext cx="3124200"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4140000" y="1512000"/>
            <a:ext cx="5256213" cy="4788000"/>
          </a:xfrm>
        </p:spPr>
        <p:txBody>
          <a:bodyPr/>
          <a:lstStyle/>
          <a:p>
            <a:pPr lvl="0"/>
            <a:r>
              <a:rPr lang="en-US" smtClean="0"/>
              <a:t>Click to edit Master text styles</a:t>
            </a:r>
          </a:p>
          <a:p>
            <a:pPr lvl="1"/>
            <a:r>
              <a:rPr lang="en-US" smtClean="0"/>
              <a:t>Second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809"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3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2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0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8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2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oleObject" Target="../embeddings/oleObject13.bin"/><Relationship Id="rId4" Type="http://schemas.openxmlformats.org/officeDocument/2006/relationships/vmlDrawing" Target="../drawings/vmlDrawing13.v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oleObject" Target="../embeddings/oleObject16.bin"/><Relationship Id="rId18" Type="http://schemas.openxmlformats.org/officeDocument/2006/relationships/image" Target="../media/image10.png"/><Relationship Id="rId3" Type="http://schemas.openxmlformats.org/officeDocument/2006/relationships/theme" Target="../theme/theme3.xml"/><Relationship Id="rId21" Type="http://schemas.openxmlformats.org/officeDocument/2006/relationships/hyperlink" Target="http://www.youtube.com/capgeminimedia" TargetMode="Externa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hyperlink" Target="http://www.linkedin.com/company/capgemini" TargetMode="External"/><Relationship Id="rId25" Type="http://schemas.openxmlformats.org/officeDocument/2006/relationships/image" Target="../media/image4.jpeg"/><Relationship Id="rId2" Type="http://schemas.openxmlformats.org/officeDocument/2006/relationships/slideLayout" Target="../slideLayouts/slideLayout18.xml"/><Relationship Id="rId16" Type="http://schemas.openxmlformats.org/officeDocument/2006/relationships/image" Target="../media/image9.png"/><Relationship Id="rId20" Type="http://schemas.openxmlformats.org/officeDocument/2006/relationships/image" Target="../media/image11.png"/><Relationship Id="rId1" Type="http://schemas.openxmlformats.org/officeDocument/2006/relationships/slideLayout" Target="../slideLayouts/slideLayout17.x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image" Target="../media/image13.gif"/><Relationship Id="rId5" Type="http://schemas.openxmlformats.org/officeDocument/2006/relationships/tags" Target="../tags/tag40.xml"/><Relationship Id="rId15" Type="http://schemas.openxmlformats.org/officeDocument/2006/relationships/hyperlink" Target="http://www.facebook.com/Capgemini" TargetMode="External"/><Relationship Id="rId23" Type="http://schemas.openxmlformats.org/officeDocument/2006/relationships/hyperlink" Target="http://www.slideshare.net/capgemini" TargetMode="External"/><Relationship Id="rId10" Type="http://schemas.openxmlformats.org/officeDocument/2006/relationships/tags" Target="../tags/tag45.xml"/><Relationship Id="rId19" Type="http://schemas.openxmlformats.org/officeDocument/2006/relationships/hyperlink" Target="http://www.twitter.com/capgemini" TargetMode="External"/><Relationship Id="rId4" Type="http://schemas.openxmlformats.org/officeDocument/2006/relationships/vmlDrawing" Target="../drawings/vmlDrawing16.vml"/><Relationship Id="rId9" Type="http://schemas.openxmlformats.org/officeDocument/2006/relationships/tags" Target="../tags/tag44.xml"/><Relationship Id="rId14" Type="http://schemas.openxmlformats.org/officeDocument/2006/relationships/image" Target="../media/image5.emf"/><Relationship Id="rId22"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72" name="think-cell Slide" r:id="rId24" imgW="360" imgH="360" progId="">
              <p:embed/>
            </p:oleObj>
          </a:graphicData>
        </a:graphic>
      </p:graphicFrame>
      <p:sp>
        <p:nvSpPr>
          <p:cNvPr id="2" name="Title Placeholder 1"/>
          <p:cNvSpPr>
            <a:spLocks noGrp="1"/>
          </p:cNvSpPr>
          <p:nvPr>
            <p:ph type="title"/>
            <p:custDataLst>
              <p:tags r:id="rId17"/>
            </p:custDataLst>
          </p:nvPr>
        </p:nvSpPr>
        <p:spPr>
          <a:xfrm>
            <a:off x="1"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8"/>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9"/>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0"/>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1"/>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7. All Rights Reserved</a:t>
            </a:r>
          </a:p>
        </p:txBody>
      </p:sp>
      <p:sp>
        <p:nvSpPr>
          <p:cNvPr id="13" name="Rectangle 12"/>
          <p:cNvSpPr/>
          <p:nvPr>
            <p:custDataLst>
              <p:tags r:id="rId22"/>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kern="1200" dirty="0" smtClean="0">
                <a:solidFill>
                  <a:schemeClr val="tx2"/>
                </a:solidFill>
                <a:latin typeface="+mn-lt"/>
                <a:ea typeface="+mn-ea"/>
                <a:cs typeface="+mn-cs"/>
              </a:rPr>
              <a:t>Day</a:t>
            </a:r>
            <a:r>
              <a:rPr lang="en-US" sz="700" kern="1200" baseline="0" dirty="0" smtClean="0">
                <a:solidFill>
                  <a:schemeClr val="tx2"/>
                </a:solidFill>
                <a:latin typeface="+mn-lt"/>
                <a:ea typeface="+mn-ea"/>
                <a:cs typeface="+mn-cs"/>
              </a:rPr>
              <a:t> 1 </a:t>
            </a:r>
            <a:r>
              <a:rPr lang="en-US" sz="700" kern="1200" baseline="0" dirty="0" err="1" smtClean="0">
                <a:solidFill>
                  <a:schemeClr val="tx2"/>
                </a:solidFill>
                <a:latin typeface="+mn-lt"/>
                <a:ea typeface="+mn-ea"/>
                <a:cs typeface="+mn-cs"/>
              </a:rPr>
              <a:t>Onboarding</a:t>
            </a:r>
            <a:r>
              <a:rPr lang="en-US" sz="700" kern="1200" baseline="0" dirty="0" smtClean="0">
                <a:solidFill>
                  <a:schemeClr val="tx2"/>
                </a:solidFill>
                <a:latin typeface="+mn-lt"/>
                <a:ea typeface="+mn-ea"/>
                <a:cs typeface="+mn-cs"/>
              </a:rPr>
              <a:t> Deck</a:t>
            </a:r>
            <a:endParaRPr lang="en-US" sz="700" kern="1200" dirty="0">
              <a:solidFill>
                <a:schemeClr val="tx2"/>
              </a:solidFill>
              <a:latin typeface="+mn-lt"/>
              <a:ea typeface="+mn-ea"/>
              <a:cs typeface="+mn-cs"/>
            </a:endParaRPr>
          </a:p>
        </p:txBody>
      </p:sp>
      <p:cxnSp>
        <p:nvCxnSpPr>
          <p:cNvPr id="15" name="Straight Connector 5"/>
          <p:cNvCxnSpPr/>
          <p:nvPr>
            <p:custDataLst>
              <p:tags r:id="rId23"/>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5" cstate="print"/>
          <a:stretch>
            <a:fillRect/>
          </a:stretch>
        </p:blipFill>
        <p:spPr>
          <a:xfrm>
            <a:off x="118184" y="6419977"/>
            <a:ext cx="1440000" cy="343023"/>
          </a:xfrm>
          <a:prstGeom prst="rect">
            <a:avLst/>
          </a:prstGeom>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 id="2147483992" r:id="rId10"/>
    <p:sldLayoutId id="2147483993" r:id="rId11"/>
    <p:sldLayoutId id="2147483994" r:id="rId12"/>
    <p:sldLayoutId id="2147483995" r:id="rId13"/>
    <p:sldLayoutId id="2147483996" r:id="rId14"/>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48"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71" r:id="rId1"/>
    <p:sldLayoutId id="2147483990"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45" name="think-cell Slide" r:id="rId13" imgW="360" imgH="360" progId="">
              <p:embed/>
            </p:oleObj>
          </a:graphicData>
        </a:graphic>
      </p:graphicFrame>
      <p:sp>
        <p:nvSpPr>
          <p:cNvPr id="357" name="Rectangle 7"/>
          <p:cNvSpPr/>
          <p:nvPr>
            <p:custDataLst>
              <p:tags r:id="rId5"/>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6"/>
            </p:custDataLst>
          </p:nvPr>
        </p:nvPicPr>
        <p:blipFill>
          <a:blip r:embed="rId14" cstate="email"/>
          <a:srcRect/>
          <a:stretch>
            <a:fillRect/>
          </a:stretch>
        </p:blipFill>
        <p:spPr bwMode="auto">
          <a:xfrm>
            <a:off x="6406875" y="1209254"/>
            <a:ext cx="2880000" cy="229353"/>
          </a:xfrm>
          <a:prstGeom prst="rect">
            <a:avLst/>
          </a:prstGeom>
          <a:noFill/>
        </p:spPr>
      </p:pic>
      <p:sp>
        <p:nvSpPr>
          <p:cNvPr id="15" name="Rectangle 14"/>
          <p:cNvSpPr/>
          <p:nvPr>
            <p:custDataLst>
              <p:tags r:id="rId7"/>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5"/>
          </p:cNvPr>
          <p:cNvPicPr>
            <a:picLocks noChangeAspect="1" noChangeArrowheads="1"/>
          </p:cNvPicPr>
          <p:nvPr>
            <p:custDataLst>
              <p:tags r:id="rId8"/>
            </p:custDataLst>
          </p:nvPr>
        </p:nvPicPr>
        <p:blipFill>
          <a:blip r:embed="rId16"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17"/>
          </p:cNvPr>
          <p:cNvPicPr>
            <a:picLocks noChangeAspect="1" noChangeArrowheads="1"/>
          </p:cNvPicPr>
          <p:nvPr>
            <p:custDataLst>
              <p:tags r:id="rId9"/>
            </p:custDataLst>
          </p:nvPr>
        </p:nvPicPr>
        <p:blipFill>
          <a:blip r:embed="rId18"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19"/>
          </p:cNvPr>
          <p:cNvPicPr>
            <a:picLocks noChangeAspect="1" noChangeArrowheads="1"/>
          </p:cNvPicPr>
          <p:nvPr>
            <p:custDataLst>
              <p:tags r:id="rId10"/>
            </p:custDataLst>
          </p:nvPr>
        </p:nvPicPr>
        <p:blipFill>
          <a:blip r:embed="rId20"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1"/>
          </p:cNvPr>
          <p:cNvPicPr>
            <a:picLocks noChangeAspect="1" noChangeArrowheads="1"/>
          </p:cNvPicPr>
          <p:nvPr>
            <p:custDataLst>
              <p:tags r:id="rId11"/>
            </p:custDataLst>
          </p:nvPr>
        </p:nvPicPr>
        <p:blipFill>
          <a:blip r:embed="rId22" cstate="email"/>
          <a:srcRect/>
          <a:stretch>
            <a:fillRect/>
          </a:stretch>
        </p:blipFill>
        <p:spPr bwMode="auto">
          <a:xfrm>
            <a:off x="8992848" y="5932547"/>
            <a:ext cx="281313" cy="266700"/>
          </a:xfrm>
          <a:prstGeom prst="rect">
            <a:avLst/>
          </a:prstGeom>
          <a:noFill/>
        </p:spPr>
      </p:pic>
      <p:pic>
        <p:nvPicPr>
          <p:cNvPr id="20" name="Image 22" descr="Picto_Slideshare.gif">
            <a:hlinkClick r:id="rId23"/>
          </p:cNvPr>
          <p:cNvPicPr preferRelativeResize="0">
            <a:picLocks/>
          </p:cNvPicPr>
          <p:nvPr>
            <p:custDataLst>
              <p:tags r:id="rId12"/>
            </p:custDataLst>
          </p:nvPr>
        </p:nvPicPr>
        <p:blipFill>
          <a:blip r:embed="rId24"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5" cstate="print"/>
          <a:stretch>
            <a:fillRect/>
          </a:stretch>
        </p:blipFill>
        <p:spPr>
          <a:xfrm>
            <a:off x="747567" y="1014965"/>
            <a:ext cx="2880000" cy="686046"/>
          </a:xfrm>
          <a:prstGeom prst="rect">
            <a:avLst/>
          </a:prstGeom>
        </p:spPr>
      </p:pic>
    </p:spTree>
  </p:cSld>
  <p:clrMap bg1="lt1" tx1="dk1" bg2="lt2" tx2="dk2" accent1="accent1" accent2="accent2" accent3="accent3" accent4="accent4" accent5="accent5" accent6="accent6" hlink="hlink" folHlink="folHlink"/>
  <p:sldLayoutIdLst>
    <p:sldLayoutId id="2147483991" r:id="rId1"/>
    <p:sldLayoutId id="2147483961"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3.xml"/><Relationship Id="rId1" Type="http://schemas.openxmlformats.org/officeDocument/2006/relationships/tags" Target="../tags/tag57.xml"/><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8.xml"/><Relationship Id="rId1" Type="http://schemas.openxmlformats.org/officeDocument/2006/relationships/vmlDrawing" Target="../drawings/vmlDrawing19.vml"/><Relationship Id="rId4" Type="http://schemas.openxmlformats.org/officeDocument/2006/relationships/oleObject" Target="../embeddings/oleObject19.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45.png"/><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hyperlink" Target="http://visualidentity.capgemini.com/guidelines/office_templates/email_signature/setup/" TargetMode="External"/><Relationship Id="rId1" Type="http://schemas.openxmlformats.org/officeDocument/2006/relationships/slideLayout" Target="../slideLayouts/slideLayout3.xml"/><Relationship Id="rId4" Type="http://schemas.openxmlformats.org/officeDocument/2006/relationships/image" Target="../media/image48.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50.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hyperlink" Target="http://support.capgemini.com/" TargetMode="External"/><Relationship Id="rId5" Type="http://schemas.openxmlformats.org/officeDocument/2006/relationships/hyperlink" Target="http://talent.capgemini.com/in/pages/supportfunctions/finance_hub/myexpenses/" TargetMode="External"/><Relationship Id="rId4" Type="http://schemas.openxmlformats.org/officeDocument/2006/relationships/image" Target="../media/image49.png"/></Relationships>
</file>

<file path=ppt/slides/_rels/slide2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hyperlink" Target="http://support.capgemini.com/" TargetMode="External"/><Relationship Id="rId2" Type="http://schemas.openxmlformats.org/officeDocument/2006/relationships/notesSlide" Target="../notesSlides/notesSlide19.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hyperlink" Target="https://capgemini.sumtotalsystems.com/sumtotal/app/management/LMS_ActDetails.aspx?UserMode=0&amp;ActivityId=302133" TargetMode="Externa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5.emf"/><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52.png"/></Relationships>
</file>

<file path=ppt/slides/_rels/slide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hyperlink" Target="https://capgemini.sumtotalsystems.com/sumtotal/app/management/LMS_ActDetails.aspx?UserMode=0&amp;ActivityId=302140" TargetMode="External"/></Relationships>
</file>

<file path=ppt/slides/_rels/slide32.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8.png"/><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8" Type="http://schemas.openxmlformats.org/officeDocument/2006/relationships/image" Target="../media/image55.wmf"/><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hyperlink" Target="mailto:cgretiralsservices@excelityglobal.com" TargetMode="Externa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3.xml"/><Relationship Id="rId4" Type="http://schemas.openxmlformats.org/officeDocument/2006/relationships/image" Target="../media/image59.jpe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6.gif"/><Relationship Id="rId3" Type="http://schemas.openxmlformats.org/officeDocument/2006/relationships/image" Target="../media/image7.png"/><Relationship Id="rId7" Type="http://schemas.openxmlformats.org/officeDocument/2006/relationships/image" Target="../media/image21.png"/><Relationship Id="rId12" Type="http://schemas.openxmlformats.org/officeDocument/2006/relationships/image" Target="../media/image2.jpeg"/><Relationship Id="rId17" Type="http://schemas.openxmlformats.org/officeDocument/2006/relationships/hyperlink" Target="https://www.capgemini.com/about/group/history" TargetMode="External"/><Relationship Id="rId2" Type="http://schemas.openxmlformats.org/officeDocument/2006/relationships/notesSlide" Target="../notesSlides/notesSlide4.xml"/><Relationship Id="rId16" Type="http://schemas.openxmlformats.org/officeDocument/2006/relationships/hyperlink" Target="https://www.capgemini.com/optimize-your-business-and-it-operations" TargetMode="External"/><Relationship Id="rId1" Type="http://schemas.openxmlformats.org/officeDocument/2006/relationships/slideLayout" Target="../slideLayouts/slideLayout9.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8.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7.png"/></Relationships>
</file>

<file path=ppt/slides/_rels/slide5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49.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chart" Target="../charts/chart2.xml"/><Relationship Id="rId5" Type="http://schemas.openxmlformats.org/officeDocument/2006/relationships/image" Target="../media/image28.png"/><Relationship Id="rId4" Type="http://schemas.openxmlformats.org/officeDocument/2006/relationships/image" Target="../media/image8.png"/></Relationships>
</file>

<file path=ppt/slides/_rels/slide60.xml.rels><?xml version="1.0" encoding="UTF-8" standalone="yes"?>
<Relationships xmlns="http://schemas.openxmlformats.org/package/2006/relationships"><Relationship Id="rId3" Type="http://schemas.openxmlformats.org/officeDocument/2006/relationships/hyperlink" Target="http://talent.capgemini.com/in/pages/supportfunctions/finance_hub/myexpenses/" TargetMode="External"/><Relationship Id="rId2" Type="http://schemas.openxmlformats.org/officeDocument/2006/relationships/notesSlide" Target="../notesSlides/notesSlide39.xml"/><Relationship Id="rId1" Type="http://schemas.openxmlformats.org/officeDocument/2006/relationships/slideLayout" Target="../slideLayouts/slideLayout3.xml"/><Relationship Id="rId4" Type="http://schemas.openxmlformats.org/officeDocument/2006/relationships/hyperlink" Target="http://ijp.fs.capgemini.com/" TargetMode="External"/></Relationships>
</file>

<file path=ppt/slides/_rels/slide61.xml.rels><?xml version="1.0" encoding="UTF-8" standalone="yes"?>
<Relationships xmlns="http://schemas.openxmlformats.org/package/2006/relationships"><Relationship Id="rId3" Type="http://schemas.openxmlformats.org/officeDocument/2006/relationships/hyperlink" Target="http://km20.capgemini.com/book/365693" TargetMode="External"/><Relationship Id="rId2" Type="http://schemas.openxmlformats.org/officeDocument/2006/relationships/notesSlide" Target="../notesSlides/notesSlide40.xml"/><Relationship Id="rId1" Type="http://schemas.openxmlformats.org/officeDocument/2006/relationships/slideLayout" Target="../slideLayouts/slideLayout3.xml"/><Relationship Id="rId5" Type="http://schemas.openxmlformats.org/officeDocument/2006/relationships/hyperlink" Target="mailto:Inpayroll.fssbu@capgemini.com" TargetMode="External"/><Relationship Id="rId4" Type="http://schemas.openxmlformats.org/officeDocument/2006/relationships/hyperlink" Target="https://km3.capgemini.com/book/354978" TargetMode="External"/></Relationships>
</file>

<file path=ppt/slides/_rels/slide62.xml.rels><?xml version="1.0" encoding="UTF-8" standalone="yes"?>
<Relationships xmlns="http://schemas.openxmlformats.org/package/2006/relationships"><Relationship Id="rId3" Type="http://schemas.openxmlformats.org/officeDocument/2006/relationships/hyperlink" Target="http://talent.capgemini.com/global/pages/hubs/strategic_business_units/financial_services/" TargetMode="External"/><Relationship Id="rId2" Type="http://schemas.openxmlformats.org/officeDocument/2006/relationships/notesSlide" Target="../notesSlides/notesSlide41.xml"/><Relationship Id="rId1" Type="http://schemas.openxmlformats.org/officeDocument/2006/relationships/slideLayout" Target="../slideLayouts/slideLayout3.xml"/><Relationship Id="rId5" Type="http://schemas.openxmlformats.org/officeDocument/2006/relationships/hyperlink" Target="http://talent.capgemini.com/university/pages/curriculum/essentials_curriculum" TargetMode="External"/><Relationship Id="rId4" Type="http://schemas.openxmlformats.org/officeDocument/2006/relationships/hyperlink" Target="http://talent.capgemini.com/global/pages/about_us/our_group/ethicsandcompliance/Blue_Book" TargetMode="Externa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chart" Target="../charts/chart3.xml"/><Relationship Id="rId4"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56.xml"/></Relationships>
</file>

<file path=ppt/slides/_rels/slide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jpeg"/><Relationship Id="rId7"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32.png"/><Relationship Id="rId5" Type="http://schemas.openxmlformats.org/officeDocument/2006/relationships/image" Target="../media/image31.png"/><Relationship Id="rId10" Type="http://schemas.openxmlformats.org/officeDocument/2006/relationships/image" Target="../media/image35.png"/><Relationship Id="rId4" Type="http://schemas.openxmlformats.org/officeDocument/2006/relationships/image" Target="../media/image30.png"/><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ctrTitle"/>
          </p:nvPr>
        </p:nvSpPr>
        <p:spPr/>
        <p:txBody>
          <a:bodyPr/>
          <a:lstStyle/>
          <a:p>
            <a:r>
              <a:rPr lang="fr-FR" dirty="0" smtClean="0"/>
              <a:t>Introduction to Capgemini</a:t>
            </a:r>
            <a:endParaRPr lang="fr-FR" dirty="0"/>
          </a:p>
        </p:txBody>
      </p:sp>
      <p:sp>
        <p:nvSpPr>
          <p:cNvPr id="4" name="Sous-titre 3"/>
          <p:cNvSpPr>
            <a:spLocks noGrp="1"/>
          </p:cNvSpPr>
          <p:nvPr>
            <p:ph type="subTitle" idx="1"/>
          </p:nvPr>
        </p:nvSpPr>
        <p:spPr/>
        <p:txBody>
          <a:bodyPr/>
          <a:lstStyle/>
          <a:p>
            <a:r>
              <a:rPr lang="en-US" dirty="0" smtClean="0"/>
              <a:t>July 2017</a:t>
            </a:r>
            <a:endParaRPr lang="en-US" dirty="0"/>
          </a:p>
        </p:txBody>
      </p:sp>
    </p:spTree>
    <p:extLst>
      <p:ext uri="{BB962C8B-B14F-4D97-AF65-F5344CB8AC3E}">
        <p14:creationId xmlns="" xmlns:p14="http://schemas.microsoft.com/office/powerpoint/2010/main" val="2073914183"/>
      </p:ext>
    </p:extLst>
  </p:cSld>
  <p:clrMapOvr>
    <a:masterClrMapping/>
  </p:clrMapOvr>
  <p:transition spd="med" advClick="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à coins arrondis 69"/>
          <p:cNvSpPr/>
          <p:nvPr>
            <p:custDataLst>
              <p:tags r:id="rId1"/>
            </p:custDataLst>
          </p:nvPr>
        </p:nvSpPr>
        <p:spPr bwMode="auto">
          <a:xfrm>
            <a:off x="676894" y="2298618"/>
            <a:ext cx="8552213" cy="2249633"/>
          </a:xfrm>
          <a:prstGeom prst="roundRect">
            <a:avLst>
              <a:gd name="adj" fmla="val 0"/>
            </a:avLst>
          </a:prstGeom>
          <a:solidFill>
            <a:schemeClr val="accent5"/>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marL="173038" algn="ctr" eaLnBrk="0" hangingPunct="0">
              <a:lnSpc>
                <a:spcPct val="150000"/>
              </a:lnSpc>
              <a:defRPr/>
            </a:pPr>
            <a:r>
              <a:rPr lang="en-US" sz="3000" b="0" dirty="0">
                <a:solidFill>
                  <a:schemeClr val="bg1"/>
                </a:solidFill>
              </a:rPr>
              <a:t>“It is the quality of our people, and their capacity</a:t>
            </a:r>
            <a:br>
              <a:rPr lang="en-US" sz="3000" b="0" dirty="0">
                <a:solidFill>
                  <a:schemeClr val="bg1"/>
                </a:solidFill>
              </a:rPr>
            </a:br>
            <a:r>
              <a:rPr lang="en-US" sz="3000" b="0" dirty="0">
                <a:solidFill>
                  <a:schemeClr val="bg1"/>
                </a:solidFill>
              </a:rPr>
              <a:t>to deliver fitting solutions, with you and for you,</a:t>
            </a:r>
            <a:br>
              <a:rPr lang="en-US" sz="3000" b="0" dirty="0">
                <a:solidFill>
                  <a:schemeClr val="bg1"/>
                </a:solidFill>
              </a:rPr>
            </a:br>
            <a:r>
              <a:rPr lang="en-US" sz="3000" b="0" dirty="0">
                <a:solidFill>
                  <a:schemeClr val="bg1"/>
                </a:solidFill>
              </a:rPr>
              <a:t>that drive real business results.”</a:t>
            </a:r>
          </a:p>
        </p:txBody>
      </p:sp>
      <p:sp>
        <p:nvSpPr>
          <p:cNvPr id="51205" name="Rectangle 6"/>
          <p:cNvSpPr>
            <a:spLocks/>
          </p:cNvSpPr>
          <p:nvPr/>
        </p:nvSpPr>
        <p:spPr bwMode="auto">
          <a:xfrm>
            <a:off x="850900" y="2071690"/>
            <a:ext cx="8204200" cy="2428875"/>
          </a:xfrm>
          <a:prstGeom prst="rect">
            <a:avLst/>
          </a:prstGeom>
          <a:noFill/>
          <a:ln w="12700">
            <a:noFill/>
            <a:miter lim="800000"/>
            <a:headEnd/>
            <a:tailEnd/>
          </a:ln>
        </p:spPr>
        <p:txBody>
          <a:bodyPr lIns="0" tIns="0" rIns="43349" bIns="0"/>
          <a:lstStyle/>
          <a:p>
            <a:pPr marL="42863"/>
            <a:endParaRPr lang="en-US" sz="2800">
              <a:solidFill>
                <a:srgbClr val="FFFFFF"/>
              </a:solidFill>
            </a:endParaRPr>
          </a:p>
        </p:txBody>
      </p:sp>
      <p:sp>
        <p:nvSpPr>
          <p:cNvPr id="51206" name="Titre 1"/>
          <p:cNvSpPr>
            <a:spLocks noGrp="1"/>
          </p:cNvSpPr>
          <p:nvPr>
            <p:ph type="title"/>
          </p:nvPr>
        </p:nvSpPr>
        <p:spPr/>
        <p:txBody>
          <a:bodyPr/>
          <a:lstStyle/>
          <a:p>
            <a:r>
              <a:rPr sz="3600" smtClean="0"/>
              <a:t>Our Brand promise</a:t>
            </a:r>
            <a:endParaRPr lang="fr-FR" sz="3600" dirty="0" smtClean="0"/>
          </a:p>
        </p:txBody>
      </p:sp>
      <p:pic>
        <p:nvPicPr>
          <p:cNvPr id="13" name="Image 7" descr="Capgemini_Slogan_RGB.png"/>
          <p:cNvPicPr>
            <a:picLocks noChangeAspect="1"/>
          </p:cNvPicPr>
          <p:nvPr/>
        </p:nvPicPr>
        <p:blipFill>
          <a:blip r:embed="rId3" cstate="print"/>
          <a:stretch>
            <a:fillRect/>
          </a:stretch>
        </p:blipFill>
        <p:spPr>
          <a:xfrm>
            <a:off x="2579711" y="5141830"/>
            <a:ext cx="4746581" cy="490632"/>
          </a:xfrm>
          <a:prstGeom prst="rect">
            <a:avLst/>
          </a:prstGeom>
        </p:spPr>
      </p:pic>
      <p:pic>
        <p:nvPicPr>
          <p:cNvPr id="7" name="Image 6" descr="shutterstock_80837125.png"/>
          <p:cNvPicPr>
            <a:picLocks noChangeAspect="1"/>
          </p:cNvPicPr>
          <p:nvPr/>
        </p:nvPicPr>
        <p:blipFill>
          <a:blip r:embed="rId4" cstate="print"/>
          <a:stretch>
            <a:fillRect/>
          </a:stretch>
        </p:blipFill>
        <p:spPr>
          <a:xfrm>
            <a:off x="3872566" y="1258789"/>
            <a:ext cx="2294614" cy="1529096"/>
          </a:xfrm>
          <a:prstGeom prst="rect">
            <a:avLst/>
          </a:prstGeom>
        </p:spPr>
      </p:pic>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ight Brace 16"/>
          <p:cNvSpPr/>
          <p:nvPr/>
        </p:nvSpPr>
        <p:spPr bwMode="auto">
          <a:xfrm rot="5400000">
            <a:off x="4753768" y="-182674"/>
            <a:ext cx="406402" cy="8580440"/>
          </a:xfrm>
          <a:prstGeom prst="rightBrace">
            <a:avLst>
              <a:gd name="adj1" fmla="val 40686"/>
              <a:gd name="adj2" fmla="val 50000"/>
            </a:avLst>
          </a:prstGeom>
          <a:solidFill>
            <a:schemeClr val="bg1">
              <a:lumMod val="50000"/>
            </a:schemeClr>
          </a:solidFill>
          <a:ln w="6350" cap="flat" cmpd="sng" algn="ctr">
            <a:noFill/>
            <a:prstDash val="solid"/>
            <a:round/>
            <a:headEnd type="none" w="med" len="med"/>
            <a:tailEnd type="none" w="med" len="med"/>
          </a:ln>
          <a:effectLst/>
        </p:spPr>
        <p:txBody>
          <a:bodyPr rtlCol="0" anchor="ctr"/>
          <a:lstStyle/>
          <a:p>
            <a:pPr algn="ctr"/>
            <a:endParaRPr lang="en-US" dirty="0"/>
          </a:p>
        </p:txBody>
      </p:sp>
      <p:sp>
        <p:nvSpPr>
          <p:cNvPr id="5" name="Rounded Rectangle 4"/>
          <p:cNvSpPr/>
          <p:nvPr/>
        </p:nvSpPr>
        <p:spPr bwMode="auto">
          <a:xfrm>
            <a:off x="349250" y="3657600"/>
            <a:ext cx="9215438" cy="344498"/>
          </a:xfrm>
          <a:prstGeom prst="roundRect">
            <a:avLst>
              <a:gd name="adj" fmla="val 19114"/>
            </a:avLst>
          </a:prstGeom>
          <a:solidFill>
            <a:schemeClr val="bg1"/>
          </a:soli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bg2">
                  <a:lumMod val="50000"/>
                </a:schemeClr>
              </a:solidFill>
              <a:effectLst/>
              <a:latin typeface="+mn-lt"/>
              <a:cs typeface="Arial" charset="0"/>
            </a:endParaRPr>
          </a:p>
        </p:txBody>
      </p:sp>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206873" name="think-cell Slide" r:id="rId4" imgW="360" imgH="360" progId="">
              <p:embed/>
            </p:oleObj>
          </a:graphicData>
        </a:graphic>
      </p:graphicFrame>
      <p:sp>
        <p:nvSpPr>
          <p:cNvPr id="344" name="Text Placeholder 2"/>
          <p:cNvSpPr>
            <a:spLocks noGrp="1"/>
          </p:cNvSpPr>
          <p:nvPr>
            <p:ph idx="1"/>
            <p:custDataLst>
              <p:tags r:id="rId2"/>
            </p:custDataLst>
          </p:nvPr>
        </p:nvSpPr>
        <p:spPr>
          <a:xfrm>
            <a:off x="341313" y="1495425"/>
            <a:ext cx="9223375" cy="664797"/>
          </a:xfrm>
          <a:prstGeom prst="rect">
            <a:avLst/>
          </a:prstGeom>
        </p:spPr>
        <p:txBody>
          <a:bodyPr vert="horz" lIns="0" tIns="0" rIns="0" bIns="0" rtlCol="0">
            <a:spAutoFit/>
          </a:bodyPr>
          <a:lstStyle>
            <a:lvl1pPr>
              <a:defRPr lang="en-US" sz="2200" b="0" kern="1200" noProof="0" dirty="0" smtClean="0">
                <a:solidFill>
                  <a:schemeClr val="tx2">
                    <a:lumMod val="50000"/>
                  </a:schemeClr>
                </a:solidFill>
                <a:latin typeface="+mn-lt"/>
                <a:ea typeface="+mn-ea"/>
                <a:cs typeface="+mn-cs"/>
              </a:defRPr>
            </a:lvl1pPr>
            <a:lvl2pPr>
              <a:defRPr lang="en-US" sz="1800" kern="1200" noProof="0" dirty="0" smtClean="0">
                <a:solidFill>
                  <a:schemeClr val="tx2">
                    <a:lumMod val="50000"/>
                  </a:schemeClr>
                </a:solidFill>
                <a:latin typeface="+mn-lt"/>
                <a:ea typeface="+mn-ea"/>
                <a:cs typeface="+mn-cs"/>
              </a:defRPr>
            </a:lvl2pPr>
            <a:lvl3pPr>
              <a:defRPr lang="en-US" sz="1700" kern="1200" noProof="0" dirty="0" smtClean="0">
                <a:solidFill>
                  <a:schemeClr val="tx2">
                    <a:lumMod val="50000"/>
                  </a:schemeClr>
                </a:solidFill>
                <a:latin typeface="+mn-lt"/>
                <a:ea typeface="+mn-ea"/>
                <a:cs typeface="+mn-cs"/>
              </a:defRPr>
            </a:lvl3pPr>
            <a:lvl4pPr>
              <a:defRPr lang="en-US" sz="1500" kern="1200" noProof="0" dirty="0" smtClean="0">
                <a:solidFill>
                  <a:schemeClr val="tx2">
                    <a:lumMod val="50000"/>
                  </a:schemeClr>
                </a:solidFill>
                <a:latin typeface="+mn-lt"/>
                <a:ea typeface="+mn-ea"/>
                <a:cs typeface="+mn-cs"/>
              </a:defRPr>
            </a:lvl4pPr>
          </a:lstStyle>
          <a:p>
            <a:pPr marL="0" lvl="0" indent="0">
              <a:spcAft>
                <a:spcPts val="600"/>
              </a:spcAft>
              <a:buNone/>
            </a:pPr>
            <a:r>
              <a:rPr lang="en-US" sz="1600" dirty="0"/>
              <a:t>A formalized set of shared values guide our business decisions and shape our culture. The practical expression of these values and objectives can be seen in the collaborative relationships we build, the standards by which we measure our work, and the commitments we make to our people.</a:t>
            </a:r>
          </a:p>
        </p:txBody>
      </p:sp>
      <p:sp>
        <p:nvSpPr>
          <p:cNvPr id="270" name="Rectangle 6"/>
          <p:cNvSpPr>
            <a:spLocks noChangeArrowheads="1"/>
          </p:cNvSpPr>
          <p:nvPr/>
        </p:nvSpPr>
        <p:spPr bwMode="auto">
          <a:xfrm>
            <a:off x="8245684" y="2992281"/>
            <a:ext cx="1212647" cy="938369"/>
          </a:xfrm>
          <a:prstGeom prst="round2SameRect">
            <a:avLst/>
          </a:prstGeom>
          <a:solidFill>
            <a:schemeClr val="bg1">
              <a:lumMod val="95000"/>
            </a:schemeClr>
          </a:solidFill>
          <a:ln w="9525">
            <a:noFill/>
            <a:miter lim="800000"/>
            <a:headEnd/>
            <a:tailEnd/>
          </a:ln>
        </p:spPr>
        <p:txBody>
          <a:bodyPr vert="horz" wrap="square" lIns="0" tIns="0" rIns="0" bIns="0" numCol="1" anchor="ctr" anchorCtr="0" compatLnSpc="1">
            <a:prstTxWarp prst="textNoShape">
              <a:avLst/>
            </a:prstTxWarp>
          </a:bodyPr>
          <a:lstStyle/>
          <a:p>
            <a:pPr algn="ctr"/>
            <a:endParaRPr lang="en-US" sz="1600" b="1" dirty="0">
              <a:solidFill>
                <a:schemeClr val="bg1"/>
              </a:solidFill>
            </a:endParaRPr>
          </a:p>
        </p:txBody>
      </p:sp>
      <p:sp>
        <p:nvSpPr>
          <p:cNvPr id="132" name="Rectangle 6"/>
          <p:cNvSpPr>
            <a:spLocks noChangeArrowheads="1"/>
          </p:cNvSpPr>
          <p:nvPr/>
        </p:nvSpPr>
        <p:spPr bwMode="auto">
          <a:xfrm>
            <a:off x="8245684" y="2680663"/>
            <a:ext cx="1212647" cy="384487"/>
          </a:xfrm>
          <a:prstGeom prst="round2SameRect">
            <a:avLst/>
          </a:prstGeom>
          <a:solidFill>
            <a:srgbClr val="B0BA25"/>
          </a:solidFill>
          <a:ln w="9525">
            <a:noFill/>
            <a:miter lim="800000"/>
            <a:headEnd/>
            <a:tailEnd/>
          </a:ln>
        </p:spPr>
        <p:txBody>
          <a:bodyPr vert="horz" wrap="square" lIns="0" tIns="0" rIns="0" bIns="0" numCol="1" anchor="ctr" anchorCtr="0" compatLnSpc="1">
            <a:prstTxWarp prst="textNoShape">
              <a:avLst/>
            </a:prstTxWarp>
          </a:bodyPr>
          <a:lstStyle/>
          <a:p>
            <a:pPr algn="ctr"/>
            <a:r>
              <a:rPr lang="en-US" sz="1600" b="1" dirty="0" smtClean="0">
                <a:solidFill>
                  <a:schemeClr val="bg1"/>
                </a:solidFill>
              </a:rPr>
              <a:t>Fun</a:t>
            </a:r>
            <a:endParaRPr lang="en-US" sz="1600" b="1" dirty="0">
              <a:solidFill>
                <a:schemeClr val="bg1"/>
              </a:solidFill>
            </a:endParaRPr>
          </a:p>
        </p:txBody>
      </p:sp>
      <p:grpSp>
        <p:nvGrpSpPr>
          <p:cNvPr id="2" name="Group 208"/>
          <p:cNvGrpSpPr/>
          <p:nvPr/>
        </p:nvGrpSpPr>
        <p:grpSpPr>
          <a:xfrm>
            <a:off x="8444486" y="3118788"/>
            <a:ext cx="815042" cy="745446"/>
            <a:chOff x="8563481" y="3942394"/>
            <a:chExt cx="787025" cy="719822"/>
          </a:xfrm>
        </p:grpSpPr>
        <p:sp>
          <p:nvSpPr>
            <p:cNvPr id="210" name="Freeform 183"/>
            <p:cNvSpPr>
              <a:spLocks/>
            </p:cNvSpPr>
            <p:nvPr/>
          </p:nvSpPr>
          <p:spPr bwMode="auto">
            <a:xfrm>
              <a:off x="8954753" y="3948367"/>
              <a:ext cx="395753" cy="403220"/>
            </a:xfrm>
            <a:custGeom>
              <a:avLst/>
              <a:gdLst/>
              <a:ahLst/>
              <a:cxnLst>
                <a:cxn ang="0">
                  <a:pos x="131" y="135"/>
                </a:cxn>
                <a:cxn ang="0">
                  <a:pos x="107" y="92"/>
                </a:cxn>
                <a:cxn ang="0">
                  <a:pos x="79" y="44"/>
                </a:cxn>
                <a:cxn ang="0">
                  <a:pos x="87" y="25"/>
                </a:cxn>
                <a:cxn ang="0">
                  <a:pos x="71" y="4"/>
                </a:cxn>
                <a:cxn ang="0">
                  <a:pos x="55" y="25"/>
                </a:cxn>
                <a:cxn ang="0">
                  <a:pos x="64" y="44"/>
                </a:cxn>
                <a:cxn ang="0">
                  <a:pos x="43" y="54"/>
                </a:cxn>
                <a:cxn ang="0">
                  <a:pos x="17" y="43"/>
                </a:cxn>
                <a:cxn ang="0">
                  <a:pos x="0" y="0"/>
                </a:cxn>
              </a:cxnLst>
              <a:rect l="0" t="0" r="r" b="b"/>
              <a:pathLst>
                <a:path w="132" h="135">
                  <a:moveTo>
                    <a:pt x="131" y="135"/>
                  </a:moveTo>
                  <a:cubicBezTo>
                    <a:pt x="132" y="131"/>
                    <a:pt x="107" y="98"/>
                    <a:pt x="107" y="92"/>
                  </a:cubicBezTo>
                  <a:cubicBezTo>
                    <a:pt x="107" y="65"/>
                    <a:pt x="100" y="45"/>
                    <a:pt x="79" y="44"/>
                  </a:cubicBezTo>
                  <a:cubicBezTo>
                    <a:pt x="82" y="40"/>
                    <a:pt x="87" y="32"/>
                    <a:pt x="87" y="25"/>
                  </a:cubicBezTo>
                  <a:cubicBezTo>
                    <a:pt x="87" y="13"/>
                    <a:pt x="80" y="4"/>
                    <a:pt x="71" y="4"/>
                  </a:cubicBezTo>
                  <a:cubicBezTo>
                    <a:pt x="63" y="4"/>
                    <a:pt x="55" y="13"/>
                    <a:pt x="55" y="25"/>
                  </a:cubicBezTo>
                  <a:cubicBezTo>
                    <a:pt x="55" y="32"/>
                    <a:pt x="61" y="40"/>
                    <a:pt x="64" y="44"/>
                  </a:cubicBezTo>
                  <a:cubicBezTo>
                    <a:pt x="54" y="45"/>
                    <a:pt x="47" y="49"/>
                    <a:pt x="43" y="54"/>
                  </a:cubicBezTo>
                  <a:cubicBezTo>
                    <a:pt x="17" y="43"/>
                    <a:pt x="17" y="43"/>
                    <a:pt x="17" y="43"/>
                  </a:cubicBezTo>
                  <a:cubicBezTo>
                    <a:pt x="0" y="0"/>
                    <a:pt x="0" y="0"/>
                    <a:pt x="0" y="0"/>
                  </a:cubicBezTo>
                </a:path>
              </a:pathLst>
            </a:custGeom>
            <a:noFill/>
            <a:ln w="19050" cap="rnd">
              <a:solidFill>
                <a:srgbClr val="B0BA2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184"/>
            <p:cNvSpPr>
              <a:spLocks/>
            </p:cNvSpPr>
            <p:nvPr/>
          </p:nvSpPr>
          <p:spPr bwMode="auto">
            <a:xfrm>
              <a:off x="9074226" y="4166405"/>
              <a:ext cx="162782" cy="495811"/>
            </a:xfrm>
            <a:custGeom>
              <a:avLst/>
              <a:gdLst/>
              <a:ahLst/>
              <a:cxnLst>
                <a:cxn ang="0">
                  <a:pos x="54" y="48"/>
                </a:cxn>
                <a:cxn ang="0">
                  <a:pos x="53" y="165"/>
                </a:cxn>
                <a:cxn ang="0">
                  <a:pos x="43" y="165"/>
                </a:cxn>
                <a:cxn ang="0">
                  <a:pos x="33" y="57"/>
                </a:cxn>
                <a:cxn ang="0">
                  <a:pos x="9" y="166"/>
                </a:cxn>
                <a:cxn ang="0">
                  <a:pos x="0" y="165"/>
                </a:cxn>
                <a:cxn ang="0">
                  <a:pos x="11" y="47"/>
                </a:cxn>
                <a:cxn ang="0">
                  <a:pos x="9" y="0"/>
                </a:cxn>
              </a:cxnLst>
              <a:rect l="0" t="0" r="r" b="b"/>
              <a:pathLst>
                <a:path w="54" h="166">
                  <a:moveTo>
                    <a:pt x="54" y="48"/>
                  </a:moveTo>
                  <a:cubicBezTo>
                    <a:pt x="53" y="165"/>
                    <a:pt x="53" y="165"/>
                    <a:pt x="53" y="165"/>
                  </a:cubicBezTo>
                  <a:cubicBezTo>
                    <a:pt x="43" y="165"/>
                    <a:pt x="43" y="165"/>
                    <a:pt x="43" y="165"/>
                  </a:cubicBezTo>
                  <a:cubicBezTo>
                    <a:pt x="33" y="57"/>
                    <a:pt x="33" y="57"/>
                    <a:pt x="33" y="57"/>
                  </a:cubicBezTo>
                  <a:cubicBezTo>
                    <a:pt x="9" y="166"/>
                    <a:pt x="9" y="166"/>
                    <a:pt x="9" y="166"/>
                  </a:cubicBezTo>
                  <a:cubicBezTo>
                    <a:pt x="0" y="165"/>
                    <a:pt x="0" y="165"/>
                    <a:pt x="0" y="165"/>
                  </a:cubicBezTo>
                  <a:cubicBezTo>
                    <a:pt x="0" y="165"/>
                    <a:pt x="11" y="50"/>
                    <a:pt x="11" y="47"/>
                  </a:cubicBezTo>
                  <a:cubicBezTo>
                    <a:pt x="9" y="0"/>
                    <a:pt x="9" y="0"/>
                    <a:pt x="9" y="0"/>
                  </a:cubicBezTo>
                </a:path>
              </a:pathLst>
            </a:custGeom>
            <a:noFill/>
            <a:ln w="19050" cap="rnd">
              <a:solidFill>
                <a:srgbClr val="B0BA2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185"/>
            <p:cNvSpPr>
              <a:spLocks/>
            </p:cNvSpPr>
            <p:nvPr/>
          </p:nvSpPr>
          <p:spPr bwMode="auto">
            <a:xfrm>
              <a:off x="8757624" y="4130563"/>
              <a:ext cx="44802" cy="382312"/>
            </a:xfrm>
            <a:custGeom>
              <a:avLst/>
              <a:gdLst/>
              <a:ahLst/>
              <a:cxnLst>
                <a:cxn ang="0">
                  <a:pos x="6" y="128"/>
                </a:cxn>
                <a:cxn ang="0">
                  <a:pos x="8" y="128"/>
                </a:cxn>
                <a:cxn ang="0">
                  <a:pos x="9" y="47"/>
                </a:cxn>
                <a:cxn ang="0">
                  <a:pos x="4" y="31"/>
                </a:cxn>
                <a:cxn ang="0">
                  <a:pos x="5" y="10"/>
                </a:cxn>
                <a:cxn ang="0">
                  <a:pos x="8" y="0"/>
                </a:cxn>
              </a:cxnLst>
              <a:rect l="0" t="0" r="r" b="b"/>
              <a:pathLst>
                <a:path w="15" h="128">
                  <a:moveTo>
                    <a:pt x="6" y="128"/>
                  </a:moveTo>
                  <a:cubicBezTo>
                    <a:pt x="8" y="128"/>
                    <a:pt x="8" y="128"/>
                    <a:pt x="8" y="128"/>
                  </a:cubicBezTo>
                  <a:cubicBezTo>
                    <a:pt x="8" y="128"/>
                    <a:pt x="15" y="70"/>
                    <a:pt x="9" y="47"/>
                  </a:cubicBezTo>
                  <a:cubicBezTo>
                    <a:pt x="7" y="40"/>
                    <a:pt x="5" y="34"/>
                    <a:pt x="4" y="31"/>
                  </a:cubicBezTo>
                  <a:cubicBezTo>
                    <a:pt x="0" y="22"/>
                    <a:pt x="5" y="10"/>
                    <a:pt x="5" y="10"/>
                  </a:cubicBezTo>
                  <a:cubicBezTo>
                    <a:pt x="8" y="0"/>
                    <a:pt x="8" y="0"/>
                    <a:pt x="8" y="0"/>
                  </a:cubicBezTo>
                </a:path>
              </a:pathLst>
            </a:custGeom>
            <a:noFill/>
            <a:ln w="19050" cap="rnd">
              <a:solidFill>
                <a:srgbClr val="B0BA2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Line 186"/>
            <p:cNvSpPr>
              <a:spLocks noChangeShapeType="1"/>
            </p:cNvSpPr>
            <p:nvPr/>
          </p:nvSpPr>
          <p:spPr bwMode="auto">
            <a:xfrm>
              <a:off x="8703861" y="4512875"/>
              <a:ext cx="29868" cy="1494"/>
            </a:xfrm>
            <a:prstGeom prst="line">
              <a:avLst/>
            </a:prstGeom>
            <a:noFill/>
            <a:ln w="19050" cap="rnd">
              <a:solidFill>
                <a:srgbClr val="B0BA2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Line 187"/>
            <p:cNvSpPr>
              <a:spLocks noChangeShapeType="1"/>
            </p:cNvSpPr>
            <p:nvPr/>
          </p:nvSpPr>
          <p:spPr bwMode="auto">
            <a:xfrm>
              <a:off x="8638151" y="4512875"/>
              <a:ext cx="20908" cy="1494"/>
            </a:xfrm>
            <a:prstGeom prst="line">
              <a:avLst/>
            </a:prstGeom>
            <a:noFill/>
            <a:ln w="19050" cap="rnd">
              <a:solidFill>
                <a:srgbClr val="B0BA2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188"/>
            <p:cNvSpPr>
              <a:spLocks/>
            </p:cNvSpPr>
            <p:nvPr/>
          </p:nvSpPr>
          <p:spPr bwMode="auto">
            <a:xfrm>
              <a:off x="8638151" y="4127576"/>
              <a:ext cx="44802" cy="385299"/>
            </a:xfrm>
            <a:custGeom>
              <a:avLst/>
              <a:gdLst/>
              <a:ahLst/>
              <a:cxnLst>
                <a:cxn ang="0">
                  <a:pos x="9" y="0"/>
                </a:cxn>
                <a:cxn ang="0">
                  <a:pos x="13" y="11"/>
                </a:cxn>
                <a:cxn ang="0">
                  <a:pos x="14" y="18"/>
                </a:cxn>
                <a:cxn ang="0">
                  <a:pos x="9" y="35"/>
                </a:cxn>
                <a:cxn ang="0">
                  <a:pos x="8" y="102"/>
                </a:cxn>
                <a:cxn ang="0">
                  <a:pos x="0" y="129"/>
                </a:cxn>
              </a:cxnLst>
              <a:rect l="0" t="0" r="r" b="b"/>
              <a:pathLst>
                <a:path w="15" h="129">
                  <a:moveTo>
                    <a:pt x="9" y="0"/>
                  </a:moveTo>
                  <a:cubicBezTo>
                    <a:pt x="13" y="11"/>
                    <a:pt x="13" y="11"/>
                    <a:pt x="13" y="11"/>
                  </a:cubicBezTo>
                  <a:cubicBezTo>
                    <a:pt x="13" y="11"/>
                    <a:pt x="14" y="14"/>
                    <a:pt x="14" y="18"/>
                  </a:cubicBezTo>
                  <a:cubicBezTo>
                    <a:pt x="15" y="22"/>
                    <a:pt x="14" y="26"/>
                    <a:pt x="9" y="35"/>
                  </a:cubicBezTo>
                  <a:cubicBezTo>
                    <a:pt x="1" y="48"/>
                    <a:pt x="10" y="84"/>
                    <a:pt x="8" y="102"/>
                  </a:cubicBezTo>
                  <a:cubicBezTo>
                    <a:pt x="0" y="129"/>
                    <a:pt x="0" y="129"/>
                    <a:pt x="0" y="129"/>
                  </a:cubicBezTo>
                </a:path>
              </a:pathLst>
            </a:custGeom>
            <a:noFill/>
            <a:ln w="19050" cap="rnd">
              <a:solidFill>
                <a:srgbClr val="B0BA2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189"/>
            <p:cNvSpPr>
              <a:spLocks/>
            </p:cNvSpPr>
            <p:nvPr/>
          </p:nvSpPr>
          <p:spPr bwMode="auto">
            <a:xfrm>
              <a:off x="8733729" y="4512875"/>
              <a:ext cx="68697" cy="140380"/>
            </a:xfrm>
            <a:custGeom>
              <a:avLst/>
              <a:gdLst/>
              <a:ahLst/>
              <a:cxnLst>
                <a:cxn ang="0">
                  <a:pos x="0" y="0"/>
                </a:cxn>
                <a:cxn ang="0">
                  <a:pos x="7" y="46"/>
                </a:cxn>
                <a:cxn ang="0">
                  <a:pos x="23" y="47"/>
                </a:cxn>
                <a:cxn ang="0">
                  <a:pos x="11" y="31"/>
                </a:cxn>
                <a:cxn ang="0">
                  <a:pos x="12" y="11"/>
                </a:cxn>
                <a:cxn ang="0">
                  <a:pos x="14" y="0"/>
                </a:cxn>
              </a:cxnLst>
              <a:rect l="0" t="0" r="r" b="b"/>
              <a:pathLst>
                <a:path w="23" h="47">
                  <a:moveTo>
                    <a:pt x="0" y="0"/>
                  </a:moveTo>
                  <a:cubicBezTo>
                    <a:pt x="0" y="6"/>
                    <a:pt x="5" y="45"/>
                    <a:pt x="7" y="46"/>
                  </a:cubicBezTo>
                  <a:cubicBezTo>
                    <a:pt x="8" y="47"/>
                    <a:pt x="23" y="47"/>
                    <a:pt x="23" y="47"/>
                  </a:cubicBezTo>
                  <a:cubicBezTo>
                    <a:pt x="23" y="47"/>
                    <a:pt x="12" y="34"/>
                    <a:pt x="11" y="31"/>
                  </a:cubicBezTo>
                  <a:cubicBezTo>
                    <a:pt x="10" y="28"/>
                    <a:pt x="11" y="14"/>
                    <a:pt x="12" y="11"/>
                  </a:cubicBezTo>
                  <a:cubicBezTo>
                    <a:pt x="13" y="9"/>
                    <a:pt x="13" y="5"/>
                    <a:pt x="14" y="0"/>
                  </a:cubicBezTo>
                </a:path>
              </a:pathLst>
            </a:custGeom>
            <a:noFill/>
            <a:ln w="19050" cap="rnd">
              <a:solidFill>
                <a:srgbClr val="B0BA2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190"/>
            <p:cNvSpPr>
              <a:spLocks/>
            </p:cNvSpPr>
            <p:nvPr/>
          </p:nvSpPr>
          <p:spPr bwMode="auto">
            <a:xfrm>
              <a:off x="8563481" y="3942394"/>
              <a:ext cx="382312" cy="304655"/>
            </a:xfrm>
            <a:custGeom>
              <a:avLst/>
              <a:gdLst/>
              <a:ahLst/>
              <a:cxnLst>
                <a:cxn ang="0">
                  <a:pos x="0" y="102"/>
                </a:cxn>
                <a:cxn ang="0">
                  <a:pos x="23" y="78"/>
                </a:cxn>
                <a:cxn ang="0">
                  <a:pos x="48" y="38"/>
                </a:cxn>
                <a:cxn ang="0">
                  <a:pos x="40" y="22"/>
                </a:cxn>
                <a:cxn ang="0">
                  <a:pos x="53" y="4"/>
                </a:cxn>
                <a:cxn ang="0">
                  <a:pos x="67" y="22"/>
                </a:cxn>
                <a:cxn ang="0">
                  <a:pos x="59" y="38"/>
                </a:cxn>
                <a:cxn ang="0">
                  <a:pos x="82" y="50"/>
                </a:cxn>
                <a:cxn ang="0">
                  <a:pos x="114" y="44"/>
                </a:cxn>
                <a:cxn ang="0">
                  <a:pos x="128" y="0"/>
                </a:cxn>
              </a:cxnLst>
              <a:rect l="0" t="0" r="r" b="b"/>
              <a:pathLst>
                <a:path w="128" h="102">
                  <a:moveTo>
                    <a:pt x="0" y="102"/>
                  </a:moveTo>
                  <a:cubicBezTo>
                    <a:pt x="0" y="98"/>
                    <a:pt x="23" y="83"/>
                    <a:pt x="23" y="78"/>
                  </a:cubicBezTo>
                  <a:cubicBezTo>
                    <a:pt x="23" y="56"/>
                    <a:pt x="27" y="40"/>
                    <a:pt x="48" y="38"/>
                  </a:cubicBezTo>
                  <a:cubicBezTo>
                    <a:pt x="46" y="35"/>
                    <a:pt x="40" y="27"/>
                    <a:pt x="40" y="22"/>
                  </a:cubicBezTo>
                  <a:cubicBezTo>
                    <a:pt x="40" y="12"/>
                    <a:pt x="46" y="4"/>
                    <a:pt x="53" y="4"/>
                  </a:cubicBezTo>
                  <a:cubicBezTo>
                    <a:pt x="61" y="4"/>
                    <a:pt x="67" y="12"/>
                    <a:pt x="67" y="22"/>
                  </a:cubicBezTo>
                  <a:cubicBezTo>
                    <a:pt x="67" y="27"/>
                    <a:pt x="61" y="35"/>
                    <a:pt x="59" y="38"/>
                  </a:cubicBezTo>
                  <a:cubicBezTo>
                    <a:pt x="66" y="38"/>
                    <a:pt x="78" y="45"/>
                    <a:pt x="82" y="50"/>
                  </a:cubicBezTo>
                  <a:cubicBezTo>
                    <a:pt x="114" y="44"/>
                    <a:pt x="114" y="44"/>
                    <a:pt x="114" y="44"/>
                  </a:cubicBezTo>
                  <a:cubicBezTo>
                    <a:pt x="128" y="0"/>
                    <a:pt x="128" y="0"/>
                    <a:pt x="128" y="0"/>
                  </a:cubicBezTo>
                </a:path>
              </a:pathLst>
            </a:custGeom>
            <a:noFill/>
            <a:ln w="19050" cap="rnd">
              <a:solidFill>
                <a:srgbClr val="B0BA2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Freeform 191"/>
            <p:cNvSpPr>
              <a:spLocks/>
            </p:cNvSpPr>
            <p:nvPr/>
          </p:nvSpPr>
          <p:spPr bwMode="auto">
            <a:xfrm>
              <a:off x="8665032" y="4512875"/>
              <a:ext cx="59736" cy="140380"/>
            </a:xfrm>
            <a:custGeom>
              <a:avLst/>
              <a:gdLst/>
              <a:ahLst/>
              <a:cxnLst>
                <a:cxn ang="0">
                  <a:pos x="0" y="0"/>
                </a:cxn>
                <a:cxn ang="0">
                  <a:pos x="4" y="46"/>
                </a:cxn>
                <a:cxn ang="0">
                  <a:pos x="20" y="47"/>
                </a:cxn>
                <a:cxn ang="0">
                  <a:pos x="11" y="31"/>
                </a:cxn>
                <a:cxn ang="0">
                  <a:pos x="12" y="10"/>
                </a:cxn>
                <a:cxn ang="0">
                  <a:pos x="14" y="0"/>
                </a:cxn>
              </a:cxnLst>
              <a:rect l="0" t="0" r="r" b="b"/>
              <a:pathLst>
                <a:path w="20" h="47">
                  <a:moveTo>
                    <a:pt x="0" y="0"/>
                  </a:moveTo>
                  <a:cubicBezTo>
                    <a:pt x="0" y="6"/>
                    <a:pt x="3" y="45"/>
                    <a:pt x="4" y="46"/>
                  </a:cubicBezTo>
                  <a:cubicBezTo>
                    <a:pt x="6" y="47"/>
                    <a:pt x="20" y="47"/>
                    <a:pt x="20" y="47"/>
                  </a:cubicBezTo>
                  <a:cubicBezTo>
                    <a:pt x="20" y="47"/>
                    <a:pt x="12" y="34"/>
                    <a:pt x="11" y="31"/>
                  </a:cubicBezTo>
                  <a:cubicBezTo>
                    <a:pt x="10" y="28"/>
                    <a:pt x="11" y="14"/>
                    <a:pt x="12" y="10"/>
                  </a:cubicBezTo>
                  <a:cubicBezTo>
                    <a:pt x="13" y="9"/>
                    <a:pt x="13" y="5"/>
                    <a:pt x="14" y="0"/>
                  </a:cubicBezTo>
                </a:path>
              </a:pathLst>
            </a:custGeom>
            <a:noFill/>
            <a:ln w="19050" cap="rnd">
              <a:solidFill>
                <a:srgbClr val="B0BA2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61" name="Rectangle 6"/>
          <p:cNvSpPr>
            <a:spLocks noChangeArrowheads="1"/>
          </p:cNvSpPr>
          <p:nvPr/>
        </p:nvSpPr>
        <p:spPr bwMode="auto">
          <a:xfrm rot="8100000">
            <a:off x="8697874" y="2356986"/>
            <a:ext cx="308266" cy="308268"/>
          </a:xfrm>
          <a:prstGeom prst="teardrop">
            <a:avLst/>
          </a:prstGeom>
          <a:solidFill>
            <a:srgbClr val="B0BA25"/>
          </a:solidFill>
          <a:ln w="19050">
            <a:solidFill>
              <a:schemeClr val="bg1"/>
            </a:solidFill>
            <a:miter lim="800000"/>
            <a:headEnd/>
            <a:tailEnd/>
          </a:ln>
          <a:effectLst>
            <a:outerShdw blurRad="63500" sx="102000" sy="102000" algn="ctr" rotWithShape="0">
              <a:prstClr val="black">
                <a:alpha val="40000"/>
              </a:prstClr>
            </a:outerShdw>
          </a:effectLst>
        </p:spPr>
        <p:txBody>
          <a:bodyPr vert="horz" wrap="square" lIns="0" tIns="0" rIns="0" bIns="0" numCol="1" anchor="ctr" anchorCtr="0" compatLnSpc="1">
            <a:prstTxWarp prst="textNoShape">
              <a:avLst/>
            </a:prstTxWarp>
          </a:bodyPr>
          <a:lstStyle/>
          <a:p>
            <a:pPr algn="ctr"/>
            <a:endParaRPr lang="en-US" sz="1600" b="1" dirty="0">
              <a:solidFill>
                <a:schemeClr val="bg1"/>
              </a:solidFill>
            </a:endParaRPr>
          </a:p>
        </p:txBody>
      </p:sp>
      <p:sp>
        <p:nvSpPr>
          <p:cNvPr id="271" name="Rectangle 16"/>
          <p:cNvSpPr>
            <a:spLocks noChangeArrowheads="1"/>
          </p:cNvSpPr>
          <p:nvPr/>
        </p:nvSpPr>
        <p:spPr bwMode="auto">
          <a:xfrm>
            <a:off x="6946263" y="2992281"/>
            <a:ext cx="1214140" cy="938369"/>
          </a:xfrm>
          <a:prstGeom prst="round2SameRect">
            <a:avLst/>
          </a:prstGeom>
          <a:solidFill>
            <a:schemeClr val="bg1">
              <a:lumMod val="95000"/>
            </a:schemeClr>
          </a:solidFill>
          <a:ln w="9525">
            <a:noFill/>
            <a:miter lim="800000"/>
            <a:headEnd/>
            <a:tailEnd/>
          </a:ln>
        </p:spPr>
        <p:txBody>
          <a:bodyPr vert="horz" wrap="square" lIns="0" tIns="0" rIns="0" bIns="0" numCol="1" anchor="ctr" anchorCtr="0" compatLnSpc="1">
            <a:prstTxWarp prst="textNoShape">
              <a:avLst/>
            </a:prstTxWarp>
          </a:bodyPr>
          <a:lstStyle/>
          <a:p>
            <a:pPr algn="ctr"/>
            <a:endParaRPr lang="en-US" sz="1600" b="1" dirty="0">
              <a:solidFill>
                <a:schemeClr val="bg1"/>
              </a:solidFill>
            </a:endParaRPr>
          </a:p>
        </p:txBody>
      </p:sp>
      <p:sp>
        <p:nvSpPr>
          <p:cNvPr id="144" name="Rectangle 16"/>
          <p:cNvSpPr>
            <a:spLocks noChangeArrowheads="1"/>
          </p:cNvSpPr>
          <p:nvPr/>
        </p:nvSpPr>
        <p:spPr bwMode="auto">
          <a:xfrm>
            <a:off x="6946263" y="2680663"/>
            <a:ext cx="1214140" cy="384487"/>
          </a:xfrm>
          <a:prstGeom prst="round2SameRect">
            <a:avLst/>
          </a:prstGeom>
          <a:solidFill>
            <a:srgbClr val="519136"/>
          </a:solidFill>
          <a:ln w="9525">
            <a:noFill/>
            <a:miter lim="800000"/>
            <a:headEnd/>
            <a:tailEnd/>
          </a:ln>
        </p:spPr>
        <p:txBody>
          <a:bodyPr vert="horz" wrap="square" lIns="0" tIns="0" rIns="0" bIns="0" numCol="1" anchor="ctr" anchorCtr="0" compatLnSpc="1">
            <a:prstTxWarp prst="textNoShape">
              <a:avLst/>
            </a:prstTxWarp>
          </a:bodyPr>
          <a:lstStyle/>
          <a:p>
            <a:pPr algn="ctr"/>
            <a:r>
              <a:rPr lang="en-US" sz="1600" b="1" dirty="0" smtClean="0">
                <a:solidFill>
                  <a:schemeClr val="bg1"/>
                </a:solidFill>
              </a:rPr>
              <a:t>Modesty</a:t>
            </a:r>
            <a:endParaRPr lang="en-US" sz="1600" b="1" dirty="0">
              <a:solidFill>
                <a:schemeClr val="bg1"/>
              </a:solidFill>
            </a:endParaRPr>
          </a:p>
        </p:txBody>
      </p:sp>
      <p:grpSp>
        <p:nvGrpSpPr>
          <p:cNvPr id="3" name="Group 218"/>
          <p:cNvGrpSpPr/>
          <p:nvPr/>
        </p:nvGrpSpPr>
        <p:grpSpPr>
          <a:xfrm>
            <a:off x="7299135" y="3144131"/>
            <a:ext cx="508396" cy="694760"/>
            <a:chOff x="7309019" y="3972262"/>
            <a:chExt cx="509252" cy="695928"/>
          </a:xfrm>
        </p:grpSpPr>
        <p:sp>
          <p:nvSpPr>
            <p:cNvPr id="220" name="Freeform 192"/>
            <p:cNvSpPr>
              <a:spLocks/>
            </p:cNvSpPr>
            <p:nvPr/>
          </p:nvSpPr>
          <p:spPr bwMode="auto">
            <a:xfrm>
              <a:off x="7592766" y="4011090"/>
              <a:ext cx="210571" cy="203103"/>
            </a:xfrm>
            <a:custGeom>
              <a:avLst/>
              <a:gdLst/>
              <a:ahLst/>
              <a:cxnLst>
                <a:cxn ang="0">
                  <a:pos x="40" y="68"/>
                </a:cxn>
                <a:cxn ang="0">
                  <a:pos x="63" y="38"/>
                </a:cxn>
                <a:cxn ang="0">
                  <a:pos x="24" y="6"/>
                </a:cxn>
                <a:cxn ang="0">
                  <a:pos x="5" y="29"/>
                </a:cxn>
                <a:cxn ang="0">
                  <a:pos x="0" y="59"/>
                </a:cxn>
              </a:cxnLst>
              <a:rect l="0" t="0" r="r" b="b"/>
              <a:pathLst>
                <a:path w="70" h="68">
                  <a:moveTo>
                    <a:pt x="40" y="68"/>
                  </a:moveTo>
                  <a:cubicBezTo>
                    <a:pt x="49" y="63"/>
                    <a:pt x="58" y="53"/>
                    <a:pt x="63" y="38"/>
                  </a:cubicBezTo>
                  <a:cubicBezTo>
                    <a:pt x="70" y="13"/>
                    <a:pt x="37" y="0"/>
                    <a:pt x="24" y="6"/>
                  </a:cubicBezTo>
                  <a:cubicBezTo>
                    <a:pt x="16" y="10"/>
                    <a:pt x="10" y="13"/>
                    <a:pt x="5" y="29"/>
                  </a:cubicBezTo>
                  <a:cubicBezTo>
                    <a:pt x="1" y="44"/>
                    <a:pt x="1" y="53"/>
                    <a:pt x="0" y="59"/>
                  </a:cubicBezTo>
                </a:path>
              </a:pathLst>
            </a:custGeom>
            <a:noFill/>
            <a:ln w="12700" cap="rnd">
              <a:solidFill>
                <a:srgbClr val="51913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193"/>
            <p:cNvSpPr>
              <a:spLocks/>
            </p:cNvSpPr>
            <p:nvPr/>
          </p:nvSpPr>
          <p:spPr bwMode="auto">
            <a:xfrm>
              <a:off x="7392650" y="3972262"/>
              <a:ext cx="218037" cy="215051"/>
            </a:xfrm>
            <a:custGeom>
              <a:avLst/>
              <a:gdLst/>
              <a:ahLst/>
              <a:cxnLst>
                <a:cxn ang="0">
                  <a:pos x="67" y="72"/>
                </a:cxn>
                <a:cxn ang="0">
                  <a:pos x="42" y="12"/>
                </a:cxn>
                <a:cxn ang="0">
                  <a:pos x="3" y="44"/>
                </a:cxn>
                <a:cxn ang="0">
                  <a:pos x="22" y="67"/>
                </a:cxn>
                <a:cxn ang="0">
                  <a:pos x="28" y="69"/>
                </a:cxn>
              </a:cxnLst>
              <a:rect l="0" t="0" r="r" b="b"/>
              <a:pathLst>
                <a:path w="73" h="72">
                  <a:moveTo>
                    <a:pt x="67" y="72"/>
                  </a:moveTo>
                  <a:cubicBezTo>
                    <a:pt x="70" y="57"/>
                    <a:pt x="73" y="28"/>
                    <a:pt x="42" y="12"/>
                  </a:cubicBezTo>
                  <a:cubicBezTo>
                    <a:pt x="19" y="0"/>
                    <a:pt x="0" y="29"/>
                    <a:pt x="3" y="44"/>
                  </a:cubicBezTo>
                  <a:cubicBezTo>
                    <a:pt x="5" y="52"/>
                    <a:pt x="7" y="59"/>
                    <a:pt x="22" y="67"/>
                  </a:cubicBezTo>
                  <a:cubicBezTo>
                    <a:pt x="24" y="68"/>
                    <a:pt x="26" y="69"/>
                    <a:pt x="28" y="69"/>
                  </a:cubicBezTo>
                </a:path>
              </a:pathLst>
            </a:custGeom>
            <a:noFill/>
            <a:ln w="12700" cap="rnd">
              <a:solidFill>
                <a:srgbClr val="51913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194"/>
            <p:cNvSpPr>
              <a:spLocks/>
            </p:cNvSpPr>
            <p:nvPr/>
          </p:nvSpPr>
          <p:spPr bwMode="auto">
            <a:xfrm>
              <a:off x="7476280" y="4342627"/>
              <a:ext cx="186676" cy="167262"/>
            </a:xfrm>
            <a:custGeom>
              <a:avLst/>
              <a:gdLst/>
              <a:ahLst/>
              <a:cxnLst>
                <a:cxn ang="0">
                  <a:pos x="4" y="0"/>
                </a:cxn>
                <a:cxn ang="0">
                  <a:pos x="6" y="32"/>
                </a:cxn>
                <a:cxn ang="0">
                  <a:pos x="57" y="30"/>
                </a:cxn>
                <a:cxn ang="0">
                  <a:pos x="57" y="8"/>
                </a:cxn>
              </a:cxnLst>
              <a:rect l="0" t="0" r="r" b="b"/>
              <a:pathLst>
                <a:path w="62" h="56">
                  <a:moveTo>
                    <a:pt x="4" y="0"/>
                  </a:moveTo>
                  <a:cubicBezTo>
                    <a:pt x="0" y="10"/>
                    <a:pt x="0" y="19"/>
                    <a:pt x="6" y="32"/>
                  </a:cubicBezTo>
                  <a:cubicBezTo>
                    <a:pt x="17" y="56"/>
                    <a:pt x="50" y="43"/>
                    <a:pt x="57" y="30"/>
                  </a:cubicBezTo>
                  <a:cubicBezTo>
                    <a:pt x="60" y="23"/>
                    <a:pt x="62" y="20"/>
                    <a:pt x="57" y="8"/>
                  </a:cubicBezTo>
                </a:path>
              </a:pathLst>
            </a:custGeom>
            <a:noFill/>
            <a:ln w="12700" cap="rnd">
              <a:solidFill>
                <a:srgbClr val="51913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195"/>
            <p:cNvSpPr>
              <a:spLocks/>
            </p:cNvSpPr>
            <p:nvPr/>
          </p:nvSpPr>
          <p:spPr bwMode="auto">
            <a:xfrm>
              <a:off x="7309019" y="4157444"/>
              <a:ext cx="241932" cy="209077"/>
            </a:xfrm>
            <a:custGeom>
              <a:avLst/>
              <a:gdLst/>
              <a:ahLst/>
              <a:cxnLst>
                <a:cxn ang="0">
                  <a:pos x="79" y="15"/>
                </a:cxn>
                <a:cxn ang="0">
                  <a:pos x="17" y="24"/>
                </a:cxn>
                <a:cxn ang="0">
                  <a:pos x="39" y="70"/>
                </a:cxn>
                <a:cxn ang="0">
                  <a:pos x="65" y="57"/>
                </a:cxn>
                <a:cxn ang="0">
                  <a:pos x="81" y="36"/>
                </a:cxn>
              </a:cxnLst>
              <a:rect l="0" t="0" r="r" b="b"/>
              <a:pathLst>
                <a:path w="81" h="70">
                  <a:moveTo>
                    <a:pt x="79" y="15"/>
                  </a:moveTo>
                  <a:cubicBezTo>
                    <a:pt x="64" y="8"/>
                    <a:pt x="39" y="0"/>
                    <a:pt x="17" y="24"/>
                  </a:cubicBezTo>
                  <a:cubicBezTo>
                    <a:pt x="0" y="43"/>
                    <a:pt x="24" y="69"/>
                    <a:pt x="39" y="70"/>
                  </a:cubicBezTo>
                  <a:cubicBezTo>
                    <a:pt x="47" y="70"/>
                    <a:pt x="54" y="70"/>
                    <a:pt x="65" y="57"/>
                  </a:cubicBezTo>
                  <a:cubicBezTo>
                    <a:pt x="73" y="48"/>
                    <a:pt x="78" y="41"/>
                    <a:pt x="81" y="36"/>
                  </a:cubicBezTo>
                </a:path>
              </a:pathLst>
            </a:custGeom>
            <a:noFill/>
            <a:ln w="12700" cap="rnd">
              <a:solidFill>
                <a:srgbClr val="51913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196"/>
            <p:cNvSpPr>
              <a:spLocks/>
            </p:cNvSpPr>
            <p:nvPr/>
          </p:nvSpPr>
          <p:spPr bwMode="auto">
            <a:xfrm>
              <a:off x="7580819" y="4211207"/>
              <a:ext cx="237452" cy="182196"/>
            </a:xfrm>
            <a:custGeom>
              <a:avLst/>
              <a:gdLst/>
              <a:ahLst/>
              <a:cxnLst>
                <a:cxn ang="0">
                  <a:pos x="0" y="21"/>
                </a:cxn>
                <a:cxn ang="0">
                  <a:pos x="53" y="58"/>
                </a:cxn>
                <a:cxn ang="0">
                  <a:pos x="68" y="10"/>
                </a:cxn>
                <a:cxn ang="0">
                  <a:pos x="40" y="1"/>
                </a:cxn>
                <a:cxn ang="0">
                  <a:pos x="14" y="5"/>
                </a:cxn>
              </a:cxnLst>
              <a:rect l="0" t="0" r="r" b="b"/>
              <a:pathLst>
                <a:path w="79" h="61">
                  <a:moveTo>
                    <a:pt x="0" y="21"/>
                  </a:moveTo>
                  <a:cubicBezTo>
                    <a:pt x="5" y="35"/>
                    <a:pt x="19" y="61"/>
                    <a:pt x="53" y="58"/>
                  </a:cubicBezTo>
                  <a:cubicBezTo>
                    <a:pt x="79" y="56"/>
                    <a:pt x="79" y="21"/>
                    <a:pt x="68" y="10"/>
                  </a:cubicBezTo>
                  <a:cubicBezTo>
                    <a:pt x="63" y="4"/>
                    <a:pt x="57" y="0"/>
                    <a:pt x="40" y="1"/>
                  </a:cubicBezTo>
                  <a:cubicBezTo>
                    <a:pt x="28" y="3"/>
                    <a:pt x="20" y="5"/>
                    <a:pt x="14" y="5"/>
                  </a:cubicBezTo>
                </a:path>
              </a:pathLst>
            </a:custGeom>
            <a:noFill/>
            <a:ln w="12700" cap="rnd">
              <a:solidFill>
                <a:srgbClr val="51913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Oval 197"/>
            <p:cNvSpPr>
              <a:spLocks noChangeArrowheads="1"/>
            </p:cNvSpPr>
            <p:nvPr/>
          </p:nvSpPr>
          <p:spPr bwMode="auto">
            <a:xfrm>
              <a:off x="7533030" y="4184326"/>
              <a:ext cx="89604" cy="89604"/>
            </a:xfrm>
            <a:prstGeom prst="ellipse">
              <a:avLst/>
            </a:prstGeom>
            <a:noFill/>
            <a:ln w="12700" cap="rnd">
              <a:solidFill>
                <a:srgbClr val="51913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198"/>
            <p:cNvSpPr>
              <a:spLocks/>
            </p:cNvSpPr>
            <p:nvPr/>
          </p:nvSpPr>
          <p:spPr bwMode="auto">
            <a:xfrm>
              <a:off x="7656983" y="4411324"/>
              <a:ext cx="98565" cy="256866"/>
            </a:xfrm>
            <a:custGeom>
              <a:avLst/>
              <a:gdLst/>
              <a:ahLst/>
              <a:cxnLst>
                <a:cxn ang="0">
                  <a:pos x="0" y="86"/>
                </a:cxn>
                <a:cxn ang="0">
                  <a:pos x="11" y="0"/>
                </a:cxn>
              </a:cxnLst>
              <a:rect l="0" t="0" r="r" b="b"/>
              <a:pathLst>
                <a:path w="33" h="86">
                  <a:moveTo>
                    <a:pt x="0" y="86"/>
                  </a:moveTo>
                  <a:cubicBezTo>
                    <a:pt x="1" y="85"/>
                    <a:pt x="33" y="40"/>
                    <a:pt x="11" y="0"/>
                  </a:cubicBezTo>
                </a:path>
              </a:pathLst>
            </a:custGeom>
            <a:noFill/>
            <a:ln w="12700" cap="rnd">
              <a:solidFill>
                <a:srgbClr val="51913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62" name="Rectangle 16"/>
          <p:cNvSpPr>
            <a:spLocks noChangeArrowheads="1"/>
          </p:cNvSpPr>
          <p:nvPr/>
        </p:nvSpPr>
        <p:spPr bwMode="auto">
          <a:xfrm rot="8100000">
            <a:off x="7399200" y="2356986"/>
            <a:ext cx="308266" cy="308268"/>
          </a:xfrm>
          <a:prstGeom prst="teardrop">
            <a:avLst/>
          </a:prstGeom>
          <a:solidFill>
            <a:srgbClr val="519136"/>
          </a:solidFill>
          <a:ln w="19050">
            <a:solidFill>
              <a:schemeClr val="bg1"/>
            </a:solidFill>
            <a:miter lim="800000"/>
            <a:headEnd/>
            <a:tailEnd/>
          </a:ln>
          <a:effectLst>
            <a:outerShdw blurRad="63500" sx="102000" sy="102000" algn="ctr" rotWithShape="0">
              <a:prstClr val="black">
                <a:alpha val="40000"/>
              </a:prstClr>
            </a:outerShdw>
          </a:effectLst>
        </p:spPr>
        <p:txBody>
          <a:bodyPr vert="horz" wrap="square" lIns="0" tIns="0" rIns="0" bIns="0" numCol="1" anchor="ctr" anchorCtr="0" compatLnSpc="1">
            <a:prstTxWarp prst="textNoShape">
              <a:avLst/>
            </a:prstTxWarp>
          </a:bodyPr>
          <a:lstStyle/>
          <a:p>
            <a:pPr algn="ctr"/>
            <a:endParaRPr lang="en-US" sz="1600" b="1" dirty="0">
              <a:solidFill>
                <a:schemeClr val="bg1"/>
              </a:solidFill>
            </a:endParaRPr>
          </a:p>
        </p:txBody>
      </p:sp>
      <p:sp>
        <p:nvSpPr>
          <p:cNvPr id="272" name="Rectangle 48"/>
          <p:cNvSpPr>
            <a:spLocks noChangeArrowheads="1"/>
          </p:cNvSpPr>
          <p:nvPr/>
        </p:nvSpPr>
        <p:spPr bwMode="auto">
          <a:xfrm>
            <a:off x="4344437" y="2992281"/>
            <a:ext cx="1215633" cy="938369"/>
          </a:xfrm>
          <a:prstGeom prst="round2SameRect">
            <a:avLst/>
          </a:prstGeom>
          <a:solidFill>
            <a:schemeClr val="bg1">
              <a:lumMod val="95000"/>
            </a:schemeClr>
          </a:solidFill>
          <a:ln w="9525">
            <a:noFill/>
            <a:miter lim="800000"/>
            <a:headEnd/>
            <a:tailEnd/>
          </a:ln>
        </p:spPr>
        <p:txBody>
          <a:bodyPr vert="horz" wrap="square" lIns="0" tIns="0" rIns="0" bIns="0" numCol="1" anchor="ctr" anchorCtr="0" compatLnSpc="1">
            <a:prstTxWarp prst="textNoShape">
              <a:avLst/>
            </a:prstTxWarp>
          </a:bodyPr>
          <a:lstStyle/>
          <a:p>
            <a:pPr algn="ctr"/>
            <a:endParaRPr lang="en-US" sz="1600" b="1" dirty="0">
              <a:solidFill>
                <a:schemeClr val="bg1"/>
              </a:solidFill>
            </a:endParaRPr>
          </a:p>
        </p:txBody>
      </p:sp>
      <p:sp>
        <p:nvSpPr>
          <p:cNvPr id="154" name="Rectangle 48"/>
          <p:cNvSpPr>
            <a:spLocks noChangeArrowheads="1"/>
          </p:cNvSpPr>
          <p:nvPr/>
        </p:nvSpPr>
        <p:spPr bwMode="auto">
          <a:xfrm>
            <a:off x="4344437" y="2680663"/>
            <a:ext cx="1215633" cy="384487"/>
          </a:xfrm>
          <a:prstGeom prst="round2SameRect">
            <a:avLst/>
          </a:prstGeom>
          <a:solidFill>
            <a:srgbClr val="BA006E"/>
          </a:solidFill>
          <a:ln w="9525">
            <a:noFill/>
            <a:miter lim="800000"/>
            <a:headEnd/>
            <a:tailEnd/>
          </a:ln>
        </p:spPr>
        <p:txBody>
          <a:bodyPr vert="horz" wrap="square" lIns="0" tIns="0" rIns="0" bIns="0" numCol="1" anchor="ctr" anchorCtr="0" compatLnSpc="1">
            <a:prstTxWarp prst="textNoShape">
              <a:avLst/>
            </a:prstTxWarp>
          </a:bodyPr>
          <a:lstStyle/>
          <a:p>
            <a:pPr algn="ctr"/>
            <a:r>
              <a:rPr lang="en-US" sz="1600" b="1" dirty="0" smtClean="0">
                <a:solidFill>
                  <a:schemeClr val="bg1"/>
                </a:solidFill>
              </a:rPr>
              <a:t>Freedom</a:t>
            </a:r>
            <a:endParaRPr lang="en-US" sz="1600" b="1" dirty="0">
              <a:solidFill>
                <a:schemeClr val="bg1"/>
              </a:solidFill>
            </a:endParaRPr>
          </a:p>
        </p:txBody>
      </p:sp>
      <p:grpSp>
        <p:nvGrpSpPr>
          <p:cNvPr id="6" name="Group 231"/>
          <p:cNvGrpSpPr/>
          <p:nvPr/>
        </p:nvGrpSpPr>
        <p:grpSpPr>
          <a:xfrm>
            <a:off x="4568343" y="3261913"/>
            <a:ext cx="767820" cy="459198"/>
            <a:chOff x="4598484" y="4094721"/>
            <a:chExt cx="769107" cy="459969"/>
          </a:xfrm>
        </p:grpSpPr>
        <p:sp>
          <p:nvSpPr>
            <p:cNvPr id="233" name="Freeform 203"/>
            <p:cNvSpPr>
              <a:spLocks/>
            </p:cNvSpPr>
            <p:nvPr/>
          </p:nvSpPr>
          <p:spPr bwMode="auto">
            <a:xfrm>
              <a:off x="4598484" y="4279904"/>
              <a:ext cx="567495" cy="250892"/>
            </a:xfrm>
            <a:custGeom>
              <a:avLst/>
              <a:gdLst/>
              <a:ahLst/>
              <a:cxnLst>
                <a:cxn ang="0">
                  <a:pos x="190" y="0"/>
                </a:cxn>
                <a:cxn ang="0">
                  <a:pos x="106" y="84"/>
                </a:cxn>
                <a:cxn ang="0">
                  <a:pos x="0" y="34"/>
                </a:cxn>
              </a:cxnLst>
              <a:rect l="0" t="0" r="r" b="b"/>
              <a:pathLst>
                <a:path w="190" h="84">
                  <a:moveTo>
                    <a:pt x="190" y="0"/>
                  </a:moveTo>
                  <a:cubicBezTo>
                    <a:pt x="137" y="10"/>
                    <a:pt x="100" y="47"/>
                    <a:pt x="106" y="84"/>
                  </a:cubicBezTo>
                  <a:cubicBezTo>
                    <a:pt x="100" y="47"/>
                    <a:pt x="52" y="25"/>
                    <a:pt x="0" y="34"/>
                  </a:cubicBezTo>
                </a:path>
              </a:pathLst>
            </a:custGeom>
            <a:noFill/>
            <a:ln w="12700" cap="rnd">
              <a:solidFill>
                <a:srgbClr val="BA006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204"/>
            <p:cNvSpPr>
              <a:spLocks/>
            </p:cNvSpPr>
            <p:nvPr/>
          </p:nvSpPr>
          <p:spPr bwMode="auto">
            <a:xfrm>
              <a:off x="4747825" y="4094721"/>
              <a:ext cx="388286" cy="170248"/>
            </a:xfrm>
            <a:custGeom>
              <a:avLst/>
              <a:gdLst/>
              <a:ahLst/>
              <a:cxnLst>
                <a:cxn ang="0">
                  <a:pos x="130" y="0"/>
                </a:cxn>
                <a:cxn ang="0">
                  <a:pos x="73" y="57"/>
                </a:cxn>
                <a:cxn ang="0">
                  <a:pos x="0" y="23"/>
                </a:cxn>
              </a:cxnLst>
              <a:rect l="0" t="0" r="r" b="b"/>
              <a:pathLst>
                <a:path w="130" h="57">
                  <a:moveTo>
                    <a:pt x="130" y="0"/>
                  </a:moveTo>
                  <a:cubicBezTo>
                    <a:pt x="94" y="7"/>
                    <a:pt x="68" y="32"/>
                    <a:pt x="73" y="57"/>
                  </a:cubicBezTo>
                  <a:cubicBezTo>
                    <a:pt x="68" y="32"/>
                    <a:pt x="36" y="17"/>
                    <a:pt x="0" y="23"/>
                  </a:cubicBezTo>
                </a:path>
              </a:pathLst>
            </a:custGeom>
            <a:noFill/>
            <a:ln w="12700" cap="rnd">
              <a:solidFill>
                <a:srgbClr val="BA006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205"/>
            <p:cNvSpPr>
              <a:spLocks/>
            </p:cNvSpPr>
            <p:nvPr/>
          </p:nvSpPr>
          <p:spPr bwMode="auto">
            <a:xfrm>
              <a:off x="5058455" y="4417297"/>
              <a:ext cx="309136" cy="137393"/>
            </a:xfrm>
            <a:custGeom>
              <a:avLst/>
              <a:gdLst/>
              <a:ahLst/>
              <a:cxnLst>
                <a:cxn ang="0">
                  <a:pos x="103" y="0"/>
                </a:cxn>
                <a:cxn ang="0">
                  <a:pos x="58" y="46"/>
                </a:cxn>
                <a:cxn ang="0">
                  <a:pos x="0" y="18"/>
                </a:cxn>
              </a:cxnLst>
              <a:rect l="0" t="0" r="r" b="b"/>
              <a:pathLst>
                <a:path w="103" h="46">
                  <a:moveTo>
                    <a:pt x="103" y="0"/>
                  </a:moveTo>
                  <a:cubicBezTo>
                    <a:pt x="75" y="5"/>
                    <a:pt x="54" y="26"/>
                    <a:pt x="58" y="46"/>
                  </a:cubicBezTo>
                  <a:cubicBezTo>
                    <a:pt x="54" y="26"/>
                    <a:pt x="28" y="13"/>
                    <a:pt x="0" y="18"/>
                  </a:cubicBezTo>
                </a:path>
              </a:pathLst>
            </a:custGeom>
            <a:noFill/>
            <a:ln w="12700" cap="rnd">
              <a:solidFill>
                <a:srgbClr val="BA006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63" name="Rectangle 48"/>
          <p:cNvSpPr>
            <a:spLocks noChangeArrowheads="1"/>
          </p:cNvSpPr>
          <p:nvPr/>
        </p:nvSpPr>
        <p:spPr bwMode="auto">
          <a:xfrm rot="8100000">
            <a:off x="4798120" y="2356986"/>
            <a:ext cx="308266" cy="308268"/>
          </a:xfrm>
          <a:prstGeom prst="teardrop">
            <a:avLst/>
          </a:prstGeom>
          <a:solidFill>
            <a:srgbClr val="BA006E"/>
          </a:solidFill>
          <a:ln w="19050">
            <a:solidFill>
              <a:schemeClr val="bg1"/>
            </a:solidFill>
            <a:miter lim="800000"/>
            <a:headEnd/>
            <a:tailEnd/>
          </a:ln>
          <a:effectLst>
            <a:outerShdw blurRad="63500" sx="102000" sy="102000" algn="ctr" rotWithShape="0">
              <a:prstClr val="black">
                <a:alpha val="40000"/>
              </a:prstClr>
            </a:outerShdw>
          </a:effectLst>
        </p:spPr>
        <p:txBody>
          <a:bodyPr vert="horz" wrap="square" lIns="0" tIns="0" rIns="0" bIns="0" numCol="1" anchor="ctr" anchorCtr="0" compatLnSpc="1">
            <a:prstTxWarp prst="textNoShape">
              <a:avLst/>
            </a:prstTxWarp>
          </a:bodyPr>
          <a:lstStyle/>
          <a:p>
            <a:pPr algn="ctr"/>
            <a:endParaRPr lang="en-US" sz="1600" b="1" dirty="0">
              <a:solidFill>
                <a:schemeClr val="bg1"/>
              </a:solidFill>
            </a:endParaRPr>
          </a:p>
        </p:txBody>
      </p:sp>
      <p:sp>
        <p:nvSpPr>
          <p:cNvPr id="273" name="Rectangle 62"/>
          <p:cNvSpPr>
            <a:spLocks noChangeArrowheads="1"/>
          </p:cNvSpPr>
          <p:nvPr/>
        </p:nvSpPr>
        <p:spPr bwMode="auto">
          <a:xfrm>
            <a:off x="3045017" y="2992281"/>
            <a:ext cx="1214140" cy="938369"/>
          </a:xfrm>
          <a:prstGeom prst="round2SameRect">
            <a:avLst/>
          </a:prstGeom>
          <a:solidFill>
            <a:schemeClr val="bg1">
              <a:lumMod val="95000"/>
            </a:schemeClr>
          </a:solidFill>
          <a:ln w="9525">
            <a:noFill/>
            <a:miter lim="800000"/>
            <a:headEnd/>
            <a:tailEnd/>
          </a:ln>
        </p:spPr>
        <p:txBody>
          <a:bodyPr vert="horz" wrap="square" lIns="0" tIns="0" rIns="0" bIns="0" numCol="1" anchor="ctr" anchorCtr="0" compatLnSpc="1">
            <a:prstTxWarp prst="textNoShape">
              <a:avLst/>
            </a:prstTxWarp>
          </a:bodyPr>
          <a:lstStyle/>
          <a:p>
            <a:pPr algn="ctr"/>
            <a:endParaRPr lang="en-US" sz="1600" b="1" dirty="0">
              <a:solidFill>
                <a:schemeClr val="bg1"/>
              </a:solidFill>
            </a:endParaRPr>
          </a:p>
        </p:txBody>
      </p:sp>
      <p:sp>
        <p:nvSpPr>
          <p:cNvPr id="160" name="Rectangle 62"/>
          <p:cNvSpPr>
            <a:spLocks noChangeArrowheads="1"/>
          </p:cNvSpPr>
          <p:nvPr/>
        </p:nvSpPr>
        <p:spPr bwMode="auto">
          <a:xfrm>
            <a:off x="3045017" y="2680663"/>
            <a:ext cx="1214140" cy="384487"/>
          </a:xfrm>
          <a:prstGeom prst="round2SameRect">
            <a:avLst/>
          </a:prstGeom>
          <a:solidFill>
            <a:srgbClr val="B81237"/>
          </a:solidFill>
          <a:ln w="9525">
            <a:noFill/>
            <a:miter lim="800000"/>
            <a:headEnd/>
            <a:tailEnd/>
          </a:ln>
        </p:spPr>
        <p:txBody>
          <a:bodyPr vert="horz" wrap="square" lIns="0" tIns="0" rIns="0" bIns="0" numCol="1" anchor="ctr" anchorCtr="0" compatLnSpc="1">
            <a:prstTxWarp prst="textNoShape">
              <a:avLst/>
            </a:prstTxWarp>
          </a:bodyPr>
          <a:lstStyle/>
          <a:p>
            <a:pPr algn="ctr"/>
            <a:r>
              <a:rPr lang="en-US" sz="1600" b="1" dirty="0" smtClean="0">
                <a:solidFill>
                  <a:schemeClr val="bg1"/>
                </a:solidFill>
              </a:rPr>
              <a:t>Trust</a:t>
            </a:r>
            <a:endParaRPr lang="en-US" sz="1600" b="1" dirty="0">
              <a:solidFill>
                <a:schemeClr val="bg1"/>
              </a:solidFill>
            </a:endParaRPr>
          </a:p>
        </p:txBody>
      </p:sp>
      <p:grpSp>
        <p:nvGrpSpPr>
          <p:cNvPr id="7" name="Group 235"/>
          <p:cNvGrpSpPr/>
          <p:nvPr/>
        </p:nvGrpSpPr>
        <p:grpSpPr>
          <a:xfrm>
            <a:off x="3321851" y="3269367"/>
            <a:ext cx="660472" cy="444290"/>
            <a:chOff x="3281299" y="4112642"/>
            <a:chExt cx="661581" cy="445035"/>
          </a:xfrm>
        </p:grpSpPr>
        <p:sp>
          <p:nvSpPr>
            <p:cNvPr id="237" name="Freeform 207"/>
            <p:cNvSpPr>
              <a:spLocks/>
            </p:cNvSpPr>
            <p:nvPr/>
          </p:nvSpPr>
          <p:spPr bwMode="auto">
            <a:xfrm>
              <a:off x="3281299" y="4351587"/>
              <a:ext cx="328550" cy="206090"/>
            </a:xfrm>
            <a:custGeom>
              <a:avLst/>
              <a:gdLst/>
              <a:ahLst/>
              <a:cxnLst>
                <a:cxn ang="0">
                  <a:pos x="106" y="51"/>
                </a:cxn>
                <a:cxn ang="0">
                  <a:pos x="106" y="65"/>
                </a:cxn>
                <a:cxn ang="0">
                  <a:pos x="92" y="65"/>
                </a:cxn>
                <a:cxn ang="0">
                  <a:pos x="37" y="11"/>
                </a:cxn>
                <a:cxn ang="0">
                  <a:pos x="0" y="2"/>
                </a:cxn>
              </a:cxnLst>
              <a:rect l="0" t="0" r="r" b="b"/>
              <a:pathLst>
                <a:path w="110" h="69">
                  <a:moveTo>
                    <a:pt x="106" y="51"/>
                  </a:moveTo>
                  <a:cubicBezTo>
                    <a:pt x="110" y="55"/>
                    <a:pt x="110" y="61"/>
                    <a:pt x="106" y="65"/>
                  </a:cubicBezTo>
                  <a:cubicBezTo>
                    <a:pt x="102" y="69"/>
                    <a:pt x="96" y="69"/>
                    <a:pt x="92" y="65"/>
                  </a:cubicBezTo>
                  <a:cubicBezTo>
                    <a:pt x="92" y="65"/>
                    <a:pt x="53" y="19"/>
                    <a:pt x="37" y="11"/>
                  </a:cubicBezTo>
                  <a:cubicBezTo>
                    <a:pt x="17" y="0"/>
                    <a:pt x="0" y="2"/>
                    <a:pt x="0" y="2"/>
                  </a:cubicBezTo>
                </a:path>
              </a:pathLst>
            </a:custGeom>
            <a:noFill/>
            <a:ln w="12700" cap="rnd">
              <a:solidFill>
                <a:srgbClr val="B81237"/>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208"/>
            <p:cNvSpPr>
              <a:spLocks/>
            </p:cNvSpPr>
            <p:nvPr/>
          </p:nvSpPr>
          <p:spPr bwMode="auto">
            <a:xfrm>
              <a:off x="3511284" y="4372495"/>
              <a:ext cx="152328" cy="155314"/>
            </a:xfrm>
            <a:custGeom>
              <a:avLst/>
              <a:gdLst/>
              <a:ahLst/>
              <a:cxnLst>
                <a:cxn ang="0">
                  <a:pos x="14" y="0"/>
                </a:cxn>
                <a:cxn ang="0">
                  <a:pos x="47" y="33"/>
                </a:cxn>
                <a:cxn ang="0">
                  <a:pos x="47" y="48"/>
                </a:cxn>
                <a:cxn ang="0">
                  <a:pos x="33" y="48"/>
                </a:cxn>
                <a:cxn ang="0">
                  <a:pos x="0" y="14"/>
                </a:cxn>
              </a:cxnLst>
              <a:rect l="0" t="0" r="r" b="b"/>
              <a:pathLst>
                <a:path w="51" h="52">
                  <a:moveTo>
                    <a:pt x="14" y="0"/>
                  </a:moveTo>
                  <a:cubicBezTo>
                    <a:pt x="47" y="33"/>
                    <a:pt x="47" y="33"/>
                    <a:pt x="47" y="33"/>
                  </a:cubicBezTo>
                  <a:cubicBezTo>
                    <a:pt x="51" y="37"/>
                    <a:pt x="51" y="44"/>
                    <a:pt x="47" y="48"/>
                  </a:cubicBezTo>
                  <a:cubicBezTo>
                    <a:pt x="43" y="52"/>
                    <a:pt x="37" y="52"/>
                    <a:pt x="33" y="48"/>
                  </a:cubicBezTo>
                  <a:cubicBezTo>
                    <a:pt x="0" y="14"/>
                    <a:pt x="0" y="14"/>
                    <a:pt x="0" y="14"/>
                  </a:cubicBezTo>
                </a:path>
              </a:pathLst>
            </a:custGeom>
            <a:noFill/>
            <a:ln w="12700" cap="rnd">
              <a:solidFill>
                <a:srgbClr val="B81237"/>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209"/>
            <p:cNvSpPr>
              <a:spLocks/>
            </p:cNvSpPr>
            <p:nvPr/>
          </p:nvSpPr>
          <p:spPr bwMode="auto">
            <a:xfrm>
              <a:off x="3597902" y="4276917"/>
              <a:ext cx="198624" cy="206090"/>
            </a:xfrm>
            <a:custGeom>
              <a:avLst/>
              <a:gdLst/>
              <a:ahLst/>
              <a:cxnLst>
                <a:cxn ang="0">
                  <a:pos x="22" y="0"/>
                </a:cxn>
                <a:cxn ang="0">
                  <a:pos x="62" y="50"/>
                </a:cxn>
                <a:cxn ang="0">
                  <a:pos x="62" y="65"/>
                </a:cxn>
                <a:cxn ang="0">
                  <a:pos x="47" y="65"/>
                </a:cxn>
                <a:cxn ang="0">
                  <a:pos x="0" y="17"/>
                </a:cxn>
              </a:cxnLst>
              <a:rect l="0" t="0" r="r" b="b"/>
              <a:pathLst>
                <a:path w="66" h="69">
                  <a:moveTo>
                    <a:pt x="22" y="0"/>
                  </a:moveTo>
                  <a:cubicBezTo>
                    <a:pt x="62" y="50"/>
                    <a:pt x="62" y="50"/>
                    <a:pt x="62" y="50"/>
                  </a:cubicBezTo>
                  <a:cubicBezTo>
                    <a:pt x="66" y="54"/>
                    <a:pt x="66" y="61"/>
                    <a:pt x="62" y="65"/>
                  </a:cubicBezTo>
                  <a:cubicBezTo>
                    <a:pt x="58" y="69"/>
                    <a:pt x="51" y="69"/>
                    <a:pt x="47" y="65"/>
                  </a:cubicBezTo>
                  <a:cubicBezTo>
                    <a:pt x="0" y="17"/>
                    <a:pt x="0" y="17"/>
                    <a:pt x="0" y="17"/>
                  </a:cubicBezTo>
                </a:path>
              </a:pathLst>
            </a:custGeom>
            <a:noFill/>
            <a:ln w="12700" cap="rnd">
              <a:solidFill>
                <a:srgbClr val="B81237"/>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210"/>
            <p:cNvSpPr>
              <a:spLocks/>
            </p:cNvSpPr>
            <p:nvPr/>
          </p:nvSpPr>
          <p:spPr bwMode="auto">
            <a:xfrm>
              <a:off x="3439601" y="4145497"/>
              <a:ext cx="503279" cy="170248"/>
            </a:xfrm>
            <a:custGeom>
              <a:avLst/>
              <a:gdLst/>
              <a:ahLst/>
              <a:cxnLst>
                <a:cxn ang="0">
                  <a:pos x="168" y="9"/>
                </a:cxn>
                <a:cxn ang="0">
                  <a:pos x="130" y="23"/>
                </a:cxn>
                <a:cxn ang="0">
                  <a:pos x="70" y="0"/>
                </a:cxn>
                <a:cxn ang="0">
                  <a:pos x="8" y="26"/>
                </a:cxn>
                <a:cxn ang="0">
                  <a:pos x="3" y="40"/>
                </a:cxn>
                <a:cxn ang="0">
                  <a:pos x="16" y="45"/>
                </a:cxn>
                <a:cxn ang="0">
                  <a:pos x="58" y="28"/>
                </a:cxn>
                <a:cxn ang="0">
                  <a:pos x="95" y="54"/>
                </a:cxn>
                <a:cxn ang="0">
                  <a:pos x="118" y="53"/>
                </a:cxn>
              </a:cxnLst>
              <a:rect l="0" t="0" r="r" b="b"/>
              <a:pathLst>
                <a:path w="168" h="57">
                  <a:moveTo>
                    <a:pt x="168" y="9"/>
                  </a:moveTo>
                  <a:cubicBezTo>
                    <a:pt x="168" y="9"/>
                    <a:pt x="142" y="24"/>
                    <a:pt x="130" y="23"/>
                  </a:cubicBezTo>
                  <a:cubicBezTo>
                    <a:pt x="113" y="22"/>
                    <a:pt x="87" y="1"/>
                    <a:pt x="70" y="0"/>
                  </a:cubicBezTo>
                  <a:cubicBezTo>
                    <a:pt x="60" y="0"/>
                    <a:pt x="8" y="26"/>
                    <a:pt x="8" y="26"/>
                  </a:cubicBezTo>
                  <a:cubicBezTo>
                    <a:pt x="3" y="28"/>
                    <a:pt x="0" y="34"/>
                    <a:pt x="3" y="40"/>
                  </a:cubicBezTo>
                  <a:cubicBezTo>
                    <a:pt x="5" y="45"/>
                    <a:pt x="11" y="47"/>
                    <a:pt x="16" y="45"/>
                  </a:cubicBezTo>
                  <a:cubicBezTo>
                    <a:pt x="58" y="28"/>
                    <a:pt x="58" y="28"/>
                    <a:pt x="58" y="28"/>
                  </a:cubicBezTo>
                  <a:cubicBezTo>
                    <a:pt x="58" y="28"/>
                    <a:pt x="78" y="51"/>
                    <a:pt x="95" y="54"/>
                  </a:cubicBezTo>
                  <a:cubicBezTo>
                    <a:pt x="109" y="57"/>
                    <a:pt x="118" y="53"/>
                    <a:pt x="118" y="53"/>
                  </a:cubicBezTo>
                </a:path>
              </a:pathLst>
            </a:custGeom>
            <a:noFill/>
            <a:ln w="12700" cap="rnd">
              <a:solidFill>
                <a:srgbClr val="B81237"/>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211"/>
            <p:cNvSpPr>
              <a:spLocks/>
            </p:cNvSpPr>
            <p:nvPr/>
          </p:nvSpPr>
          <p:spPr bwMode="auto">
            <a:xfrm>
              <a:off x="3660625" y="4438205"/>
              <a:ext cx="56749" cy="53763"/>
            </a:xfrm>
            <a:custGeom>
              <a:avLst/>
              <a:gdLst/>
              <a:ahLst/>
              <a:cxnLst>
                <a:cxn ang="0">
                  <a:pos x="15" y="0"/>
                </a:cxn>
                <a:cxn ang="0">
                  <a:pos x="15" y="14"/>
                </a:cxn>
                <a:cxn ang="0">
                  <a:pos x="0" y="14"/>
                </a:cxn>
              </a:cxnLst>
              <a:rect l="0" t="0" r="r" b="b"/>
              <a:pathLst>
                <a:path w="19" h="18">
                  <a:moveTo>
                    <a:pt x="15" y="0"/>
                  </a:moveTo>
                  <a:cubicBezTo>
                    <a:pt x="19" y="4"/>
                    <a:pt x="19" y="10"/>
                    <a:pt x="15" y="14"/>
                  </a:cubicBezTo>
                  <a:cubicBezTo>
                    <a:pt x="11" y="18"/>
                    <a:pt x="4" y="18"/>
                    <a:pt x="0" y="14"/>
                  </a:cubicBezTo>
                </a:path>
              </a:pathLst>
            </a:custGeom>
            <a:noFill/>
            <a:ln w="12700" cap="rnd">
              <a:solidFill>
                <a:srgbClr val="B81237"/>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212"/>
            <p:cNvSpPr>
              <a:spLocks/>
            </p:cNvSpPr>
            <p:nvPr/>
          </p:nvSpPr>
          <p:spPr bwMode="auto">
            <a:xfrm>
              <a:off x="3778604" y="4351587"/>
              <a:ext cx="164275" cy="59736"/>
            </a:xfrm>
            <a:custGeom>
              <a:avLst/>
              <a:gdLst/>
              <a:ahLst/>
              <a:cxnLst>
                <a:cxn ang="0">
                  <a:pos x="0" y="20"/>
                </a:cxn>
                <a:cxn ang="0">
                  <a:pos x="55" y="0"/>
                </a:cxn>
              </a:cxnLst>
              <a:rect l="0" t="0" r="r" b="b"/>
              <a:pathLst>
                <a:path w="55" h="20">
                  <a:moveTo>
                    <a:pt x="0" y="20"/>
                  </a:moveTo>
                  <a:cubicBezTo>
                    <a:pt x="0" y="20"/>
                    <a:pt x="43" y="17"/>
                    <a:pt x="55" y="0"/>
                  </a:cubicBezTo>
                </a:path>
              </a:pathLst>
            </a:custGeom>
            <a:noFill/>
            <a:ln w="12700" cap="rnd">
              <a:solidFill>
                <a:srgbClr val="B81237"/>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213"/>
            <p:cNvSpPr>
              <a:spLocks/>
            </p:cNvSpPr>
            <p:nvPr/>
          </p:nvSpPr>
          <p:spPr bwMode="auto">
            <a:xfrm>
              <a:off x="3311168" y="4112642"/>
              <a:ext cx="268813" cy="53763"/>
            </a:xfrm>
            <a:custGeom>
              <a:avLst/>
              <a:gdLst/>
              <a:ahLst/>
              <a:cxnLst>
                <a:cxn ang="0">
                  <a:pos x="0" y="8"/>
                </a:cxn>
                <a:cxn ang="0">
                  <a:pos x="90" y="18"/>
                </a:cxn>
              </a:cxnLst>
              <a:rect l="0" t="0" r="r" b="b"/>
              <a:pathLst>
                <a:path w="90" h="18">
                  <a:moveTo>
                    <a:pt x="0" y="8"/>
                  </a:moveTo>
                  <a:cubicBezTo>
                    <a:pt x="35" y="0"/>
                    <a:pt x="90" y="18"/>
                    <a:pt x="90" y="18"/>
                  </a:cubicBezTo>
                </a:path>
              </a:pathLst>
            </a:custGeom>
            <a:noFill/>
            <a:ln w="12700" cap="rnd">
              <a:solidFill>
                <a:srgbClr val="B81237"/>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64" name="Rectangle 62"/>
          <p:cNvSpPr>
            <a:spLocks noChangeArrowheads="1"/>
          </p:cNvSpPr>
          <p:nvPr/>
        </p:nvSpPr>
        <p:spPr bwMode="auto">
          <a:xfrm rot="8100000">
            <a:off x="3497954" y="2356986"/>
            <a:ext cx="308266" cy="308268"/>
          </a:xfrm>
          <a:prstGeom prst="teardrop">
            <a:avLst/>
          </a:prstGeom>
          <a:solidFill>
            <a:srgbClr val="B81237"/>
          </a:solidFill>
          <a:ln w="19050">
            <a:solidFill>
              <a:schemeClr val="bg1"/>
            </a:solidFill>
            <a:miter lim="800000"/>
            <a:headEnd/>
            <a:tailEnd/>
          </a:ln>
          <a:effectLst>
            <a:outerShdw blurRad="63500" sx="102000" sy="102000" algn="ctr" rotWithShape="0">
              <a:prstClr val="black">
                <a:alpha val="40000"/>
              </a:prstClr>
            </a:outerShdw>
          </a:effectLst>
        </p:spPr>
        <p:txBody>
          <a:bodyPr vert="horz" wrap="square" lIns="0" tIns="0" rIns="0" bIns="0" numCol="1" anchor="ctr" anchorCtr="0" compatLnSpc="1">
            <a:prstTxWarp prst="textNoShape">
              <a:avLst/>
            </a:prstTxWarp>
          </a:bodyPr>
          <a:lstStyle/>
          <a:p>
            <a:pPr algn="ctr"/>
            <a:endParaRPr lang="en-US" sz="1600" b="1" dirty="0">
              <a:solidFill>
                <a:schemeClr val="bg1"/>
              </a:solidFill>
            </a:endParaRPr>
          </a:p>
        </p:txBody>
      </p:sp>
      <p:sp>
        <p:nvSpPr>
          <p:cNvPr id="274" name="Rectangle 89"/>
          <p:cNvSpPr>
            <a:spLocks noChangeArrowheads="1"/>
          </p:cNvSpPr>
          <p:nvPr/>
        </p:nvSpPr>
        <p:spPr bwMode="auto">
          <a:xfrm>
            <a:off x="447670" y="2992281"/>
            <a:ext cx="1215633" cy="938369"/>
          </a:xfrm>
          <a:prstGeom prst="round2SameRect">
            <a:avLst/>
          </a:prstGeom>
          <a:solidFill>
            <a:schemeClr val="bg1">
              <a:lumMod val="95000"/>
            </a:schemeClr>
          </a:solidFill>
          <a:ln w="9525">
            <a:noFill/>
            <a:miter lim="800000"/>
            <a:headEnd/>
            <a:tailEnd/>
          </a:ln>
        </p:spPr>
        <p:txBody>
          <a:bodyPr vert="horz" wrap="square" lIns="0" tIns="0" rIns="0" bIns="0" numCol="1" anchor="ctr" anchorCtr="0" compatLnSpc="1">
            <a:prstTxWarp prst="textNoShape">
              <a:avLst/>
            </a:prstTxWarp>
          </a:bodyPr>
          <a:lstStyle/>
          <a:p>
            <a:pPr algn="ctr"/>
            <a:endParaRPr lang="en-US" sz="1600" b="1" dirty="0">
              <a:solidFill>
                <a:schemeClr val="bg1"/>
              </a:solidFill>
            </a:endParaRPr>
          </a:p>
        </p:txBody>
      </p:sp>
      <p:sp>
        <p:nvSpPr>
          <p:cNvPr id="170" name="Rectangle 89"/>
          <p:cNvSpPr>
            <a:spLocks noChangeArrowheads="1"/>
          </p:cNvSpPr>
          <p:nvPr/>
        </p:nvSpPr>
        <p:spPr bwMode="auto">
          <a:xfrm>
            <a:off x="447670" y="2680663"/>
            <a:ext cx="1215633" cy="384487"/>
          </a:xfrm>
          <a:prstGeom prst="round2SameRect">
            <a:avLst/>
          </a:prstGeom>
          <a:solidFill>
            <a:srgbClr val="FFCA38"/>
          </a:solidFill>
          <a:ln w="9525">
            <a:noFill/>
            <a:miter lim="800000"/>
            <a:headEnd/>
            <a:tailEnd/>
          </a:ln>
        </p:spPr>
        <p:txBody>
          <a:bodyPr vert="horz" wrap="square" lIns="0" tIns="0" rIns="0" bIns="0" numCol="1" anchor="ctr" anchorCtr="0" compatLnSpc="1">
            <a:prstTxWarp prst="textNoShape">
              <a:avLst/>
            </a:prstTxWarp>
          </a:bodyPr>
          <a:lstStyle/>
          <a:p>
            <a:pPr algn="ctr"/>
            <a:r>
              <a:rPr lang="en-US" sz="1600" b="1" dirty="0" smtClean="0">
                <a:solidFill>
                  <a:schemeClr val="bg1"/>
                </a:solidFill>
              </a:rPr>
              <a:t>Honesty</a:t>
            </a:r>
            <a:endParaRPr lang="en-US" sz="1600" b="1" dirty="0">
              <a:solidFill>
                <a:schemeClr val="bg1"/>
              </a:solidFill>
            </a:endParaRPr>
          </a:p>
        </p:txBody>
      </p:sp>
      <p:grpSp>
        <p:nvGrpSpPr>
          <p:cNvPr id="8" name="Group 247"/>
          <p:cNvGrpSpPr/>
          <p:nvPr/>
        </p:nvGrpSpPr>
        <p:grpSpPr>
          <a:xfrm>
            <a:off x="761032" y="3197803"/>
            <a:ext cx="588908" cy="587416"/>
            <a:chOff x="661863" y="4002130"/>
            <a:chExt cx="589896" cy="588402"/>
          </a:xfrm>
        </p:grpSpPr>
        <p:sp>
          <p:nvSpPr>
            <p:cNvPr id="249" name="Freeform 217"/>
            <p:cNvSpPr>
              <a:spLocks/>
            </p:cNvSpPr>
            <p:nvPr/>
          </p:nvSpPr>
          <p:spPr bwMode="auto">
            <a:xfrm>
              <a:off x="803737" y="4145497"/>
              <a:ext cx="131420" cy="134407"/>
            </a:xfrm>
            <a:custGeom>
              <a:avLst/>
              <a:gdLst/>
              <a:ahLst/>
              <a:cxnLst>
                <a:cxn ang="0">
                  <a:pos x="62" y="90"/>
                </a:cxn>
                <a:cxn ang="0">
                  <a:pos x="0" y="0"/>
                </a:cxn>
                <a:cxn ang="0">
                  <a:pos x="88" y="64"/>
                </a:cxn>
              </a:cxnLst>
              <a:rect l="0" t="0" r="r" b="b"/>
              <a:pathLst>
                <a:path w="88" h="90">
                  <a:moveTo>
                    <a:pt x="62" y="90"/>
                  </a:moveTo>
                  <a:lnTo>
                    <a:pt x="0" y="0"/>
                  </a:lnTo>
                  <a:lnTo>
                    <a:pt x="88" y="64"/>
                  </a:lnTo>
                </a:path>
              </a:pathLst>
            </a:custGeom>
            <a:noFill/>
            <a:ln w="12700" cap="flat">
              <a:solidFill>
                <a:srgbClr val="FFCA38"/>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218"/>
            <p:cNvSpPr>
              <a:spLocks/>
            </p:cNvSpPr>
            <p:nvPr/>
          </p:nvSpPr>
          <p:spPr bwMode="auto">
            <a:xfrm>
              <a:off x="962039" y="4306785"/>
              <a:ext cx="134407" cy="134407"/>
            </a:xfrm>
            <a:custGeom>
              <a:avLst/>
              <a:gdLst/>
              <a:ahLst/>
              <a:cxnLst>
                <a:cxn ang="0">
                  <a:pos x="26" y="0"/>
                </a:cxn>
                <a:cxn ang="0">
                  <a:pos x="90" y="90"/>
                </a:cxn>
                <a:cxn ang="0">
                  <a:pos x="0" y="26"/>
                </a:cxn>
              </a:cxnLst>
              <a:rect l="0" t="0" r="r" b="b"/>
              <a:pathLst>
                <a:path w="90" h="90">
                  <a:moveTo>
                    <a:pt x="26" y="0"/>
                  </a:moveTo>
                  <a:lnTo>
                    <a:pt x="90" y="90"/>
                  </a:lnTo>
                  <a:lnTo>
                    <a:pt x="0" y="26"/>
                  </a:lnTo>
                </a:path>
              </a:pathLst>
            </a:custGeom>
            <a:noFill/>
            <a:ln w="12700" cap="flat">
              <a:solidFill>
                <a:srgbClr val="FFCA38"/>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Oval 219"/>
            <p:cNvSpPr>
              <a:spLocks noChangeArrowheads="1"/>
            </p:cNvSpPr>
            <p:nvPr/>
          </p:nvSpPr>
          <p:spPr bwMode="auto">
            <a:xfrm>
              <a:off x="911263" y="4250036"/>
              <a:ext cx="89604" cy="89604"/>
            </a:xfrm>
            <a:prstGeom prst="ellipse">
              <a:avLst/>
            </a:prstGeom>
            <a:noFill/>
            <a:ln w="12700" cap="flat">
              <a:solidFill>
                <a:srgbClr val="FFCA38"/>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Line 220"/>
            <p:cNvSpPr>
              <a:spLocks noChangeShapeType="1"/>
            </p:cNvSpPr>
            <p:nvPr/>
          </p:nvSpPr>
          <p:spPr bwMode="auto">
            <a:xfrm>
              <a:off x="1036709" y="4294838"/>
              <a:ext cx="53763" cy="1494"/>
            </a:xfrm>
            <a:prstGeom prst="line">
              <a:avLst/>
            </a:prstGeom>
            <a:noFill/>
            <a:ln w="12700" cap="flat">
              <a:solidFill>
                <a:srgbClr val="FFCA38"/>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Line 221"/>
            <p:cNvSpPr>
              <a:spLocks noChangeShapeType="1"/>
            </p:cNvSpPr>
            <p:nvPr/>
          </p:nvSpPr>
          <p:spPr bwMode="auto">
            <a:xfrm>
              <a:off x="956065" y="4387429"/>
              <a:ext cx="1494" cy="50776"/>
            </a:xfrm>
            <a:prstGeom prst="line">
              <a:avLst/>
            </a:prstGeom>
            <a:noFill/>
            <a:ln w="12700" cap="flat">
              <a:solidFill>
                <a:srgbClr val="FFCA38"/>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Line 222"/>
            <p:cNvSpPr>
              <a:spLocks noChangeShapeType="1"/>
            </p:cNvSpPr>
            <p:nvPr/>
          </p:nvSpPr>
          <p:spPr bwMode="auto">
            <a:xfrm flipH="1">
              <a:off x="815685" y="4294838"/>
              <a:ext cx="50776" cy="1494"/>
            </a:xfrm>
            <a:prstGeom prst="line">
              <a:avLst/>
            </a:prstGeom>
            <a:noFill/>
            <a:ln w="12700" cap="flat">
              <a:solidFill>
                <a:srgbClr val="FFCA38"/>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223"/>
            <p:cNvSpPr>
              <a:spLocks/>
            </p:cNvSpPr>
            <p:nvPr/>
          </p:nvSpPr>
          <p:spPr bwMode="auto">
            <a:xfrm>
              <a:off x="661863" y="4002130"/>
              <a:ext cx="589896" cy="588402"/>
            </a:xfrm>
            <a:custGeom>
              <a:avLst/>
              <a:gdLst/>
              <a:ahLst/>
              <a:cxnLst>
                <a:cxn ang="0">
                  <a:pos x="59" y="188"/>
                </a:cxn>
                <a:cxn ang="0">
                  <a:pos x="98" y="197"/>
                </a:cxn>
                <a:cxn ang="0">
                  <a:pos x="197" y="98"/>
                </a:cxn>
                <a:cxn ang="0">
                  <a:pos x="98" y="0"/>
                </a:cxn>
                <a:cxn ang="0">
                  <a:pos x="0" y="98"/>
                </a:cxn>
                <a:cxn ang="0">
                  <a:pos x="17" y="153"/>
                </a:cxn>
              </a:cxnLst>
              <a:rect l="0" t="0" r="r" b="b"/>
              <a:pathLst>
                <a:path w="197" h="197">
                  <a:moveTo>
                    <a:pt x="59" y="188"/>
                  </a:moveTo>
                  <a:cubicBezTo>
                    <a:pt x="71" y="194"/>
                    <a:pt x="84" y="197"/>
                    <a:pt x="98" y="197"/>
                  </a:cubicBezTo>
                  <a:cubicBezTo>
                    <a:pt x="153" y="197"/>
                    <a:pt x="197" y="153"/>
                    <a:pt x="197" y="98"/>
                  </a:cubicBezTo>
                  <a:cubicBezTo>
                    <a:pt x="197" y="44"/>
                    <a:pt x="153" y="0"/>
                    <a:pt x="98" y="0"/>
                  </a:cubicBezTo>
                  <a:cubicBezTo>
                    <a:pt x="44" y="0"/>
                    <a:pt x="0" y="44"/>
                    <a:pt x="0" y="98"/>
                  </a:cubicBezTo>
                  <a:cubicBezTo>
                    <a:pt x="0" y="119"/>
                    <a:pt x="6" y="138"/>
                    <a:pt x="17" y="153"/>
                  </a:cubicBezTo>
                </a:path>
              </a:pathLst>
            </a:custGeom>
            <a:noFill/>
            <a:ln w="12700" cap="flat">
              <a:solidFill>
                <a:srgbClr val="FFCA38"/>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224"/>
            <p:cNvSpPr>
              <a:spLocks/>
            </p:cNvSpPr>
            <p:nvPr/>
          </p:nvSpPr>
          <p:spPr bwMode="auto">
            <a:xfrm>
              <a:off x="929184" y="4049919"/>
              <a:ext cx="56749" cy="65710"/>
            </a:xfrm>
            <a:custGeom>
              <a:avLst/>
              <a:gdLst/>
              <a:ahLst/>
              <a:cxnLst>
                <a:cxn ang="0">
                  <a:pos x="0" y="0"/>
                </a:cxn>
                <a:cxn ang="0">
                  <a:pos x="12" y="0"/>
                </a:cxn>
                <a:cxn ang="0">
                  <a:pos x="26" y="26"/>
                </a:cxn>
                <a:cxn ang="0">
                  <a:pos x="26" y="26"/>
                </a:cxn>
                <a:cxn ang="0">
                  <a:pos x="26" y="0"/>
                </a:cxn>
                <a:cxn ang="0">
                  <a:pos x="38" y="0"/>
                </a:cxn>
                <a:cxn ang="0">
                  <a:pos x="38" y="44"/>
                </a:cxn>
                <a:cxn ang="0">
                  <a:pos x="26" y="44"/>
                </a:cxn>
                <a:cxn ang="0">
                  <a:pos x="10" y="16"/>
                </a:cxn>
                <a:cxn ang="0">
                  <a:pos x="10" y="16"/>
                </a:cxn>
                <a:cxn ang="0">
                  <a:pos x="10" y="44"/>
                </a:cxn>
                <a:cxn ang="0">
                  <a:pos x="0" y="44"/>
                </a:cxn>
                <a:cxn ang="0">
                  <a:pos x="0" y="0"/>
                </a:cxn>
              </a:cxnLst>
              <a:rect l="0" t="0" r="r" b="b"/>
              <a:pathLst>
                <a:path w="38" h="44">
                  <a:moveTo>
                    <a:pt x="0" y="0"/>
                  </a:moveTo>
                  <a:lnTo>
                    <a:pt x="12" y="0"/>
                  </a:lnTo>
                  <a:lnTo>
                    <a:pt x="26" y="26"/>
                  </a:lnTo>
                  <a:lnTo>
                    <a:pt x="26" y="26"/>
                  </a:lnTo>
                  <a:lnTo>
                    <a:pt x="26" y="0"/>
                  </a:lnTo>
                  <a:lnTo>
                    <a:pt x="38" y="0"/>
                  </a:lnTo>
                  <a:lnTo>
                    <a:pt x="38" y="44"/>
                  </a:lnTo>
                  <a:lnTo>
                    <a:pt x="26" y="44"/>
                  </a:lnTo>
                  <a:lnTo>
                    <a:pt x="10" y="16"/>
                  </a:lnTo>
                  <a:lnTo>
                    <a:pt x="10" y="16"/>
                  </a:lnTo>
                  <a:lnTo>
                    <a:pt x="10" y="44"/>
                  </a:lnTo>
                  <a:lnTo>
                    <a:pt x="0" y="44"/>
                  </a:lnTo>
                  <a:lnTo>
                    <a:pt x="0" y="0"/>
                  </a:lnTo>
                  <a:close/>
                </a:path>
              </a:pathLst>
            </a:custGeom>
            <a:solidFill>
              <a:srgbClr val="FFCA38"/>
            </a:solidFill>
            <a:ln w="1270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Line 225"/>
            <p:cNvSpPr>
              <a:spLocks noChangeShapeType="1"/>
            </p:cNvSpPr>
            <p:nvPr/>
          </p:nvSpPr>
          <p:spPr bwMode="auto">
            <a:xfrm>
              <a:off x="956065" y="4163418"/>
              <a:ext cx="1494" cy="50776"/>
            </a:xfrm>
            <a:prstGeom prst="line">
              <a:avLst/>
            </a:prstGeom>
            <a:noFill/>
            <a:ln w="12700" cap="flat">
              <a:solidFill>
                <a:srgbClr val="FFCA38"/>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226"/>
            <p:cNvSpPr>
              <a:spLocks/>
            </p:cNvSpPr>
            <p:nvPr/>
          </p:nvSpPr>
          <p:spPr bwMode="auto">
            <a:xfrm>
              <a:off x="1153195" y="4256009"/>
              <a:ext cx="53763" cy="68697"/>
            </a:xfrm>
            <a:custGeom>
              <a:avLst/>
              <a:gdLst/>
              <a:ahLst/>
              <a:cxnLst>
                <a:cxn ang="0">
                  <a:pos x="0" y="0"/>
                </a:cxn>
                <a:cxn ang="0">
                  <a:pos x="34" y="0"/>
                </a:cxn>
                <a:cxn ang="0">
                  <a:pos x="34" y="10"/>
                </a:cxn>
                <a:cxn ang="0">
                  <a:pos x="12" y="10"/>
                </a:cxn>
                <a:cxn ang="0">
                  <a:pos x="12" y="18"/>
                </a:cxn>
                <a:cxn ang="0">
                  <a:pos x="32" y="18"/>
                </a:cxn>
                <a:cxn ang="0">
                  <a:pos x="32" y="26"/>
                </a:cxn>
                <a:cxn ang="0">
                  <a:pos x="12" y="26"/>
                </a:cxn>
                <a:cxn ang="0">
                  <a:pos x="12" y="36"/>
                </a:cxn>
                <a:cxn ang="0">
                  <a:pos x="36" y="36"/>
                </a:cxn>
                <a:cxn ang="0">
                  <a:pos x="36" y="46"/>
                </a:cxn>
                <a:cxn ang="0">
                  <a:pos x="0" y="46"/>
                </a:cxn>
                <a:cxn ang="0">
                  <a:pos x="0" y="0"/>
                </a:cxn>
              </a:cxnLst>
              <a:rect l="0" t="0" r="r" b="b"/>
              <a:pathLst>
                <a:path w="36" h="46">
                  <a:moveTo>
                    <a:pt x="0" y="0"/>
                  </a:moveTo>
                  <a:lnTo>
                    <a:pt x="34" y="0"/>
                  </a:lnTo>
                  <a:lnTo>
                    <a:pt x="34" y="10"/>
                  </a:lnTo>
                  <a:lnTo>
                    <a:pt x="12" y="10"/>
                  </a:lnTo>
                  <a:lnTo>
                    <a:pt x="12" y="18"/>
                  </a:lnTo>
                  <a:lnTo>
                    <a:pt x="32" y="18"/>
                  </a:lnTo>
                  <a:lnTo>
                    <a:pt x="32" y="26"/>
                  </a:lnTo>
                  <a:lnTo>
                    <a:pt x="12" y="26"/>
                  </a:lnTo>
                  <a:lnTo>
                    <a:pt x="12" y="36"/>
                  </a:lnTo>
                  <a:lnTo>
                    <a:pt x="36" y="36"/>
                  </a:lnTo>
                  <a:lnTo>
                    <a:pt x="36" y="46"/>
                  </a:lnTo>
                  <a:lnTo>
                    <a:pt x="0" y="46"/>
                  </a:lnTo>
                  <a:lnTo>
                    <a:pt x="0" y="0"/>
                  </a:lnTo>
                  <a:close/>
                </a:path>
              </a:pathLst>
            </a:custGeom>
            <a:solidFill>
              <a:srgbClr val="FFCA38"/>
            </a:solidFill>
            <a:ln w="1270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227"/>
            <p:cNvSpPr>
              <a:spLocks/>
            </p:cNvSpPr>
            <p:nvPr/>
          </p:nvSpPr>
          <p:spPr bwMode="auto">
            <a:xfrm>
              <a:off x="929184" y="4480020"/>
              <a:ext cx="56749" cy="71684"/>
            </a:xfrm>
            <a:custGeom>
              <a:avLst/>
              <a:gdLst/>
              <a:ahLst/>
              <a:cxnLst>
                <a:cxn ang="0">
                  <a:pos x="5" y="16"/>
                </a:cxn>
                <a:cxn ang="0">
                  <a:pos x="10" y="19"/>
                </a:cxn>
                <a:cxn ang="0">
                  <a:pos x="13" y="17"/>
                </a:cxn>
                <a:cxn ang="0">
                  <a:pos x="7" y="14"/>
                </a:cxn>
                <a:cxn ang="0">
                  <a:pos x="0" y="7"/>
                </a:cxn>
                <a:cxn ang="0">
                  <a:pos x="9" y="0"/>
                </a:cxn>
                <a:cxn ang="0">
                  <a:pos x="18" y="8"/>
                </a:cxn>
                <a:cxn ang="0">
                  <a:pos x="12" y="8"/>
                </a:cxn>
                <a:cxn ang="0">
                  <a:pos x="9" y="5"/>
                </a:cxn>
                <a:cxn ang="0">
                  <a:pos x="6" y="7"/>
                </a:cxn>
                <a:cxn ang="0">
                  <a:pos x="13" y="10"/>
                </a:cxn>
                <a:cxn ang="0">
                  <a:pos x="19" y="16"/>
                </a:cxn>
                <a:cxn ang="0">
                  <a:pos x="9" y="24"/>
                </a:cxn>
                <a:cxn ang="0">
                  <a:pos x="0" y="16"/>
                </a:cxn>
                <a:cxn ang="0">
                  <a:pos x="5" y="16"/>
                </a:cxn>
              </a:cxnLst>
              <a:rect l="0" t="0" r="r" b="b"/>
              <a:pathLst>
                <a:path w="19" h="24">
                  <a:moveTo>
                    <a:pt x="5" y="16"/>
                  </a:moveTo>
                  <a:cubicBezTo>
                    <a:pt x="6" y="18"/>
                    <a:pt x="7" y="19"/>
                    <a:pt x="10" y="19"/>
                  </a:cubicBezTo>
                  <a:cubicBezTo>
                    <a:pt x="11" y="19"/>
                    <a:pt x="13" y="18"/>
                    <a:pt x="13" y="17"/>
                  </a:cubicBezTo>
                  <a:cubicBezTo>
                    <a:pt x="13" y="15"/>
                    <a:pt x="10" y="14"/>
                    <a:pt x="7" y="14"/>
                  </a:cubicBezTo>
                  <a:cubicBezTo>
                    <a:pt x="4" y="13"/>
                    <a:pt x="0" y="11"/>
                    <a:pt x="0" y="7"/>
                  </a:cubicBezTo>
                  <a:cubicBezTo>
                    <a:pt x="0" y="2"/>
                    <a:pt x="5" y="0"/>
                    <a:pt x="9" y="0"/>
                  </a:cubicBezTo>
                  <a:cubicBezTo>
                    <a:pt x="14" y="0"/>
                    <a:pt x="18" y="3"/>
                    <a:pt x="18" y="8"/>
                  </a:cubicBezTo>
                  <a:cubicBezTo>
                    <a:pt x="12" y="8"/>
                    <a:pt x="12" y="8"/>
                    <a:pt x="12" y="8"/>
                  </a:cubicBezTo>
                  <a:cubicBezTo>
                    <a:pt x="13" y="6"/>
                    <a:pt x="11" y="5"/>
                    <a:pt x="9" y="5"/>
                  </a:cubicBezTo>
                  <a:cubicBezTo>
                    <a:pt x="8" y="5"/>
                    <a:pt x="6" y="5"/>
                    <a:pt x="6" y="7"/>
                  </a:cubicBezTo>
                  <a:cubicBezTo>
                    <a:pt x="6" y="8"/>
                    <a:pt x="9" y="9"/>
                    <a:pt x="13" y="10"/>
                  </a:cubicBezTo>
                  <a:cubicBezTo>
                    <a:pt x="16" y="11"/>
                    <a:pt x="19" y="12"/>
                    <a:pt x="19" y="16"/>
                  </a:cubicBezTo>
                  <a:cubicBezTo>
                    <a:pt x="19" y="22"/>
                    <a:pt x="14" y="24"/>
                    <a:pt x="9" y="24"/>
                  </a:cubicBezTo>
                  <a:cubicBezTo>
                    <a:pt x="4" y="24"/>
                    <a:pt x="0" y="21"/>
                    <a:pt x="0" y="16"/>
                  </a:cubicBezTo>
                  <a:lnTo>
                    <a:pt x="5" y="16"/>
                  </a:lnTo>
                  <a:close/>
                </a:path>
              </a:pathLst>
            </a:custGeom>
            <a:solidFill>
              <a:srgbClr val="FFCA38"/>
            </a:solidFill>
            <a:ln w="1270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228"/>
            <p:cNvSpPr>
              <a:spLocks/>
            </p:cNvSpPr>
            <p:nvPr/>
          </p:nvSpPr>
          <p:spPr bwMode="auto">
            <a:xfrm>
              <a:off x="693225" y="4256009"/>
              <a:ext cx="89604" cy="68697"/>
            </a:xfrm>
            <a:custGeom>
              <a:avLst/>
              <a:gdLst/>
              <a:ahLst/>
              <a:cxnLst>
                <a:cxn ang="0">
                  <a:pos x="48" y="46"/>
                </a:cxn>
                <a:cxn ang="0">
                  <a:pos x="36" y="46"/>
                </a:cxn>
                <a:cxn ang="0">
                  <a:pos x="30" y="14"/>
                </a:cxn>
                <a:cxn ang="0">
                  <a:pos x="30" y="14"/>
                </a:cxn>
                <a:cxn ang="0">
                  <a:pos x="24" y="46"/>
                </a:cxn>
                <a:cxn ang="0">
                  <a:pos x="12" y="46"/>
                </a:cxn>
                <a:cxn ang="0">
                  <a:pos x="0" y="0"/>
                </a:cxn>
                <a:cxn ang="0">
                  <a:pos x="12" y="0"/>
                </a:cxn>
                <a:cxn ang="0">
                  <a:pos x="18" y="34"/>
                </a:cxn>
                <a:cxn ang="0">
                  <a:pos x="18" y="34"/>
                </a:cxn>
                <a:cxn ang="0">
                  <a:pos x="24" y="0"/>
                </a:cxn>
                <a:cxn ang="0">
                  <a:pos x="34" y="0"/>
                </a:cxn>
                <a:cxn ang="0">
                  <a:pos x="42" y="34"/>
                </a:cxn>
                <a:cxn ang="0">
                  <a:pos x="42" y="34"/>
                </a:cxn>
                <a:cxn ang="0">
                  <a:pos x="48" y="0"/>
                </a:cxn>
                <a:cxn ang="0">
                  <a:pos x="60" y="0"/>
                </a:cxn>
                <a:cxn ang="0">
                  <a:pos x="48" y="46"/>
                </a:cxn>
              </a:cxnLst>
              <a:rect l="0" t="0" r="r" b="b"/>
              <a:pathLst>
                <a:path w="60" h="46">
                  <a:moveTo>
                    <a:pt x="48" y="46"/>
                  </a:moveTo>
                  <a:lnTo>
                    <a:pt x="36" y="46"/>
                  </a:lnTo>
                  <a:lnTo>
                    <a:pt x="30" y="14"/>
                  </a:lnTo>
                  <a:lnTo>
                    <a:pt x="30" y="14"/>
                  </a:lnTo>
                  <a:lnTo>
                    <a:pt x="24" y="46"/>
                  </a:lnTo>
                  <a:lnTo>
                    <a:pt x="12" y="46"/>
                  </a:lnTo>
                  <a:lnTo>
                    <a:pt x="0" y="0"/>
                  </a:lnTo>
                  <a:lnTo>
                    <a:pt x="12" y="0"/>
                  </a:lnTo>
                  <a:lnTo>
                    <a:pt x="18" y="34"/>
                  </a:lnTo>
                  <a:lnTo>
                    <a:pt x="18" y="34"/>
                  </a:lnTo>
                  <a:lnTo>
                    <a:pt x="24" y="0"/>
                  </a:lnTo>
                  <a:lnTo>
                    <a:pt x="34" y="0"/>
                  </a:lnTo>
                  <a:lnTo>
                    <a:pt x="42" y="34"/>
                  </a:lnTo>
                  <a:lnTo>
                    <a:pt x="42" y="34"/>
                  </a:lnTo>
                  <a:lnTo>
                    <a:pt x="48" y="0"/>
                  </a:lnTo>
                  <a:lnTo>
                    <a:pt x="60" y="0"/>
                  </a:lnTo>
                  <a:lnTo>
                    <a:pt x="48" y="46"/>
                  </a:lnTo>
                  <a:close/>
                </a:path>
              </a:pathLst>
            </a:custGeom>
            <a:solidFill>
              <a:srgbClr val="FFCA38"/>
            </a:solidFill>
            <a:ln w="1270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65" name="Rectangle 89"/>
          <p:cNvSpPr>
            <a:spLocks noChangeArrowheads="1"/>
          </p:cNvSpPr>
          <p:nvPr/>
        </p:nvSpPr>
        <p:spPr bwMode="auto">
          <a:xfrm rot="8100000">
            <a:off x="901353" y="2356986"/>
            <a:ext cx="308266" cy="308268"/>
          </a:xfrm>
          <a:prstGeom prst="teardrop">
            <a:avLst/>
          </a:prstGeom>
          <a:solidFill>
            <a:srgbClr val="FFCA38"/>
          </a:solidFill>
          <a:ln w="19050">
            <a:solidFill>
              <a:schemeClr val="bg1"/>
            </a:solidFill>
            <a:miter lim="800000"/>
            <a:headEnd/>
            <a:tailEnd/>
          </a:ln>
          <a:effectLst>
            <a:outerShdw blurRad="63500" sx="102000" sy="102000" algn="ctr" rotWithShape="0">
              <a:prstClr val="black">
                <a:alpha val="40000"/>
              </a:prstClr>
            </a:outerShdw>
          </a:effectLst>
        </p:spPr>
        <p:txBody>
          <a:bodyPr vert="horz" wrap="square" lIns="0" tIns="0" rIns="0" bIns="0" numCol="1" anchor="ctr" anchorCtr="0" compatLnSpc="1">
            <a:prstTxWarp prst="textNoShape">
              <a:avLst/>
            </a:prstTxWarp>
          </a:bodyPr>
          <a:lstStyle/>
          <a:p>
            <a:pPr algn="ctr"/>
            <a:endParaRPr lang="en-US" sz="1600" b="1" dirty="0">
              <a:solidFill>
                <a:schemeClr val="bg1"/>
              </a:solidFill>
            </a:endParaRPr>
          </a:p>
        </p:txBody>
      </p:sp>
      <p:sp>
        <p:nvSpPr>
          <p:cNvPr id="275" name="Rectangle 74"/>
          <p:cNvSpPr>
            <a:spLocks noChangeArrowheads="1"/>
          </p:cNvSpPr>
          <p:nvPr/>
        </p:nvSpPr>
        <p:spPr bwMode="auto">
          <a:xfrm>
            <a:off x="1748583" y="2992281"/>
            <a:ext cx="1211154" cy="938369"/>
          </a:xfrm>
          <a:prstGeom prst="round2SameRect">
            <a:avLst/>
          </a:prstGeom>
          <a:solidFill>
            <a:schemeClr val="bg1">
              <a:lumMod val="95000"/>
            </a:schemeClr>
          </a:solidFill>
          <a:ln w="9525">
            <a:noFill/>
            <a:miter lim="800000"/>
            <a:headEnd/>
            <a:tailEnd/>
          </a:ln>
        </p:spPr>
        <p:txBody>
          <a:bodyPr vert="horz" wrap="square" lIns="0" tIns="0" rIns="0" bIns="0" numCol="1" anchor="ctr" anchorCtr="0" compatLnSpc="1">
            <a:prstTxWarp prst="textNoShape">
              <a:avLst/>
            </a:prstTxWarp>
          </a:bodyPr>
          <a:lstStyle/>
          <a:p>
            <a:pPr algn="ctr"/>
            <a:endParaRPr lang="en-US" sz="1600" b="1" dirty="0">
              <a:solidFill>
                <a:schemeClr val="bg1"/>
              </a:solidFill>
            </a:endParaRPr>
          </a:p>
        </p:txBody>
      </p:sp>
      <p:sp>
        <p:nvSpPr>
          <p:cNvPr id="185" name="Rectangle 74"/>
          <p:cNvSpPr>
            <a:spLocks noChangeArrowheads="1"/>
          </p:cNvSpPr>
          <p:nvPr/>
        </p:nvSpPr>
        <p:spPr bwMode="auto">
          <a:xfrm>
            <a:off x="1748583" y="2680663"/>
            <a:ext cx="1211154" cy="384487"/>
          </a:xfrm>
          <a:prstGeom prst="round2SameRect">
            <a:avLst/>
          </a:prstGeom>
          <a:solidFill>
            <a:srgbClr val="F47B29"/>
          </a:solidFill>
          <a:ln w="9525">
            <a:noFill/>
            <a:miter lim="800000"/>
            <a:headEnd/>
            <a:tailEnd/>
          </a:ln>
        </p:spPr>
        <p:txBody>
          <a:bodyPr vert="horz" wrap="square" lIns="0" tIns="0" rIns="0" bIns="0" numCol="1" anchor="ctr" anchorCtr="0" compatLnSpc="1">
            <a:prstTxWarp prst="textNoShape">
              <a:avLst/>
            </a:prstTxWarp>
          </a:bodyPr>
          <a:lstStyle/>
          <a:p>
            <a:pPr algn="ctr"/>
            <a:r>
              <a:rPr lang="en-US" sz="1600" b="1" dirty="0" smtClean="0">
                <a:solidFill>
                  <a:schemeClr val="bg1"/>
                </a:solidFill>
              </a:rPr>
              <a:t>Boldness</a:t>
            </a:r>
            <a:endParaRPr lang="en-US" sz="1600" b="1" dirty="0">
              <a:solidFill>
                <a:schemeClr val="bg1"/>
              </a:solidFill>
            </a:endParaRPr>
          </a:p>
        </p:txBody>
      </p:sp>
      <p:grpSp>
        <p:nvGrpSpPr>
          <p:cNvPr id="9" name="Group 243"/>
          <p:cNvGrpSpPr/>
          <p:nvPr/>
        </p:nvGrpSpPr>
        <p:grpSpPr>
          <a:xfrm>
            <a:off x="1977708" y="3136677"/>
            <a:ext cx="752904" cy="709668"/>
            <a:chOff x="1925286" y="3945381"/>
            <a:chExt cx="754170" cy="710862"/>
          </a:xfrm>
        </p:grpSpPr>
        <p:sp>
          <p:nvSpPr>
            <p:cNvPr id="245" name="Freeform 214"/>
            <p:cNvSpPr>
              <a:spLocks/>
            </p:cNvSpPr>
            <p:nvPr/>
          </p:nvSpPr>
          <p:spPr bwMode="auto">
            <a:xfrm>
              <a:off x="2170204" y="3945381"/>
              <a:ext cx="509252" cy="710862"/>
            </a:xfrm>
            <a:custGeom>
              <a:avLst/>
              <a:gdLst/>
              <a:ahLst/>
              <a:cxnLst>
                <a:cxn ang="0">
                  <a:pos x="96" y="0"/>
                </a:cxn>
                <a:cxn ang="0">
                  <a:pos x="21" y="52"/>
                </a:cxn>
                <a:cxn ang="0">
                  <a:pos x="0" y="79"/>
                </a:cxn>
                <a:cxn ang="0">
                  <a:pos x="17" y="125"/>
                </a:cxn>
                <a:cxn ang="0">
                  <a:pos x="92" y="195"/>
                </a:cxn>
                <a:cxn ang="0">
                  <a:pos x="132" y="210"/>
                </a:cxn>
                <a:cxn ang="0">
                  <a:pos x="170" y="238"/>
                </a:cxn>
                <a:cxn ang="0">
                  <a:pos x="154" y="209"/>
                </a:cxn>
                <a:cxn ang="0">
                  <a:pos x="117" y="183"/>
                </a:cxn>
                <a:cxn ang="0">
                  <a:pos x="89" y="173"/>
                </a:cxn>
                <a:cxn ang="0">
                  <a:pos x="69" y="140"/>
                </a:cxn>
                <a:cxn ang="0">
                  <a:pos x="50" y="123"/>
                </a:cxn>
                <a:cxn ang="0">
                  <a:pos x="39" y="65"/>
                </a:cxn>
                <a:cxn ang="0">
                  <a:pos x="96" y="0"/>
                </a:cxn>
              </a:cxnLst>
              <a:rect l="0" t="0" r="r" b="b"/>
              <a:pathLst>
                <a:path w="170" h="238">
                  <a:moveTo>
                    <a:pt x="96" y="0"/>
                  </a:moveTo>
                  <a:cubicBezTo>
                    <a:pt x="53" y="47"/>
                    <a:pt x="41" y="49"/>
                    <a:pt x="21" y="52"/>
                  </a:cubicBezTo>
                  <a:cubicBezTo>
                    <a:pt x="5" y="55"/>
                    <a:pt x="0" y="67"/>
                    <a:pt x="0" y="79"/>
                  </a:cubicBezTo>
                  <a:cubicBezTo>
                    <a:pt x="0" y="95"/>
                    <a:pt x="8" y="113"/>
                    <a:pt x="17" y="125"/>
                  </a:cubicBezTo>
                  <a:cubicBezTo>
                    <a:pt x="26" y="137"/>
                    <a:pt x="79" y="189"/>
                    <a:pt x="92" y="195"/>
                  </a:cubicBezTo>
                  <a:cubicBezTo>
                    <a:pt x="103" y="201"/>
                    <a:pt x="114" y="202"/>
                    <a:pt x="132" y="210"/>
                  </a:cubicBezTo>
                  <a:cubicBezTo>
                    <a:pt x="150" y="217"/>
                    <a:pt x="170" y="238"/>
                    <a:pt x="170" y="238"/>
                  </a:cubicBezTo>
                  <a:cubicBezTo>
                    <a:pt x="154" y="209"/>
                    <a:pt x="154" y="209"/>
                    <a:pt x="154" y="209"/>
                  </a:cubicBezTo>
                  <a:cubicBezTo>
                    <a:pt x="154" y="209"/>
                    <a:pt x="128" y="191"/>
                    <a:pt x="117" y="183"/>
                  </a:cubicBezTo>
                  <a:cubicBezTo>
                    <a:pt x="105" y="176"/>
                    <a:pt x="97" y="179"/>
                    <a:pt x="89" y="173"/>
                  </a:cubicBezTo>
                  <a:cubicBezTo>
                    <a:pt x="81" y="166"/>
                    <a:pt x="72" y="149"/>
                    <a:pt x="69" y="140"/>
                  </a:cubicBezTo>
                  <a:cubicBezTo>
                    <a:pt x="63" y="125"/>
                    <a:pt x="56" y="126"/>
                    <a:pt x="50" y="123"/>
                  </a:cubicBezTo>
                  <a:cubicBezTo>
                    <a:pt x="32" y="114"/>
                    <a:pt x="27" y="75"/>
                    <a:pt x="39" y="65"/>
                  </a:cubicBezTo>
                  <a:cubicBezTo>
                    <a:pt x="68" y="42"/>
                    <a:pt x="96" y="0"/>
                    <a:pt x="96" y="0"/>
                  </a:cubicBezTo>
                  <a:close/>
                </a:path>
              </a:pathLst>
            </a:custGeom>
            <a:noFill/>
            <a:ln w="12700" cap="rnd">
              <a:solidFill>
                <a:srgbClr val="F47B2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215"/>
            <p:cNvSpPr>
              <a:spLocks/>
            </p:cNvSpPr>
            <p:nvPr/>
          </p:nvSpPr>
          <p:spPr bwMode="auto">
            <a:xfrm>
              <a:off x="2071640" y="3969275"/>
              <a:ext cx="95578" cy="122459"/>
            </a:xfrm>
            <a:custGeom>
              <a:avLst/>
              <a:gdLst/>
              <a:ahLst/>
              <a:cxnLst>
                <a:cxn ang="0">
                  <a:pos x="28" y="16"/>
                </a:cxn>
                <a:cxn ang="0">
                  <a:pos x="22" y="38"/>
                </a:cxn>
                <a:cxn ang="0">
                  <a:pos x="3" y="25"/>
                </a:cxn>
                <a:cxn ang="0">
                  <a:pos x="9" y="3"/>
                </a:cxn>
                <a:cxn ang="0">
                  <a:pos x="28" y="16"/>
                </a:cxn>
              </a:cxnLst>
              <a:rect l="0" t="0" r="r" b="b"/>
              <a:pathLst>
                <a:path w="32" h="41">
                  <a:moveTo>
                    <a:pt x="28" y="16"/>
                  </a:moveTo>
                  <a:cubicBezTo>
                    <a:pt x="32" y="26"/>
                    <a:pt x="29" y="36"/>
                    <a:pt x="22" y="38"/>
                  </a:cubicBezTo>
                  <a:cubicBezTo>
                    <a:pt x="15" y="41"/>
                    <a:pt x="7" y="35"/>
                    <a:pt x="3" y="25"/>
                  </a:cubicBezTo>
                  <a:cubicBezTo>
                    <a:pt x="0" y="15"/>
                    <a:pt x="3" y="5"/>
                    <a:pt x="9" y="3"/>
                  </a:cubicBezTo>
                  <a:cubicBezTo>
                    <a:pt x="16" y="0"/>
                    <a:pt x="25" y="6"/>
                    <a:pt x="28" y="16"/>
                  </a:cubicBezTo>
                  <a:close/>
                </a:path>
              </a:pathLst>
            </a:custGeom>
            <a:noFill/>
            <a:ln w="12700" cap="rnd">
              <a:solidFill>
                <a:srgbClr val="F47B2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216"/>
            <p:cNvSpPr>
              <a:spLocks/>
            </p:cNvSpPr>
            <p:nvPr/>
          </p:nvSpPr>
          <p:spPr bwMode="auto">
            <a:xfrm>
              <a:off x="1925286" y="4026025"/>
              <a:ext cx="200117" cy="140380"/>
            </a:xfrm>
            <a:custGeom>
              <a:avLst/>
              <a:gdLst/>
              <a:ahLst/>
              <a:cxnLst>
                <a:cxn ang="0">
                  <a:pos x="67" y="47"/>
                </a:cxn>
                <a:cxn ang="0">
                  <a:pos x="0" y="0"/>
                </a:cxn>
              </a:cxnLst>
              <a:rect l="0" t="0" r="r" b="b"/>
              <a:pathLst>
                <a:path w="67" h="47">
                  <a:moveTo>
                    <a:pt x="67" y="47"/>
                  </a:moveTo>
                  <a:cubicBezTo>
                    <a:pt x="67" y="47"/>
                    <a:pt x="24" y="39"/>
                    <a:pt x="0" y="0"/>
                  </a:cubicBezTo>
                </a:path>
              </a:pathLst>
            </a:custGeom>
            <a:noFill/>
            <a:ln w="12700" cap="rnd">
              <a:solidFill>
                <a:srgbClr val="F47B2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66" name="Rectangle 74"/>
          <p:cNvSpPr>
            <a:spLocks noChangeArrowheads="1"/>
          </p:cNvSpPr>
          <p:nvPr/>
        </p:nvSpPr>
        <p:spPr bwMode="auto">
          <a:xfrm rot="8100000">
            <a:off x="2200027" y="2356986"/>
            <a:ext cx="308266" cy="308268"/>
          </a:xfrm>
          <a:prstGeom prst="teardrop">
            <a:avLst/>
          </a:prstGeom>
          <a:solidFill>
            <a:srgbClr val="F47B29"/>
          </a:solidFill>
          <a:ln w="19050">
            <a:solidFill>
              <a:schemeClr val="bg1"/>
            </a:solidFill>
            <a:miter lim="800000"/>
            <a:headEnd/>
            <a:tailEnd/>
          </a:ln>
          <a:effectLst>
            <a:outerShdw blurRad="63500" sx="102000" sy="102000" algn="ctr" rotWithShape="0">
              <a:prstClr val="black">
                <a:alpha val="40000"/>
              </a:prstClr>
            </a:outerShdw>
          </a:effectLst>
        </p:spPr>
        <p:txBody>
          <a:bodyPr vert="horz" wrap="square" lIns="0" tIns="0" rIns="0" bIns="0" numCol="1" anchor="ctr" anchorCtr="0" compatLnSpc="1">
            <a:prstTxWarp prst="textNoShape">
              <a:avLst/>
            </a:prstTxWarp>
          </a:bodyPr>
          <a:lstStyle/>
          <a:p>
            <a:pPr algn="ctr"/>
            <a:endParaRPr lang="en-US" sz="1600" b="1" dirty="0">
              <a:solidFill>
                <a:schemeClr val="bg1"/>
              </a:solidFill>
            </a:endParaRPr>
          </a:p>
        </p:txBody>
      </p:sp>
      <p:sp>
        <p:nvSpPr>
          <p:cNvPr id="276" name="Rectangle 30"/>
          <p:cNvSpPr>
            <a:spLocks noChangeArrowheads="1"/>
          </p:cNvSpPr>
          <p:nvPr/>
        </p:nvSpPr>
        <p:spPr bwMode="auto">
          <a:xfrm>
            <a:off x="5645350" y="2992281"/>
            <a:ext cx="1215633" cy="938369"/>
          </a:xfrm>
          <a:prstGeom prst="round2SameRect">
            <a:avLst/>
          </a:prstGeom>
          <a:solidFill>
            <a:schemeClr val="bg1">
              <a:lumMod val="95000"/>
            </a:schemeClr>
          </a:solidFill>
          <a:ln w="9525">
            <a:noFill/>
            <a:miter lim="800000"/>
            <a:headEnd/>
            <a:tailEnd/>
          </a:ln>
        </p:spPr>
        <p:txBody>
          <a:bodyPr vert="horz" wrap="square" lIns="0" tIns="0" rIns="0" bIns="0" numCol="1" anchor="ctr" anchorCtr="0" compatLnSpc="1">
            <a:prstTxWarp prst="textNoShape">
              <a:avLst/>
            </a:prstTxWarp>
          </a:bodyPr>
          <a:lstStyle/>
          <a:p>
            <a:pPr algn="ctr"/>
            <a:endParaRPr lang="en-US" sz="1600" b="1" dirty="0">
              <a:solidFill>
                <a:schemeClr val="bg1"/>
              </a:solidFill>
            </a:endParaRPr>
          </a:p>
        </p:txBody>
      </p:sp>
      <p:sp>
        <p:nvSpPr>
          <p:cNvPr id="191" name="Rectangle 30"/>
          <p:cNvSpPr>
            <a:spLocks noChangeArrowheads="1"/>
          </p:cNvSpPr>
          <p:nvPr/>
        </p:nvSpPr>
        <p:spPr bwMode="auto">
          <a:xfrm>
            <a:off x="5645350" y="2680663"/>
            <a:ext cx="1215633" cy="384487"/>
          </a:xfrm>
          <a:prstGeom prst="round2SameRect">
            <a:avLst/>
          </a:prstGeom>
          <a:solidFill>
            <a:srgbClr val="6A288A"/>
          </a:solidFill>
          <a:ln w="9525">
            <a:noFill/>
            <a:miter lim="800000"/>
            <a:headEnd/>
            <a:tailEnd/>
          </a:ln>
        </p:spPr>
        <p:txBody>
          <a:bodyPr vert="horz" wrap="square" lIns="0" tIns="0" rIns="0" bIns="0" numCol="1" anchor="ctr" anchorCtr="0" compatLnSpc="1">
            <a:prstTxWarp prst="textNoShape">
              <a:avLst/>
            </a:prstTxWarp>
          </a:bodyPr>
          <a:lstStyle/>
          <a:p>
            <a:pPr algn="ctr"/>
            <a:r>
              <a:rPr lang="en-US" sz="1600" b="1" dirty="0" smtClean="0">
                <a:solidFill>
                  <a:schemeClr val="bg1"/>
                </a:solidFill>
              </a:rPr>
              <a:t>Team Spirit</a:t>
            </a:r>
            <a:endParaRPr lang="en-US" sz="1600" b="1" dirty="0">
              <a:solidFill>
                <a:schemeClr val="bg1"/>
              </a:solidFill>
            </a:endParaRPr>
          </a:p>
        </p:txBody>
      </p:sp>
      <p:grpSp>
        <p:nvGrpSpPr>
          <p:cNvPr id="10" name="Group 226"/>
          <p:cNvGrpSpPr/>
          <p:nvPr/>
        </p:nvGrpSpPr>
        <p:grpSpPr>
          <a:xfrm>
            <a:off x="5905500" y="3146215"/>
            <a:ext cx="695332" cy="690592"/>
            <a:chOff x="5851453" y="3749745"/>
            <a:chExt cx="876631" cy="870656"/>
          </a:xfrm>
        </p:grpSpPr>
        <p:sp>
          <p:nvSpPr>
            <p:cNvPr id="228" name="Freeform 199"/>
            <p:cNvSpPr>
              <a:spLocks/>
            </p:cNvSpPr>
            <p:nvPr/>
          </p:nvSpPr>
          <p:spPr bwMode="auto">
            <a:xfrm>
              <a:off x="6166563" y="4264970"/>
              <a:ext cx="256866" cy="355431"/>
            </a:xfrm>
            <a:custGeom>
              <a:avLst/>
              <a:gdLst/>
              <a:ahLst/>
              <a:cxnLst>
                <a:cxn ang="0">
                  <a:pos x="85" y="119"/>
                </a:cxn>
                <a:cxn ang="0">
                  <a:pos x="53" y="53"/>
                </a:cxn>
                <a:cxn ang="0">
                  <a:pos x="44" y="1"/>
                </a:cxn>
                <a:cxn ang="0">
                  <a:pos x="34" y="53"/>
                </a:cxn>
                <a:cxn ang="0">
                  <a:pos x="1" y="119"/>
                </a:cxn>
              </a:cxnLst>
              <a:rect l="0" t="0" r="r" b="b"/>
              <a:pathLst>
                <a:path w="86" h="119">
                  <a:moveTo>
                    <a:pt x="85" y="119"/>
                  </a:moveTo>
                  <a:cubicBezTo>
                    <a:pt x="86" y="94"/>
                    <a:pt x="81" y="62"/>
                    <a:pt x="53" y="53"/>
                  </a:cubicBezTo>
                  <a:cubicBezTo>
                    <a:pt x="81" y="27"/>
                    <a:pt x="62" y="2"/>
                    <a:pt x="44" y="1"/>
                  </a:cubicBezTo>
                  <a:cubicBezTo>
                    <a:pt x="25" y="0"/>
                    <a:pt x="6" y="24"/>
                    <a:pt x="34" y="53"/>
                  </a:cubicBezTo>
                  <a:cubicBezTo>
                    <a:pt x="6" y="63"/>
                    <a:pt x="0" y="93"/>
                    <a:pt x="1" y="119"/>
                  </a:cubicBezTo>
                </a:path>
              </a:pathLst>
            </a:custGeom>
            <a:noFill/>
            <a:ln w="12700" cap="rnd">
              <a:solidFill>
                <a:srgbClr val="6A288A"/>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200"/>
            <p:cNvSpPr>
              <a:spLocks/>
            </p:cNvSpPr>
            <p:nvPr/>
          </p:nvSpPr>
          <p:spPr bwMode="auto">
            <a:xfrm>
              <a:off x="5851453" y="4264970"/>
              <a:ext cx="255373" cy="355431"/>
            </a:xfrm>
            <a:custGeom>
              <a:avLst/>
              <a:gdLst/>
              <a:ahLst/>
              <a:cxnLst>
                <a:cxn ang="0">
                  <a:pos x="84" y="119"/>
                </a:cxn>
                <a:cxn ang="0">
                  <a:pos x="52" y="53"/>
                </a:cxn>
                <a:cxn ang="0">
                  <a:pos x="43" y="1"/>
                </a:cxn>
                <a:cxn ang="0">
                  <a:pos x="33" y="53"/>
                </a:cxn>
                <a:cxn ang="0">
                  <a:pos x="0" y="119"/>
                </a:cxn>
              </a:cxnLst>
              <a:rect l="0" t="0" r="r" b="b"/>
              <a:pathLst>
                <a:path w="85" h="119">
                  <a:moveTo>
                    <a:pt x="84" y="119"/>
                  </a:moveTo>
                  <a:cubicBezTo>
                    <a:pt x="85" y="94"/>
                    <a:pt x="80" y="62"/>
                    <a:pt x="52" y="53"/>
                  </a:cubicBezTo>
                  <a:cubicBezTo>
                    <a:pt x="80" y="27"/>
                    <a:pt x="62" y="2"/>
                    <a:pt x="43" y="1"/>
                  </a:cubicBezTo>
                  <a:cubicBezTo>
                    <a:pt x="24" y="0"/>
                    <a:pt x="5" y="24"/>
                    <a:pt x="33" y="53"/>
                  </a:cubicBezTo>
                  <a:cubicBezTo>
                    <a:pt x="6" y="63"/>
                    <a:pt x="0" y="93"/>
                    <a:pt x="0" y="119"/>
                  </a:cubicBezTo>
                </a:path>
              </a:pathLst>
            </a:custGeom>
            <a:noFill/>
            <a:ln w="12700" cap="rnd">
              <a:solidFill>
                <a:srgbClr val="6A288A"/>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201"/>
            <p:cNvSpPr>
              <a:spLocks/>
            </p:cNvSpPr>
            <p:nvPr/>
          </p:nvSpPr>
          <p:spPr bwMode="auto">
            <a:xfrm>
              <a:off x="5923137" y="3749745"/>
              <a:ext cx="664567" cy="479384"/>
            </a:xfrm>
            <a:custGeom>
              <a:avLst/>
              <a:gdLst/>
              <a:ahLst/>
              <a:cxnLst>
                <a:cxn ang="0">
                  <a:pos x="222" y="51"/>
                </a:cxn>
                <a:cxn ang="0">
                  <a:pos x="152" y="0"/>
                </a:cxn>
                <a:cxn ang="0">
                  <a:pos x="82" y="51"/>
                </a:cxn>
                <a:cxn ang="0">
                  <a:pos x="85" y="64"/>
                </a:cxn>
                <a:cxn ang="0">
                  <a:pos x="51" y="54"/>
                </a:cxn>
                <a:cxn ang="0">
                  <a:pos x="0" y="95"/>
                </a:cxn>
                <a:cxn ang="0">
                  <a:pos x="23" y="129"/>
                </a:cxn>
                <a:cxn ang="0">
                  <a:pos x="20" y="153"/>
                </a:cxn>
                <a:cxn ang="0">
                  <a:pos x="42" y="134"/>
                </a:cxn>
                <a:cxn ang="0">
                  <a:pos x="51" y="135"/>
                </a:cxn>
                <a:cxn ang="0">
                  <a:pos x="86" y="125"/>
                </a:cxn>
                <a:cxn ang="0">
                  <a:pos x="123" y="146"/>
                </a:cxn>
                <a:cxn ang="0">
                  <a:pos x="132" y="145"/>
                </a:cxn>
                <a:cxn ang="0">
                  <a:pos x="146" y="160"/>
                </a:cxn>
                <a:cxn ang="0">
                  <a:pos x="144" y="141"/>
                </a:cxn>
                <a:cxn ang="0">
                  <a:pos x="161" y="115"/>
                </a:cxn>
                <a:cxn ang="0">
                  <a:pos x="158" y="102"/>
                </a:cxn>
                <a:cxn ang="0">
                  <a:pos x="166" y="101"/>
                </a:cxn>
                <a:cxn ang="0">
                  <a:pos x="199" y="145"/>
                </a:cxn>
                <a:cxn ang="0">
                  <a:pos x="191" y="94"/>
                </a:cxn>
                <a:cxn ang="0">
                  <a:pos x="222" y="51"/>
                </a:cxn>
              </a:cxnLst>
              <a:rect l="0" t="0" r="r" b="b"/>
              <a:pathLst>
                <a:path w="222" h="160">
                  <a:moveTo>
                    <a:pt x="222" y="51"/>
                  </a:moveTo>
                  <a:cubicBezTo>
                    <a:pt x="222" y="23"/>
                    <a:pt x="191" y="0"/>
                    <a:pt x="152" y="0"/>
                  </a:cubicBezTo>
                  <a:cubicBezTo>
                    <a:pt x="114" y="0"/>
                    <a:pt x="82" y="23"/>
                    <a:pt x="82" y="51"/>
                  </a:cubicBezTo>
                  <a:cubicBezTo>
                    <a:pt x="82" y="56"/>
                    <a:pt x="83" y="60"/>
                    <a:pt x="85" y="64"/>
                  </a:cubicBezTo>
                  <a:cubicBezTo>
                    <a:pt x="76" y="58"/>
                    <a:pt x="64" y="54"/>
                    <a:pt x="51" y="54"/>
                  </a:cubicBezTo>
                  <a:cubicBezTo>
                    <a:pt x="23" y="54"/>
                    <a:pt x="0" y="73"/>
                    <a:pt x="0" y="95"/>
                  </a:cubicBezTo>
                  <a:cubicBezTo>
                    <a:pt x="0" y="109"/>
                    <a:pt x="9" y="121"/>
                    <a:pt x="23" y="129"/>
                  </a:cubicBezTo>
                  <a:cubicBezTo>
                    <a:pt x="20" y="153"/>
                    <a:pt x="20" y="153"/>
                    <a:pt x="20" y="153"/>
                  </a:cubicBezTo>
                  <a:cubicBezTo>
                    <a:pt x="42" y="134"/>
                    <a:pt x="42" y="134"/>
                    <a:pt x="42" y="134"/>
                  </a:cubicBezTo>
                  <a:cubicBezTo>
                    <a:pt x="45" y="135"/>
                    <a:pt x="48" y="135"/>
                    <a:pt x="51" y="135"/>
                  </a:cubicBezTo>
                  <a:cubicBezTo>
                    <a:pt x="65" y="135"/>
                    <a:pt x="77" y="131"/>
                    <a:pt x="86" y="125"/>
                  </a:cubicBezTo>
                  <a:cubicBezTo>
                    <a:pt x="91" y="137"/>
                    <a:pt x="106" y="146"/>
                    <a:pt x="123" y="146"/>
                  </a:cubicBezTo>
                  <a:cubicBezTo>
                    <a:pt x="126" y="146"/>
                    <a:pt x="129" y="146"/>
                    <a:pt x="132" y="145"/>
                  </a:cubicBezTo>
                  <a:cubicBezTo>
                    <a:pt x="146" y="160"/>
                    <a:pt x="146" y="160"/>
                    <a:pt x="146" y="160"/>
                  </a:cubicBezTo>
                  <a:cubicBezTo>
                    <a:pt x="144" y="141"/>
                    <a:pt x="144" y="141"/>
                    <a:pt x="144" y="141"/>
                  </a:cubicBezTo>
                  <a:cubicBezTo>
                    <a:pt x="154" y="135"/>
                    <a:pt x="161" y="126"/>
                    <a:pt x="161" y="115"/>
                  </a:cubicBezTo>
                  <a:cubicBezTo>
                    <a:pt x="161" y="110"/>
                    <a:pt x="160" y="106"/>
                    <a:pt x="158" y="102"/>
                  </a:cubicBezTo>
                  <a:cubicBezTo>
                    <a:pt x="161" y="102"/>
                    <a:pt x="164" y="101"/>
                    <a:pt x="166" y="101"/>
                  </a:cubicBezTo>
                  <a:cubicBezTo>
                    <a:pt x="199" y="145"/>
                    <a:pt x="199" y="145"/>
                    <a:pt x="199" y="145"/>
                  </a:cubicBezTo>
                  <a:cubicBezTo>
                    <a:pt x="191" y="94"/>
                    <a:pt x="191" y="94"/>
                    <a:pt x="191" y="94"/>
                  </a:cubicBezTo>
                  <a:cubicBezTo>
                    <a:pt x="210" y="85"/>
                    <a:pt x="222" y="69"/>
                    <a:pt x="222" y="51"/>
                  </a:cubicBezTo>
                  <a:close/>
                </a:path>
              </a:pathLst>
            </a:custGeom>
            <a:noFill/>
            <a:ln w="12700" cap="rnd">
              <a:solidFill>
                <a:srgbClr val="6A288A"/>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202"/>
            <p:cNvSpPr>
              <a:spLocks/>
            </p:cNvSpPr>
            <p:nvPr/>
          </p:nvSpPr>
          <p:spPr bwMode="auto">
            <a:xfrm>
              <a:off x="6471218" y="4264970"/>
              <a:ext cx="256866" cy="355431"/>
            </a:xfrm>
            <a:custGeom>
              <a:avLst/>
              <a:gdLst/>
              <a:ahLst/>
              <a:cxnLst>
                <a:cxn ang="0">
                  <a:pos x="85" y="119"/>
                </a:cxn>
                <a:cxn ang="0">
                  <a:pos x="53" y="53"/>
                </a:cxn>
                <a:cxn ang="0">
                  <a:pos x="44" y="1"/>
                </a:cxn>
                <a:cxn ang="0">
                  <a:pos x="34" y="53"/>
                </a:cxn>
                <a:cxn ang="0">
                  <a:pos x="1" y="119"/>
                </a:cxn>
              </a:cxnLst>
              <a:rect l="0" t="0" r="r" b="b"/>
              <a:pathLst>
                <a:path w="86" h="119">
                  <a:moveTo>
                    <a:pt x="85" y="119"/>
                  </a:moveTo>
                  <a:cubicBezTo>
                    <a:pt x="86" y="94"/>
                    <a:pt x="81" y="62"/>
                    <a:pt x="53" y="53"/>
                  </a:cubicBezTo>
                  <a:cubicBezTo>
                    <a:pt x="81" y="27"/>
                    <a:pt x="63" y="2"/>
                    <a:pt x="44" y="1"/>
                  </a:cubicBezTo>
                  <a:cubicBezTo>
                    <a:pt x="25" y="0"/>
                    <a:pt x="6" y="24"/>
                    <a:pt x="34" y="53"/>
                  </a:cubicBezTo>
                  <a:cubicBezTo>
                    <a:pt x="7" y="63"/>
                    <a:pt x="0" y="93"/>
                    <a:pt x="1" y="119"/>
                  </a:cubicBezTo>
                </a:path>
              </a:pathLst>
            </a:custGeom>
            <a:noFill/>
            <a:ln w="12700" cap="rnd">
              <a:solidFill>
                <a:srgbClr val="6A288A"/>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67" name="Rectangle 30"/>
          <p:cNvSpPr>
            <a:spLocks noChangeArrowheads="1"/>
          </p:cNvSpPr>
          <p:nvPr/>
        </p:nvSpPr>
        <p:spPr bwMode="auto">
          <a:xfrm rot="8100000">
            <a:off x="6099033" y="2356986"/>
            <a:ext cx="308266" cy="308268"/>
          </a:xfrm>
          <a:prstGeom prst="teardrop">
            <a:avLst/>
          </a:prstGeom>
          <a:solidFill>
            <a:srgbClr val="6A288A"/>
          </a:solidFill>
          <a:ln w="19050">
            <a:solidFill>
              <a:schemeClr val="bg1"/>
            </a:solidFill>
            <a:miter lim="800000"/>
            <a:headEnd/>
            <a:tailEnd/>
          </a:ln>
          <a:effectLst>
            <a:outerShdw blurRad="63500" sx="102000" sy="102000" algn="ctr" rotWithShape="0">
              <a:prstClr val="black">
                <a:alpha val="40000"/>
              </a:prstClr>
            </a:outerShdw>
          </a:effectLst>
        </p:spPr>
        <p:txBody>
          <a:bodyPr vert="horz" wrap="square" lIns="0" tIns="0" rIns="0" bIns="0" numCol="1" anchor="ctr" anchorCtr="0" compatLnSpc="1">
            <a:prstTxWarp prst="textNoShape">
              <a:avLst/>
            </a:prstTxWarp>
          </a:bodyPr>
          <a:lstStyle/>
          <a:p>
            <a:pPr algn="ctr"/>
            <a:endParaRPr lang="en-US" sz="1600" b="1" dirty="0">
              <a:solidFill>
                <a:schemeClr val="bg1"/>
              </a:solidFill>
            </a:endParaRPr>
          </a:p>
        </p:txBody>
      </p:sp>
      <p:sp>
        <p:nvSpPr>
          <p:cNvPr id="201" name="Rectangle 200"/>
          <p:cNvSpPr/>
          <p:nvPr/>
        </p:nvSpPr>
        <p:spPr>
          <a:xfrm rot="16200000">
            <a:off x="3045320" y="4748005"/>
            <a:ext cx="1843453" cy="1154162"/>
          </a:xfrm>
          <a:prstGeom prst="rect">
            <a:avLst/>
          </a:prstGeom>
        </p:spPr>
        <p:txBody>
          <a:bodyPr wrap="none" lIns="0" tIns="0" rIns="0" bIns="0">
            <a:spAutoFit/>
          </a:bodyPr>
          <a:lstStyle/>
          <a:p>
            <a:pPr lvl="0" algn="ctr">
              <a:spcAft>
                <a:spcPts val="600"/>
              </a:spcAft>
            </a:pPr>
            <a:r>
              <a:rPr lang="en-US" sz="7500" b="1" dirty="0" smtClean="0">
                <a:solidFill>
                  <a:schemeClr val="accent5"/>
                </a:solidFill>
                <a:latin typeface="Arial Narrow" pitchFamily="34" charset="0"/>
              </a:rPr>
              <a:t>They</a:t>
            </a:r>
            <a:endParaRPr lang="en-US" sz="7500" b="1" dirty="0">
              <a:solidFill>
                <a:schemeClr val="accent5"/>
              </a:solidFill>
              <a:latin typeface="Arial Narrow" pitchFamily="34" charset="0"/>
            </a:endParaRPr>
          </a:p>
        </p:txBody>
      </p:sp>
      <p:sp>
        <p:nvSpPr>
          <p:cNvPr id="202" name="Rectangle 201"/>
          <p:cNvSpPr/>
          <p:nvPr/>
        </p:nvSpPr>
        <p:spPr>
          <a:xfrm>
            <a:off x="4814770" y="4385987"/>
            <a:ext cx="2532745" cy="430887"/>
          </a:xfrm>
          <a:prstGeom prst="rect">
            <a:avLst/>
          </a:prstGeom>
        </p:spPr>
        <p:txBody>
          <a:bodyPr wrap="none" lIns="0" tIns="0" rIns="0" bIns="0">
            <a:spAutoFit/>
          </a:bodyPr>
          <a:lstStyle/>
          <a:p>
            <a:pPr lvl="0">
              <a:spcAft>
                <a:spcPts val="600"/>
              </a:spcAft>
            </a:pPr>
            <a:r>
              <a:rPr lang="en-US" sz="2800" b="1" dirty="0" smtClean="0">
                <a:solidFill>
                  <a:schemeClr val="tx2">
                    <a:lumMod val="50000"/>
                  </a:schemeClr>
                </a:solidFill>
                <a:latin typeface="Arial Narrow" pitchFamily="34" charset="0"/>
              </a:rPr>
              <a:t>define</a:t>
            </a:r>
            <a:r>
              <a:rPr lang="en-US" sz="2800" b="1" dirty="0" smtClean="0">
                <a:solidFill>
                  <a:srgbClr val="000000"/>
                </a:solidFill>
                <a:latin typeface="Arial Narrow" pitchFamily="34" charset="0"/>
              </a:rPr>
              <a:t> </a:t>
            </a:r>
            <a:r>
              <a:rPr lang="en-US" sz="2800" b="1" dirty="0" smtClean="0">
                <a:solidFill>
                  <a:schemeClr val="accent1">
                    <a:lumMod val="75000"/>
                  </a:schemeClr>
                </a:solidFill>
                <a:latin typeface="Arial Narrow" pitchFamily="34" charset="0"/>
              </a:rPr>
              <a:t>who </a:t>
            </a:r>
            <a:r>
              <a:rPr lang="en-US" sz="2800" b="1" dirty="0">
                <a:solidFill>
                  <a:schemeClr val="accent1">
                    <a:lumMod val="75000"/>
                  </a:schemeClr>
                </a:solidFill>
                <a:latin typeface="Arial Narrow" pitchFamily="34" charset="0"/>
              </a:rPr>
              <a:t>we are</a:t>
            </a:r>
          </a:p>
        </p:txBody>
      </p:sp>
      <p:sp>
        <p:nvSpPr>
          <p:cNvPr id="203" name="Rectangle 202"/>
          <p:cNvSpPr/>
          <p:nvPr/>
        </p:nvSpPr>
        <p:spPr>
          <a:xfrm>
            <a:off x="4814770" y="4869512"/>
            <a:ext cx="4390626" cy="430887"/>
          </a:xfrm>
          <a:prstGeom prst="rect">
            <a:avLst/>
          </a:prstGeom>
        </p:spPr>
        <p:txBody>
          <a:bodyPr wrap="none" lIns="0" tIns="0" rIns="0" bIns="0">
            <a:spAutoFit/>
          </a:bodyPr>
          <a:lstStyle/>
          <a:p>
            <a:pPr lvl="0">
              <a:spcAft>
                <a:spcPts val="600"/>
              </a:spcAft>
            </a:pPr>
            <a:r>
              <a:rPr lang="en-US" sz="2800" b="1" dirty="0">
                <a:solidFill>
                  <a:schemeClr val="tx2">
                    <a:lumMod val="50000"/>
                  </a:schemeClr>
                </a:solidFill>
                <a:latin typeface="Arial Narrow" pitchFamily="34" charset="0"/>
              </a:rPr>
              <a:t>are </a:t>
            </a:r>
            <a:r>
              <a:rPr lang="en-US" sz="2800" b="1" dirty="0" smtClean="0">
                <a:solidFill>
                  <a:schemeClr val="tx2">
                    <a:lumMod val="50000"/>
                  </a:schemeClr>
                </a:solidFill>
                <a:latin typeface="Arial Narrow" pitchFamily="34" charset="0"/>
              </a:rPr>
              <a:t>the </a:t>
            </a:r>
            <a:r>
              <a:rPr lang="en-US" sz="2800" b="1" dirty="0" smtClean="0">
                <a:solidFill>
                  <a:schemeClr val="accent3"/>
                </a:solidFill>
                <a:latin typeface="Arial Narrow" pitchFamily="34" charset="0"/>
              </a:rPr>
              <a:t>foundation of </a:t>
            </a:r>
            <a:r>
              <a:rPr lang="en-US" sz="2800" b="1" dirty="0">
                <a:solidFill>
                  <a:schemeClr val="accent3"/>
                </a:solidFill>
                <a:latin typeface="Arial Narrow" pitchFamily="34" charset="0"/>
              </a:rPr>
              <a:t>our future</a:t>
            </a:r>
          </a:p>
        </p:txBody>
      </p:sp>
      <p:sp>
        <p:nvSpPr>
          <p:cNvPr id="204" name="Rectangle 203"/>
          <p:cNvSpPr/>
          <p:nvPr/>
        </p:nvSpPr>
        <p:spPr>
          <a:xfrm>
            <a:off x="4814770" y="5353037"/>
            <a:ext cx="3105017" cy="430887"/>
          </a:xfrm>
          <a:prstGeom prst="rect">
            <a:avLst/>
          </a:prstGeom>
        </p:spPr>
        <p:txBody>
          <a:bodyPr wrap="none" lIns="0" tIns="0" rIns="0" bIns="0">
            <a:spAutoFit/>
          </a:bodyPr>
          <a:lstStyle/>
          <a:p>
            <a:pPr lvl="0">
              <a:spcAft>
                <a:spcPts val="600"/>
              </a:spcAft>
            </a:pPr>
            <a:r>
              <a:rPr lang="en-US" sz="2800" b="1" dirty="0">
                <a:solidFill>
                  <a:schemeClr val="tx2">
                    <a:lumMod val="50000"/>
                  </a:schemeClr>
                </a:solidFill>
                <a:latin typeface="Arial Narrow" pitchFamily="34" charset="0"/>
              </a:rPr>
              <a:t>define</a:t>
            </a:r>
            <a:r>
              <a:rPr lang="en-US" sz="2800" b="1" dirty="0">
                <a:solidFill>
                  <a:srgbClr val="000000"/>
                </a:solidFill>
                <a:latin typeface="Arial Narrow" pitchFamily="34" charset="0"/>
              </a:rPr>
              <a:t> </a:t>
            </a:r>
            <a:r>
              <a:rPr lang="en-US" sz="2800" b="1" dirty="0" smtClean="0">
                <a:solidFill>
                  <a:schemeClr val="accent4"/>
                </a:solidFill>
                <a:latin typeface="Arial Narrow" pitchFamily="34" charset="0"/>
              </a:rPr>
              <a:t>how </a:t>
            </a:r>
            <a:r>
              <a:rPr lang="en-US" sz="2800" b="1" dirty="0">
                <a:solidFill>
                  <a:schemeClr val="accent4"/>
                </a:solidFill>
                <a:latin typeface="Arial Narrow" pitchFamily="34" charset="0"/>
              </a:rPr>
              <a:t>we behave</a:t>
            </a:r>
          </a:p>
        </p:txBody>
      </p:sp>
      <p:sp>
        <p:nvSpPr>
          <p:cNvPr id="205" name="Rectangle 204"/>
          <p:cNvSpPr/>
          <p:nvPr/>
        </p:nvSpPr>
        <p:spPr>
          <a:xfrm>
            <a:off x="4814770" y="5836563"/>
            <a:ext cx="4195059" cy="430887"/>
          </a:xfrm>
          <a:prstGeom prst="rect">
            <a:avLst/>
          </a:prstGeom>
        </p:spPr>
        <p:txBody>
          <a:bodyPr wrap="none" lIns="0" tIns="0" rIns="0" bIns="0">
            <a:spAutoFit/>
          </a:bodyPr>
          <a:lstStyle/>
          <a:p>
            <a:pPr lvl="0">
              <a:spcAft>
                <a:spcPts val="600"/>
              </a:spcAft>
            </a:pPr>
            <a:r>
              <a:rPr lang="en-US" sz="2800" b="1" dirty="0">
                <a:solidFill>
                  <a:schemeClr val="tx2">
                    <a:lumMod val="50000"/>
                  </a:schemeClr>
                </a:solidFill>
                <a:latin typeface="Arial Narrow" pitchFamily="34" charset="0"/>
              </a:rPr>
              <a:t>are </a:t>
            </a:r>
            <a:r>
              <a:rPr lang="en-US" sz="2800" b="1" dirty="0" smtClean="0">
                <a:solidFill>
                  <a:schemeClr val="tx2">
                    <a:lumMod val="50000"/>
                  </a:schemeClr>
                </a:solidFill>
                <a:latin typeface="Arial Narrow" pitchFamily="34" charset="0"/>
              </a:rPr>
              <a:t>the </a:t>
            </a:r>
            <a:r>
              <a:rPr lang="en-US" sz="2800" b="1" dirty="0" smtClean="0">
                <a:solidFill>
                  <a:schemeClr val="accent2"/>
                </a:solidFill>
                <a:latin typeface="Arial Narrow" pitchFamily="34" charset="0"/>
              </a:rPr>
              <a:t>product of </a:t>
            </a:r>
            <a:r>
              <a:rPr lang="en-US" sz="2800" b="1" dirty="0">
                <a:solidFill>
                  <a:schemeClr val="accent2"/>
                </a:solidFill>
                <a:latin typeface="Arial Narrow" pitchFamily="34" charset="0"/>
              </a:rPr>
              <a:t>our history </a:t>
            </a:r>
          </a:p>
        </p:txBody>
      </p:sp>
      <p:sp>
        <p:nvSpPr>
          <p:cNvPr id="208" name="Rectangle 207"/>
          <p:cNvSpPr/>
          <p:nvPr/>
        </p:nvSpPr>
        <p:spPr>
          <a:xfrm>
            <a:off x="700605" y="4669255"/>
            <a:ext cx="2419350" cy="1231106"/>
          </a:xfrm>
          <a:prstGeom prst="rect">
            <a:avLst/>
          </a:prstGeom>
        </p:spPr>
        <p:txBody>
          <a:bodyPr wrap="square" lIns="0" tIns="0" rIns="0" bIns="0">
            <a:spAutoFit/>
          </a:bodyPr>
          <a:lstStyle/>
          <a:p>
            <a:pPr lvl="0">
              <a:spcAft>
                <a:spcPts val="600"/>
              </a:spcAft>
            </a:pPr>
            <a:r>
              <a:rPr lang="en-US" sz="2000" b="1" dirty="0">
                <a:latin typeface="+mj-lt"/>
              </a:rPr>
              <a:t>Capgemini’s seven values have been established through experience</a:t>
            </a:r>
          </a:p>
        </p:txBody>
      </p:sp>
      <p:cxnSp>
        <p:nvCxnSpPr>
          <p:cNvPr id="19" name="Straight Connector 18"/>
          <p:cNvCxnSpPr/>
          <p:nvPr/>
        </p:nvCxnSpPr>
        <p:spPr bwMode="auto">
          <a:xfrm>
            <a:off x="3235724" y="4302168"/>
            <a:ext cx="0" cy="1965282"/>
          </a:xfrm>
          <a:prstGeom prst="line">
            <a:avLst/>
          </a:prstGeom>
          <a:solidFill>
            <a:schemeClr val="tx2"/>
          </a:solidFill>
          <a:ln w="6350" cap="flat" cmpd="sng" algn="ctr">
            <a:solidFill>
              <a:schemeClr val="tx1"/>
            </a:solidFill>
            <a:prstDash val="sysDash"/>
            <a:round/>
            <a:headEnd type="oval" w="med" len="med"/>
            <a:tailEnd type="oval" w="med" len="med"/>
          </a:ln>
          <a:effectLst/>
        </p:spPr>
      </p:cxnSp>
      <p:sp>
        <p:nvSpPr>
          <p:cNvPr id="277" name="Rectangle 276"/>
          <p:cNvSpPr/>
          <p:nvPr/>
        </p:nvSpPr>
        <p:spPr>
          <a:xfrm>
            <a:off x="991366" y="2372621"/>
            <a:ext cx="128240" cy="276999"/>
          </a:xfrm>
          <a:prstGeom prst="rect">
            <a:avLst/>
          </a:prstGeom>
        </p:spPr>
        <p:txBody>
          <a:bodyPr wrap="none" lIns="0" tIns="0" rIns="0" bIns="0">
            <a:spAutoFit/>
          </a:bodyPr>
          <a:lstStyle/>
          <a:p>
            <a:pPr lvl="0" algn="ctr">
              <a:spcAft>
                <a:spcPts val="600"/>
              </a:spcAft>
            </a:pPr>
            <a:r>
              <a:rPr lang="en-US" sz="1800" b="1" dirty="0" smtClean="0">
                <a:solidFill>
                  <a:schemeClr val="bg1"/>
                </a:solidFill>
                <a:latin typeface="+mj-lt"/>
              </a:rPr>
              <a:t>1</a:t>
            </a:r>
            <a:endParaRPr lang="en-US" sz="1800" b="1" dirty="0">
              <a:solidFill>
                <a:schemeClr val="bg1"/>
              </a:solidFill>
              <a:latin typeface="+mj-lt"/>
            </a:endParaRPr>
          </a:p>
        </p:txBody>
      </p:sp>
      <p:sp>
        <p:nvSpPr>
          <p:cNvPr id="278" name="Rectangle 277"/>
          <p:cNvSpPr/>
          <p:nvPr/>
        </p:nvSpPr>
        <p:spPr>
          <a:xfrm>
            <a:off x="2290786" y="2372621"/>
            <a:ext cx="128240" cy="276999"/>
          </a:xfrm>
          <a:prstGeom prst="rect">
            <a:avLst/>
          </a:prstGeom>
        </p:spPr>
        <p:txBody>
          <a:bodyPr wrap="none" lIns="0" tIns="0" rIns="0" bIns="0">
            <a:spAutoFit/>
          </a:bodyPr>
          <a:lstStyle/>
          <a:p>
            <a:pPr lvl="0" algn="ctr">
              <a:spcAft>
                <a:spcPts val="600"/>
              </a:spcAft>
            </a:pPr>
            <a:r>
              <a:rPr lang="en-US" sz="1800" b="1" dirty="0" smtClean="0">
                <a:solidFill>
                  <a:schemeClr val="bg1"/>
                </a:solidFill>
                <a:latin typeface="+mj-lt"/>
              </a:rPr>
              <a:t>2</a:t>
            </a:r>
            <a:endParaRPr lang="en-US" sz="1800" b="1" dirty="0">
              <a:solidFill>
                <a:schemeClr val="bg1"/>
              </a:solidFill>
              <a:latin typeface="+mj-lt"/>
            </a:endParaRPr>
          </a:p>
        </p:txBody>
      </p:sp>
      <p:sp>
        <p:nvSpPr>
          <p:cNvPr id="279" name="Rectangle 278"/>
          <p:cNvSpPr/>
          <p:nvPr/>
        </p:nvSpPr>
        <p:spPr>
          <a:xfrm>
            <a:off x="3590206" y="2372621"/>
            <a:ext cx="128240" cy="276999"/>
          </a:xfrm>
          <a:prstGeom prst="rect">
            <a:avLst/>
          </a:prstGeom>
        </p:spPr>
        <p:txBody>
          <a:bodyPr wrap="none" lIns="0" tIns="0" rIns="0" bIns="0">
            <a:spAutoFit/>
          </a:bodyPr>
          <a:lstStyle/>
          <a:p>
            <a:pPr lvl="0" algn="ctr">
              <a:spcAft>
                <a:spcPts val="600"/>
              </a:spcAft>
            </a:pPr>
            <a:r>
              <a:rPr lang="en-US" sz="1800" b="1" dirty="0" smtClean="0">
                <a:solidFill>
                  <a:schemeClr val="bg1"/>
                </a:solidFill>
                <a:latin typeface="+mj-lt"/>
              </a:rPr>
              <a:t>3</a:t>
            </a:r>
            <a:endParaRPr lang="en-US" sz="1800" b="1" dirty="0">
              <a:solidFill>
                <a:schemeClr val="bg1"/>
              </a:solidFill>
              <a:latin typeface="+mj-lt"/>
            </a:endParaRPr>
          </a:p>
        </p:txBody>
      </p:sp>
      <p:sp>
        <p:nvSpPr>
          <p:cNvPr id="280" name="Rectangle 279"/>
          <p:cNvSpPr/>
          <p:nvPr/>
        </p:nvSpPr>
        <p:spPr>
          <a:xfrm>
            <a:off x="4889626" y="2372621"/>
            <a:ext cx="128240" cy="276999"/>
          </a:xfrm>
          <a:prstGeom prst="rect">
            <a:avLst/>
          </a:prstGeom>
        </p:spPr>
        <p:txBody>
          <a:bodyPr wrap="none" lIns="0" tIns="0" rIns="0" bIns="0">
            <a:spAutoFit/>
          </a:bodyPr>
          <a:lstStyle/>
          <a:p>
            <a:pPr lvl="0" algn="ctr">
              <a:spcAft>
                <a:spcPts val="600"/>
              </a:spcAft>
            </a:pPr>
            <a:r>
              <a:rPr lang="en-US" sz="1800" b="1" dirty="0" smtClean="0">
                <a:solidFill>
                  <a:schemeClr val="bg1"/>
                </a:solidFill>
                <a:latin typeface="+mj-lt"/>
              </a:rPr>
              <a:t>4</a:t>
            </a:r>
            <a:endParaRPr lang="en-US" sz="1800" b="1" dirty="0">
              <a:solidFill>
                <a:schemeClr val="bg1"/>
              </a:solidFill>
              <a:latin typeface="+mj-lt"/>
            </a:endParaRPr>
          </a:p>
        </p:txBody>
      </p:sp>
      <p:sp>
        <p:nvSpPr>
          <p:cNvPr id="281" name="Rectangle 280"/>
          <p:cNvSpPr/>
          <p:nvPr/>
        </p:nvSpPr>
        <p:spPr>
          <a:xfrm>
            <a:off x="6189046" y="2372621"/>
            <a:ext cx="128240" cy="276999"/>
          </a:xfrm>
          <a:prstGeom prst="rect">
            <a:avLst/>
          </a:prstGeom>
        </p:spPr>
        <p:txBody>
          <a:bodyPr wrap="none" lIns="0" tIns="0" rIns="0" bIns="0">
            <a:spAutoFit/>
          </a:bodyPr>
          <a:lstStyle/>
          <a:p>
            <a:pPr lvl="0" algn="ctr">
              <a:spcAft>
                <a:spcPts val="600"/>
              </a:spcAft>
            </a:pPr>
            <a:r>
              <a:rPr lang="en-US" sz="1800" b="1" dirty="0" smtClean="0">
                <a:solidFill>
                  <a:schemeClr val="bg1"/>
                </a:solidFill>
                <a:latin typeface="+mj-lt"/>
              </a:rPr>
              <a:t>5</a:t>
            </a:r>
            <a:endParaRPr lang="en-US" sz="1800" b="1" dirty="0">
              <a:solidFill>
                <a:schemeClr val="bg1"/>
              </a:solidFill>
              <a:latin typeface="+mj-lt"/>
            </a:endParaRPr>
          </a:p>
        </p:txBody>
      </p:sp>
      <p:sp>
        <p:nvSpPr>
          <p:cNvPr id="282" name="Rectangle 281"/>
          <p:cNvSpPr/>
          <p:nvPr/>
        </p:nvSpPr>
        <p:spPr>
          <a:xfrm>
            <a:off x="7488466" y="2372621"/>
            <a:ext cx="128240" cy="276999"/>
          </a:xfrm>
          <a:prstGeom prst="rect">
            <a:avLst/>
          </a:prstGeom>
        </p:spPr>
        <p:txBody>
          <a:bodyPr wrap="none" lIns="0" tIns="0" rIns="0" bIns="0">
            <a:spAutoFit/>
          </a:bodyPr>
          <a:lstStyle/>
          <a:p>
            <a:pPr lvl="0" algn="ctr">
              <a:spcAft>
                <a:spcPts val="600"/>
              </a:spcAft>
            </a:pPr>
            <a:r>
              <a:rPr lang="en-US" sz="1800" b="1" dirty="0" smtClean="0">
                <a:solidFill>
                  <a:schemeClr val="bg1"/>
                </a:solidFill>
                <a:latin typeface="+mj-lt"/>
              </a:rPr>
              <a:t>6</a:t>
            </a:r>
            <a:endParaRPr lang="en-US" sz="1800" b="1" dirty="0">
              <a:solidFill>
                <a:schemeClr val="bg1"/>
              </a:solidFill>
              <a:latin typeface="+mj-lt"/>
            </a:endParaRPr>
          </a:p>
        </p:txBody>
      </p:sp>
      <p:sp>
        <p:nvSpPr>
          <p:cNvPr id="283" name="Rectangle 282"/>
          <p:cNvSpPr/>
          <p:nvPr/>
        </p:nvSpPr>
        <p:spPr>
          <a:xfrm>
            <a:off x="8787887" y="2372621"/>
            <a:ext cx="128240" cy="276999"/>
          </a:xfrm>
          <a:prstGeom prst="rect">
            <a:avLst/>
          </a:prstGeom>
        </p:spPr>
        <p:txBody>
          <a:bodyPr wrap="none" lIns="0" tIns="0" rIns="0" bIns="0">
            <a:spAutoFit/>
          </a:bodyPr>
          <a:lstStyle/>
          <a:p>
            <a:pPr lvl="0" algn="ctr">
              <a:spcAft>
                <a:spcPts val="600"/>
              </a:spcAft>
            </a:pPr>
            <a:r>
              <a:rPr lang="en-US" sz="1800" b="1" dirty="0" smtClean="0">
                <a:solidFill>
                  <a:schemeClr val="bg1"/>
                </a:solidFill>
                <a:latin typeface="+mj-lt"/>
              </a:rPr>
              <a:t>7</a:t>
            </a:r>
            <a:endParaRPr lang="en-US" sz="1800" b="1" dirty="0">
              <a:solidFill>
                <a:schemeClr val="bg1"/>
              </a:solidFill>
              <a:latin typeface="+mj-lt"/>
            </a:endParaRPr>
          </a:p>
        </p:txBody>
      </p:sp>
      <p:sp>
        <p:nvSpPr>
          <p:cNvPr id="22" name="Title 21"/>
          <p:cNvSpPr>
            <a:spLocks noGrp="1"/>
          </p:cNvSpPr>
          <p:nvPr>
            <p:ph type="title"/>
          </p:nvPr>
        </p:nvSpPr>
        <p:spPr/>
        <p:txBody>
          <a:bodyPr/>
          <a:lstStyle/>
          <a:p>
            <a:r>
              <a:rPr lang="en-US" dirty="0" smtClean="0"/>
              <a:t>Capgemini Values: At the heart of everything we do</a:t>
            </a:r>
            <a:endParaRPr lang="en-US" dirty="0">
              <a:solidFill>
                <a:schemeClr val="accent5"/>
              </a:solidFill>
            </a:endParaRPr>
          </a:p>
        </p:txBody>
      </p:sp>
    </p:spTree>
    <p:extLst>
      <p:ext uri="{BB962C8B-B14F-4D97-AF65-F5344CB8AC3E}">
        <p14:creationId xmlns="" xmlns:p14="http://schemas.microsoft.com/office/powerpoint/2010/main" val="4013737635"/>
      </p:ext>
    </p:extLst>
  </p:cSld>
  <p:clrMapOvr>
    <a:masterClrMapping/>
  </p:clrMapOvr>
  <mc:AlternateContent xmlns:mc="http://schemas.openxmlformats.org/markup-compatibility/2006">
    <mc:Choice xmlns="" xmlns:p14="http://schemas.microsoft.com/office/powerpoint/2010/main" Requires="p14">
      <p:transition spd="slow" p14:dur="1400">
        <p14:doors dir="vert"/>
      </p:transition>
    </mc:Choice>
    <mc:Fallback>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smtClean="0"/>
              <a:t>Systems and Tools</a:t>
            </a:r>
            <a:endParaRPr/>
          </a:p>
        </p:txBody>
      </p:sp>
      <p:sp>
        <p:nvSpPr>
          <p:cNvPr id="7" name="Rectangle 6"/>
          <p:cNvSpPr/>
          <p:nvPr/>
        </p:nvSpPr>
        <p:spPr>
          <a:xfrm>
            <a:off x="8934319" y="76201"/>
            <a:ext cx="889132" cy="409575"/>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lIns="0" rIns="0" anchor="ctr"/>
          <a:lstStyle/>
          <a:p>
            <a:pPr algn="ctr">
              <a:defRPr/>
            </a:pPr>
            <a:r>
              <a:rPr lang="en-US" sz="900" dirty="0"/>
              <a:t>Systems &amp;</a:t>
            </a:r>
            <a:br>
              <a:rPr lang="en-US" sz="900" dirty="0"/>
            </a:br>
            <a:r>
              <a:rPr lang="en-US" sz="900" dirty="0"/>
              <a:t>Tools</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smtClean="0"/>
              <a:t>Log-in &amp; Security: Password Details</a:t>
            </a:r>
            <a:endParaRPr lang="en-US" dirty="0"/>
          </a:p>
        </p:txBody>
      </p:sp>
      <p:sp>
        <p:nvSpPr>
          <p:cNvPr id="22" name="Content Placeholder 21"/>
          <p:cNvSpPr>
            <a:spLocks noGrp="1"/>
          </p:cNvSpPr>
          <p:nvPr>
            <p:ph idx="1"/>
          </p:nvPr>
        </p:nvSpPr>
        <p:spPr>
          <a:xfrm>
            <a:off x="323392" y="1514475"/>
            <a:ext cx="9582608" cy="4724400"/>
          </a:xfrm>
        </p:spPr>
        <p:txBody>
          <a:bodyPr>
            <a:normAutofit fontScale="55000" lnSpcReduction="20000"/>
          </a:bodyPr>
          <a:lstStyle/>
          <a:p>
            <a:pPr marL="0" indent="0">
              <a:buNone/>
            </a:pPr>
            <a:r>
              <a:rPr lang="en-US" sz="3400" b="1" dirty="0" smtClean="0"/>
              <a:t>Getting user ID and Password</a:t>
            </a:r>
          </a:p>
          <a:p>
            <a:r>
              <a:rPr lang="en-US" dirty="0" smtClean="0"/>
              <a:t>Once you get your employee ID from people process team, you need to call up ITICS service desk for your user ID </a:t>
            </a:r>
          </a:p>
          <a:p>
            <a:pPr>
              <a:buNone/>
            </a:pPr>
            <a:r>
              <a:rPr lang="en-US" dirty="0" smtClean="0"/>
              <a:t>     and Password. Make sure you change your password at the first logon.</a:t>
            </a:r>
          </a:p>
          <a:p>
            <a:pPr marL="0" indent="0">
              <a:buNone/>
            </a:pPr>
            <a:endParaRPr lang="en-US" dirty="0" smtClean="0"/>
          </a:p>
          <a:p>
            <a:pPr marL="0" indent="0">
              <a:buNone/>
            </a:pPr>
            <a:r>
              <a:rPr lang="en-US" sz="3400" b="1" dirty="0" smtClean="0"/>
              <a:t>Password Policy</a:t>
            </a:r>
          </a:p>
          <a:p>
            <a:r>
              <a:rPr lang="en-US" dirty="0" smtClean="0"/>
              <a:t>Note that your password MUST respect the following mandatory rules</a:t>
            </a:r>
          </a:p>
          <a:p>
            <a:r>
              <a:rPr lang="en-US" dirty="0" smtClean="0"/>
              <a:t>MUST have at least 8 characters</a:t>
            </a:r>
          </a:p>
          <a:p>
            <a:r>
              <a:rPr lang="en-US" dirty="0" smtClean="0"/>
              <a:t>MUST use characters from three of the following four categories:</a:t>
            </a:r>
          </a:p>
          <a:p>
            <a:pPr lvl="1"/>
            <a:r>
              <a:rPr lang="en-US" dirty="0" smtClean="0"/>
              <a:t>Uppercase characters (A through Z) </a:t>
            </a:r>
          </a:p>
          <a:p>
            <a:pPr lvl="1"/>
            <a:r>
              <a:rPr lang="en-US" dirty="0" smtClean="0"/>
              <a:t>Lowercase characters (a through z) </a:t>
            </a:r>
          </a:p>
          <a:p>
            <a:pPr lvl="1"/>
            <a:r>
              <a:rPr lang="en-US" dirty="0" smtClean="0"/>
              <a:t>Number (0 through 9) </a:t>
            </a:r>
          </a:p>
          <a:p>
            <a:pPr lvl="1"/>
            <a:r>
              <a:rPr lang="en-US" dirty="0" smtClean="0"/>
              <a:t>Non-alphanumeric characters (!, $, #, %)</a:t>
            </a:r>
          </a:p>
          <a:p>
            <a:r>
              <a:rPr lang="en-US" dirty="0" smtClean="0"/>
              <a:t>Must be changed every 60 days.</a:t>
            </a:r>
          </a:p>
          <a:p>
            <a:r>
              <a:rPr lang="en-US" dirty="0" smtClean="0"/>
              <a:t>Do NOT use common or proper nouns.</a:t>
            </a:r>
          </a:p>
          <a:p>
            <a:r>
              <a:rPr lang="en-US" dirty="0" smtClean="0"/>
              <a:t>Do NOT use your name or login name, even with digits.</a:t>
            </a:r>
          </a:p>
          <a:p>
            <a:r>
              <a:rPr lang="en-US" dirty="0" smtClean="0"/>
              <a:t>You CANNOT reuse one of your last 5 passwords.</a:t>
            </a:r>
          </a:p>
          <a:p>
            <a:r>
              <a:rPr lang="en-US" dirty="0" smtClean="0"/>
              <a:t>You CANNOT change a password which has been changed less than 1 day ago.</a:t>
            </a:r>
          </a:p>
          <a:p>
            <a:pPr marL="0" indent="0">
              <a:buNone/>
            </a:pPr>
            <a:endParaRPr lang="en-US" dirty="0" smtClean="0"/>
          </a:p>
          <a:p>
            <a:r>
              <a:rPr lang="en-US" dirty="0" smtClean="0"/>
              <a:t>In order to change your domain password, your machine needs to be connected to the Capgemini network physically or connected using </a:t>
            </a:r>
          </a:p>
          <a:p>
            <a:pPr>
              <a:buNone/>
            </a:pPr>
            <a:r>
              <a:rPr lang="en-US" dirty="0" smtClean="0"/>
              <a:t>    VPN. This ensures the password change you just made, synchronizes to the network and both your laptop and the network now use the </a:t>
            </a:r>
          </a:p>
          <a:p>
            <a:pPr>
              <a:buNone/>
            </a:pPr>
            <a:r>
              <a:rPr lang="en-US" dirty="0" smtClean="0"/>
              <a:t>    same password.</a:t>
            </a:r>
          </a:p>
          <a:p>
            <a:endParaRPr lang="en-US" dirty="0" smtClean="0"/>
          </a:p>
          <a:p>
            <a:endParaRPr lang="en-US" dirty="0"/>
          </a:p>
        </p:txBody>
      </p:sp>
      <p:grpSp>
        <p:nvGrpSpPr>
          <p:cNvPr id="2" name="Group 5"/>
          <p:cNvGrpSpPr>
            <a:grpSpLocks/>
          </p:cNvGrpSpPr>
          <p:nvPr/>
        </p:nvGrpSpPr>
        <p:grpSpPr bwMode="auto">
          <a:xfrm>
            <a:off x="8941199" y="76201"/>
            <a:ext cx="889132" cy="409575"/>
            <a:chOff x="3327192" y="1750016"/>
            <a:chExt cx="820212" cy="410106"/>
          </a:xfrm>
        </p:grpSpPr>
        <p:sp>
          <p:nvSpPr>
            <p:cNvPr id="7" name="Rectangle 6"/>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8" name="Rectangle 7"/>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Log-in / Safeword</a:t>
              </a:r>
            </a:p>
          </p:txBody>
        </p:sp>
      </p:grpSp>
      <p:grpSp>
        <p:nvGrpSpPr>
          <p:cNvPr id="3" name="Group 8"/>
          <p:cNvGrpSpPr>
            <a:grpSpLocks/>
          </p:cNvGrpSpPr>
          <p:nvPr/>
        </p:nvGrpSpPr>
        <p:grpSpPr bwMode="auto">
          <a:xfrm>
            <a:off x="7035668" y="76201"/>
            <a:ext cx="887413" cy="409575"/>
            <a:chOff x="932170" y="585314"/>
            <a:chExt cx="820212" cy="410106"/>
          </a:xfrm>
        </p:grpSpPr>
        <p:sp>
          <p:nvSpPr>
            <p:cNvPr id="10" name="Rectangle 9"/>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1" name="Rectangle 10"/>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grpSp>
        <p:nvGrpSpPr>
          <p:cNvPr id="4" name="Group 11"/>
          <p:cNvGrpSpPr>
            <a:grpSpLocks/>
          </p:cNvGrpSpPr>
          <p:nvPr/>
        </p:nvGrpSpPr>
        <p:grpSpPr bwMode="auto">
          <a:xfrm>
            <a:off x="7969516" y="76201"/>
            <a:ext cx="889133" cy="409575"/>
            <a:chOff x="1137223" y="1167665"/>
            <a:chExt cx="820212" cy="410106"/>
          </a:xfrm>
        </p:grpSpPr>
        <p:sp>
          <p:nvSpPr>
            <p:cNvPr id="13" name="Rectangle 12"/>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4" name="Rectangle 13"/>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Getting</a:t>
              </a:r>
              <a:br>
                <a:rPr lang="en-US" sz="900" dirty="0"/>
              </a:br>
              <a:r>
                <a:rPr lang="en-US" sz="900" dirty="0"/>
                <a:t>Started</a:t>
              </a:r>
            </a:p>
          </p:txBody>
        </p:sp>
      </p:grpSp>
    </p:spTree>
    <p:extLst>
      <p:ext uri="{BB962C8B-B14F-4D97-AF65-F5344CB8AC3E}">
        <p14:creationId xmlns="" xmlns:p14="http://schemas.microsoft.com/office/powerpoint/2010/main" val="486214144"/>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3" name="Picture 3"/>
          <p:cNvPicPr>
            <a:picLocks noChangeAspect="1" noChangeArrowheads="1"/>
          </p:cNvPicPr>
          <p:nvPr/>
        </p:nvPicPr>
        <p:blipFill>
          <a:blip r:embed="rId3" cstate="print"/>
          <a:srcRect/>
          <a:stretch>
            <a:fillRect/>
          </a:stretch>
        </p:blipFill>
        <p:spPr bwMode="auto">
          <a:xfrm>
            <a:off x="3265887" y="4686303"/>
            <a:ext cx="3097344" cy="671513"/>
          </a:xfrm>
          <a:prstGeom prst="rect">
            <a:avLst/>
          </a:prstGeom>
          <a:noFill/>
          <a:ln w="9525">
            <a:noFill/>
            <a:round/>
            <a:headEnd/>
            <a:tailEnd/>
          </a:ln>
        </p:spPr>
      </p:pic>
      <p:grpSp>
        <p:nvGrpSpPr>
          <p:cNvPr id="3" name="Group 30"/>
          <p:cNvGrpSpPr>
            <a:grpSpLocks/>
          </p:cNvGrpSpPr>
          <p:nvPr/>
        </p:nvGrpSpPr>
        <p:grpSpPr bwMode="auto">
          <a:xfrm>
            <a:off x="8941199" y="76201"/>
            <a:ext cx="889132" cy="409575"/>
            <a:chOff x="3327192" y="1750016"/>
            <a:chExt cx="820212" cy="410106"/>
          </a:xfrm>
        </p:grpSpPr>
        <p:sp>
          <p:nvSpPr>
            <p:cNvPr id="33" name="Rectangle 32"/>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34" name="Rectangle 33"/>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Log-in / Safeword</a:t>
              </a:r>
            </a:p>
          </p:txBody>
        </p:sp>
      </p:grpSp>
      <p:grpSp>
        <p:nvGrpSpPr>
          <p:cNvPr id="4" name="Group 34"/>
          <p:cNvGrpSpPr>
            <a:grpSpLocks/>
          </p:cNvGrpSpPr>
          <p:nvPr/>
        </p:nvGrpSpPr>
        <p:grpSpPr bwMode="auto">
          <a:xfrm>
            <a:off x="7035668" y="76201"/>
            <a:ext cx="887413" cy="409575"/>
            <a:chOff x="932170" y="585314"/>
            <a:chExt cx="820212" cy="410106"/>
          </a:xfrm>
        </p:grpSpPr>
        <p:sp>
          <p:nvSpPr>
            <p:cNvPr id="36" name="Rectangle 35"/>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37" name="Rectangle 36"/>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grpSp>
        <p:nvGrpSpPr>
          <p:cNvPr id="5" name="Group 37"/>
          <p:cNvGrpSpPr>
            <a:grpSpLocks/>
          </p:cNvGrpSpPr>
          <p:nvPr/>
        </p:nvGrpSpPr>
        <p:grpSpPr bwMode="auto">
          <a:xfrm>
            <a:off x="7969516" y="76201"/>
            <a:ext cx="889133" cy="409575"/>
            <a:chOff x="1137223" y="1167665"/>
            <a:chExt cx="820212" cy="410106"/>
          </a:xfrm>
        </p:grpSpPr>
        <p:sp>
          <p:nvSpPr>
            <p:cNvPr id="39" name="Rectangle 38"/>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40" name="Rectangle 39"/>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Getting</a:t>
              </a:r>
              <a:br>
                <a:rPr lang="en-US" sz="900" dirty="0"/>
              </a:br>
              <a:r>
                <a:rPr lang="en-US" sz="900" dirty="0"/>
                <a:t>Started</a:t>
              </a:r>
            </a:p>
          </p:txBody>
        </p:sp>
      </p:grpSp>
      <p:sp>
        <p:nvSpPr>
          <p:cNvPr id="18" name="Title 17"/>
          <p:cNvSpPr>
            <a:spLocks noGrp="1"/>
          </p:cNvSpPr>
          <p:nvPr>
            <p:ph type="title"/>
          </p:nvPr>
        </p:nvSpPr>
        <p:spPr/>
        <p:txBody>
          <a:bodyPr/>
          <a:lstStyle/>
          <a:p>
            <a:r>
              <a:rPr lang="en-US" dirty="0" smtClean="0"/>
              <a:t>Log-in &amp; Security: How to change Password</a:t>
            </a:r>
            <a:endParaRPr lang="en-US" dirty="0"/>
          </a:p>
        </p:txBody>
      </p:sp>
      <p:sp>
        <p:nvSpPr>
          <p:cNvPr id="6" name="Content Placeholder 5"/>
          <p:cNvSpPr>
            <a:spLocks noGrp="1"/>
          </p:cNvSpPr>
          <p:nvPr>
            <p:ph idx="1"/>
          </p:nvPr>
        </p:nvSpPr>
        <p:spPr/>
        <p:txBody>
          <a:bodyPr>
            <a:normAutofit lnSpcReduction="10000"/>
          </a:bodyPr>
          <a:lstStyle/>
          <a:p>
            <a:pPr marL="0" indent="0">
              <a:buNone/>
            </a:pPr>
            <a:r>
              <a:rPr lang="en-US" dirty="0" smtClean="0"/>
              <a:t>Within Office</a:t>
            </a:r>
          </a:p>
          <a:p>
            <a:r>
              <a:rPr lang="en-US" sz="1600" dirty="0" smtClean="0"/>
              <a:t>Login to desktop / laptop</a:t>
            </a:r>
          </a:p>
          <a:p>
            <a:r>
              <a:rPr lang="en-US" sz="1600" dirty="0" smtClean="0"/>
              <a:t>Press </a:t>
            </a:r>
            <a:r>
              <a:rPr lang="en-US" sz="1600" dirty="0" err="1" smtClean="0"/>
              <a:t>Ctrl+Alt+Del</a:t>
            </a:r>
            <a:endParaRPr lang="en-US" sz="1600" dirty="0" smtClean="0"/>
          </a:p>
          <a:p>
            <a:r>
              <a:rPr lang="en-US" sz="1600" dirty="0" smtClean="0"/>
              <a:t>Click Change Password button and follow instructions</a:t>
            </a:r>
          </a:p>
          <a:p>
            <a:r>
              <a:rPr lang="en-US" sz="1600" dirty="0" smtClean="0"/>
              <a:t>For Laptop users, once password is changed, right click Sophos Safeguard </a:t>
            </a:r>
          </a:p>
          <a:p>
            <a:pPr marL="0" indent="0">
              <a:buNone/>
            </a:pPr>
            <a:r>
              <a:rPr lang="en-US" sz="1600" dirty="0" smtClean="0"/>
              <a:t>Shield in the Notification area</a:t>
            </a:r>
          </a:p>
          <a:p>
            <a:r>
              <a:rPr lang="en-US" sz="1600" dirty="0" smtClean="0"/>
              <a:t>Click Synchronize</a:t>
            </a:r>
          </a:p>
          <a:p>
            <a:pPr marL="0" indent="0">
              <a:buNone/>
            </a:pPr>
            <a:r>
              <a:rPr lang="en-US" dirty="0" smtClean="0"/>
              <a:t>Outside Office (Laptop Users)</a:t>
            </a:r>
          </a:p>
          <a:p>
            <a:r>
              <a:rPr lang="en-US" sz="1600" dirty="0" smtClean="0"/>
              <a:t>Login to laptop</a:t>
            </a:r>
          </a:p>
          <a:p>
            <a:r>
              <a:rPr lang="en-US" sz="1600" dirty="0" smtClean="0"/>
              <a:t>Connect Capgemini VPN, using Cisco Any Connect VPN</a:t>
            </a:r>
          </a:p>
          <a:p>
            <a:r>
              <a:rPr lang="en-US" sz="1600" dirty="0"/>
              <a:t>Press </a:t>
            </a:r>
            <a:r>
              <a:rPr lang="en-US" sz="1600" dirty="0" err="1"/>
              <a:t>Ctrl+Alt+Del</a:t>
            </a:r>
            <a:endParaRPr lang="en-US" sz="1600" dirty="0"/>
          </a:p>
          <a:p>
            <a:r>
              <a:rPr lang="en-US" sz="1600" dirty="0"/>
              <a:t>Click Change Password button and follow instructions</a:t>
            </a:r>
          </a:p>
          <a:p>
            <a:r>
              <a:rPr lang="en-US" sz="1600" dirty="0"/>
              <a:t>For Laptop users</a:t>
            </a:r>
            <a:r>
              <a:rPr lang="en-US" sz="1600" dirty="0" smtClean="0"/>
              <a:t>, once password is changed, </a:t>
            </a:r>
            <a:r>
              <a:rPr lang="en-US" sz="1600" dirty="0"/>
              <a:t>right click Sophos </a:t>
            </a:r>
            <a:endParaRPr lang="en-US" sz="1600" dirty="0" smtClean="0"/>
          </a:p>
          <a:p>
            <a:pPr marL="0" indent="0">
              <a:buNone/>
            </a:pPr>
            <a:r>
              <a:rPr lang="en-US" sz="1600" dirty="0" smtClean="0"/>
              <a:t>Safeguard Shield in the Notification area</a:t>
            </a:r>
            <a:endParaRPr lang="en-US" sz="1600" dirty="0"/>
          </a:p>
          <a:p>
            <a:r>
              <a:rPr lang="en-US" sz="1600" dirty="0"/>
              <a:t>Click </a:t>
            </a:r>
            <a:r>
              <a:rPr lang="en-US" sz="1600" dirty="0" smtClean="0"/>
              <a:t>Synchronize</a:t>
            </a:r>
            <a:endParaRPr lang="en-US" sz="1600" dirty="0"/>
          </a:p>
          <a:p>
            <a:pPr marL="0" indent="0">
              <a:buNone/>
            </a:pPr>
            <a:endParaRPr lang="en-US" sz="1600" dirty="0" smtClean="0"/>
          </a:p>
          <a:p>
            <a:endParaRPr lang="en-US" sz="1600" dirty="0"/>
          </a:p>
          <a:p>
            <a:pPr marL="0" indent="0">
              <a:buNone/>
            </a:pPr>
            <a:endParaRPr lang="en-US" sz="1600" dirty="0" smtClean="0"/>
          </a:p>
          <a:p>
            <a:endParaRPr lang="en-US" sz="1600" dirty="0"/>
          </a:p>
          <a:p>
            <a:pPr marL="0" indent="0">
              <a:buNone/>
            </a:pPr>
            <a:endParaRPr lang="en-US" sz="1600" b="1" dirty="0"/>
          </a:p>
        </p:txBody>
      </p:sp>
      <p:pic>
        <p:nvPicPr>
          <p:cNvPr id="9" name="Picture 8"/>
          <p:cNvPicPr>
            <a:picLocks noChangeAspect="1"/>
          </p:cNvPicPr>
          <p:nvPr/>
        </p:nvPicPr>
        <p:blipFill>
          <a:blip r:embed="rId4" cstate="print"/>
          <a:stretch>
            <a:fillRect/>
          </a:stretch>
        </p:blipFill>
        <p:spPr>
          <a:xfrm>
            <a:off x="7594601" y="1647826"/>
            <a:ext cx="2012156" cy="2114550"/>
          </a:xfrm>
          <a:prstGeom prst="rect">
            <a:avLst/>
          </a:prstGeom>
        </p:spPr>
      </p:pic>
      <p:pic>
        <p:nvPicPr>
          <p:cNvPr id="11" name="Picture 10"/>
          <p:cNvPicPr>
            <a:picLocks noChangeAspect="1"/>
          </p:cNvPicPr>
          <p:nvPr/>
        </p:nvPicPr>
        <p:blipFill>
          <a:blip r:embed="rId5" cstate="print"/>
          <a:stretch>
            <a:fillRect/>
          </a:stretch>
        </p:blipFill>
        <p:spPr>
          <a:xfrm>
            <a:off x="7291916" y="5022059"/>
            <a:ext cx="2538413" cy="1533525"/>
          </a:xfrm>
          <a:prstGeom prst="rect">
            <a:avLst/>
          </a:prstGeom>
        </p:spPr>
      </p:pic>
      <p:pic>
        <p:nvPicPr>
          <p:cNvPr id="2" name="Picture 1"/>
          <p:cNvPicPr>
            <a:picLocks noChangeAspect="1"/>
          </p:cNvPicPr>
          <p:nvPr/>
        </p:nvPicPr>
        <p:blipFill>
          <a:blip r:embed="rId6" cstate="print"/>
          <a:stretch>
            <a:fillRect/>
          </a:stretch>
        </p:blipFill>
        <p:spPr>
          <a:xfrm>
            <a:off x="6039909" y="4114799"/>
            <a:ext cx="3766344" cy="323850"/>
          </a:xfrm>
          <a:prstGeom prst="rect">
            <a:avLst/>
          </a:prstGeom>
        </p:spPr>
      </p:pic>
    </p:spTree>
    <p:extLst>
      <p:ext uri="{BB962C8B-B14F-4D97-AF65-F5344CB8AC3E}">
        <p14:creationId xmlns="" xmlns:p14="http://schemas.microsoft.com/office/powerpoint/2010/main" val="3392660556"/>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sktop / Laptop / Telephone Extension Allocation</a:t>
            </a:r>
            <a:endParaRPr lang="en-US" dirty="0"/>
          </a:p>
        </p:txBody>
      </p:sp>
      <p:sp>
        <p:nvSpPr>
          <p:cNvPr id="3" name="Content Placeholder 2"/>
          <p:cNvSpPr>
            <a:spLocks noGrp="1"/>
          </p:cNvSpPr>
          <p:nvPr>
            <p:ph idx="1"/>
          </p:nvPr>
        </p:nvSpPr>
        <p:spPr/>
        <p:txBody>
          <a:bodyPr>
            <a:normAutofit/>
          </a:bodyPr>
          <a:lstStyle/>
          <a:p>
            <a:pPr marL="0" indent="0">
              <a:buNone/>
            </a:pPr>
            <a:r>
              <a:rPr lang="en-US" sz="2000" b="1" smtClean="0"/>
              <a:t>Desktop Allocation</a:t>
            </a:r>
          </a:p>
          <a:p>
            <a:r>
              <a:rPr lang="en-US" sz="1600" smtClean="0"/>
              <a:t>ICRES Space Allocation Team will allocate a desk and Log a ticket with ITICS for Desktop Allocation.</a:t>
            </a:r>
          </a:p>
          <a:p>
            <a:r>
              <a:rPr lang="en-US" sz="1600" smtClean="0"/>
              <a:t>ITICS Asset Team will verify and allocate a desktop.</a:t>
            </a:r>
          </a:p>
          <a:p>
            <a:r>
              <a:rPr lang="en-US" sz="1600" smtClean="0"/>
              <a:t>Ensure that new desktop allocation requests should be routed through GFM Space Allocation Team</a:t>
            </a:r>
          </a:p>
          <a:p>
            <a:pPr marL="0" indent="0">
              <a:buNone/>
            </a:pPr>
            <a:r>
              <a:rPr lang="en-US" sz="2000" b="1" smtClean="0"/>
              <a:t>Laptop Allocation</a:t>
            </a:r>
          </a:p>
          <a:p>
            <a:r>
              <a:rPr lang="en-US" sz="1600" smtClean="0"/>
              <a:t>Associates designated Managers and Above will get a laptop as a part of joining</a:t>
            </a:r>
          </a:p>
          <a:p>
            <a:r>
              <a:rPr lang="en-US" sz="1600" smtClean="0"/>
              <a:t>The laptop allocation ticket for Sr. Managers and above will be logged by people process team.</a:t>
            </a:r>
          </a:p>
          <a:p>
            <a:r>
              <a:rPr lang="en-US" sz="1600" smtClean="0"/>
              <a:t>The laptop allocation ticket for Managers will be logged by respective project team.</a:t>
            </a:r>
            <a:endParaRPr lang="en-US" sz="1600" b="1" smtClean="0"/>
          </a:p>
          <a:p>
            <a:pPr marL="0" indent="0">
              <a:buNone/>
            </a:pPr>
            <a:r>
              <a:rPr lang="en-US" sz="2000" b="1" smtClean="0"/>
              <a:t>Telephone Extension Allocation</a:t>
            </a:r>
          </a:p>
          <a:p>
            <a:r>
              <a:rPr lang="en-US" sz="1600" smtClean="0"/>
              <a:t>Once the desk is allocated to you, you need to log a ticket with ITICS to get telephone extension</a:t>
            </a:r>
          </a:p>
          <a:p>
            <a:r>
              <a:rPr lang="en-US" sz="1600" smtClean="0"/>
              <a:t>While logging ticket for telephone extension, provide details such as your desk location, telephone instrument set type, project name.</a:t>
            </a:r>
          </a:p>
          <a:p>
            <a:pPr marL="0" indent="0">
              <a:buNone/>
            </a:pPr>
            <a:endParaRPr lang="en-US" sz="1600" smtClean="0"/>
          </a:p>
          <a:p>
            <a:pPr marL="0" indent="0">
              <a:buNone/>
            </a:pPr>
            <a:r>
              <a:rPr lang="en-US" sz="1600" b="1" smtClean="0"/>
              <a:t>Note: Every individual will have a responsibility to safeguard Capgemini ITICS Assets allocated to him / her. Any damages to it will be charged back to the Project / individual.</a:t>
            </a:r>
            <a:endParaRPr lang="en-US" sz="1600" b="1" dirty="0"/>
          </a:p>
        </p:txBody>
      </p:sp>
    </p:spTree>
    <p:extLst>
      <p:ext uri="{BB962C8B-B14F-4D97-AF65-F5344CB8AC3E}">
        <p14:creationId xmlns="" xmlns:p14="http://schemas.microsoft.com/office/powerpoint/2010/main" val="223215581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dirty="0" smtClean="0"/>
              <a:t>Log-in &amp; Security: Mobile Pass</a:t>
            </a:r>
            <a:endParaRPr lang="en-US" dirty="0"/>
          </a:p>
        </p:txBody>
      </p:sp>
      <p:sp>
        <p:nvSpPr>
          <p:cNvPr id="16" name="Content Placeholder 15"/>
          <p:cNvSpPr>
            <a:spLocks noGrp="1"/>
          </p:cNvSpPr>
          <p:nvPr>
            <p:ph idx="1"/>
          </p:nvPr>
        </p:nvSpPr>
        <p:spPr>
          <a:xfrm>
            <a:off x="323392" y="1494765"/>
            <a:ext cx="6001208" cy="4643751"/>
          </a:xfrm>
        </p:spPr>
        <p:txBody>
          <a:bodyPr>
            <a:normAutofit/>
          </a:bodyPr>
          <a:lstStyle/>
          <a:p>
            <a:r>
              <a:rPr lang="en-US" sz="2000" dirty="0" smtClean="0"/>
              <a:t>To login to Capgemini resources remotely, you need to use a password generated on Mobile Pass. You will receive Mobile Pass with your new laptop.</a:t>
            </a:r>
          </a:p>
          <a:p>
            <a:r>
              <a:rPr lang="en-US" sz="2000" dirty="0" smtClean="0"/>
              <a:t>The purpose of using a Mobile Pass is for enhanced login security.</a:t>
            </a:r>
          </a:p>
          <a:p>
            <a:r>
              <a:rPr lang="en-US" sz="2000" dirty="0" smtClean="0"/>
              <a:t>The Mobile Pass authentication process consists of two parts – the first part is a number memorized by the user &amp; the second part is the password displayed on the Mobile Pass.(This number lasts on the display for 60 seconds). </a:t>
            </a:r>
          </a:p>
          <a:p>
            <a:pPr marL="457200" lvl="1" indent="0">
              <a:buNone/>
            </a:pPr>
            <a:endParaRPr lang="en-US" dirty="0" smtClean="0"/>
          </a:p>
          <a:p>
            <a:pPr lvl="1"/>
            <a:endParaRPr lang="en-US" dirty="0"/>
          </a:p>
        </p:txBody>
      </p:sp>
      <p:grpSp>
        <p:nvGrpSpPr>
          <p:cNvPr id="2" name="Group 6"/>
          <p:cNvGrpSpPr>
            <a:grpSpLocks/>
          </p:cNvGrpSpPr>
          <p:nvPr/>
        </p:nvGrpSpPr>
        <p:grpSpPr bwMode="auto">
          <a:xfrm>
            <a:off x="8941199" y="76201"/>
            <a:ext cx="889132" cy="409575"/>
            <a:chOff x="3327192" y="1750016"/>
            <a:chExt cx="820212" cy="410106"/>
          </a:xfrm>
        </p:grpSpPr>
        <p:sp>
          <p:nvSpPr>
            <p:cNvPr id="8" name="Rectangle 7"/>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9" name="Rectangle 8"/>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Log-in / Safeword</a:t>
              </a:r>
            </a:p>
          </p:txBody>
        </p:sp>
      </p:grpSp>
      <p:grpSp>
        <p:nvGrpSpPr>
          <p:cNvPr id="3" name="Group 9"/>
          <p:cNvGrpSpPr>
            <a:grpSpLocks/>
          </p:cNvGrpSpPr>
          <p:nvPr/>
        </p:nvGrpSpPr>
        <p:grpSpPr bwMode="auto">
          <a:xfrm>
            <a:off x="7035668" y="76201"/>
            <a:ext cx="887413" cy="409575"/>
            <a:chOff x="932170" y="585314"/>
            <a:chExt cx="820212" cy="410106"/>
          </a:xfrm>
        </p:grpSpPr>
        <p:sp>
          <p:nvSpPr>
            <p:cNvPr id="11" name="Rectangle 10"/>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2" name="Rectangle 11"/>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grpSp>
        <p:nvGrpSpPr>
          <p:cNvPr id="4" name="Group 12"/>
          <p:cNvGrpSpPr>
            <a:grpSpLocks/>
          </p:cNvGrpSpPr>
          <p:nvPr/>
        </p:nvGrpSpPr>
        <p:grpSpPr bwMode="auto">
          <a:xfrm>
            <a:off x="7969516" y="76201"/>
            <a:ext cx="889133" cy="409575"/>
            <a:chOff x="1137223" y="1167665"/>
            <a:chExt cx="820212" cy="410106"/>
          </a:xfrm>
        </p:grpSpPr>
        <p:sp>
          <p:nvSpPr>
            <p:cNvPr id="14" name="Rectangle 13"/>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5" name="Rectangle 14"/>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Getting</a:t>
              </a:r>
              <a:br>
                <a:rPr lang="en-US" sz="900" dirty="0"/>
              </a:br>
              <a:r>
                <a:rPr lang="en-US" sz="900" dirty="0"/>
                <a:t>Started</a:t>
              </a:r>
            </a:p>
          </p:txBody>
        </p:sp>
      </p:grpSp>
      <p:pic>
        <p:nvPicPr>
          <p:cNvPr id="5" name="Picture 4"/>
          <p:cNvPicPr>
            <a:picLocks noChangeAspect="1"/>
          </p:cNvPicPr>
          <p:nvPr/>
        </p:nvPicPr>
        <p:blipFill>
          <a:blip r:embed="rId3" cstate="print"/>
          <a:stretch>
            <a:fillRect/>
          </a:stretch>
        </p:blipFill>
        <p:spPr>
          <a:xfrm>
            <a:off x="6446309" y="1465264"/>
            <a:ext cx="2878931" cy="2697162"/>
          </a:xfrm>
          <a:prstGeom prst="rect">
            <a:avLst/>
          </a:prstGeom>
        </p:spPr>
      </p:pic>
    </p:spTree>
    <p:extLst>
      <p:ext uri="{BB962C8B-B14F-4D97-AF65-F5344CB8AC3E}">
        <p14:creationId xmlns="" xmlns:p14="http://schemas.microsoft.com/office/powerpoint/2010/main" val="3061235977"/>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p:txBody>
          <a:bodyPr/>
          <a:lstStyle/>
          <a:p>
            <a:r>
              <a:rPr lang="en-US" smtClean="0"/>
              <a:t>Log-in &amp; Security: VPN</a:t>
            </a:r>
            <a:endParaRPr lang="en-US" dirty="0"/>
          </a:p>
        </p:txBody>
      </p:sp>
      <p:sp>
        <p:nvSpPr>
          <p:cNvPr id="27" name="Content Placeholder 26"/>
          <p:cNvSpPr>
            <a:spLocks noGrp="1"/>
          </p:cNvSpPr>
          <p:nvPr>
            <p:ph idx="1"/>
          </p:nvPr>
        </p:nvSpPr>
        <p:spPr/>
        <p:txBody>
          <a:bodyPr>
            <a:normAutofit fontScale="77500" lnSpcReduction="20000"/>
          </a:bodyPr>
          <a:lstStyle/>
          <a:p>
            <a:r>
              <a:rPr lang="en-US" dirty="0" smtClean="0"/>
              <a:t>From your Laptop select  Start=&gt;All Programs=&gt;Cisco=&gt;Cisco </a:t>
            </a:r>
            <a:r>
              <a:rPr lang="en-US" dirty="0" err="1" smtClean="0"/>
              <a:t>AnyConnect</a:t>
            </a:r>
            <a:r>
              <a:rPr lang="en-US" dirty="0" smtClean="0"/>
              <a:t> Secure Mobility Client when you are connected through Broadband or cable internet. From the drop down select the desired profile and click Connect</a:t>
            </a:r>
          </a:p>
          <a:p>
            <a:pPr marL="0" indent="0">
              <a:buNone/>
            </a:pPr>
            <a:endParaRPr lang="en-US" dirty="0" smtClean="0"/>
          </a:p>
          <a:p>
            <a:pPr marL="457200" lvl="1" indent="0">
              <a:buNone/>
            </a:pPr>
            <a:endParaRPr lang="en-US" dirty="0" smtClean="0"/>
          </a:p>
          <a:p>
            <a:pPr marL="457200" lvl="1" indent="0">
              <a:buNone/>
            </a:pPr>
            <a:endParaRPr lang="en-US" dirty="0" smtClean="0"/>
          </a:p>
          <a:p>
            <a:pPr marL="457200" lvl="1" indent="0">
              <a:buNone/>
            </a:pPr>
            <a:endParaRPr lang="en-US" dirty="0" smtClean="0"/>
          </a:p>
          <a:p>
            <a:pPr marL="457200" lvl="1" indent="0">
              <a:buNone/>
            </a:pPr>
            <a:endParaRPr lang="en-US" dirty="0" smtClean="0"/>
          </a:p>
          <a:p>
            <a:pPr marL="457200" lvl="1" indent="0">
              <a:buNone/>
            </a:pPr>
            <a:endParaRPr lang="en-US" dirty="0" smtClean="0"/>
          </a:p>
          <a:p>
            <a:pPr lvl="1">
              <a:buFont typeface="Arial" panose="020B0604020202020204" pitchFamily="34" charset="0"/>
              <a:buChar char="•"/>
            </a:pPr>
            <a:r>
              <a:rPr lang="en-US" sz="2200" dirty="0" smtClean="0"/>
              <a:t>Enter your User ID in the Username field.</a:t>
            </a:r>
          </a:p>
          <a:p>
            <a:pPr lvl="1">
              <a:buFont typeface="Arial" panose="020B0604020202020204" pitchFamily="34" charset="0"/>
              <a:buChar char="•"/>
            </a:pPr>
            <a:r>
              <a:rPr lang="en-US" sz="2200" dirty="0" smtClean="0"/>
              <a:t>Enter the 6 digit number displayed on the Mobile Pass, in the password field and click OK</a:t>
            </a:r>
          </a:p>
          <a:p>
            <a:pPr lvl="1">
              <a:buNone/>
            </a:pPr>
            <a:r>
              <a:rPr lang="en-US" sz="2200" dirty="0" smtClean="0"/>
              <a:t>	</a:t>
            </a:r>
          </a:p>
          <a:p>
            <a:pPr lvl="1">
              <a:buNone/>
            </a:pPr>
            <a:endParaRPr lang="en-US" dirty="0" smtClean="0"/>
          </a:p>
          <a:p>
            <a:endParaRPr lang="en-US" dirty="0" smtClean="0"/>
          </a:p>
          <a:p>
            <a:pPr marL="457200" lvl="1" indent="0">
              <a:buNone/>
            </a:pPr>
            <a:endParaRPr lang="en-US" dirty="0" smtClean="0"/>
          </a:p>
          <a:p>
            <a:pPr marL="457200" lvl="1" indent="0">
              <a:buNone/>
            </a:pPr>
            <a:endParaRPr lang="en-US" dirty="0" smtClean="0"/>
          </a:p>
          <a:p>
            <a:pPr marL="457200" lvl="1" indent="0">
              <a:buNone/>
            </a:pPr>
            <a:endParaRPr lang="en-US" dirty="0" smtClean="0"/>
          </a:p>
          <a:p>
            <a:pPr lvl="1">
              <a:buFont typeface="Arial" panose="020B0604020202020204" pitchFamily="34" charset="0"/>
              <a:buChar char="•"/>
            </a:pPr>
            <a:r>
              <a:rPr lang="en-US" sz="2000" dirty="0" smtClean="0"/>
              <a:t>The VPN Client will minimize into a tiny locked padlock indicating you are connect to the VPN.</a:t>
            </a:r>
          </a:p>
          <a:p>
            <a:endParaRPr lang="en-US" dirty="0" smtClean="0"/>
          </a:p>
          <a:p>
            <a:pPr marL="0" indent="0">
              <a:buNone/>
            </a:pPr>
            <a:endParaRPr lang="en-US" dirty="0" smtClean="0"/>
          </a:p>
          <a:p>
            <a:endParaRPr lang="en-US" dirty="0" smtClean="0"/>
          </a:p>
          <a:p>
            <a:endParaRPr lang="en-US" dirty="0"/>
          </a:p>
        </p:txBody>
      </p:sp>
      <p:pic>
        <p:nvPicPr>
          <p:cNvPr id="54277" name="Picture 12" descr="http://www.oucs.ox.ac.uk/network/vpn/windows/connected.gif"/>
          <p:cNvPicPr>
            <a:picLocks noChangeAspect="1" noChangeArrowheads="1"/>
          </p:cNvPicPr>
          <p:nvPr/>
        </p:nvPicPr>
        <p:blipFill>
          <a:blip r:embed="rId3" cstate="print"/>
          <a:srcRect/>
          <a:stretch>
            <a:fillRect/>
          </a:stretch>
        </p:blipFill>
        <p:spPr bwMode="auto">
          <a:xfrm>
            <a:off x="1485900" y="6063555"/>
            <a:ext cx="311282" cy="334963"/>
          </a:xfrm>
          <a:prstGeom prst="rect">
            <a:avLst/>
          </a:prstGeom>
          <a:noFill/>
          <a:ln w="9525">
            <a:noFill/>
            <a:miter lim="800000"/>
            <a:headEnd/>
            <a:tailEnd/>
          </a:ln>
        </p:spPr>
      </p:pic>
      <p:grpSp>
        <p:nvGrpSpPr>
          <p:cNvPr id="2" name="Group 8"/>
          <p:cNvGrpSpPr>
            <a:grpSpLocks/>
          </p:cNvGrpSpPr>
          <p:nvPr/>
        </p:nvGrpSpPr>
        <p:grpSpPr bwMode="auto">
          <a:xfrm>
            <a:off x="8941199" y="76201"/>
            <a:ext cx="889132" cy="409575"/>
            <a:chOff x="3327192" y="1750016"/>
            <a:chExt cx="820212" cy="410106"/>
          </a:xfrm>
        </p:grpSpPr>
        <p:sp>
          <p:nvSpPr>
            <p:cNvPr id="11" name="Rectangle 10"/>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2" name="Rectangle 11"/>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Log-in / Safeword</a:t>
              </a:r>
            </a:p>
          </p:txBody>
        </p:sp>
      </p:grpSp>
      <p:grpSp>
        <p:nvGrpSpPr>
          <p:cNvPr id="3" name="Group 12"/>
          <p:cNvGrpSpPr>
            <a:grpSpLocks/>
          </p:cNvGrpSpPr>
          <p:nvPr/>
        </p:nvGrpSpPr>
        <p:grpSpPr bwMode="auto">
          <a:xfrm>
            <a:off x="7035668" y="76201"/>
            <a:ext cx="887413" cy="409575"/>
            <a:chOff x="932170" y="585314"/>
            <a:chExt cx="820212" cy="410106"/>
          </a:xfrm>
        </p:grpSpPr>
        <p:sp>
          <p:nvSpPr>
            <p:cNvPr id="14" name="Rectangle 13"/>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5" name="Rectangle 14"/>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grpSp>
        <p:nvGrpSpPr>
          <p:cNvPr id="4" name="Group 15"/>
          <p:cNvGrpSpPr>
            <a:grpSpLocks/>
          </p:cNvGrpSpPr>
          <p:nvPr/>
        </p:nvGrpSpPr>
        <p:grpSpPr bwMode="auto">
          <a:xfrm>
            <a:off x="7969516" y="76201"/>
            <a:ext cx="889133" cy="409575"/>
            <a:chOff x="1137223" y="1167665"/>
            <a:chExt cx="820212" cy="410106"/>
          </a:xfrm>
        </p:grpSpPr>
        <p:sp>
          <p:nvSpPr>
            <p:cNvPr id="17" name="Rectangle 16"/>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8" name="Rectangle 17"/>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Getting</a:t>
              </a:r>
              <a:br>
                <a:rPr lang="en-US" sz="900" dirty="0"/>
              </a:br>
              <a:r>
                <a:rPr lang="en-US" sz="900" dirty="0"/>
                <a:t>Started</a:t>
              </a:r>
            </a:p>
          </p:txBody>
        </p:sp>
      </p:grpSp>
      <p:pic>
        <p:nvPicPr>
          <p:cNvPr id="5" name="Picture 4"/>
          <p:cNvPicPr>
            <a:picLocks noChangeAspect="1"/>
          </p:cNvPicPr>
          <p:nvPr/>
        </p:nvPicPr>
        <p:blipFill>
          <a:blip r:embed="rId4" cstate="print"/>
          <a:stretch>
            <a:fillRect/>
          </a:stretch>
        </p:blipFill>
        <p:spPr>
          <a:xfrm>
            <a:off x="4152900" y="2311389"/>
            <a:ext cx="3095449" cy="920848"/>
          </a:xfrm>
          <a:prstGeom prst="rect">
            <a:avLst/>
          </a:prstGeom>
        </p:spPr>
      </p:pic>
      <p:pic>
        <p:nvPicPr>
          <p:cNvPr id="6" name="Picture 5"/>
          <p:cNvPicPr>
            <a:picLocks noChangeAspect="1"/>
          </p:cNvPicPr>
          <p:nvPr/>
        </p:nvPicPr>
        <p:blipFill>
          <a:blip r:embed="rId5" cstate="print"/>
          <a:stretch>
            <a:fillRect/>
          </a:stretch>
        </p:blipFill>
        <p:spPr>
          <a:xfrm>
            <a:off x="4017786" y="4131224"/>
            <a:ext cx="3363913" cy="1036637"/>
          </a:xfrm>
          <a:prstGeom prst="rect">
            <a:avLst/>
          </a:prstGeom>
        </p:spPr>
      </p:pic>
    </p:spTree>
    <p:extLst>
      <p:ext uri="{BB962C8B-B14F-4D97-AF65-F5344CB8AC3E}">
        <p14:creationId xmlns="" xmlns:p14="http://schemas.microsoft.com/office/powerpoint/2010/main" val="3814375401"/>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Key Communication Tools</a:t>
            </a:r>
            <a:endParaRPr lang="en-US" dirty="0"/>
          </a:p>
        </p:txBody>
      </p:sp>
      <p:sp>
        <p:nvSpPr>
          <p:cNvPr id="19" name="Content Placeholder 18"/>
          <p:cNvSpPr>
            <a:spLocks noGrp="1"/>
          </p:cNvSpPr>
          <p:nvPr>
            <p:ph idx="1"/>
          </p:nvPr>
        </p:nvSpPr>
        <p:spPr/>
        <p:txBody>
          <a:bodyPr>
            <a:normAutofit fontScale="92500" lnSpcReduction="10000"/>
          </a:bodyPr>
          <a:lstStyle/>
          <a:p>
            <a:r>
              <a:rPr lang="en-US" sz="2400" b="1" dirty="0" smtClean="0"/>
              <a:t>Email Client</a:t>
            </a:r>
            <a:r>
              <a:rPr lang="en-US" b="1" dirty="0" smtClean="0"/>
              <a:t>: </a:t>
            </a:r>
            <a:r>
              <a:rPr lang="en-US" sz="2000" dirty="0" smtClean="0"/>
              <a:t>Microsoft Outlook is the Capgemini email </a:t>
            </a:r>
            <a:r>
              <a:rPr lang="en-US" sz="2000" dirty="0"/>
              <a:t>client. The mailbox size is provided as per the designation. You will need to manage this space and create archives in Outlook as needed to save older mail items</a:t>
            </a:r>
            <a:r>
              <a:rPr lang="en-US" sz="2000" dirty="0" smtClean="0"/>
              <a:t>.</a:t>
            </a:r>
          </a:p>
          <a:p>
            <a:endParaRPr lang="en-US" sz="2400" b="1" dirty="0" smtClean="0"/>
          </a:p>
          <a:p>
            <a:r>
              <a:rPr lang="en-US" sz="2400" b="1" dirty="0" err="1" smtClean="0"/>
              <a:t>Lync</a:t>
            </a:r>
            <a:r>
              <a:rPr lang="en-US" sz="2400" b="1" dirty="0" smtClean="0"/>
              <a:t>/Skype: </a:t>
            </a:r>
            <a:r>
              <a:rPr lang="en-US" sz="2000" dirty="0" err="1" smtClean="0"/>
              <a:t>Lync</a:t>
            </a:r>
            <a:r>
              <a:rPr lang="en-US" sz="2000" dirty="0" smtClean="0"/>
              <a:t> or Skype , is </a:t>
            </a:r>
            <a:r>
              <a:rPr lang="en-US" sz="2000" dirty="0"/>
              <a:t>the Capgemini version of Microsoft Office </a:t>
            </a:r>
            <a:r>
              <a:rPr lang="en-US" sz="2000" dirty="0" smtClean="0"/>
              <a:t>Communicator. </a:t>
            </a:r>
            <a:r>
              <a:rPr lang="en-US" sz="2000" dirty="0"/>
              <a:t>We use this  tool  to communicate with our Capgemini colleagues or clients around the world. </a:t>
            </a:r>
            <a:endParaRPr lang="en-US" sz="2000" dirty="0" smtClean="0"/>
          </a:p>
          <a:p>
            <a:pPr>
              <a:buClr>
                <a:schemeClr val="accent6">
                  <a:lumMod val="75000"/>
                </a:schemeClr>
              </a:buClr>
              <a:defRPr/>
            </a:pPr>
            <a:endParaRPr lang="en-US" sz="2400" b="1" dirty="0" smtClean="0"/>
          </a:p>
          <a:p>
            <a:pPr>
              <a:buClr>
                <a:schemeClr val="accent6">
                  <a:lumMod val="75000"/>
                </a:schemeClr>
              </a:buClr>
              <a:defRPr/>
            </a:pPr>
            <a:r>
              <a:rPr lang="en-US" sz="2400" b="1" dirty="0" smtClean="0"/>
              <a:t>Live Meeting / Lync Meeting</a:t>
            </a:r>
            <a:r>
              <a:rPr lang="en-US" sz="2400" b="1" dirty="0" smtClean="0">
                <a:latin typeface="Arial" pitchFamily="34" charset="0"/>
                <a:cs typeface="Arial" pitchFamily="34" charset="0"/>
              </a:rPr>
              <a:t>: </a:t>
            </a:r>
            <a:r>
              <a:rPr lang="en-US" sz="2000" dirty="0"/>
              <a:t>You can plan a Live </a:t>
            </a:r>
            <a:r>
              <a:rPr lang="en-US" sz="2000" dirty="0" smtClean="0"/>
              <a:t>Meeting / Lync Meeting </a:t>
            </a:r>
            <a:r>
              <a:rPr lang="en-US" sz="2000" dirty="0"/>
              <a:t>via your Outlook calendar. In a meeting request, there will be an active link to a chat session. To plan a meeting when not connected via VPN, you can </a:t>
            </a:r>
            <a:r>
              <a:rPr lang="en-US" sz="2000" dirty="0" smtClean="0"/>
              <a:t>use Web GIMS</a:t>
            </a:r>
            <a:r>
              <a:rPr lang="en-US" sz="2000" dirty="0"/>
              <a:t>, a web-based version of this tool.</a:t>
            </a:r>
          </a:p>
          <a:p>
            <a:endParaRPr lang="en-US" sz="2400" b="1" dirty="0" smtClean="0"/>
          </a:p>
          <a:p>
            <a:r>
              <a:rPr lang="en-US" sz="2400" b="1" dirty="0" smtClean="0"/>
              <a:t>Transfer Large Files: </a:t>
            </a:r>
            <a:r>
              <a:rPr lang="en-US" sz="2000" dirty="0" smtClean="0"/>
              <a:t>If you want to transfer large files, then access the FTP site </a:t>
            </a:r>
            <a:r>
              <a:rPr lang="en-US" sz="2000" u="sng" dirty="0" smtClean="0">
                <a:solidFill>
                  <a:srgbClr val="0070C0"/>
                </a:solidFill>
              </a:rPr>
              <a:t>https://fts.capgemini.com</a:t>
            </a:r>
            <a:endParaRPr lang="en-US" sz="2400" b="1" u="sng" dirty="0">
              <a:solidFill>
                <a:srgbClr val="0070C0"/>
              </a:solidFill>
            </a:endParaRPr>
          </a:p>
          <a:p>
            <a:endParaRPr lang="en-US" dirty="0"/>
          </a:p>
        </p:txBody>
      </p:sp>
      <p:grpSp>
        <p:nvGrpSpPr>
          <p:cNvPr id="2" name="Group 6"/>
          <p:cNvGrpSpPr>
            <a:grpSpLocks/>
          </p:cNvGrpSpPr>
          <p:nvPr/>
        </p:nvGrpSpPr>
        <p:grpSpPr bwMode="auto">
          <a:xfrm>
            <a:off x="8941199" y="76201"/>
            <a:ext cx="889132" cy="409575"/>
            <a:chOff x="3327192" y="1750016"/>
            <a:chExt cx="820212" cy="410106"/>
          </a:xfrm>
        </p:grpSpPr>
        <p:sp>
          <p:nvSpPr>
            <p:cNvPr id="9" name="Rectangle 8"/>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0" name="Rectangle 9"/>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E-mail</a:t>
              </a:r>
            </a:p>
          </p:txBody>
        </p:sp>
      </p:grpSp>
      <p:grpSp>
        <p:nvGrpSpPr>
          <p:cNvPr id="3" name="Group 10"/>
          <p:cNvGrpSpPr>
            <a:grpSpLocks/>
          </p:cNvGrpSpPr>
          <p:nvPr/>
        </p:nvGrpSpPr>
        <p:grpSpPr bwMode="auto">
          <a:xfrm>
            <a:off x="7035668" y="76201"/>
            <a:ext cx="887413" cy="409575"/>
            <a:chOff x="932170" y="585314"/>
            <a:chExt cx="820212" cy="410106"/>
          </a:xfrm>
        </p:grpSpPr>
        <p:sp>
          <p:nvSpPr>
            <p:cNvPr id="12" name="Rectangle 11"/>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3" name="Rectangle 12"/>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grpSp>
        <p:nvGrpSpPr>
          <p:cNvPr id="4" name="Group 13"/>
          <p:cNvGrpSpPr>
            <a:grpSpLocks/>
          </p:cNvGrpSpPr>
          <p:nvPr/>
        </p:nvGrpSpPr>
        <p:grpSpPr bwMode="auto">
          <a:xfrm>
            <a:off x="7969516" y="76201"/>
            <a:ext cx="889133" cy="409575"/>
            <a:chOff x="1137223" y="1167665"/>
            <a:chExt cx="820212" cy="410106"/>
          </a:xfrm>
        </p:grpSpPr>
        <p:sp>
          <p:nvSpPr>
            <p:cNvPr id="15" name="Rectangle 14"/>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6" name="Rectangle 15"/>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Getting</a:t>
              </a:r>
              <a:br>
                <a:rPr lang="en-US" sz="900" dirty="0"/>
              </a:br>
              <a:r>
                <a:rPr lang="en-US" sz="900" dirty="0"/>
                <a:t>Started</a:t>
              </a:r>
            </a:p>
          </p:txBody>
        </p:sp>
      </p:grpSp>
    </p:spTree>
    <p:extLst>
      <p:ext uri="{BB962C8B-B14F-4D97-AF65-F5344CB8AC3E}">
        <p14:creationId xmlns="" xmlns:p14="http://schemas.microsoft.com/office/powerpoint/2010/main" val="3435693923"/>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Ways to Contact IT Team</a:t>
            </a:r>
            <a:endParaRPr lang="en-US" dirty="0"/>
          </a:p>
        </p:txBody>
      </p:sp>
      <p:sp>
        <p:nvSpPr>
          <p:cNvPr id="3" name="Content Placeholder 2"/>
          <p:cNvSpPr>
            <a:spLocks noGrp="1"/>
          </p:cNvSpPr>
          <p:nvPr>
            <p:ph idx="1"/>
          </p:nvPr>
        </p:nvSpPr>
        <p:spPr>
          <a:xfrm>
            <a:off x="323392" y="1494765"/>
            <a:ext cx="9582608" cy="4829835"/>
          </a:xfrm>
        </p:spPr>
        <p:txBody>
          <a:bodyPr>
            <a:normAutofit/>
          </a:bodyPr>
          <a:lstStyle/>
          <a:p>
            <a:pPr marL="0" indent="0">
              <a:buNone/>
              <a:defRPr/>
            </a:pPr>
            <a:r>
              <a:rPr lang="en-US" sz="2400" dirty="0" smtClean="0"/>
              <a:t>In order </a:t>
            </a:r>
            <a:r>
              <a:rPr lang="en-US" sz="2400" dirty="0"/>
              <a:t>of </a:t>
            </a:r>
            <a:r>
              <a:rPr lang="en-US" sz="2400" dirty="0" smtClean="0"/>
              <a:t>preference:</a:t>
            </a:r>
            <a:endParaRPr lang="en-US" sz="2400" dirty="0"/>
          </a:p>
          <a:p>
            <a:pPr marL="0" indent="0">
              <a:buNone/>
              <a:defRPr/>
            </a:pPr>
            <a:r>
              <a:rPr lang="en-US" sz="1600" dirty="0" smtClean="0"/>
              <a:t>1. Log a ticket </a:t>
            </a:r>
            <a:r>
              <a:rPr lang="en-US" sz="1600" dirty="0"/>
              <a:t>with online </a:t>
            </a:r>
            <a:r>
              <a:rPr lang="en-US" sz="1600" dirty="0" smtClean="0"/>
              <a:t>Service </a:t>
            </a:r>
            <a:r>
              <a:rPr lang="en-US" sz="1600" dirty="0"/>
              <a:t>Desk </a:t>
            </a:r>
            <a:r>
              <a:rPr lang="en-US" sz="1600" dirty="0" smtClean="0"/>
              <a:t>Portal</a:t>
            </a:r>
          </a:p>
          <a:p>
            <a:pPr marL="0" indent="0">
              <a:buNone/>
              <a:defRPr/>
            </a:pPr>
            <a:r>
              <a:rPr lang="en-US" sz="1600" dirty="0">
                <a:solidFill>
                  <a:srgbClr val="0070C0"/>
                </a:solidFill>
              </a:rPr>
              <a:t> </a:t>
            </a:r>
            <a:r>
              <a:rPr lang="en-US" sz="1600" dirty="0" smtClean="0">
                <a:solidFill>
                  <a:srgbClr val="0070C0"/>
                </a:solidFill>
              </a:rPr>
              <a:t>  </a:t>
            </a:r>
            <a:r>
              <a:rPr lang="en-US" sz="1600" u="sng" dirty="0" smtClean="0">
                <a:solidFill>
                  <a:srgbClr val="0070C0"/>
                </a:solidFill>
              </a:rPr>
              <a:t>http://support.capgemini.com</a:t>
            </a:r>
            <a:endParaRPr lang="en-US" sz="1600" u="sng" dirty="0">
              <a:solidFill>
                <a:srgbClr val="0070C0"/>
              </a:solidFill>
            </a:endParaRPr>
          </a:p>
          <a:p>
            <a:pPr marL="0" indent="0">
              <a:buNone/>
              <a:defRPr/>
            </a:pPr>
            <a:endParaRPr lang="en-US" sz="1600" dirty="0" smtClean="0"/>
          </a:p>
          <a:p>
            <a:pPr marL="0" indent="0">
              <a:buNone/>
              <a:defRPr/>
            </a:pPr>
            <a:r>
              <a:rPr lang="en-US" sz="1600" dirty="0" smtClean="0"/>
              <a:t>2. If </a:t>
            </a:r>
            <a:r>
              <a:rPr lang="en-US" sz="1600" dirty="0"/>
              <a:t>you are unable to raise a ticket through Service Desk Portal, you can send email to Service Desk email ID</a:t>
            </a:r>
          </a:p>
          <a:p>
            <a:pPr>
              <a:defRPr/>
            </a:pPr>
            <a:r>
              <a:rPr lang="en-US" sz="1600" dirty="0" smtClean="0"/>
              <a:t>Outlook </a:t>
            </a:r>
            <a:r>
              <a:rPr lang="en-US" sz="1600" dirty="0"/>
              <a:t>Display Name: IN, ITICS Service Desk</a:t>
            </a:r>
          </a:p>
          <a:p>
            <a:pPr>
              <a:defRPr/>
            </a:pPr>
            <a:r>
              <a:rPr lang="en-US" sz="1600" dirty="0" smtClean="0"/>
              <a:t>Email </a:t>
            </a:r>
            <a:r>
              <a:rPr lang="en-US" sz="1600" dirty="0"/>
              <a:t>Address: </a:t>
            </a:r>
            <a:r>
              <a:rPr lang="en-US" sz="1600" dirty="0">
                <a:solidFill>
                  <a:srgbClr val="00A0D6"/>
                </a:solidFill>
              </a:rPr>
              <a:t>iticsservicedesk.in@capgemini.com</a:t>
            </a:r>
          </a:p>
          <a:p>
            <a:pPr marL="0" indent="0">
              <a:buNone/>
              <a:defRPr/>
            </a:pPr>
            <a:endParaRPr lang="en-US" sz="1600" dirty="0" smtClean="0">
              <a:solidFill>
                <a:schemeClr val="tx1"/>
              </a:solidFill>
            </a:endParaRPr>
          </a:p>
          <a:p>
            <a:pPr marL="0" indent="0">
              <a:buNone/>
              <a:defRPr/>
            </a:pPr>
            <a:r>
              <a:rPr lang="en-US" sz="1600" dirty="0" smtClean="0">
                <a:solidFill>
                  <a:schemeClr val="tx1"/>
                </a:solidFill>
              </a:rPr>
              <a:t>3</a:t>
            </a:r>
            <a:r>
              <a:rPr lang="en-US" sz="1600" dirty="0">
                <a:solidFill>
                  <a:schemeClr val="tx1"/>
                </a:solidFill>
              </a:rPr>
              <a:t>. If you are unable to access tool or email and the request / incident is urgent you can reach us below mentioned </a:t>
            </a:r>
            <a:r>
              <a:rPr lang="en-US" sz="1600" dirty="0" smtClean="0">
                <a:solidFill>
                  <a:schemeClr val="tx1"/>
                </a:solidFill>
              </a:rPr>
              <a:t>extensions</a:t>
            </a:r>
          </a:p>
          <a:p>
            <a:pPr marL="0" indent="0">
              <a:buNone/>
              <a:defRPr/>
            </a:pPr>
            <a:endParaRPr lang="en-US" sz="1600" u="sng" dirty="0" smtClean="0">
              <a:solidFill>
                <a:srgbClr val="0070C0"/>
              </a:solidFill>
            </a:endParaRPr>
          </a:p>
          <a:p>
            <a:pPr marL="0" indent="0">
              <a:buNone/>
              <a:defRPr/>
            </a:pPr>
            <a:endParaRPr lang="en-US" u="sng" dirty="0">
              <a:solidFill>
                <a:srgbClr val="0070C0"/>
              </a:solidFill>
              <a:latin typeface="Arial" pitchFamily="34" charset="0"/>
            </a:endParaRPr>
          </a:p>
          <a:p>
            <a:pPr>
              <a:defRPr/>
            </a:pPr>
            <a:endParaRPr lang="en-US" u="sng" dirty="0">
              <a:solidFill>
                <a:srgbClr val="0070C0"/>
              </a:solidFill>
              <a:latin typeface="Arial" pitchFamily="34" charset="0"/>
            </a:endParaRPr>
          </a:p>
          <a:p>
            <a:pPr>
              <a:defRPr/>
            </a:pPr>
            <a:endParaRPr lang="en-US" u="sng" dirty="0">
              <a:solidFill>
                <a:srgbClr val="0070C0"/>
              </a:solidFill>
              <a:latin typeface="Arial" pitchFamily="34" charset="0"/>
            </a:endParaRPr>
          </a:p>
          <a:p>
            <a:pPr>
              <a:defRPr/>
            </a:pPr>
            <a:endParaRPr lang="en-US" u="sng" dirty="0">
              <a:solidFill>
                <a:srgbClr val="0070C0"/>
              </a:solidFill>
              <a:latin typeface="Arial" pitchFamily="34" charset="0"/>
            </a:endParaRPr>
          </a:p>
          <a:p>
            <a:pPr>
              <a:defRPr/>
            </a:pPr>
            <a:endParaRPr lang="en-US" u="sng" dirty="0">
              <a:solidFill>
                <a:srgbClr val="0070C0"/>
              </a:solidFill>
              <a:latin typeface="Arial" pitchFamily="34" charset="0"/>
            </a:endParaRPr>
          </a:p>
          <a:p>
            <a:pPr>
              <a:defRPr/>
            </a:pPr>
            <a:endParaRPr lang="en-US" u="sng" dirty="0">
              <a:solidFill>
                <a:srgbClr val="0070C0"/>
              </a:solidFill>
              <a:latin typeface="Arial" pitchFamily="34" charset="0"/>
            </a:endParaRPr>
          </a:p>
          <a:p>
            <a:pPr>
              <a:defRPr/>
            </a:pPr>
            <a:endParaRPr lang="en-US" u="sng" dirty="0">
              <a:solidFill>
                <a:srgbClr val="0070C0"/>
              </a:solidFill>
              <a:latin typeface="Arial" pitchFamily="34" charset="0"/>
            </a:endParaRPr>
          </a:p>
          <a:p>
            <a:pPr>
              <a:defRPr/>
            </a:pPr>
            <a:endParaRPr lang="en-US" i="1" dirty="0">
              <a:latin typeface="Arial" pitchFamily="34" charset="0"/>
            </a:endParaRPr>
          </a:p>
          <a:p>
            <a:pPr>
              <a:defRPr/>
            </a:pPr>
            <a:endParaRPr lang="en-US" i="1" dirty="0">
              <a:latin typeface="Arial" pitchFamily="34" charset="0"/>
            </a:endParaRPr>
          </a:p>
          <a:p>
            <a:pPr marL="0" indent="0">
              <a:buNone/>
            </a:pPr>
            <a:endParaRPr lang="en-US" dirty="0"/>
          </a:p>
        </p:txBody>
      </p:sp>
      <p:graphicFrame>
        <p:nvGraphicFramePr>
          <p:cNvPr id="4" name="Table 3"/>
          <p:cNvGraphicFramePr>
            <a:graphicFrameLocks noGrp="1"/>
          </p:cNvGraphicFramePr>
          <p:nvPr>
            <p:extLst>
              <p:ext uri="{D42A27DB-BD31-4B8C-83A1-F6EECF244321}">
                <p14:modId xmlns="" xmlns:p14="http://schemas.microsoft.com/office/powerpoint/2010/main" val="4076517836"/>
              </p:ext>
            </p:extLst>
          </p:nvPr>
        </p:nvGraphicFramePr>
        <p:xfrm>
          <a:off x="2505694" y="4612640"/>
          <a:ext cx="7148945" cy="1864995"/>
        </p:xfrm>
        <a:graphic>
          <a:graphicData uri="http://schemas.openxmlformats.org/drawingml/2006/table">
            <a:tbl>
              <a:tblPr firstRow="1" bandRow="1">
                <a:tableStyleId>{5C22544A-7EE6-4342-B048-85BDC9FD1C3A}</a:tableStyleId>
              </a:tblPr>
              <a:tblGrid>
                <a:gridCol w="2547623"/>
                <a:gridCol w="1728745"/>
                <a:gridCol w="2872577"/>
              </a:tblGrid>
              <a:tr h="261190">
                <a:tc>
                  <a:txBody>
                    <a:bodyPr/>
                    <a:lstStyle/>
                    <a:p>
                      <a:pPr algn="ctr"/>
                      <a:r>
                        <a:rPr lang="en-US" sz="1400" dirty="0" smtClean="0"/>
                        <a:t>Location</a:t>
                      </a:r>
                      <a:endParaRPr lang="en-US" sz="1400" dirty="0"/>
                    </a:p>
                  </a:txBody>
                  <a:tcPr marL="99060" marR="99060"/>
                </a:tc>
                <a:tc>
                  <a:txBody>
                    <a:bodyPr/>
                    <a:lstStyle/>
                    <a:p>
                      <a:pPr algn="ctr"/>
                      <a:r>
                        <a:rPr lang="en-US" sz="1400" dirty="0" smtClean="0"/>
                        <a:t>Within Office</a:t>
                      </a:r>
                      <a:endParaRPr lang="en-US" sz="1400" dirty="0"/>
                    </a:p>
                  </a:txBody>
                  <a:tcPr marL="99060" marR="99060"/>
                </a:tc>
                <a:tc>
                  <a:txBody>
                    <a:bodyPr/>
                    <a:lstStyle/>
                    <a:p>
                      <a:pPr algn="ctr"/>
                      <a:r>
                        <a:rPr lang="en-US" sz="1400" dirty="0" smtClean="0"/>
                        <a:t>Outside</a:t>
                      </a:r>
                      <a:r>
                        <a:rPr lang="en-US" sz="1400" baseline="0" dirty="0" smtClean="0"/>
                        <a:t> Office</a:t>
                      </a:r>
                      <a:endParaRPr lang="en-US" sz="1400" dirty="0"/>
                    </a:p>
                  </a:txBody>
                  <a:tcPr marL="99060" marR="99060"/>
                </a:tc>
              </a:tr>
              <a:tr h="190995">
                <a:tc>
                  <a:txBody>
                    <a:bodyPr/>
                    <a:lstStyle/>
                    <a:p>
                      <a:pPr algn="ctr" fontAlgn="ctr"/>
                      <a:r>
                        <a:rPr lang="en-US" sz="1400" u="none" strike="noStrike" dirty="0">
                          <a:effectLst/>
                          <a:latin typeface="+mn-lt"/>
                          <a:cs typeface="Arial" panose="020B0604020202020204" pitchFamily="34" charset="0"/>
                        </a:rPr>
                        <a:t>Chennai</a:t>
                      </a:r>
                      <a:endParaRPr lang="en-US" sz="1400" b="0" i="0" u="none" strike="noStrike" dirty="0">
                        <a:solidFill>
                          <a:srgbClr val="000000"/>
                        </a:solidFill>
                        <a:effectLst/>
                        <a:latin typeface="+mn-lt"/>
                        <a:cs typeface="Arial" panose="020B0604020202020204" pitchFamily="34" charset="0"/>
                      </a:endParaRPr>
                    </a:p>
                  </a:txBody>
                  <a:tcPr marL="10319" marR="10319" marT="9525" marB="0" anchor="ctr"/>
                </a:tc>
                <a:tc rowSpan="7">
                  <a:txBody>
                    <a:bodyPr/>
                    <a:lstStyle/>
                    <a:p>
                      <a:pPr algn="ctr"/>
                      <a:r>
                        <a:rPr lang="en-US" sz="1400" dirty="0" smtClean="0"/>
                        <a:t>4004</a:t>
                      </a:r>
                      <a:endParaRPr lang="en-US" sz="1400" dirty="0"/>
                    </a:p>
                  </a:txBody>
                  <a:tcPr marL="99060" marR="99060" anchor="ctr"/>
                </a:tc>
                <a:tc>
                  <a:txBody>
                    <a:bodyPr/>
                    <a:lstStyle/>
                    <a:p>
                      <a:pPr algn="ctr" fontAlgn="ctr"/>
                      <a:r>
                        <a:rPr lang="en-US" sz="1400" u="none" strike="noStrike" dirty="0">
                          <a:effectLst/>
                        </a:rPr>
                        <a:t>+91 44 69444004</a:t>
                      </a:r>
                      <a:endParaRPr lang="en-US" sz="1400" b="0" i="0" u="none" strike="noStrike" dirty="0">
                        <a:solidFill>
                          <a:srgbClr val="000000"/>
                        </a:solidFill>
                        <a:effectLst/>
                        <a:latin typeface="Arial" panose="020B0604020202020204" pitchFamily="34" charset="0"/>
                      </a:endParaRPr>
                    </a:p>
                  </a:txBody>
                  <a:tcPr marL="10319" marR="10319" marT="9525" marB="0" anchor="ctr"/>
                </a:tc>
              </a:tr>
              <a:tr h="190995">
                <a:tc>
                  <a:txBody>
                    <a:bodyPr/>
                    <a:lstStyle/>
                    <a:p>
                      <a:pPr algn="ctr" fontAlgn="ctr"/>
                      <a:r>
                        <a:rPr lang="en-US" sz="1400" u="none" strike="noStrike" dirty="0">
                          <a:effectLst/>
                          <a:latin typeface="+mn-lt"/>
                          <a:cs typeface="Arial" panose="020B0604020202020204" pitchFamily="34" charset="0"/>
                        </a:rPr>
                        <a:t>Pune</a:t>
                      </a:r>
                      <a:endParaRPr lang="en-US" sz="1400" b="0" i="0" u="none" strike="noStrike" dirty="0">
                        <a:solidFill>
                          <a:srgbClr val="000000"/>
                        </a:solidFill>
                        <a:effectLst/>
                        <a:latin typeface="+mn-lt"/>
                        <a:cs typeface="Arial" panose="020B0604020202020204" pitchFamily="34" charset="0"/>
                      </a:endParaRPr>
                    </a:p>
                  </a:txBody>
                  <a:tcPr marL="10319" marR="10319" marT="9525" marB="0" anchor="ctr"/>
                </a:tc>
                <a:tc vMerge="1">
                  <a:txBody>
                    <a:bodyPr/>
                    <a:lstStyle/>
                    <a:p>
                      <a:endParaRPr lang="en-US" dirty="0"/>
                    </a:p>
                  </a:txBody>
                  <a:tcPr/>
                </a:tc>
                <a:tc>
                  <a:txBody>
                    <a:bodyPr/>
                    <a:lstStyle/>
                    <a:p>
                      <a:pPr algn="ctr" fontAlgn="ctr"/>
                      <a:r>
                        <a:rPr lang="en-US" sz="1400" u="none" strike="noStrike" dirty="0">
                          <a:effectLst/>
                        </a:rPr>
                        <a:t>+91 20 69444004</a:t>
                      </a:r>
                      <a:endParaRPr lang="en-US" sz="1400" b="0" i="0" u="none" strike="noStrike" dirty="0">
                        <a:solidFill>
                          <a:srgbClr val="000000"/>
                        </a:solidFill>
                        <a:effectLst/>
                        <a:latin typeface="Arial" panose="020B0604020202020204" pitchFamily="34" charset="0"/>
                      </a:endParaRPr>
                    </a:p>
                  </a:txBody>
                  <a:tcPr marL="10319" marR="10319" marT="9525" marB="0" anchor="ctr"/>
                </a:tc>
              </a:tr>
              <a:tr h="190995">
                <a:tc>
                  <a:txBody>
                    <a:bodyPr/>
                    <a:lstStyle/>
                    <a:p>
                      <a:pPr algn="ctr" fontAlgn="ctr"/>
                      <a:r>
                        <a:rPr lang="en-US" sz="1400" u="none" strike="noStrike" dirty="0">
                          <a:effectLst/>
                          <a:latin typeface="+mn-lt"/>
                          <a:cs typeface="Arial" panose="020B0604020202020204" pitchFamily="34" charset="0"/>
                        </a:rPr>
                        <a:t>Gurgaon</a:t>
                      </a:r>
                      <a:endParaRPr lang="en-US" sz="1400" b="0" i="0" u="none" strike="noStrike" dirty="0">
                        <a:solidFill>
                          <a:srgbClr val="000000"/>
                        </a:solidFill>
                        <a:effectLst/>
                        <a:latin typeface="+mn-lt"/>
                        <a:cs typeface="Arial" panose="020B0604020202020204" pitchFamily="34" charset="0"/>
                      </a:endParaRPr>
                    </a:p>
                  </a:txBody>
                  <a:tcPr marL="10319" marR="10319" marT="9525" marB="0" anchor="ctr"/>
                </a:tc>
                <a:tc vMerge="1">
                  <a:txBody>
                    <a:bodyPr/>
                    <a:lstStyle/>
                    <a:p>
                      <a:endParaRPr lang="en-US" dirty="0"/>
                    </a:p>
                  </a:txBody>
                  <a:tcPr/>
                </a:tc>
                <a:tc>
                  <a:txBody>
                    <a:bodyPr/>
                    <a:lstStyle/>
                    <a:p>
                      <a:pPr algn="ctr" fontAlgn="ctr"/>
                      <a:r>
                        <a:rPr lang="en-US" sz="1400" u="none" strike="noStrike" dirty="0">
                          <a:effectLst/>
                        </a:rPr>
                        <a:t>+91 11 69444004</a:t>
                      </a:r>
                      <a:endParaRPr lang="en-US" sz="1400" b="0" i="0" u="none" strike="noStrike" dirty="0">
                        <a:solidFill>
                          <a:srgbClr val="000000"/>
                        </a:solidFill>
                        <a:effectLst/>
                        <a:latin typeface="Arial" panose="020B0604020202020204" pitchFamily="34" charset="0"/>
                      </a:endParaRPr>
                    </a:p>
                  </a:txBody>
                  <a:tcPr marL="10319" marR="10319" marT="9525" marB="0" anchor="ctr"/>
                </a:tc>
              </a:tr>
              <a:tr h="190995">
                <a:tc>
                  <a:txBody>
                    <a:bodyPr/>
                    <a:lstStyle/>
                    <a:p>
                      <a:pPr algn="ctr" fontAlgn="ctr"/>
                      <a:r>
                        <a:rPr lang="en-US" sz="1400" u="none" strike="noStrike" dirty="0">
                          <a:effectLst/>
                          <a:latin typeface="+mn-lt"/>
                          <a:cs typeface="Arial" panose="020B0604020202020204" pitchFamily="34" charset="0"/>
                        </a:rPr>
                        <a:t>Hyderabad</a:t>
                      </a:r>
                      <a:endParaRPr lang="en-US" sz="1400" b="0" i="0" u="none" strike="noStrike" dirty="0">
                        <a:solidFill>
                          <a:srgbClr val="000000"/>
                        </a:solidFill>
                        <a:effectLst/>
                        <a:latin typeface="+mn-lt"/>
                        <a:cs typeface="Arial" panose="020B0604020202020204" pitchFamily="34" charset="0"/>
                      </a:endParaRPr>
                    </a:p>
                  </a:txBody>
                  <a:tcPr marL="10319" marR="10319" marT="9525" marB="0" anchor="ctr"/>
                </a:tc>
                <a:tc vMerge="1">
                  <a:txBody>
                    <a:bodyPr/>
                    <a:lstStyle/>
                    <a:p>
                      <a:endParaRPr lang="en-US" dirty="0"/>
                    </a:p>
                  </a:txBody>
                  <a:tcPr/>
                </a:tc>
                <a:tc>
                  <a:txBody>
                    <a:bodyPr/>
                    <a:lstStyle/>
                    <a:p>
                      <a:pPr algn="ctr" fontAlgn="ctr"/>
                      <a:r>
                        <a:rPr lang="en-US" sz="1400" u="none" strike="noStrike" dirty="0">
                          <a:effectLst/>
                        </a:rPr>
                        <a:t>+91 40 69444004</a:t>
                      </a:r>
                      <a:endParaRPr lang="en-US" sz="1400" b="0" i="0" u="none" strike="noStrike" dirty="0">
                        <a:solidFill>
                          <a:srgbClr val="000000"/>
                        </a:solidFill>
                        <a:effectLst/>
                        <a:latin typeface="Arial" panose="020B0604020202020204" pitchFamily="34" charset="0"/>
                      </a:endParaRPr>
                    </a:p>
                  </a:txBody>
                  <a:tcPr marL="10319" marR="10319" marT="9525" marB="0" anchor="ctr"/>
                </a:tc>
              </a:tr>
              <a:tr h="190995">
                <a:tc>
                  <a:txBody>
                    <a:bodyPr/>
                    <a:lstStyle/>
                    <a:p>
                      <a:pPr algn="ctr" fontAlgn="ctr"/>
                      <a:r>
                        <a:rPr lang="en-US" sz="1400" b="0" i="0" u="none" strike="noStrike" dirty="0" smtClean="0">
                          <a:solidFill>
                            <a:srgbClr val="000000"/>
                          </a:solidFill>
                          <a:effectLst/>
                          <a:latin typeface="+mn-lt"/>
                          <a:cs typeface="Arial" panose="020B0604020202020204" pitchFamily="34" charset="0"/>
                        </a:rPr>
                        <a:t>Bangalore</a:t>
                      </a:r>
                      <a:endParaRPr lang="en-US" sz="1400" b="0" i="0" u="none" strike="noStrike" dirty="0">
                        <a:solidFill>
                          <a:srgbClr val="000000"/>
                        </a:solidFill>
                        <a:effectLst/>
                        <a:latin typeface="+mn-lt"/>
                        <a:cs typeface="Arial" panose="020B0604020202020204" pitchFamily="34" charset="0"/>
                      </a:endParaRPr>
                    </a:p>
                  </a:txBody>
                  <a:tcPr marL="10319" marR="10319" marT="9525" marB="0" anchor="ctr"/>
                </a:tc>
                <a:tc vMerge="1">
                  <a:txBody>
                    <a:bodyPr/>
                    <a:lstStyle/>
                    <a:p>
                      <a:endParaRPr lang="en-US" dirty="0"/>
                    </a:p>
                  </a:txBody>
                  <a:tcPr/>
                </a:tc>
                <a:tc>
                  <a:txBody>
                    <a:bodyPr/>
                    <a:lstStyle/>
                    <a:p>
                      <a:pPr algn="ctr" fontAlgn="ctr"/>
                      <a:r>
                        <a:rPr lang="en-US" sz="1400" u="none" strike="noStrike" dirty="0">
                          <a:effectLst/>
                        </a:rPr>
                        <a:t>+91 80 69444004</a:t>
                      </a:r>
                      <a:endParaRPr lang="en-US" sz="1400" b="0" i="0" u="none" strike="noStrike" dirty="0">
                        <a:solidFill>
                          <a:srgbClr val="000000"/>
                        </a:solidFill>
                        <a:effectLst/>
                        <a:latin typeface="Arial" panose="020B0604020202020204" pitchFamily="34" charset="0"/>
                      </a:endParaRPr>
                    </a:p>
                  </a:txBody>
                  <a:tcPr marL="10319" marR="10319" marT="9525" marB="0" anchor="ctr"/>
                </a:tc>
              </a:tr>
              <a:tr h="190995">
                <a:tc>
                  <a:txBody>
                    <a:bodyPr/>
                    <a:lstStyle/>
                    <a:p>
                      <a:pPr algn="ctr" fontAlgn="ctr"/>
                      <a:r>
                        <a:rPr lang="en-US" sz="1400" u="none" strike="noStrike" dirty="0">
                          <a:effectLst/>
                          <a:latin typeface="+mn-lt"/>
                          <a:cs typeface="Arial" panose="020B0604020202020204" pitchFamily="34" charset="0"/>
                        </a:rPr>
                        <a:t>Kolkata</a:t>
                      </a:r>
                      <a:endParaRPr lang="en-US" sz="1400" b="0" i="0" u="none" strike="noStrike" dirty="0">
                        <a:solidFill>
                          <a:srgbClr val="000000"/>
                        </a:solidFill>
                        <a:effectLst/>
                        <a:latin typeface="+mn-lt"/>
                        <a:cs typeface="Arial" panose="020B0604020202020204" pitchFamily="34" charset="0"/>
                      </a:endParaRPr>
                    </a:p>
                  </a:txBody>
                  <a:tcPr marL="10319" marR="10319" marT="9525" marB="0" anchor="ctr"/>
                </a:tc>
                <a:tc vMerge="1">
                  <a:txBody>
                    <a:bodyPr/>
                    <a:lstStyle/>
                    <a:p>
                      <a:endParaRPr lang="en-US" dirty="0"/>
                    </a:p>
                  </a:txBody>
                  <a:tcPr/>
                </a:tc>
                <a:tc>
                  <a:txBody>
                    <a:bodyPr/>
                    <a:lstStyle/>
                    <a:p>
                      <a:pPr algn="ctr" fontAlgn="ctr"/>
                      <a:r>
                        <a:rPr lang="en-US" sz="1400" u="none" strike="noStrike" dirty="0">
                          <a:effectLst/>
                        </a:rPr>
                        <a:t>+91 33 69444004</a:t>
                      </a:r>
                      <a:endParaRPr lang="en-US" sz="1400" b="0" i="0" u="none" strike="noStrike" dirty="0">
                        <a:solidFill>
                          <a:srgbClr val="000000"/>
                        </a:solidFill>
                        <a:effectLst/>
                        <a:latin typeface="Arial" panose="020B0604020202020204" pitchFamily="34" charset="0"/>
                      </a:endParaRPr>
                    </a:p>
                  </a:txBody>
                  <a:tcPr marL="10319" marR="10319" marT="9525" marB="0" anchor="ctr"/>
                </a:tc>
              </a:tr>
              <a:tr h="190995">
                <a:tc>
                  <a:txBody>
                    <a:bodyPr/>
                    <a:lstStyle/>
                    <a:p>
                      <a:pPr algn="ctr" fontAlgn="ctr"/>
                      <a:r>
                        <a:rPr lang="en-US" sz="1400" u="none" strike="noStrike" dirty="0">
                          <a:effectLst/>
                          <a:latin typeface="+mn-lt"/>
                          <a:cs typeface="Arial" panose="020B0604020202020204" pitchFamily="34" charset="0"/>
                        </a:rPr>
                        <a:t>Mumbai</a:t>
                      </a:r>
                      <a:endParaRPr lang="en-US" sz="1400" b="0" i="0" u="none" strike="noStrike" dirty="0">
                        <a:solidFill>
                          <a:srgbClr val="000000"/>
                        </a:solidFill>
                        <a:effectLst/>
                        <a:latin typeface="+mn-lt"/>
                        <a:cs typeface="Arial" panose="020B0604020202020204" pitchFamily="34" charset="0"/>
                      </a:endParaRPr>
                    </a:p>
                  </a:txBody>
                  <a:tcPr marL="10319" marR="10319" marT="9525" marB="0" anchor="ctr"/>
                </a:tc>
                <a:tc vMerge="1">
                  <a:txBody>
                    <a:bodyPr/>
                    <a:lstStyle/>
                    <a:p>
                      <a:endParaRPr lang="en-US" dirty="0"/>
                    </a:p>
                  </a:txBody>
                  <a:tcPr/>
                </a:tc>
                <a:tc>
                  <a:txBody>
                    <a:bodyPr/>
                    <a:lstStyle/>
                    <a:p>
                      <a:pPr algn="ctr" fontAlgn="ctr"/>
                      <a:r>
                        <a:rPr lang="en-US" sz="1400" u="none" strike="noStrike" dirty="0">
                          <a:effectLst/>
                        </a:rPr>
                        <a:t>+91 22 69444004</a:t>
                      </a:r>
                      <a:endParaRPr lang="en-US" sz="1400" b="0" i="0" u="none" strike="noStrike" dirty="0">
                        <a:solidFill>
                          <a:srgbClr val="000000"/>
                        </a:solidFill>
                        <a:effectLst/>
                        <a:latin typeface="Arial" panose="020B0604020202020204" pitchFamily="34" charset="0"/>
                      </a:endParaRPr>
                    </a:p>
                  </a:txBody>
                  <a:tcPr marL="10319" marR="10319" marT="9525" marB="0" anchor="ctr"/>
                </a:tc>
              </a:tr>
            </a:tbl>
          </a:graphicData>
        </a:graphic>
      </p:graphicFrame>
    </p:spTree>
    <p:extLst>
      <p:ext uri="{BB962C8B-B14F-4D97-AF65-F5344CB8AC3E}">
        <p14:creationId xmlns="" xmlns:p14="http://schemas.microsoft.com/office/powerpoint/2010/main" val="1643578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re 1"/>
          <p:cNvSpPr>
            <a:spLocks noGrp="1"/>
          </p:cNvSpPr>
          <p:nvPr>
            <p:ph type="ctrTitle"/>
          </p:nvPr>
        </p:nvSpPr>
        <p:spPr/>
        <p:txBody>
          <a:bodyPr/>
          <a:lstStyle/>
          <a:p>
            <a:pPr eaLnBrk="1" hangingPunct="1"/>
            <a:r>
              <a:rPr lang="en-US" dirty="0" smtClean="0">
                <a:latin typeface="Arial" charset="0"/>
                <a:cs typeface="Arial" charset="0"/>
              </a:rPr>
              <a:t>Group Overview</a:t>
            </a:r>
          </a:p>
        </p:txBody>
      </p:sp>
    </p:spTree>
    <p:extLst>
      <p:ext uri="{BB962C8B-B14F-4D97-AF65-F5344CB8AC3E}">
        <p14:creationId xmlns="" xmlns:p14="http://schemas.microsoft.com/office/powerpoint/2010/main" val="1824847145"/>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Email: Outlook</a:t>
            </a:r>
            <a:endParaRPr lang="en-US" dirty="0"/>
          </a:p>
        </p:txBody>
      </p:sp>
      <p:sp>
        <p:nvSpPr>
          <p:cNvPr id="19" name="Content Placeholder 18"/>
          <p:cNvSpPr>
            <a:spLocks noGrp="1"/>
          </p:cNvSpPr>
          <p:nvPr>
            <p:ph idx="1"/>
          </p:nvPr>
        </p:nvSpPr>
        <p:spPr/>
        <p:txBody>
          <a:bodyPr/>
          <a:lstStyle/>
          <a:p>
            <a:pPr>
              <a:buNone/>
            </a:pPr>
            <a:r>
              <a:rPr lang="en-US" dirty="0" smtClean="0"/>
              <a:t>			Microsoft Outlook is the </a:t>
            </a:r>
            <a:r>
              <a:rPr lang="en-US" dirty="0" err="1" smtClean="0"/>
              <a:t>Capgemini</a:t>
            </a:r>
            <a:r>
              <a:rPr lang="en-US" dirty="0" smtClean="0"/>
              <a:t> email client</a:t>
            </a:r>
          </a:p>
          <a:p>
            <a:endParaRPr lang="en-US" dirty="0" smtClean="0"/>
          </a:p>
          <a:p>
            <a:endParaRPr lang="en-US" dirty="0" smtClean="0"/>
          </a:p>
          <a:p>
            <a:pPr lvl="1"/>
            <a:r>
              <a:rPr lang="en-US" dirty="0" smtClean="0"/>
              <a:t>Your Outlook is setup to maintain a cached copy of your mailbox. This allows you work in Outlook while being offline.</a:t>
            </a:r>
          </a:p>
          <a:p>
            <a:pPr lvl="1"/>
            <a:r>
              <a:rPr lang="en-US" dirty="0" smtClean="0"/>
              <a:t>All your email, contacts, calendar items, and tasks will be viewable up to the last time you synced. New emails will be received or sent the next time you connect to the network or VPN.</a:t>
            </a:r>
          </a:p>
          <a:p>
            <a:pPr lvl="1"/>
            <a:r>
              <a:rPr lang="en-US" dirty="0" smtClean="0"/>
              <a:t>The mailbox size provided is 250mb. You will need to manage this space and create archives in Outlook as needed to save older mail items.</a:t>
            </a:r>
          </a:p>
          <a:p>
            <a:pPr lvl="1"/>
            <a:r>
              <a:rPr lang="en-US" dirty="0" smtClean="0"/>
              <a:t>The maximum message size per email is 5mb. To send larger files use the FTS site (http://fts.capgemini.com), then send the link for the file(s) to your recipient.</a:t>
            </a:r>
          </a:p>
          <a:p>
            <a:pPr lvl="1"/>
            <a:r>
              <a:rPr lang="en-US" dirty="0" smtClean="0"/>
              <a:t>For Outlook support, please raise a ticket on the FS SBU Service Desk portal (</a:t>
            </a:r>
            <a:r>
              <a:rPr lang="en-US" dirty="0" smtClean="0">
                <a:solidFill>
                  <a:srgbClr val="00A0D6"/>
                </a:solidFill>
              </a:rPr>
              <a:t>http://support.capgemini.com</a:t>
            </a:r>
            <a:r>
              <a:rPr lang="en-US" dirty="0" smtClean="0"/>
              <a:t>)</a:t>
            </a:r>
          </a:p>
          <a:p>
            <a:pPr lvl="1"/>
            <a:endParaRPr lang="en-US" dirty="0" smtClean="0"/>
          </a:p>
          <a:p>
            <a:endParaRPr lang="en-US" dirty="0"/>
          </a:p>
        </p:txBody>
      </p:sp>
      <p:pic>
        <p:nvPicPr>
          <p:cNvPr id="55300" name="Picture 1"/>
          <p:cNvPicPr>
            <a:picLocks noChangeAspect="1" noChangeArrowheads="1"/>
          </p:cNvPicPr>
          <p:nvPr/>
        </p:nvPicPr>
        <p:blipFill>
          <a:blip r:embed="rId3" cstate="print"/>
          <a:srcRect/>
          <a:stretch>
            <a:fillRect/>
          </a:stretch>
        </p:blipFill>
        <p:spPr bwMode="auto">
          <a:xfrm>
            <a:off x="577850" y="1387425"/>
            <a:ext cx="1227199" cy="1087847"/>
          </a:xfrm>
          <a:prstGeom prst="rect">
            <a:avLst/>
          </a:prstGeom>
          <a:noFill/>
          <a:ln w="9525">
            <a:noFill/>
            <a:miter lim="800000"/>
            <a:headEnd/>
            <a:tailEnd/>
          </a:ln>
        </p:spPr>
      </p:pic>
      <p:grpSp>
        <p:nvGrpSpPr>
          <p:cNvPr id="2" name="Group 6"/>
          <p:cNvGrpSpPr>
            <a:grpSpLocks/>
          </p:cNvGrpSpPr>
          <p:nvPr/>
        </p:nvGrpSpPr>
        <p:grpSpPr bwMode="auto">
          <a:xfrm>
            <a:off x="8941198" y="76201"/>
            <a:ext cx="889132" cy="409575"/>
            <a:chOff x="3327192" y="1750016"/>
            <a:chExt cx="820212" cy="410106"/>
          </a:xfrm>
        </p:grpSpPr>
        <p:sp>
          <p:nvSpPr>
            <p:cNvPr id="9" name="Rectangle 8"/>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0" name="Rectangle 9"/>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E-mail</a:t>
              </a:r>
            </a:p>
          </p:txBody>
        </p:sp>
      </p:grpSp>
      <p:grpSp>
        <p:nvGrpSpPr>
          <p:cNvPr id="3" name="Group 10"/>
          <p:cNvGrpSpPr>
            <a:grpSpLocks/>
          </p:cNvGrpSpPr>
          <p:nvPr/>
        </p:nvGrpSpPr>
        <p:grpSpPr bwMode="auto">
          <a:xfrm>
            <a:off x="7035668" y="76201"/>
            <a:ext cx="887413" cy="409575"/>
            <a:chOff x="932170" y="585314"/>
            <a:chExt cx="820212" cy="410106"/>
          </a:xfrm>
        </p:grpSpPr>
        <p:sp>
          <p:nvSpPr>
            <p:cNvPr id="12" name="Rectangle 11"/>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3" name="Rectangle 12"/>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grpSp>
        <p:nvGrpSpPr>
          <p:cNvPr id="4" name="Group 13"/>
          <p:cNvGrpSpPr>
            <a:grpSpLocks/>
          </p:cNvGrpSpPr>
          <p:nvPr/>
        </p:nvGrpSpPr>
        <p:grpSpPr bwMode="auto">
          <a:xfrm>
            <a:off x="7969515" y="76201"/>
            <a:ext cx="889133" cy="409575"/>
            <a:chOff x="1137223" y="1167665"/>
            <a:chExt cx="820212" cy="410106"/>
          </a:xfrm>
        </p:grpSpPr>
        <p:sp>
          <p:nvSpPr>
            <p:cNvPr id="15" name="Rectangle 14"/>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6" name="Rectangle 15"/>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Getting</a:t>
              </a:r>
              <a:br>
                <a:rPr lang="en-US" sz="900" dirty="0"/>
              </a:br>
              <a:r>
                <a:rPr lang="en-US" sz="900" dirty="0"/>
                <a:t>Started</a:t>
              </a:r>
            </a:p>
          </p:txBody>
        </p:sp>
      </p:gr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smtClean="0"/>
              <a:t>Email Signature</a:t>
            </a:r>
            <a:endParaRPr lang="en-US" dirty="0"/>
          </a:p>
        </p:txBody>
      </p:sp>
      <p:sp>
        <p:nvSpPr>
          <p:cNvPr id="101379" name="Rectangle 3"/>
          <p:cNvSpPr>
            <a:spLocks noGrp="1"/>
          </p:cNvSpPr>
          <p:nvPr>
            <p:ph idx="1"/>
          </p:nvPr>
        </p:nvSpPr>
        <p:spPr/>
        <p:txBody>
          <a:bodyPr/>
          <a:lstStyle/>
          <a:p>
            <a:pPr>
              <a:buNone/>
            </a:pPr>
            <a:r>
              <a:rPr lang="en-US" altLang="ko-KR" sz="1600" b="1" dirty="0" smtClean="0">
                <a:ea typeface="굴림" charset="-127"/>
              </a:rPr>
              <a:t>Your email signature must contain the following information:</a:t>
            </a:r>
          </a:p>
          <a:p>
            <a:r>
              <a:rPr lang="en-US" altLang="ko-KR" sz="1600" dirty="0" smtClean="0">
                <a:ea typeface="굴림" charset="-127"/>
              </a:rPr>
              <a:t>The signature (Your details, the CBE Label and the Group slogan) </a:t>
            </a:r>
          </a:p>
          <a:p>
            <a:r>
              <a:rPr lang="en-US" altLang="ko-KR" sz="1600" dirty="0" smtClean="0">
                <a:ea typeface="굴림" charset="-127"/>
              </a:rPr>
              <a:t>The </a:t>
            </a:r>
            <a:r>
              <a:rPr lang="en-US" altLang="ko-KR" sz="1600" dirty="0" smtClean="0">
                <a:ea typeface="굴림" charset="-127"/>
                <a:hlinkClick r:id="rId2"/>
              </a:rPr>
              <a:t>email disclaimer </a:t>
            </a:r>
            <a:r>
              <a:rPr lang="en-US" altLang="ko-KR" sz="1600" dirty="0" smtClean="0">
                <a:ea typeface="굴림" charset="-127"/>
              </a:rPr>
              <a:t>(automatic on outbound emails) </a:t>
            </a:r>
          </a:p>
          <a:p>
            <a:r>
              <a:rPr lang="en-US" altLang="ko-KR" sz="1600" dirty="0" smtClean="0">
                <a:ea typeface="굴림" charset="-127"/>
              </a:rPr>
              <a:t>The </a:t>
            </a:r>
            <a:r>
              <a:rPr lang="en-US" altLang="ko-KR" sz="1600" dirty="0" smtClean="0">
                <a:ea typeface="굴림" charset="-127"/>
                <a:hlinkClick r:id="rId2"/>
              </a:rPr>
              <a:t>Green logo </a:t>
            </a:r>
            <a:r>
              <a:rPr lang="en-US" altLang="ko-KR" sz="1600" dirty="0" smtClean="0">
                <a:ea typeface="굴림" charset="-127"/>
              </a:rPr>
              <a:t>(optional) </a:t>
            </a:r>
          </a:p>
          <a:p>
            <a:pPr>
              <a:buNone/>
            </a:pPr>
            <a:endParaRPr lang="en-US" sz="1600" dirty="0" smtClean="0"/>
          </a:p>
          <a:p>
            <a:pPr>
              <a:buNone/>
            </a:pPr>
            <a:r>
              <a:rPr lang="en-US" sz="1600" b="1" dirty="0" smtClean="0"/>
              <a:t>How to set up your signature</a:t>
            </a:r>
          </a:p>
          <a:p>
            <a:r>
              <a:rPr lang="en-US" sz="1600" i="1" dirty="0" smtClean="0"/>
              <a:t>Step 1: </a:t>
            </a:r>
            <a:r>
              <a:rPr lang="en-US" sz="1600" dirty="0" smtClean="0"/>
              <a:t>Download the Email signature template and save it on your desktop.</a:t>
            </a:r>
          </a:p>
          <a:p>
            <a:r>
              <a:rPr lang="en-US" sz="1600" i="1" dirty="0" smtClean="0"/>
              <a:t>Step 2: </a:t>
            </a:r>
            <a:r>
              <a:rPr lang="en-US" sz="1600" dirty="0" smtClean="0"/>
              <a:t>Open the “Email signature set up” document (Must read) which will guide you, step by step, during the installation procedure.</a:t>
            </a:r>
          </a:p>
          <a:p>
            <a:r>
              <a:rPr lang="en-US" sz="1600" i="1" dirty="0" smtClean="0"/>
              <a:t>Step 3: </a:t>
            </a:r>
          </a:p>
          <a:p>
            <a:pPr lvl="1"/>
            <a:r>
              <a:rPr lang="en-US" sz="1600" dirty="0" smtClean="0"/>
              <a:t>Customize your signature</a:t>
            </a:r>
          </a:p>
          <a:p>
            <a:pPr lvl="1"/>
            <a:r>
              <a:rPr lang="en-US" sz="1600" dirty="0" smtClean="0"/>
              <a:t>Ensure correct placement of </a:t>
            </a:r>
          </a:p>
          <a:p>
            <a:pPr lvl="1"/>
            <a:r>
              <a:rPr lang="en-US" sz="1600" dirty="0" smtClean="0"/>
              <a:t>Financial Services Global Business Unit. </a:t>
            </a:r>
          </a:p>
          <a:p>
            <a:pPr>
              <a:buNone/>
            </a:pPr>
            <a:endParaRPr lang="en-US" sz="1600" dirty="0" smtClean="0"/>
          </a:p>
          <a:p>
            <a:pPr eaLnBrk="1" hangingPunct="1">
              <a:buFont typeface="Wingdings" pitchFamily="2" charset="2"/>
              <a:buNone/>
            </a:pPr>
            <a:endParaRPr lang="en-US" sz="1600" dirty="0" smtClean="0"/>
          </a:p>
          <a:p>
            <a:pPr eaLnBrk="1" hangingPunct="1"/>
            <a:endParaRPr lang="en-US" sz="1600" dirty="0" smtClean="0"/>
          </a:p>
          <a:p>
            <a:pPr eaLnBrk="1" hangingPunct="1">
              <a:buFont typeface="Wingdings" pitchFamily="2" charset="2"/>
              <a:buNone/>
            </a:pPr>
            <a:endParaRPr lang="en-US" sz="1600" dirty="0" smtClean="0"/>
          </a:p>
        </p:txBody>
      </p:sp>
      <p:sp>
        <p:nvSpPr>
          <p:cNvPr id="20482" name="Slide Number Placeholder 7"/>
          <p:cNvSpPr>
            <a:spLocks noGrp="1"/>
          </p:cNvSpPr>
          <p:nvPr>
            <p:ph type="sldNum" sz="quarter" idx="4294967295"/>
          </p:nvPr>
        </p:nvSpPr>
        <p:spPr>
          <a:xfrm>
            <a:off x="9653588" y="6732588"/>
            <a:ext cx="252412" cy="104775"/>
          </a:xfrm>
          <a:prstGeom prst="rect">
            <a:avLst/>
          </a:prstGeom>
          <a:noFill/>
        </p:spPr>
        <p:txBody>
          <a:bodyPr/>
          <a:lstStyle/>
          <a:p>
            <a:pPr fontAlgn="base">
              <a:spcBef>
                <a:spcPct val="0"/>
              </a:spcBef>
              <a:spcAft>
                <a:spcPct val="0"/>
              </a:spcAft>
            </a:pPr>
            <a:fld id="{7931C48D-FEF4-4A4D-AB0C-1F9914E4A1D3}" type="slidenum">
              <a:rPr lang="en-US" smtClean="0"/>
              <a:pPr fontAlgn="base">
                <a:spcBef>
                  <a:spcPct val="0"/>
                </a:spcBef>
                <a:spcAft>
                  <a:spcPct val="0"/>
                </a:spcAft>
              </a:pPr>
              <a:t>21</a:t>
            </a:fld>
            <a:endParaRPr lang="en-US" smtClean="0"/>
          </a:p>
        </p:txBody>
      </p:sp>
      <p:pic>
        <p:nvPicPr>
          <p:cNvPr id="101385" name="Picture 9"/>
          <p:cNvPicPr>
            <a:picLocks noChangeAspect="1" noChangeArrowheads="1"/>
          </p:cNvPicPr>
          <p:nvPr/>
        </p:nvPicPr>
        <p:blipFill>
          <a:blip r:embed="rId3" cstate="print"/>
          <a:srcRect/>
          <a:stretch>
            <a:fillRect/>
          </a:stretch>
        </p:blipFill>
        <p:spPr bwMode="auto">
          <a:xfrm>
            <a:off x="3211966" y="2406732"/>
            <a:ext cx="4293239" cy="527267"/>
          </a:xfrm>
          <a:prstGeom prst="rect">
            <a:avLst/>
          </a:prstGeom>
          <a:noFill/>
          <a:ln w="9525">
            <a:noFill/>
            <a:miter lim="800000"/>
            <a:headEnd/>
            <a:tailEnd/>
          </a:ln>
        </p:spPr>
      </p:pic>
      <p:grpSp>
        <p:nvGrpSpPr>
          <p:cNvPr id="2" name="Group 7"/>
          <p:cNvGrpSpPr>
            <a:grpSpLocks/>
          </p:cNvGrpSpPr>
          <p:nvPr/>
        </p:nvGrpSpPr>
        <p:grpSpPr bwMode="auto">
          <a:xfrm>
            <a:off x="8941198" y="76201"/>
            <a:ext cx="889132" cy="409575"/>
            <a:chOff x="3327192" y="1750016"/>
            <a:chExt cx="820212" cy="410106"/>
          </a:xfrm>
        </p:grpSpPr>
        <p:sp>
          <p:nvSpPr>
            <p:cNvPr id="11" name="Rectangle 10"/>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2" name="Rectangle 11"/>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E-mail</a:t>
              </a:r>
            </a:p>
          </p:txBody>
        </p:sp>
      </p:grpSp>
      <p:grpSp>
        <p:nvGrpSpPr>
          <p:cNvPr id="3" name="Group 10"/>
          <p:cNvGrpSpPr>
            <a:grpSpLocks/>
          </p:cNvGrpSpPr>
          <p:nvPr/>
        </p:nvGrpSpPr>
        <p:grpSpPr bwMode="auto">
          <a:xfrm>
            <a:off x="7035668" y="76201"/>
            <a:ext cx="887413" cy="409575"/>
            <a:chOff x="932170" y="585314"/>
            <a:chExt cx="820212" cy="410106"/>
          </a:xfrm>
        </p:grpSpPr>
        <p:sp>
          <p:nvSpPr>
            <p:cNvPr id="14" name="Rectangle 13"/>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5" name="Rectangle 14"/>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grpSp>
        <p:nvGrpSpPr>
          <p:cNvPr id="4" name="Group 13"/>
          <p:cNvGrpSpPr>
            <a:grpSpLocks/>
          </p:cNvGrpSpPr>
          <p:nvPr/>
        </p:nvGrpSpPr>
        <p:grpSpPr bwMode="auto">
          <a:xfrm>
            <a:off x="7969515" y="76201"/>
            <a:ext cx="889133" cy="409575"/>
            <a:chOff x="1137223" y="1167665"/>
            <a:chExt cx="820212" cy="410106"/>
          </a:xfrm>
        </p:grpSpPr>
        <p:sp>
          <p:nvSpPr>
            <p:cNvPr id="17" name="Rectangle 16"/>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8" name="Rectangle 17"/>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Getting</a:t>
              </a:r>
              <a:br>
                <a:rPr lang="en-US" sz="900" dirty="0"/>
              </a:br>
              <a:r>
                <a:rPr lang="en-US" sz="900" dirty="0"/>
                <a:t>Started</a:t>
              </a:r>
            </a:p>
          </p:txBody>
        </p:sp>
      </p:grpSp>
      <p:sp>
        <p:nvSpPr>
          <p:cNvPr id="5" name="Rectangle 2"/>
          <p:cNvSpPr>
            <a:spLocks noChangeArrowheads="1"/>
          </p:cNvSpPr>
          <p:nvPr/>
        </p:nvSpPr>
        <p:spPr bwMode="auto">
          <a:xfrm>
            <a:off x="0" y="0"/>
            <a:ext cx="9906000" cy="4572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10" name="Picture 9"/>
          <p:cNvPicPr>
            <a:picLocks noChangeAspect="1"/>
          </p:cNvPicPr>
          <p:nvPr/>
        </p:nvPicPr>
        <p:blipFill>
          <a:blip r:embed="rId4" cstate="print"/>
          <a:stretch>
            <a:fillRect/>
          </a:stretch>
        </p:blipFill>
        <p:spPr>
          <a:xfrm>
            <a:off x="4557034" y="3997036"/>
            <a:ext cx="5428744" cy="1954600"/>
          </a:xfrm>
          <a:prstGeom prst="rect">
            <a:avLst/>
          </a:prstGeom>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smtClean="0"/>
              <a:t>File Storage &amp; Transfer: File Transfer Service (FTS)</a:t>
            </a:r>
            <a:endParaRPr lang="en-US" dirty="0"/>
          </a:p>
        </p:txBody>
      </p:sp>
      <p:sp>
        <p:nvSpPr>
          <p:cNvPr id="101379" name="Rectangle 3"/>
          <p:cNvSpPr>
            <a:spLocks noGrp="1"/>
          </p:cNvSpPr>
          <p:nvPr>
            <p:ph idx="1"/>
          </p:nvPr>
        </p:nvSpPr>
        <p:spPr/>
        <p:txBody>
          <a:bodyPr/>
          <a:lstStyle/>
          <a:p>
            <a:r>
              <a:rPr lang="en-US" dirty="0" smtClean="0"/>
              <a:t>File Transfer Service is designed to send large files (1 GB max) to your company's colleagues or to your external customers</a:t>
            </a:r>
          </a:p>
          <a:p>
            <a:r>
              <a:rPr lang="en-US" dirty="0" smtClean="0"/>
              <a:t>It also makes possible for the company's users to get larges files from an external customer by generating a temporary directory that enable him to upload documents you can download afterwards</a:t>
            </a:r>
          </a:p>
          <a:p>
            <a:r>
              <a:rPr lang="en-US" dirty="0" smtClean="0"/>
              <a:t>FTS site: </a:t>
            </a:r>
            <a:r>
              <a:rPr lang="en-US" dirty="0" smtClean="0">
                <a:solidFill>
                  <a:srgbClr val="0070C0"/>
                </a:solidFill>
              </a:rPr>
              <a:t>http://fts.capgemini.com</a:t>
            </a:r>
          </a:p>
          <a:p>
            <a:r>
              <a:rPr lang="en-US" dirty="0" smtClean="0"/>
              <a:t>Directions: Upload files to the server then use the link provided to retrieve the files.</a:t>
            </a:r>
          </a:p>
          <a:p>
            <a:pPr>
              <a:buNone/>
            </a:pPr>
            <a:endParaRPr lang="en-US" sz="1600" dirty="0" smtClean="0"/>
          </a:p>
          <a:p>
            <a:pPr eaLnBrk="1" hangingPunct="1">
              <a:buFont typeface="Wingdings" pitchFamily="2" charset="2"/>
              <a:buNone/>
            </a:pPr>
            <a:endParaRPr lang="en-US" sz="1600" dirty="0" smtClean="0"/>
          </a:p>
          <a:p>
            <a:pPr eaLnBrk="1" hangingPunct="1"/>
            <a:endParaRPr lang="en-US" sz="1600" dirty="0" smtClean="0"/>
          </a:p>
          <a:p>
            <a:pPr eaLnBrk="1" hangingPunct="1">
              <a:buFont typeface="Wingdings" pitchFamily="2" charset="2"/>
              <a:buNone/>
            </a:pPr>
            <a:endParaRPr lang="en-US" sz="1600" dirty="0" smtClean="0"/>
          </a:p>
        </p:txBody>
      </p:sp>
      <p:sp>
        <p:nvSpPr>
          <p:cNvPr id="20482" name="Slide Number Placeholder 7"/>
          <p:cNvSpPr>
            <a:spLocks noGrp="1"/>
          </p:cNvSpPr>
          <p:nvPr>
            <p:ph type="sldNum" sz="quarter" idx="4294967295"/>
          </p:nvPr>
        </p:nvSpPr>
        <p:spPr>
          <a:xfrm>
            <a:off x="9653588" y="6732588"/>
            <a:ext cx="252412" cy="104775"/>
          </a:xfrm>
          <a:prstGeom prst="rect">
            <a:avLst/>
          </a:prstGeom>
          <a:noFill/>
        </p:spPr>
        <p:txBody>
          <a:bodyPr/>
          <a:lstStyle/>
          <a:p>
            <a:pPr fontAlgn="base">
              <a:spcBef>
                <a:spcPct val="0"/>
              </a:spcBef>
              <a:spcAft>
                <a:spcPct val="0"/>
              </a:spcAft>
            </a:pPr>
            <a:fld id="{7931C48D-FEF4-4A4D-AB0C-1F9914E4A1D3}" type="slidenum">
              <a:rPr lang="en-US" smtClean="0"/>
              <a:pPr fontAlgn="base">
                <a:spcBef>
                  <a:spcPct val="0"/>
                </a:spcBef>
                <a:spcAft>
                  <a:spcPct val="0"/>
                </a:spcAft>
              </a:pPr>
              <a:t>22</a:t>
            </a:fld>
            <a:endParaRPr lang="en-US" smtClean="0"/>
          </a:p>
        </p:txBody>
      </p:sp>
      <p:grpSp>
        <p:nvGrpSpPr>
          <p:cNvPr id="2" name="Group 7"/>
          <p:cNvGrpSpPr>
            <a:grpSpLocks/>
          </p:cNvGrpSpPr>
          <p:nvPr/>
        </p:nvGrpSpPr>
        <p:grpSpPr bwMode="auto">
          <a:xfrm>
            <a:off x="8941198" y="76201"/>
            <a:ext cx="889132" cy="409575"/>
            <a:chOff x="3327192" y="1750016"/>
            <a:chExt cx="820212" cy="410106"/>
          </a:xfrm>
        </p:grpSpPr>
        <p:sp>
          <p:nvSpPr>
            <p:cNvPr id="11" name="Rectangle 10"/>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2" name="Rectangle 11"/>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E-mail</a:t>
              </a:r>
            </a:p>
          </p:txBody>
        </p:sp>
      </p:grpSp>
      <p:grpSp>
        <p:nvGrpSpPr>
          <p:cNvPr id="3" name="Group 10"/>
          <p:cNvGrpSpPr>
            <a:grpSpLocks/>
          </p:cNvGrpSpPr>
          <p:nvPr/>
        </p:nvGrpSpPr>
        <p:grpSpPr bwMode="auto">
          <a:xfrm>
            <a:off x="7035668" y="76201"/>
            <a:ext cx="887413" cy="409575"/>
            <a:chOff x="932170" y="585314"/>
            <a:chExt cx="820212" cy="410106"/>
          </a:xfrm>
        </p:grpSpPr>
        <p:sp>
          <p:nvSpPr>
            <p:cNvPr id="14" name="Rectangle 13"/>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5" name="Rectangle 14"/>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grpSp>
        <p:nvGrpSpPr>
          <p:cNvPr id="4" name="Group 13"/>
          <p:cNvGrpSpPr>
            <a:grpSpLocks/>
          </p:cNvGrpSpPr>
          <p:nvPr/>
        </p:nvGrpSpPr>
        <p:grpSpPr bwMode="auto">
          <a:xfrm>
            <a:off x="7969515" y="76201"/>
            <a:ext cx="889133" cy="409575"/>
            <a:chOff x="1137223" y="1167665"/>
            <a:chExt cx="820212" cy="410106"/>
          </a:xfrm>
        </p:grpSpPr>
        <p:sp>
          <p:nvSpPr>
            <p:cNvPr id="17" name="Rectangle 16"/>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8" name="Rectangle 17"/>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Getting</a:t>
              </a:r>
              <a:br>
                <a:rPr lang="en-US" sz="900" dirty="0"/>
              </a:br>
              <a:r>
                <a:rPr lang="en-US" sz="900" dirty="0"/>
                <a:t>Started</a:t>
              </a:r>
            </a:p>
          </p:txBody>
        </p:sp>
      </p:gr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Help Desks</a:t>
            </a:r>
            <a:endParaRPr lang="en-US" dirty="0"/>
          </a:p>
        </p:txBody>
      </p:sp>
      <p:sp>
        <p:nvSpPr>
          <p:cNvPr id="3" name="Content Placeholder 2"/>
          <p:cNvSpPr>
            <a:spLocks noGrp="1"/>
          </p:cNvSpPr>
          <p:nvPr>
            <p:ph idx="1"/>
          </p:nvPr>
        </p:nvSpPr>
        <p:spPr/>
        <p:txBody>
          <a:bodyPr/>
          <a:lstStyle/>
          <a:p>
            <a:r>
              <a:rPr lang="en-US" dirty="0" smtClean="0"/>
              <a:t>Human Resources – 2011500</a:t>
            </a:r>
          </a:p>
          <a:p>
            <a:r>
              <a:rPr lang="en-US" dirty="0" smtClean="0"/>
              <a:t>Information Technology – 4004</a:t>
            </a:r>
          </a:p>
          <a:p>
            <a:r>
              <a:rPr lang="en-US" dirty="0" smtClean="0"/>
              <a:t>ICRES- 2013500 </a:t>
            </a:r>
          </a:p>
          <a:p>
            <a:r>
              <a:rPr lang="en-US" dirty="0" smtClean="0"/>
              <a:t>Payroll – 2011900</a:t>
            </a:r>
          </a:p>
          <a:p>
            <a:r>
              <a:rPr lang="en-US" dirty="0" smtClean="0"/>
              <a:t>Time – 2011625</a:t>
            </a:r>
          </a:p>
          <a:p>
            <a:pPr>
              <a:buNone/>
            </a:pPr>
            <a:endParaRPr lang="en-US" dirty="0" smtClean="0"/>
          </a:p>
          <a:p>
            <a:r>
              <a:rPr lang="en-US" dirty="0" smtClean="0"/>
              <a:t>IT helpdesk operates 24/7; other </a:t>
            </a:r>
            <a:r>
              <a:rPr lang="en-US" smtClean="0"/>
              <a:t>from 8:30am to 6:00pm</a:t>
            </a:r>
            <a:endParaRPr lang="en-US" dirty="0" smtClean="0"/>
          </a:p>
          <a:p>
            <a:r>
              <a:rPr lang="en-US" dirty="0" smtClean="0"/>
              <a:t>Raise a ticket on FS Service Desk Portal: </a:t>
            </a:r>
          </a:p>
          <a:p>
            <a:pPr>
              <a:buNone/>
            </a:pPr>
            <a:r>
              <a:rPr lang="en-US" dirty="0" smtClean="0">
                <a:solidFill>
                  <a:srgbClr val="0070C0"/>
                </a:solidFill>
              </a:rPr>
              <a:t>	</a:t>
            </a:r>
            <a:r>
              <a:rPr lang="en-US" dirty="0" err="1" smtClean="0">
                <a:solidFill>
                  <a:srgbClr val="0070C0"/>
                </a:solidFill>
              </a:rPr>
              <a:t>iConnect</a:t>
            </a:r>
            <a:r>
              <a:rPr lang="en-US" dirty="0" smtClean="0">
                <a:solidFill>
                  <a:srgbClr val="0070C0"/>
                </a:solidFill>
              </a:rPr>
              <a:t>&gt; Facilities &gt; Capgemini FSSBU Helpdesk</a:t>
            </a:r>
          </a:p>
          <a:p>
            <a:pPr>
              <a:buNone/>
            </a:pPr>
            <a:endParaRPr lang="en-US" dirty="0"/>
          </a:p>
        </p:txBody>
      </p:sp>
      <p:graphicFrame>
        <p:nvGraphicFramePr>
          <p:cNvPr id="6" name="Table 5"/>
          <p:cNvGraphicFramePr>
            <a:graphicFrameLocks noGrp="1"/>
          </p:cNvGraphicFramePr>
          <p:nvPr/>
        </p:nvGraphicFramePr>
        <p:xfrm>
          <a:off x="5790212" y="1443825"/>
          <a:ext cx="3829334" cy="2406067"/>
        </p:xfrm>
        <a:graphic>
          <a:graphicData uri="http://schemas.openxmlformats.org/drawingml/2006/table">
            <a:tbl>
              <a:tblPr firstRow="1" bandRow="1">
                <a:tableStyleId>{7DF18680-E054-41AD-8BC1-D1AEF772440D}</a:tableStyleId>
              </a:tblPr>
              <a:tblGrid>
                <a:gridCol w="1914667"/>
                <a:gridCol w="1914667"/>
              </a:tblGrid>
              <a:tr h="468228">
                <a:tc gridSpan="2">
                  <a:txBody>
                    <a:bodyPr/>
                    <a:lstStyle/>
                    <a:p>
                      <a:pPr algn="ctr"/>
                      <a:r>
                        <a:rPr lang="en-US" sz="1400" dirty="0" smtClean="0"/>
                        <a:t>STD CODES ACROSS LOCATIONS</a:t>
                      </a:r>
                    </a:p>
                    <a:p>
                      <a:endParaRPr lang="en-US" sz="1400" dirty="0"/>
                    </a:p>
                  </a:txBody>
                  <a:tcPr marL="99060" marR="99060"/>
                </a:tc>
                <a:tc hMerge="1">
                  <a:txBody>
                    <a:bodyPr/>
                    <a:lstStyle/>
                    <a:p>
                      <a:endParaRPr lang="en-US" dirty="0"/>
                    </a:p>
                  </a:txBody>
                  <a:tcPr/>
                </a:tc>
              </a:tr>
              <a:tr h="269701">
                <a:tc>
                  <a:txBody>
                    <a:bodyPr/>
                    <a:lstStyle/>
                    <a:p>
                      <a:pPr algn="ctr" fontAlgn="b"/>
                      <a:r>
                        <a:rPr lang="en-US" sz="1400" u="none" strike="noStrike" dirty="0"/>
                        <a:t>PUNE</a:t>
                      </a:r>
                      <a:endParaRPr lang="en-US" sz="1400" b="1" i="0" u="none" strike="noStrike" dirty="0">
                        <a:solidFill>
                          <a:schemeClr val="tx1"/>
                        </a:solidFill>
                        <a:latin typeface="Calibri"/>
                      </a:endParaRPr>
                    </a:p>
                  </a:txBody>
                  <a:tcPr marL="10319" marR="10319" marT="9525" marB="0" anchor="b"/>
                </a:tc>
                <a:tc>
                  <a:txBody>
                    <a:bodyPr/>
                    <a:lstStyle/>
                    <a:p>
                      <a:pPr algn="ctr" fontAlgn="b"/>
                      <a:r>
                        <a:rPr lang="en-US" sz="1400" u="none" strike="noStrike" dirty="0"/>
                        <a:t>20</a:t>
                      </a:r>
                      <a:endParaRPr lang="en-US" sz="1400" b="1" i="0" u="none" strike="noStrike" dirty="0">
                        <a:solidFill>
                          <a:srgbClr val="000000"/>
                        </a:solidFill>
                        <a:latin typeface="Calibri"/>
                      </a:endParaRPr>
                    </a:p>
                  </a:txBody>
                  <a:tcPr marL="10319" marR="10319" marT="9525" marB="0" anchor="b"/>
                </a:tc>
              </a:tr>
              <a:tr h="269701">
                <a:tc>
                  <a:txBody>
                    <a:bodyPr/>
                    <a:lstStyle/>
                    <a:p>
                      <a:pPr algn="ctr" fontAlgn="b"/>
                      <a:r>
                        <a:rPr lang="en-US" sz="1400" u="none" strike="noStrike" dirty="0" smtClean="0"/>
                        <a:t>HYDERABAD</a:t>
                      </a:r>
                      <a:endParaRPr lang="en-US" sz="1400" b="1" i="0" u="none" strike="noStrike" dirty="0">
                        <a:solidFill>
                          <a:schemeClr val="tx1"/>
                        </a:solidFill>
                        <a:latin typeface="Calibri"/>
                      </a:endParaRPr>
                    </a:p>
                  </a:txBody>
                  <a:tcPr marL="10319" marR="10319" marT="9525" marB="0" anchor="b"/>
                </a:tc>
                <a:tc>
                  <a:txBody>
                    <a:bodyPr/>
                    <a:lstStyle/>
                    <a:p>
                      <a:pPr algn="ctr" fontAlgn="b"/>
                      <a:r>
                        <a:rPr lang="en-US" sz="1400" u="none" strike="noStrike" dirty="0"/>
                        <a:t>40</a:t>
                      </a:r>
                      <a:endParaRPr lang="en-US" sz="1400" b="1" i="0" u="none" strike="noStrike" dirty="0">
                        <a:solidFill>
                          <a:srgbClr val="000000"/>
                        </a:solidFill>
                        <a:latin typeface="Calibri"/>
                      </a:endParaRPr>
                    </a:p>
                  </a:txBody>
                  <a:tcPr marL="10319" marR="10319" marT="9525" marB="0" anchor="b"/>
                </a:tc>
              </a:tr>
              <a:tr h="269701">
                <a:tc>
                  <a:txBody>
                    <a:bodyPr/>
                    <a:lstStyle/>
                    <a:p>
                      <a:pPr algn="ctr" fontAlgn="b"/>
                      <a:r>
                        <a:rPr lang="en-US" sz="1400" u="none" strike="noStrike" dirty="0"/>
                        <a:t>CHENNAI</a:t>
                      </a:r>
                      <a:endParaRPr lang="en-US" sz="1400" b="1" i="0" u="none" strike="noStrike" dirty="0">
                        <a:solidFill>
                          <a:schemeClr val="tx1"/>
                        </a:solidFill>
                        <a:latin typeface="Calibri"/>
                      </a:endParaRPr>
                    </a:p>
                  </a:txBody>
                  <a:tcPr marL="10319" marR="10319" marT="9525" marB="0" anchor="b"/>
                </a:tc>
                <a:tc>
                  <a:txBody>
                    <a:bodyPr/>
                    <a:lstStyle/>
                    <a:p>
                      <a:pPr algn="ctr" fontAlgn="b"/>
                      <a:r>
                        <a:rPr lang="en-US" sz="1400" u="none" strike="noStrike" dirty="0"/>
                        <a:t>44</a:t>
                      </a:r>
                      <a:endParaRPr lang="en-US" sz="1400" b="1" i="0" u="none" strike="noStrike" dirty="0">
                        <a:solidFill>
                          <a:srgbClr val="000000"/>
                        </a:solidFill>
                        <a:latin typeface="Calibri"/>
                      </a:endParaRPr>
                    </a:p>
                  </a:txBody>
                  <a:tcPr marL="10319" marR="10319" marT="9525" marB="0" anchor="b"/>
                </a:tc>
              </a:tr>
              <a:tr h="269701">
                <a:tc>
                  <a:txBody>
                    <a:bodyPr/>
                    <a:lstStyle/>
                    <a:p>
                      <a:pPr algn="ctr" fontAlgn="b"/>
                      <a:r>
                        <a:rPr lang="en-US" sz="1400" u="none" strike="noStrike" dirty="0"/>
                        <a:t>GURGAON</a:t>
                      </a:r>
                      <a:endParaRPr lang="en-US" sz="1400" b="1" i="0" u="none" strike="noStrike" dirty="0">
                        <a:solidFill>
                          <a:schemeClr val="tx1"/>
                        </a:solidFill>
                        <a:latin typeface="Calibri"/>
                      </a:endParaRPr>
                    </a:p>
                  </a:txBody>
                  <a:tcPr marL="10319" marR="10319" marT="9525" marB="0" anchor="b"/>
                </a:tc>
                <a:tc>
                  <a:txBody>
                    <a:bodyPr/>
                    <a:lstStyle/>
                    <a:p>
                      <a:pPr algn="ctr" fontAlgn="b"/>
                      <a:r>
                        <a:rPr lang="en-US" sz="1400" u="none" strike="noStrike" dirty="0"/>
                        <a:t>11</a:t>
                      </a:r>
                      <a:endParaRPr lang="en-US" sz="1400" b="1" i="0" u="none" strike="noStrike" dirty="0">
                        <a:solidFill>
                          <a:srgbClr val="000000"/>
                        </a:solidFill>
                        <a:latin typeface="Calibri"/>
                      </a:endParaRPr>
                    </a:p>
                  </a:txBody>
                  <a:tcPr marL="10319" marR="10319" marT="9525" marB="0" anchor="b"/>
                </a:tc>
              </a:tr>
              <a:tr h="269701">
                <a:tc>
                  <a:txBody>
                    <a:bodyPr/>
                    <a:lstStyle/>
                    <a:p>
                      <a:pPr algn="ctr" fontAlgn="b"/>
                      <a:r>
                        <a:rPr lang="en-US" sz="1400" u="none" strike="noStrike" dirty="0" smtClean="0"/>
                        <a:t>KOLKOTTA</a:t>
                      </a:r>
                      <a:endParaRPr lang="en-US" sz="1400" b="1" i="0" u="none" strike="noStrike" dirty="0">
                        <a:solidFill>
                          <a:schemeClr val="tx1"/>
                        </a:solidFill>
                        <a:latin typeface="Calibri"/>
                      </a:endParaRPr>
                    </a:p>
                  </a:txBody>
                  <a:tcPr marL="10319" marR="10319" marT="9525" marB="0" anchor="b"/>
                </a:tc>
                <a:tc>
                  <a:txBody>
                    <a:bodyPr/>
                    <a:lstStyle/>
                    <a:p>
                      <a:pPr algn="ctr" fontAlgn="b"/>
                      <a:r>
                        <a:rPr lang="en-US" sz="1400" u="none" strike="noStrike" dirty="0"/>
                        <a:t>33</a:t>
                      </a:r>
                      <a:endParaRPr lang="en-US" sz="1400" b="1" i="0" u="none" strike="noStrike" dirty="0">
                        <a:solidFill>
                          <a:srgbClr val="000000"/>
                        </a:solidFill>
                        <a:latin typeface="Calibri"/>
                      </a:endParaRPr>
                    </a:p>
                  </a:txBody>
                  <a:tcPr marL="10319" marR="10319" marT="9525" marB="0" anchor="b"/>
                </a:tc>
              </a:tr>
              <a:tr h="269701">
                <a:tc>
                  <a:txBody>
                    <a:bodyPr/>
                    <a:lstStyle/>
                    <a:p>
                      <a:pPr algn="ctr" fontAlgn="b"/>
                      <a:r>
                        <a:rPr lang="en-US" sz="1400" u="none" strike="noStrike" dirty="0" smtClean="0"/>
                        <a:t>BANGALORE</a:t>
                      </a:r>
                      <a:endParaRPr lang="en-US" sz="1400" b="1" i="0" u="none" strike="noStrike" dirty="0">
                        <a:solidFill>
                          <a:schemeClr val="tx1"/>
                        </a:solidFill>
                        <a:latin typeface="Calibri"/>
                      </a:endParaRPr>
                    </a:p>
                  </a:txBody>
                  <a:tcPr marL="10319" marR="10319" marT="9525" marB="0" anchor="b"/>
                </a:tc>
                <a:tc>
                  <a:txBody>
                    <a:bodyPr/>
                    <a:lstStyle/>
                    <a:p>
                      <a:pPr algn="ctr" fontAlgn="b"/>
                      <a:r>
                        <a:rPr lang="en-US" sz="1400" u="none" strike="noStrike" dirty="0"/>
                        <a:t>80</a:t>
                      </a:r>
                      <a:endParaRPr lang="en-US" sz="1400" b="1" i="0" u="none" strike="noStrike" dirty="0">
                        <a:solidFill>
                          <a:srgbClr val="000000"/>
                        </a:solidFill>
                        <a:latin typeface="Calibri"/>
                      </a:endParaRPr>
                    </a:p>
                  </a:txBody>
                  <a:tcPr marL="10319" marR="10319" marT="9525" marB="0" anchor="b"/>
                </a:tc>
              </a:tr>
              <a:tr h="269701">
                <a:tc>
                  <a:txBody>
                    <a:bodyPr/>
                    <a:lstStyle/>
                    <a:p>
                      <a:pPr algn="ctr" fontAlgn="b"/>
                      <a:r>
                        <a:rPr lang="en-US" sz="1400" u="none" strike="noStrike" dirty="0" smtClean="0"/>
                        <a:t>MUMBAI</a:t>
                      </a:r>
                      <a:endParaRPr lang="en-US" sz="1400" b="1" i="0" u="none" strike="noStrike" dirty="0">
                        <a:solidFill>
                          <a:schemeClr val="tx1"/>
                        </a:solidFill>
                        <a:latin typeface="Calibri"/>
                      </a:endParaRPr>
                    </a:p>
                  </a:txBody>
                  <a:tcPr marL="10319" marR="10319" marT="9525" marB="0" anchor="b"/>
                </a:tc>
                <a:tc>
                  <a:txBody>
                    <a:bodyPr/>
                    <a:lstStyle/>
                    <a:p>
                      <a:pPr algn="ctr" fontAlgn="b"/>
                      <a:r>
                        <a:rPr lang="en-US" sz="1400" u="none" strike="noStrike" dirty="0"/>
                        <a:t>22</a:t>
                      </a:r>
                      <a:endParaRPr lang="en-US" sz="1400" b="1" i="0" u="none" strike="noStrike" dirty="0">
                        <a:solidFill>
                          <a:srgbClr val="000000"/>
                        </a:solidFill>
                        <a:latin typeface="Calibri"/>
                      </a:endParaRPr>
                    </a:p>
                  </a:txBody>
                  <a:tcPr marL="10319" marR="10319" marT="9525" marB="0" anchor="b"/>
                </a:tc>
              </a:tr>
            </a:tbl>
          </a:graphicData>
        </a:graphic>
      </p:graphicFrame>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4"/>
          <p:cNvSpPr txBox="1">
            <a:spLocks noChangeArrowheads="1"/>
          </p:cNvSpPr>
          <p:nvPr/>
        </p:nvSpPr>
        <p:spPr bwMode="auto">
          <a:xfrm>
            <a:off x="1990213" y="1349386"/>
            <a:ext cx="6115579" cy="378052"/>
          </a:xfrm>
          <a:prstGeom prst="rect">
            <a:avLst/>
          </a:prstGeom>
          <a:noFill/>
          <a:ln w="9525" algn="ctr">
            <a:noFill/>
            <a:miter lim="800000"/>
            <a:headEnd/>
            <a:tailEnd/>
          </a:ln>
          <a:effectLst/>
        </p:spPr>
        <p:txBody>
          <a:bodyPr lIns="54000" rIns="54000">
            <a:spAutoFit/>
          </a:bodyPr>
          <a:lstStyle/>
          <a:p>
            <a:pPr marL="457200" indent="-457200" algn="ctr" fontAlgn="auto">
              <a:lnSpc>
                <a:spcPct val="105000"/>
              </a:lnSpc>
              <a:spcBef>
                <a:spcPts val="0"/>
              </a:spcBef>
              <a:spcAft>
                <a:spcPts val="0"/>
              </a:spcAft>
              <a:defRPr/>
            </a:pPr>
            <a:r>
              <a:rPr lang="en-US" kern="0" dirty="0" err="1" smtClean="0">
                <a:solidFill>
                  <a:sysClr val="windowText" lastClr="000000"/>
                </a:solidFill>
                <a:latin typeface="+mn-lt"/>
              </a:rPr>
              <a:t>Capgemini</a:t>
            </a:r>
            <a:r>
              <a:rPr lang="en-US" kern="0" dirty="0" smtClean="0">
                <a:solidFill>
                  <a:sysClr val="windowText" lastClr="000000"/>
                </a:solidFill>
                <a:latin typeface="+mn-lt"/>
              </a:rPr>
              <a:t> Systems and Tools</a:t>
            </a:r>
            <a:endParaRPr lang="en-US" sz="800" kern="0" dirty="0">
              <a:solidFill>
                <a:sysClr val="windowText" lastClr="000000"/>
              </a:solidFill>
              <a:latin typeface="+mn-lt"/>
            </a:endParaRPr>
          </a:p>
        </p:txBody>
      </p:sp>
      <p:graphicFrame>
        <p:nvGraphicFramePr>
          <p:cNvPr id="5" name="Diagram 4"/>
          <p:cNvGraphicFramePr/>
          <p:nvPr/>
        </p:nvGraphicFramePr>
        <p:xfrm>
          <a:off x="1194789" y="1910938"/>
          <a:ext cx="7414821" cy="42523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 name="Group 6"/>
          <p:cNvGrpSpPr>
            <a:grpSpLocks/>
          </p:cNvGrpSpPr>
          <p:nvPr/>
        </p:nvGrpSpPr>
        <p:grpSpPr bwMode="auto">
          <a:xfrm>
            <a:off x="8941198" y="76201"/>
            <a:ext cx="889132" cy="409575"/>
            <a:chOff x="3327192" y="1750016"/>
            <a:chExt cx="820212" cy="410106"/>
          </a:xfrm>
        </p:grpSpPr>
        <p:sp>
          <p:nvSpPr>
            <p:cNvPr id="9" name="Rectangle 8"/>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0" name="Rectangle 9"/>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iConnect</a:t>
              </a:r>
            </a:p>
          </p:txBody>
        </p:sp>
      </p:grpSp>
      <p:grpSp>
        <p:nvGrpSpPr>
          <p:cNvPr id="3" name="Group 10"/>
          <p:cNvGrpSpPr>
            <a:grpSpLocks/>
          </p:cNvGrpSpPr>
          <p:nvPr/>
        </p:nvGrpSpPr>
        <p:grpSpPr bwMode="auto">
          <a:xfrm>
            <a:off x="7035668" y="76201"/>
            <a:ext cx="887413" cy="409575"/>
            <a:chOff x="932170" y="585314"/>
            <a:chExt cx="820212" cy="410106"/>
          </a:xfrm>
        </p:grpSpPr>
        <p:sp>
          <p:nvSpPr>
            <p:cNvPr id="12" name="Rectangle 11"/>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3" name="Rectangle 12"/>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grpSp>
        <p:nvGrpSpPr>
          <p:cNvPr id="4" name="Group 13"/>
          <p:cNvGrpSpPr>
            <a:grpSpLocks/>
          </p:cNvGrpSpPr>
          <p:nvPr/>
        </p:nvGrpSpPr>
        <p:grpSpPr bwMode="auto">
          <a:xfrm>
            <a:off x="7969515" y="76201"/>
            <a:ext cx="889133" cy="409575"/>
            <a:chOff x="1137223" y="1167665"/>
            <a:chExt cx="820212" cy="410106"/>
          </a:xfrm>
        </p:grpSpPr>
        <p:sp>
          <p:nvSpPr>
            <p:cNvPr id="15" name="Rectangle 14"/>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6" name="Rectangle 15"/>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Capgemini Toolset</a:t>
              </a:r>
            </a:p>
          </p:txBody>
        </p:sp>
      </p:grpSp>
      <p:sp>
        <p:nvSpPr>
          <p:cNvPr id="17" name="Title 16"/>
          <p:cNvSpPr>
            <a:spLocks noGrp="1"/>
          </p:cNvSpPr>
          <p:nvPr>
            <p:ph type="title"/>
          </p:nvPr>
        </p:nvSpPr>
        <p:spPr/>
        <p:txBody>
          <a:bodyPr/>
          <a:lstStyle/>
          <a:p>
            <a:r>
              <a:rPr lang="en-US" dirty="0" smtClean="0"/>
              <a:t>FS SBU Tools can be found </a:t>
            </a:r>
            <a:br>
              <a:rPr lang="en-US" dirty="0" smtClean="0"/>
            </a:br>
            <a:r>
              <a:rPr lang="en-US" dirty="0" smtClean="0"/>
              <a:t>on </a:t>
            </a:r>
            <a:r>
              <a:rPr lang="en-US" dirty="0" err="1" smtClean="0"/>
              <a:t>iConnect</a:t>
            </a:r>
            <a:endParaRPr lang="en-US" dirty="0"/>
          </a:p>
        </p:txBody>
      </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err="1" smtClean="0"/>
              <a:t>iConnect</a:t>
            </a:r>
            <a:endParaRPr lang="en-US" dirty="0"/>
          </a:p>
        </p:txBody>
      </p:sp>
      <p:sp>
        <p:nvSpPr>
          <p:cNvPr id="6" name="Content Placeholder 5"/>
          <p:cNvSpPr>
            <a:spLocks noGrp="1"/>
          </p:cNvSpPr>
          <p:nvPr>
            <p:ph idx="1"/>
          </p:nvPr>
        </p:nvSpPr>
        <p:spPr/>
        <p:txBody>
          <a:bodyPr/>
          <a:lstStyle/>
          <a:p>
            <a:r>
              <a:rPr lang="en-US" dirty="0" err="1" smtClean="0"/>
              <a:t>iConnect</a:t>
            </a:r>
            <a:r>
              <a:rPr lang="en-US" dirty="0" smtClean="0"/>
              <a:t> is the single entry point for all FS SBU Applications</a:t>
            </a:r>
          </a:p>
          <a:p>
            <a:r>
              <a:rPr lang="en-US" dirty="0" smtClean="0"/>
              <a:t>The features provided allow employees to view and update their HR records</a:t>
            </a:r>
          </a:p>
          <a:p>
            <a:r>
              <a:rPr lang="en-US" dirty="0" smtClean="0"/>
              <a:t>The application reduces the administrative workload by simplifying processes to get your personal information updated in the system</a:t>
            </a:r>
          </a:p>
          <a:p>
            <a:r>
              <a:rPr lang="en-US" dirty="0" smtClean="0"/>
              <a:t>To log onto </a:t>
            </a:r>
            <a:r>
              <a:rPr lang="en-US" dirty="0" err="1" smtClean="0"/>
              <a:t>iConnect</a:t>
            </a:r>
            <a:r>
              <a:rPr lang="en-US" dirty="0" smtClean="0"/>
              <a:t>, please visit </a:t>
            </a:r>
            <a:r>
              <a:rPr lang="en-US" u="sng" dirty="0" smtClean="0">
                <a:solidFill>
                  <a:srgbClr val="00A0D6"/>
                </a:solidFill>
              </a:rPr>
              <a:t>https://iconnect.fs.capgemini.com</a:t>
            </a:r>
          </a:p>
          <a:p>
            <a:pPr lvl="3"/>
            <a:r>
              <a:rPr lang="en-US" sz="1600" b="1" dirty="0" smtClean="0">
                <a:solidFill>
                  <a:schemeClr val="tx1"/>
                </a:solidFill>
              </a:rPr>
              <a:t>You will be redirected to the SSO authentication page. </a:t>
            </a:r>
          </a:p>
          <a:p>
            <a:pPr lvl="3"/>
            <a:r>
              <a:rPr lang="en-US" sz="1600" b="1" dirty="0" smtClean="0">
                <a:solidFill>
                  <a:schemeClr val="tx1"/>
                </a:solidFill>
              </a:rPr>
              <a:t>Use your CORP ID and password to login onto the site</a:t>
            </a:r>
          </a:p>
          <a:p>
            <a:pPr>
              <a:buNone/>
            </a:pPr>
            <a:endParaRPr lang="en-US" dirty="0" smtClean="0"/>
          </a:p>
        </p:txBody>
      </p:sp>
      <p:grpSp>
        <p:nvGrpSpPr>
          <p:cNvPr id="2" name="Group 10"/>
          <p:cNvGrpSpPr>
            <a:grpSpLocks/>
          </p:cNvGrpSpPr>
          <p:nvPr/>
        </p:nvGrpSpPr>
        <p:grpSpPr bwMode="auto">
          <a:xfrm>
            <a:off x="7035668" y="76201"/>
            <a:ext cx="887413" cy="409575"/>
            <a:chOff x="932170" y="585314"/>
            <a:chExt cx="820212" cy="410106"/>
          </a:xfrm>
        </p:grpSpPr>
        <p:sp>
          <p:nvSpPr>
            <p:cNvPr id="15" name="Rectangle 14"/>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6" name="Rectangle 15"/>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grpSp>
        <p:nvGrpSpPr>
          <p:cNvPr id="3" name="Group 13"/>
          <p:cNvGrpSpPr>
            <a:grpSpLocks/>
          </p:cNvGrpSpPr>
          <p:nvPr/>
        </p:nvGrpSpPr>
        <p:grpSpPr bwMode="auto">
          <a:xfrm>
            <a:off x="7969515" y="76201"/>
            <a:ext cx="889133" cy="409575"/>
            <a:chOff x="1137223" y="1167665"/>
            <a:chExt cx="820212" cy="410106"/>
          </a:xfrm>
        </p:grpSpPr>
        <p:sp>
          <p:nvSpPr>
            <p:cNvPr id="18" name="Rectangle 17"/>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9" name="Rectangle 18"/>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Capgemini Toolset</a:t>
              </a:r>
            </a:p>
          </p:txBody>
        </p:sp>
      </p:grpSp>
      <p:grpSp>
        <p:nvGrpSpPr>
          <p:cNvPr id="4" name="Group 6"/>
          <p:cNvGrpSpPr>
            <a:grpSpLocks/>
          </p:cNvGrpSpPr>
          <p:nvPr/>
        </p:nvGrpSpPr>
        <p:grpSpPr bwMode="auto">
          <a:xfrm>
            <a:off x="8941198" y="76201"/>
            <a:ext cx="889132" cy="409575"/>
            <a:chOff x="3327192" y="1750016"/>
            <a:chExt cx="820212" cy="410106"/>
          </a:xfrm>
        </p:grpSpPr>
        <p:sp>
          <p:nvSpPr>
            <p:cNvPr id="21" name="Rectangle 20"/>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22" name="Rectangle 21"/>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iConnect</a:t>
              </a:r>
            </a:p>
          </p:txBody>
        </p:sp>
      </p:gr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smtClean="0"/>
              <a:t>Useful Links on </a:t>
            </a:r>
            <a:r>
              <a:rPr lang="en-US" dirty="0" err="1" smtClean="0"/>
              <a:t>iConnect</a:t>
            </a:r>
            <a:endParaRPr lang="en-US" dirty="0"/>
          </a:p>
        </p:txBody>
      </p:sp>
      <p:sp>
        <p:nvSpPr>
          <p:cNvPr id="26" name="Content Placeholder 25"/>
          <p:cNvSpPr>
            <a:spLocks noGrp="1"/>
          </p:cNvSpPr>
          <p:nvPr>
            <p:ph idx="1"/>
          </p:nvPr>
        </p:nvSpPr>
        <p:spPr/>
        <p:txBody>
          <a:bodyPr/>
          <a:lstStyle/>
          <a:p>
            <a:r>
              <a:rPr lang="en-US" b="1" dirty="0" smtClean="0"/>
              <a:t>Other Useful links</a:t>
            </a:r>
          </a:p>
          <a:p>
            <a:pPr lvl="1"/>
            <a:r>
              <a:rPr lang="en-US" dirty="0" smtClean="0"/>
              <a:t>Expense Tool (Expense Reimbursement Tool)</a:t>
            </a:r>
          </a:p>
          <a:p>
            <a:pPr lvl="1"/>
            <a:r>
              <a:rPr lang="en-US" dirty="0" smtClean="0"/>
              <a:t>Clarity ( Time Entry Tool)</a:t>
            </a:r>
          </a:p>
          <a:p>
            <a:pPr lvl="1"/>
            <a:r>
              <a:rPr lang="en-US" dirty="0" smtClean="0"/>
              <a:t>My path (Talent Management Tool)</a:t>
            </a:r>
          </a:p>
          <a:p>
            <a:pPr lvl="1"/>
            <a:r>
              <a:rPr lang="en-US" dirty="0" smtClean="0"/>
              <a:t>TRS (Telephone Reporting System - for classifying your calls) </a:t>
            </a:r>
          </a:p>
          <a:p>
            <a:pPr lvl="1"/>
            <a:r>
              <a:rPr lang="en-US" dirty="0" smtClean="0"/>
              <a:t>Web GIMS Number</a:t>
            </a:r>
          </a:p>
          <a:p>
            <a:pPr lvl="1"/>
            <a:r>
              <a:rPr lang="en-US" dirty="0" smtClean="0"/>
              <a:t>Stationary/Business Card</a:t>
            </a:r>
          </a:p>
          <a:p>
            <a:pPr lvl="1"/>
            <a:r>
              <a:rPr lang="en-US" dirty="0" smtClean="0"/>
              <a:t>Bus Pass( For HYD &amp; PUNE )</a:t>
            </a:r>
          </a:p>
          <a:p>
            <a:pPr lvl="1"/>
            <a:r>
              <a:rPr lang="en-US" dirty="0" err="1" smtClean="0"/>
              <a:t>Capgemini</a:t>
            </a:r>
            <a:r>
              <a:rPr lang="en-US" dirty="0" smtClean="0"/>
              <a:t> FS-SBU Knowledge Management portal. (KM 3.0)</a:t>
            </a:r>
          </a:p>
          <a:p>
            <a:pPr lvl="1"/>
            <a:r>
              <a:rPr lang="en-US" dirty="0" smtClean="0"/>
              <a:t>RMG Portal (Recruitment Mobility Group)</a:t>
            </a:r>
          </a:p>
          <a:p>
            <a:pPr>
              <a:buNone/>
            </a:pPr>
            <a:endParaRPr lang="en-US" dirty="0"/>
          </a:p>
        </p:txBody>
      </p:sp>
      <p:grpSp>
        <p:nvGrpSpPr>
          <p:cNvPr id="2" name="Group 10"/>
          <p:cNvGrpSpPr>
            <a:grpSpLocks/>
          </p:cNvGrpSpPr>
          <p:nvPr/>
        </p:nvGrpSpPr>
        <p:grpSpPr bwMode="auto">
          <a:xfrm>
            <a:off x="7035668" y="76201"/>
            <a:ext cx="887413" cy="409575"/>
            <a:chOff x="932170" y="585314"/>
            <a:chExt cx="820212" cy="410106"/>
          </a:xfrm>
        </p:grpSpPr>
        <p:sp>
          <p:nvSpPr>
            <p:cNvPr id="7" name="Rectangle 6"/>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8" name="Rectangle 7"/>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grpSp>
        <p:nvGrpSpPr>
          <p:cNvPr id="3" name="Group 13"/>
          <p:cNvGrpSpPr>
            <a:grpSpLocks/>
          </p:cNvGrpSpPr>
          <p:nvPr/>
        </p:nvGrpSpPr>
        <p:grpSpPr bwMode="auto">
          <a:xfrm>
            <a:off x="7969515" y="76201"/>
            <a:ext cx="889133" cy="409575"/>
            <a:chOff x="1137223" y="1167665"/>
            <a:chExt cx="820212" cy="410106"/>
          </a:xfrm>
        </p:grpSpPr>
        <p:sp>
          <p:nvSpPr>
            <p:cNvPr id="10" name="Rectangle 9"/>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1" name="Rectangle 10"/>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Capgemini Toolset</a:t>
              </a:r>
            </a:p>
          </p:txBody>
        </p:sp>
      </p:grpSp>
      <p:grpSp>
        <p:nvGrpSpPr>
          <p:cNvPr id="4" name="Group 6"/>
          <p:cNvGrpSpPr>
            <a:grpSpLocks/>
          </p:cNvGrpSpPr>
          <p:nvPr/>
        </p:nvGrpSpPr>
        <p:grpSpPr bwMode="auto">
          <a:xfrm>
            <a:off x="8941198" y="76201"/>
            <a:ext cx="889132" cy="409575"/>
            <a:chOff x="3327192" y="1750016"/>
            <a:chExt cx="820212" cy="410106"/>
          </a:xfrm>
        </p:grpSpPr>
        <p:sp>
          <p:nvSpPr>
            <p:cNvPr id="13" name="Rectangle 12"/>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4" name="Rectangle 13"/>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iConnect</a:t>
              </a:r>
            </a:p>
          </p:txBody>
        </p:sp>
      </p:gr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p:cNvSpPr>
            <a:spLocks noGrp="1"/>
          </p:cNvSpPr>
          <p:nvPr>
            <p:ph type="title"/>
          </p:nvPr>
        </p:nvSpPr>
        <p:spPr/>
        <p:txBody>
          <a:bodyPr/>
          <a:lstStyle/>
          <a:p>
            <a:r>
              <a:rPr lang="en-US" dirty="0" smtClean="0"/>
              <a:t>T&amp;E: Expense System Overview</a:t>
            </a:r>
            <a:endParaRPr lang="en-US" dirty="0"/>
          </a:p>
        </p:txBody>
      </p:sp>
      <p:pic>
        <p:nvPicPr>
          <p:cNvPr id="69636" name="Picture 3"/>
          <p:cNvPicPr>
            <a:picLocks noChangeAspect="1" noChangeArrowheads="1"/>
          </p:cNvPicPr>
          <p:nvPr/>
        </p:nvPicPr>
        <p:blipFill>
          <a:blip r:embed="rId3" cstate="print"/>
          <a:srcRect/>
          <a:stretch>
            <a:fillRect/>
          </a:stretch>
        </p:blipFill>
        <p:spPr bwMode="auto">
          <a:xfrm>
            <a:off x="3430986" y="4814888"/>
            <a:ext cx="3097344" cy="671512"/>
          </a:xfrm>
          <a:prstGeom prst="rect">
            <a:avLst/>
          </a:prstGeom>
          <a:noFill/>
          <a:ln w="9525">
            <a:noFill/>
            <a:round/>
            <a:headEnd/>
            <a:tailEnd/>
          </a:ln>
        </p:spPr>
      </p:pic>
      <p:sp>
        <p:nvSpPr>
          <p:cNvPr id="69637" name="Rectangle 6"/>
          <p:cNvSpPr>
            <a:spLocks/>
          </p:cNvSpPr>
          <p:nvPr/>
        </p:nvSpPr>
        <p:spPr bwMode="auto">
          <a:xfrm>
            <a:off x="851298" y="1795464"/>
            <a:ext cx="8203406" cy="2428875"/>
          </a:xfrm>
          <a:prstGeom prst="rect">
            <a:avLst/>
          </a:prstGeom>
          <a:noFill/>
          <a:ln w="12700">
            <a:noFill/>
            <a:miter lim="800000"/>
            <a:headEnd/>
            <a:tailEnd/>
          </a:ln>
        </p:spPr>
        <p:txBody>
          <a:bodyPr lIns="0" tIns="0" rIns="43349" bIns="0"/>
          <a:lstStyle/>
          <a:p>
            <a:pPr marL="42863"/>
            <a:endParaRPr lang="en-US" sz="2800">
              <a:solidFill>
                <a:srgbClr val="FFFFFF"/>
              </a:solidFill>
            </a:endParaRPr>
          </a:p>
        </p:txBody>
      </p:sp>
      <p:pic>
        <p:nvPicPr>
          <p:cNvPr id="69638" name="Image 9" descr="Slogan_PMRC_White_W.png"/>
          <p:cNvPicPr>
            <a:picLocks noChangeAspect="1"/>
          </p:cNvPicPr>
          <p:nvPr/>
        </p:nvPicPr>
        <p:blipFill>
          <a:blip r:embed="rId4" cstate="print"/>
          <a:srcRect/>
          <a:stretch>
            <a:fillRect/>
          </a:stretch>
        </p:blipFill>
        <p:spPr bwMode="auto">
          <a:xfrm>
            <a:off x="1616604" y="3570288"/>
            <a:ext cx="6672792" cy="611187"/>
          </a:xfrm>
          <a:prstGeom prst="rect">
            <a:avLst/>
          </a:prstGeom>
          <a:noFill/>
          <a:ln w="9525">
            <a:noFill/>
            <a:miter lim="800000"/>
            <a:headEnd/>
            <a:tailEnd/>
          </a:ln>
        </p:spPr>
      </p:pic>
      <p:graphicFrame>
        <p:nvGraphicFramePr>
          <p:cNvPr id="9" name="Table 8"/>
          <p:cNvGraphicFramePr>
            <a:graphicFrameLocks noGrp="1"/>
          </p:cNvGraphicFramePr>
          <p:nvPr/>
        </p:nvGraphicFramePr>
        <p:xfrm>
          <a:off x="447146" y="1504951"/>
          <a:ext cx="8962936" cy="2809874"/>
        </p:xfrm>
        <a:graphic>
          <a:graphicData uri="http://schemas.openxmlformats.org/drawingml/2006/table">
            <a:tbl>
              <a:tblPr firstRow="1" bandRow="1">
                <a:tableStyleId>{5A111915-BE36-4E01-A7E5-04B1672EAD32}</a:tableStyleId>
              </a:tblPr>
              <a:tblGrid>
                <a:gridCol w="1000852"/>
                <a:gridCol w="1916798"/>
                <a:gridCol w="2685298"/>
                <a:gridCol w="3359988"/>
              </a:tblGrid>
              <a:tr h="813385">
                <a:tc>
                  <a:txBody>
                    <a:bodyPr/>
                    <a:lstStyle/>
                    <a:p>
                      <a:pPr algn="ctr"/>
                      <a:r>
                        <a:rPr lang="en-US" sz="1600" dirty="0" smtClean="0"/>
                        <a:t>System</a:t>
                      </a:r>
                      <a:endParaRPr lang="en-US" sz="1600" dirty="0"/>
                    </a:p>
                  </a:txBody>
                  <a:tcPr marL="99060" marR="990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smtClean="0"/>
                        <a:t>Link</a:t>
                      </a:r>
                      <a:endParaRPr lang="en-US" sz="1600" dirty="0"/>
                    </a:p>
                  </a:txBody>
                  <a:tcPr marL="99060" marR="990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t>Expense</a:t>
                      </a:r>
                      <a:r>
                        <a:rPr lang="en-US" sz="1600" baseline="0" dirty="0" smtClean="0"/>
                        <a:t> Submission</a:t>
                      </a:r>
                      <a:endParaRPr lang="en-US" sz="1600" dirty="0" smtClean="0"/>
                    </a:p>
                  </a:txBody>
                  <a:tcPr marL="99060" marR="990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smtClean="0"/>
                        <a:t>Sources of Help</a:t>
                      </a:r>
                      <a:endParaRPr lang="en-US" sz="1600" dirty="0"/>
                    </a:p>
                  </a:txBody>
                  <a:tcPr marL="99060" marR="990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996489">
                <a:tc>
                  <a:txBody>
                    <a:bodyPr/>
                    <a:lstStyle/>
                    <a:p>
                      <a:pPr algn="ctr"/>
                      <a:r>
                        <a:rPr lang="en-US" sz="1200" dirty="0" smtClean="0"/>
                        <a:t>Expense Application</a:t>
                      </a:r>
                      <a:endParaRPr lang="en-US" sz="1200" b="1" dirty="0" smtClean="0"/>
                    </a:p>
                  </a:txBody>
                  <a:tcPr marL="99060" marR="990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buFont typeface="Arial" pitchFamily="34" charset="0"/>
                        <a:buNone/>
                      </a:pPr>
                      <a:r>
                        <a:rPr lang="en-US" sz="1200" dirty="0" smtClean="0">
                          <a:hlinkClick r:id="rId5"/>
                        </a:rPr>
                        <a:t>http://talent.capgemini.com/in/pages/supportfunctions/finance_hub/myexpenses</a:t>
                      </a:r>
                      <a:endParaRPr lang="en-US" sz="1200" dirty="0" smtClean="0">
                        <a:solidFill>
                          <a:srgbClr val="0085B3"/>
                        </a:solidFill>
                      </a:endParaRPr>
                    </a:p>
                  </a:txBody>
                  <a:tcPr marL="99060" marR="990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09538" marR="0" lvl="0" indent="-109538"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u="sng" kern="1200" dirty="0" smtClean="0"/>
                        <a:t>Method for submission</a:t>
                      </a:r>
                    </a:p>
                    <a:p>
                      <a:pPr marL="287338" marR="0" lvl="1"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t>Submit the</a:t>
                      </a:r>
                      <a:r>
                        <a:rPr lang="en-US" sz="1200" kern="1200" baseline="0" dirty="0" smtClean="0"/>
                        <a:t> soft copies for the claims  in the tool</a:t>
                      </a:r>
                      <a:endParaRPr lang="en-US" sz="1200" kern="1200" dirty="0" smtClean="0">
                        <a:solidFill>
                          <a:sysClr val="windowText" lastClr="000000"/>
                        </a:solidFill>
                        <a:latin typeface="+mn-lt"/>
                        <a:ea typeface="+mn-ea"/>
                        <a:cs typeface="+mn-cs"/>
                      </a:endParaRPr>
                    </a:p>
                  </a:txBody>
                  <a:tcPr marL="99060" marR="990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09538" marR="0" lvl="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t>For technical issues, please raise</a:t>
                      </a:r>
                      <a:r>
                        <a:rPr lang="en-US" sz="1200" kern="1200" baseline="0" dirty="0" smtClean="0"/>
                        <a:t> ticket via FS SBU Service Desk portal (</a:t>
                      </a:r>
                      <a:r>
                        <a:rPr lang="en-US" sz="1200" kern="1200" baseline="0" dirty="0" smtClean="0">
                          <a:solidFill>
                            <a:srgbClr val="0085B3"/>
                          </a:solidFill>
                          <a:hlinkClick r:id="rId6"/>
                        </a:rPr>
                        <a:t>http://support.capgemini.com</a:t>
                      </a:r>
                      <a:r>
                        <a:rPr lang="en-US" sz="1200" kern="1200" baseline="0" dirty="0" smtClean="0"/>
                        <a:t>)</a:t>
                      </a:r>
                      <a:endParaRPr lang="en-US" sz="1200" kern="1200" dirty="0" smtClean="0">
                        <a:solidFill>
                          <a:srgbClr val="0085B3"/>
                        </a:solidFill>
                      </a:endParaRPr>
                    </a:p>
                    <a:p>
                      <a:pPr marL="109538" marR="0" lvl="0" indent="-109538"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200" kern="1200" dirty="0" smtClean="0">
                        <a:solidFill>
                          <a:srgbClr val="0085B3"/>
                        </a:solidFill>
                        <a:latin typeface="+mn-lt"/>
                        <a:ea typeface="+mn-ea"/>
                        <a:cs typeface="+mn-cs"/>
                      </a:endParaRPr>
                    </a:p>
                  </a:txBody>
                  <a:tcPr marL="99060" marR="990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pSp>
        <p:nvGrpSpPr>
          <p:cNvPr id="3" name="Group 14"/>
          <p:cNvGrpSpPr>
            <a:grpSpLocks/>
          </p:cNvGrpSpPr>
          <p:nvPr/>
        </p:nvGrpSpPr>
        <p:grpSpPr bwMode="auto">
          <a:xfrm>
            <a:off x="8941198" y="76201"/>
            <a:ext cx="889132" cy="409575"/>
            <a:chOff x="3327192" y="1750016"/>
            <a:chExt cx="820212" cy="410106"/>
          </a:xfrm>
        </p:grpSpPr>
        <p:sp>
          <p:nvSpPr>
            <p:cNvPr id="16" name="Rectangle 15"/>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7" name="Rectangle 16"/>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Time &amp; Expense</a:t>
              </a:r>
            </a:p>
          </p:txBody>
        </p:sp>
      </p:grpSp>
      <p:grpSp>
        <p:nvGrpSpPr>
          <p:cNvPr id="4" name="Group 17"/>
          <p:cNvGrpSpPr>
            <a:grpSpLocks/>
          </p:cNvGrpSpPr>
          <p:nvPr/>
        </p:nvGrpSpPr>
        <p:grpSpPr bwMode="auto">
          <a:xfrm>
            <a:off x="7035668" y="76201"/>
            <a:ext cx="887413" cy="409575"/>
            <a:chOff x="932170" y="585314"/>
            <a:chExt cx="820212" cy="410106"/>
          </a:xfrm>
        </p:grpSpPr>
        <p:sp>
          <p:nvSpPr>
            <p:cNvPr id="19" name="Rectangle 18"/>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0" name="Rectangle 19"/>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grpSp>
        <p:nvGrpSpPr>
          <p:cNvPr id="5" name="Group 20"/>
          <p:cNvGrpSpPr>
            <a:grpSpLocks/>
          </p:cNvGrpSpPr>
          <p:nvPr/>
        </p:nvGrpSpPr>
        <p:grpSpPr bwMode="auto">
          <a:xfrm>
            <a:off x="7969515" y="76201"/>
            <a:ext cx="889133" cy="409575"/>
            <a:chOff x="1137223" y="1167665"/>
            <a:chExt cx="820212" cy="410106"/>
          </a:xfrm>
        </p:grpSpPr>
        <p:sp>
          <p:nvSpPr>
            <p:cNvPr id="22" name="Rectangle 21"/>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3" name="Rectangle 22"/>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Capgemini Toolset</a:t>
              </a:r>
            </a:p>
          </p:txBody>
        </p:sp>
      </p:grpSp>
      <p:pic>
        <p:nvPicPr>
          <p:cNvPr id="224258" name="Picture 2"/>
          <p:cNvPicPr>
            <a:picLocks noGrp="1" noChangeAspect="1" noChangeArrowheads="1"/>
          </p:cNvPicPr>
          <p:nvPr>
            <p:ph idx="1"/>
          </p:nvPr>
        </p:nvPicPr>
        <p:blipFill>
          <a:blip r:embed="rId7" cstate="print"/>
          <a:srcRect/>
          <a:stretch>
            <a:fillRect/>
          </a:stretch>
        </p:blipFill>
        <p:spPr bwMode="auto">
          <a:xfrm>
            <a:off x="2949574" y="4552950"/>
            <a:ext cx="3346451" cy="1671637"/>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7" name="Image 9" descr="Slogan_PMRC_White_W.png"/>
          <p:cNvPicPr>
            <a:picLocks noChangeAspect="1"/>
          </p:cNvPicPr>
          <p:nvPr/>
        </p:nvPicPr>
        <p:blipFill>
          <a:blip r:embed="rId3" cstate="print"/>
          <a:srcRect/>
          <a:stretch>
            <a:fillRect/>
          </a:stretch>
        </p:blipFill>
        <p:spPr bwMode="auto">
          <a:xfrm>
            <a:off x="1616604" y="3570288"/>
            <a:ext cx="6672792" cy="611187"/>
          </a:xfrm>
          <a:prstGeom prst="rect">
            <a:avLst/>
          </a:prstGeom>
          <a:noFill/>
          <a:ln w="9525">
            <a:noFill/>
            <a:miter lim="800000"/>
            <a:headEnd/>
            <a:tailEnd/>
          </a:ln>
        </p:spPr>
      </p:pic>
      <p:graphicFrame>
        <p:nvGraphicFramePr>
          <p:cNvPr id="9" name="Table 8"/>
          <p:cNvGraphicFramePr>
            <a:graphicFrameLocks noGrp="1"/>
          </p:cNvGraphicFramePr>
          <p:nvPr/>
        </p:nvGraphicFramePr>
        <p:xfrm>
          <a:off x="169016" y="1587334"/>
          <a:ext cx="9402496" cy="3305299"/>
        </p:xfrm>
        <a:graphic>
          <a:graphicData uri="http://schemas.openxmlformats.org/drawingml/2006/table">
            <a:tbl>
              <a:tblPr firstRow="1" bandRow="1">
                <a:tableStyleId>{7DF18680-E054-41AD-8BC1-D1AEF772440D}</a:tableStyleId>
              </a:tblPr>
              <a:tblGrid>
                <a:gridCol w="1113944"/>
                <a:gridCol w="2742442"/>
                <a:gridCol w="2838110"/>
                <a:gridCol w="2708000"/>
              </a:tblGrid>
              <a:tr h="371003">
                <a:tc>
                  <a:txBody>
                    <a:bodyPr/>
                    <a:lstStyle/>
                    <a:p>
                      <a:pPr algn="ctr"/>
                      <a:r>
                        <a:rPr lang="en-US" sz="1600" dirty="0" smtClean="0"/>
                        <a:t>System</a:t>
                      </a:r>
                      <a:endParaRPr lang="en-US" sz="1600" dirty="0"/>
                    </a:p>
                  </a:txBody>
                  <a:tcPr marL="99060" marR="990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smtClean="0"/>
                        <a:t>Link</a:t>
                      </a:r>
                      <a:endParaRPr lang="en-US" sz="1600" dirty="0"/>
                    </a:p>
                  </a:txBody>
                  <a:tcPr marL="99060" marR="990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t>Allocation</a:t>
                      </a:r>
                    </a:p>
                  </a:txBody>
                  <a:tcPr marL="99060" marR="990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smtClean="0"/>
                        <a:t>Approver</a:t>
                      </a:r>
                      <a:endParaRPr lang="en-US" sz="1600" dirty="0"/>
                    </a:p>
                  </a:txBody>
                  <a:tcPr marL="99060" marR="990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934296">
                <a:tc>
                  <a:txBody>
                    <a:bodyPr/>
                    <a:lstStyle/>
                    <a:p>
                      <a:pPr algn="ctr"/>
                      <a:r>
                        <a:rPr lang="en-US" sz="1400" dirty="0" smtClean="0"/>
                        <a:t>Clarity </a:t>
                      </a:r>
                      <a:endParaRPr lang="en-US" sz="1400" b="0" dirty="0" smtClean="0"/>
                    </a:p>
                  </a:txBody>
                  <a:tcPr marL="99060" marR="990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buFont typeface="Arial" pitchFamily="34" charset="0"/>
                        <a:buNone/>
                      </a:pPr>
                      <a:r>
                        <a:rPr lang="en-US" sz="1400" dirty="0" smtClean="0">
                          <a:solidFill>
                            <a:srgbClr val="0085B3"/>
                          </a:solidFill>
                        </a:rPr>
                        <a:t>https://clarity.fs.capgemini.com</a:t>
                      </a:r>
                    </a:p>
                  </a:txBody>
                  <a:tcPr marL="99060" marR="990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09538" marR="0" lvl="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400" kern="1200" dirty="0" smtClean="0"/>
                        <a:t>All allocations are performed from INFORM &amp; ISW applications</a:t>
                      </a:r>
                    </a:p>
                    <a:p>
                      <a:pPr marL="109538" marR="0" lvl="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400" kern="1200" dirty="0" smtClean="0"/>
                        <a:t>Check the filter options if assigned project is not visible. Select “All” in the “Show   tasks” dropdown and “All” in the “Task status” dropdown and then click on Filter button. </a:t>
                      </a:r>
                    </a:p>
                    <a:p>
                      <a:pPr marL="109538" marR="0" lvl="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400" kern="1200" dirty="0" smtClean="0"/>
                        <a:t>Employee can enter time against two different projects allocated.</a:t>
                      </a:r>
                      <a:endParaRPr lang="en-US" sz="1400" kern="1200" dirty="0" smtClean="0">
                        <a:solidFill>
                          <a:sysClr val="windowText" lastClr="000000"/>
                        </a:solidFill>
                        <a:latin typeface="+mn-lt"/>
                        <a:ea typeface="+mn-ea"/>
                        <a:cs typeface="+mn-cs"/>
                      </a:endParaRPr>
                    </a:p>
                  </a:txBody>
                  <a:tcPr marL="99060" marR="990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09538" marR="0" lvl="0" indent="-10953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400" kern="1200" dirty="0" smtClean="0"/>
                        <a:t>If timesheet does</a:t>
                      </a:r>
                      <a:r>
                        <a:rPr lang="en-US" sz="1400" kern="1200" baseline="0" dirty="0" smtClean="0"/>
                        <a:t> </a:t>
                      </a:r>
                      <a:r>
                        <a:rPr lang="en-US" sz="1400" kern="1200" dirty="0" smtClean="0"/>
                        <a:t>not appear in manager’s queue for approval, please raise a ticket</a:t>
                      </a:r>
                      <a:r>
                        <a:rPr lang="en-US" sz="1400" kern="1200" baseline="0" dirty="0" smtClean="0"/>
                        <a:t> via FS SBU Service Desk portal (</a:t>
                      </a:r>
                      <a:r>
                        <a:rPr lang="en-US" sz="1400" kern="0" dirty="0" smtClean="0">
                          <a:solidFill>
                            <a:srgbClr val="0085B3"/>
                          </a:solidFill>
                        </a:rPr>
                        <a:t>http://support.capgemini.com</a:t>
                      </a:r>
                      <a:r>
                        <a:rPr lang="en-US" sz="1400" kern="0" dirty="0" smtClean="0"/>
                        <a:t>) </a:t>
                      </a:r>
                      <a:r>
                        <a:rPr lang="en-US" sz="1400" kern="1200" dirty="0" smtClean="0"/>
                        <a:t>and mention who is your timesheet approver</a:t>
                      </a:r>
                    </a:p>
                    <a:p>
                      <a:pPr marL="231775" marR="0" lvl="0" indent="-231775" algn="l" defTabSz="914400" rtl="0" eaLnBrk="1" fontAlgn="auto" latinLnBrk="0" hangingPunct="1">
                        <a:lnSpc>
                          <a:spcPct val="100000"/>
                        </a:lnSpc>
                        <a:spcBef>
                          <a:spcPts val="0"/>
                        </a:spcBef>
                        <a:spcAft>
                          <a:spcPts val="0"/>
                        </a:spcAft>
                        <a:buClrTx/>
                        <a:buSzTx/>
                        <a:buFont typeface="Arial" pitchFamily="34" charset="0"/>
                        <a:buChar char="•"/>
                        <a:tabLst/>
                        <a:defRPr/>
                      </a:pPr>
                      <a:endParaRPr lang="en-US" sz="1400" kern="1200" dirty="0" smtClean="0">
                        <a:solidFill>
                          <a:sysClr val="windowText" lastClr="000000"/>
                        </a:solidFill>
                        <a:latin typeface="+mn-lt"/>
                        <a:ea typeface="+mn-ea"/>
                        <a:cs typeface="+mn-cs"/>
                      </a:endParaRPr>
                    </a:p>
                  </a:txBody>
                  <a:tcPr marL="99060" marR="990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pSp>
        <p:nvGrpSpPr>
          <p:cNvPr id="2" name="Group 4"/>
          <p:cNvGrpSpPr>
            <a:grpSpLocks/>
          </p:cNvGrpSpPr>
          <p:nvPr/>
        </p:nvGrpSpPr>
        <p:grpSpPr bwMode="auto">
          <a:xfrm>
            <a:off x="8941198" y="76201"/>
            <a:ext cx="889132" cy="409575"/>
            <a:chOff x="3327192" y="1750016"/>
            <a:chExt cx="820212" cy="410106"/>
          </a:xfrm>
        </p:grpSpPr>
        <p:sp>
          <p:nvSpPr>
            <p:cNvPr id="6" name="Rectangle 5"/>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7" name="Rectangle 6"/>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Time &amp; Expense</a:t>
              </a:r>
            </a:p>
          </p:txBody>
        </p:sp>
      </p:grpSp>
      <p:grpSp>
        <p:nvGrpSpPr>
          <p:cNvPr id="3" name="Group 7"/>
          <p:cNvGrpSpPr>
            <a:grpSpLocks/>
          </p:cNvGrpSpPr>
          <p:nvPr/>
        </p:nvGrpSpPr>
        <p:grpSpPr bwMode="auto">
          <a:xfrm>
            <a:off x="7035668" y="76201"/>
            <a:ext cx="887413" cy="409575"/>
            <a:chOff x="932170" y="585314"/>
            <a:chExt cx="820212" cy="410106"/>
          </a:xfrm>
        </p:grpSpPr>
        <p:sp>
          <p:nvSpPr>
            <p:cNvPr id="10" name="Rectangle 9"/>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1" name="Rectangle 10"/>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grpSp>
        <p:nvGrpSpPr>
          <p:cNvPr id="4" name="Group 11"/>
          <p:cNvGrpSpPr>
            <a:grpSpLocks/>
          </p:cNvGrpSpPr>
          <p:nvPr/>
        </p:nvGrpSpPr>
        <p:grpSpPr bwMode="auto">
          <a:xfrm>
            <a:off x="7969515" y="76201"/>
            <a:ext cx="889133" cy="409575"/>
            <a:chOff x="1137223" y="1167665"/>
            <a:chExt cx="820212" cy="410106"/>
          </a:xfrm>
        </p:grpSpPr>
        <p:sp>
          <p:nvSpPr>
            <p:cNvPr id="13" name="Rectangle 12"/>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4" name="Rectangle 13"/>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Capgemini Toolset</a:t>
              </a:r>
            </a:p>
          </p:txBody>
        </p:sp>
      </p:grpSp>
      <p:sp>
        <p:nvSpPr>
          <p:cNvPr id="16" name="Title 15"/>
          <p:cNvSpPr>
            <a:spLocks noGrp="1"/>
          </p:cNvSpPr>
          <p:nvPr>
            <p:ph type="title"/>
          </p:nvPr>
        </p:nvSpPr>
        <p:spPr/>
        <p:txBody>
          <a:bodyPr/>
          <a:lstStyle/>
          <a:p>
            <a:r>
              <a:rPr lang="en-US" dirty="0" smtClean="0"/>
              <a:t>T&amp;E: Timesheet Entry Overview</a:t>
            </a:r>
            <a:endParaRPr lang="en-US" dirty="0"/>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smtClean="0"/>
              <a:t>T&amp;E: Timesheet Entry Exercise</a:t>
            </a:r>
            <a:endParaRPr lang="en-US" dirty="0"/>
          </a:p>
        </p:txBody>
      </p:sp>
      <p:sp>
        <p:nvSpPr>
          <p:cNvPr id="22" name="Content Placeholder 21"/>
          <p:cNvSpPr>
            <a:spLocks noGrp="1"/>
          </p:cNvSpPr>
          <p:nvPr>
            <p:ph idx="1"/>
          </p:nvPr>
        </p:nvSpPr>
        <p:spPr/>
        <p:txBody>
          <a:bodyPr/>
          <a:lstStyle/>
          <a:p>
            <a:r>
              <a:rPr lang="en-US" sz="1200" dirty="0" smtClean="0"/>
              <a:t>Objective: To submit your time into Clarity</a:t>
            </a:r>
          </a:p>
          <a:p>
            <a:r>
              <a:rPr lang="en-US" sz="1200" dirty="0" smtClean="0"/>
              <a:t>Instructions</a:t>
            </a:r>
          </a:p>
          <a:p>
            <a:pPr lvl="1"/>
            <a:r>
              <a:rPr lang="en-US" sz="1200" dirty="0" smtClean="0"/>
              <a:t>Log onto Clarity as follows:</a:t>
            </a:r>
          </a:p>
          <a:p>
            <a:pPr lvl="2"/>
            <a:r>
              <a:rPr lang="en-US" sz="1200" dirty="0" smtClean="0"/>
              <a:t>Access the site: </a:t>
            </a:r>
            <a:r>
              <a:rPr lang="en-US" sz="1200" dirty="0" smtClean="0">
                <a:solidFill>
                  <a:srgbClr val="0085B3"/>
                </a:solidFill>
              </a:rPr>
              <a:t>https://clarity.fs.capgemini.com</a:t>
            </a:r>
          </a:p>
          <a:p>
            <a:pPr lvl="2"/>
            <a:r>
              <a:rPr lang="en-US" sz="1200" dirty="0" smtClean="0"/>
              <a:t>Login using your </a:t>
            </a:r>
            <a:r>
              <a:rPr lang="en-US" sz="1200" dirty="0" err="1" smtClean="0"/>
              <a:t>Capgemini</a:t>
            </a:r>
            <a:r>
              <a:rPr lang="en-US" sz="1200" dirty="0" smtClean="0"/>
              <a:t> User ID and Password</a:t>
            </a:r>
          </a:p>
          <a:p>
            <a:pPr lvl="1"/>
            <a:r>
              <a:rPr lang="en-US" sz="1200" dirty="0" smtClean="0"/>
              <a:t>Click on Timesheets in the upper left-hand corner of the screen</a:t>
            </a:r>
          </a:p>
          <a:p>
            <a:pPr lvl="1"/>
            <a:r>
              <a:rPr lang="en-US" sz="1200" dirty="0" smtClean="0"/>
              <a:t>Select the week you wish to enter time for</a:t>
            </a:r>
          </a:p>
          <a:p>
            <a:pPr lvl="1"/>
            <a:r>
              <a:rPr lang="en-US" sz="1200" dirty="0" smtClean="0"/>
              <a:t>Click on Add Task</a:t>
            </a:r>
          </a:p>
          <a:p>
            <a:pPr lvl="1"/>
            <a:r>
              <a:rPr lang="en-US" sz="1200" dirty="0" smtClean="0"/>
              <a:t>Select the Task Code for On-boarding and click Add</a:t>
            </a:r>
          </a:p>
          <a:p>
            <a:pPr lvl="1"/>
            <a:r>
              <a:rPr lang="en-US" sz="1200" dirty="0" smtClean="0"/>
              <a:t>Enter 8 hours for today against the On-boarding task code</a:t>
            </a:r>
          </a:p>
          <a:p>
            <a:pPr lvl="1"/>
            <a:r>
              <a:rPr lang="en-US" sz="1200" dirty="0" smtClean="0"/>
              <a:t>Click on Save</a:t>
            </a:r>
          </a:p>
          <a:p>
            <a:pPr lvl="1"/>
            <a:r>
              <a:rPr lang="en-US" sz="1200" dirty="0" smtClean="0"/>
              <a:t>For any time entry /allocation related issues, please raise a ticket via the FS GBU Service Desk portal (</a:t>
            </a:r>
            <a:r>
              <a:rPr lang="en-US" sz="1200" dirty="0" smtClean="0">
                <a:solidFill>
                  <a:srgbClr val="0085B3"/>
                </a:solidFill>
                <a:hlinkClick r:id="rId3"/>
              </a:rPr>
              <a:t>http://support.capgemini.com</a:t>
            </a:r>
            <a:r>
              <a:rPr lang="en-US" sz="1200" dirty="0" smtClean="0"/>
              <a:t>)</a:t>
            </a:r>
          </a:p>
          <a:p>
            <a:pPr lvl="1">
              <a:buNone/>
            </a:pPr>
            <a:endParaRPr lang="en-US" dirty="0" smtClean="0"/>
          </a:p>
          <a:p>
            <a:endParaRPr lang="en-US" dirty="0"/>
          </a:p>
        </p:txBody>
      </p:sp>
      <p:sp>
        <p:nvSpPr>
          <p:cNvPr id="68612" name="Rectangle 6"/>
          <p:cNvSpPr>
            <a:spLocks/>
          </p:cNvSpPr>
          <p:nvPr/>
        </p:nvSpPr>
        <p:spPr bwMode="auto">
          <a:xfrm>
            <a:off x="851298" y="1795464"/>
            <a:ext cx="8203406" cy="2428875"/>
          </a:xfrm>
          <a:prstGeom prst="rect">
            <a:avLst/>
          </a:prstGeom>
          <a:noFill/>
          <a:ln w="12700">
            <a:noFill/>
            <a:miter lim="800000"/>
            <a:headEnd/>
            <a:tailEnd/>
          </a:ln>
        </p:spPr>
        <p:txBody>
          <a:bodyPr lIns="0" tIns="0" rIns="43349" bIns="0"/>
          <a:lstStyle/>
          <a:p>
            <a:pPr marL="42863"/>
            <a:endParaRPr lang="en-US" sz="2800">
              <a:solidFill>
                <a:srgbClr val="FFFFFF"/>
              </a:solidFill>
            </a:endParaRPr>
          </a:p>
        </p:txBody>
      </p:sp>
      <p:grpSp>
        <p:nvGrpSpPr>
          <p:cNvPr id="2" name="Group 6"/>
          <p:cNvGrpSpPr>
            <a:grpSpLocks/>
          </p:cNvGrpSpPr>
          <p:nvPr/>
        </p:nvGrpSpPr>
        <p:grpSpPr bwMode="auto">
          <a:xfrm>
            <a:off x="8941198" y="76201"/>
            <a:ext cx="889132" cy="409575"/>
            <a:chOff x="3327192" y="1750016"/>
            <a:chExt cx="820212" cy="410106"/>
          </a:xfrm>
        </p:grpSpPr>
        <p:sp>
          <p:nvSpPr>
            <p:cNvPr id="8" name="Rectangle 7"/>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0" name="Rectangle 9"/>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Time &amp; Expense</a:t>
              </a:r>
            </a:p>
          </p:txBody>
        </p:sp>
      </p:grpSp>
      <p:grpSp>
        <p:nvGrpSpPr>
          <p:cNvPr id="3" name="Group 10"/>
          <p:cNvGrpSpPr>
            <a:grpSpLocks/>
          </p:cNvGrpSpPr>
          <p:nvPr/>
        </p:nvGrpSpPr>
        <p:grpSpPr bwMode="auto">
          <a:xfrm>
            <a:off x="7035668" y="76201"/>
            <a:ext cx="887413" cy="409575"/>
            <a:chOff x="932170" y="585314"/>
            <a:chExt cx="820212" cy="410106"/>
          </a:xfrm>
        </p:grpSpPr>
        <p:sp>
          <p:nvSpPr>
            <p:cNvPr id="12" name="Rectangle 11"/>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3" name="Rectangle 12"/>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grpSp>
        <p:nvGrpSpPr>
          <p:cNvPr id="4" name="Group 13"/>
          <p:cNvGrpSpPr>
            <a:grpSpLocks/>
          </p:cNvGrpSpPr>
          <p:nvPr/>
        </p:nvGrpSpPr>
        <p:grpSpPr bwMode="auto">
          <a:xfrm>
            <a:off x="7969515" y="76201"/>
            <a:ext cx="889133" cy="409575"/>
            <a:chOff x="1137223" y="1167665"/>
            <a:chExt cx="820212" cy="410106"/>
          </a:xfrm>
        </p:grpSpPr>
        <p:sp>
          <p:nvSpPr>
            <p:cNvPr id="15" name="Rectangle 14"/>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6" name="Rectangle 15"/>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Capgemini Toolset</a:t>
              </a:r>
            </a:p>
          </p:txBody>
        </p:sp>
      </p:grpSp>
      <p:sp>
        <p:nvSpPr>
          <p:cNvPr id="18" name="TextBox 17"/>
          <p:cNvSpPr txBox="1"/>
          <p:nvPr/>
        </p:nvSpPr>
        <p:spPr>
          <a:xfrm>
            <a:off x="201881" y="4678878"/>
            <a:ext cx="9535885" cy="1754326"/>
          </a:xfrm>
          <a:prstGeom prst="rect">
            <a:avLst/>
          </a:prstGeom>
          <a:solidFill>
            <a:srgbClr val="005B7C"/>
          </a:solidFill>
        </p:spPr>
        <p:txBody>
          <a:bodyPr wrap="square" rtlCol="0">
            <a:spAutoFit/>
          </a:bodyPr>
          <a:lstStyle/>
          <a:p>
            <a:pPr algn="ctr"/>
            <a:r>
              <a:rPr lang="en-US" sz="2400" b="1" dirty="0" smtClean="0">
                <a:solidFill>
                  <a:schemeClr val="accent1">
                    <a:lumMod val="60000"/>
                    <a:lumOff val="40000"/>
                  </a:schemeClr>
                </a:solidFill>
              </a:rPr>
              <a:t>***** DON’T FORGET *****</a:t>
            </a:r>
          </a:p>
          <a:p>
            <a:r>
              <a:rPr lang="en-US" sz="1400" b="1" dirty="0" smtClean="0">
                <a:solidFill>
                  <a:schemeClr val="bg1"/>
                </a:solidFill>
              </a:rPr>
              <a:t>Clarity Timesheet Entry Process - Mandatory training for all new hires  and Fresh joiners</a:t>
            </a:r>
          </a:p>
          <a:p>
            <a:r>
              <a:rPr lang="en-US" sz="1400" dirty="0" smtClean="0">
                <a:solidFill>
                  <a:schemeClr val="bg1"/>
                </a:solidFill>
              </a:rPr>
              <a:t>All new hires and fresh joiners are required to attend below mandatory eLearning course on </a:t>
            </a:r>
            <a:r>
              <a:rPr lang="en-US" sz="1400" dirty="0" err="1" smtClean="0">
                <a:solidFill>
                  <a:schemeClr val="bg1"/>
                </a:solidFill>
              </a:rPr>
              <a:t>MyLearning</a:t>
            </a:r>
            <a:r>
              <a:rPr lang="en-US" sz="1400" dirty="0" smtClean="0">
                <a:solidFill>
                  <a:schemeClr val="bg1"/>
                </a:solidFill>
              </a:rPr>
              <a:t> Portal as soon as they get CORP id and password. Use below link to access the eLearning module.</a:t>
            </a:r>
          </a:p>
          <a:p>
            <a:r>
              <a:rPr lang="en-US" sz="1400" dirty="0" smtClean="0">
                <a:solidFill>
                  <a:schemeClr val="bg1"/>
                </a:solidFill>
              </a:rPr>
              <a:t>Access Link: </a:t>
            </a:r>
            <a:r>
              <a:rPr lang="en-US" sz="1400" u="sng" dirty="0" smtClean="0">
                <a:solidFill>
                  <a:schemeClr val="accent1">
                    <a:lumMod val="60000"/>
                    <a:lumOff val="40000"/>
                  </a:schemeClr>
                </a:solidFill>
                <a:hlinkClick r:id="rId4"/>
              </a:rPr>
              <a:t>https://capgemini.sumtotalsystems.com/sumtotal/app/management/LMS_ActDetails.aspx?UserMode=0&amp;ActivityId=302133</a:t>
            </a:r>
            <a:endParaRPr lang="en-US" sz="1600" b="1" dirty="0" smtClean="0">
              <a:solidFill>
                <a:schemeClr val="accent1">
                  <a:lumMod val="60000"/>
                  <a:lumOff val="40000"/>
                </a:schemeClr>
              </a:solidFill>
            </a:endParaRPr>
          </a:p>
        </p:txBody>
      </p:sp>
      <p:pic>
        <p:nvPicPr>
          <p:cNvPr id="17" name="Picture 2"/>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6209873" y="1246910"/>
            <a:ext cx="3409140" cy="189022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ight Brace 159"/>
          <p:cNvSpPr/>
          <p:nvPr/>
        </p:nvSpPr>
        <p:spPr bwMode="auto">
          <a:xfrm>
            <a:off x="6257925" y="3182626"/>
            <a:ext cx="234876" cy="877870"/>
          </a:xfrm>
          <a:prstGeom prst="rightBrace">
            <a:avLst>
              <a:gd name="adj1" fmla="val 37847"/>
              <a:gd name="adj2" fmla="val 50000"/>
            </a:avLst>
          </a:prstGeom>
          <a:solidFill>
            <a:schemeClr val="bg1">
              <a:lumMod val="85000"/>
            </a:schemeClr>
          </a:solidFill>
          <a:ln w="3175" cap="flat" cmpd="sng" algn="ctr">
            <a:noFill/>
            <a:prstDash val="solid"/>
            <a:round/>
            <a:headEnd type="none" w="med" len="med"/>
            <a:tailEnd type="none" w="med" len="med"/>
          </a:ln>
          <a:effectLst/>
        </p:spPr>
        <p:txBody>
          <a:bodyPr rtlCol="0" anchor="ctr"/>
          <a:lstStyle/>
          <a:p>
            <a:pPr algn="ctr" defTabSz="914400" eaLnBrk="0" fontAlgn="base" hangingPunct="0">
              <a:spcBef>
                <a:spcPct val="0"/>
              </a:spcBef>
              <a:spcAft>
                <a:spcPct val="0"/>
              </a:spcAft>
            </a:pPr>
            <a:endParaRPr lang="en-US" sz="1600" dirty="0">
              <a:solidFill>
                <a:srgbClr val="909090">
                  <a:lumMod val="50000"/>
                </a:srgbClr>
              </a:solidFill>
              <a:cs typeface="Arial" charset="0"/>
            </a:endParaRPr>
          </a:p>
        </p:txBody>
      </p:sp>
      <p:sp>
        <p:nvSpPr>
          <p:cNvPr id="161" name="Right Brace 160"/>
          <p:cNvSpPr/>
          <p:nvPr/>
        </p:nvSpPr>
        <p:spPr bwMode="auto">
          <a:xfrm>
            <a:off x="6257925" y="1655781"/>
            <a:ext cx="234876" cy="877870"/>
          </a:xfrm>
          <a:prstGeom prst="rightBrace">
            <a:avLst>
              <a:gd name="adj1" fmla="val 37847"/>
              <a:gd name="adj2" fmla="val 50000"/>
            </a:avLst>
          </a:prstGeom>
          <a:solidFill>
            <a:schemeClr val="bg1">
              <a:lumMod val="85000"/>
            </a:schemeClr>
          </a:solidFill>
          <a:ln w="3175" cap="flat" cmpd="sng" algn="ctr">
            <a:noFill/>
            <a:prstDash val="solid"/>
            <a:round/>
            <a:headEnd type="none" w="med" len="med"/>
            <a:tailEnd type="none" w="med" len="med"/>
          </a:ln>
          <a:effectLst/>
        </p:spPr>
        <p:txBody>
          <a:bodyPr rtlCol="0" anchor="ctr"/>
          <a:lstStyle/>
          <a:p>
            <a:pPr algn="ctr" defTabSz="914400" eaLnBrk="0" fontAlgn="base" hangingPunct="0">
              <a:spcBef>
                <a:spcPct val="0"/>
              </a:spcBef>
              <a:spcAft>
                <a:spcPct val="0"/>
              </a:spcAft>
            </a:pPr>
            <a:endParaRPr lang="en-US" sz="1600" dirty="0">
              <a:solidFill>
                <a:srgbClr val="909090">
                  <a:lumMod val="50000"/>
                </a:srgbClr>
              </a:solidFill>
              <a:cs typeface="Arial" charset="0"/>
            </a:endParaRPr>
          </a:p>
        </p:txBody>
      </p:sp>
      <p:sp>
        <p:nvSpPr>
          <p:cNvPr id="123" name="Right Brace 122"/>
          <p:cNvSpPr/>
          <p:nvPr/>
        </p:nvSpPr>
        <p:spPr bwMode="auto">
          <a:xfrm>
            <a:off x="1524000" y="3182626"/>
            <a:ext cx="234876" cy="877870"/>
          </a:xfrm>
          <a:prstGeom prst="rightBrace">
            <a:avLst>
              <a:gd name="adj1" fmla="val 37847"/>
              <a:gd name="adj2" fmla="val 50000"/>
            </a:avLst>
          </a:prstGeom>
          <a:solidFill>
            <a:schemeClr val="bg1">
              <a:lumMod val="85000"/>
            </a:schemeClr>
          </a:solidFill>
          <a:ln w="3175" cap="flat" cmpd="sng" algn="ctr">
            <a:noFill/>
            <a:prstDash val="solid"/>
            <a:round/>
            <a:headEnd type="none" w="med" len="med"/>
            <a:tailEnd type="none" w="med" len="med"/>
          </a:ln>
          <a:effectLst/>
        </p:spPr>
        <p:txBody>
          <a:bodyPr rtlCol="0" anchor="ctr"/>
          <a:lstStyle/>
          <a:p>
            <a:pPr algn="ctr" defTabSz="914400" eaLnBrk="0" fontAlgn="base" hangingPunct="0">
              <a:spcBef>
                <a:spcPct val="0"/>
              </a:spcBef>
              <a:spcAft>
                <a:spcPct val="0"/>
              </a:spcAft>
            </a:pPr>
            <a:endParaRPr lang="en-US" sz="1600" dirty="0">
              <a:solidFill>
                <a:srgbClr val="909090">
                  <a:lumMod val="50000"/>
                </a:srgbClr>
              </a:solidFill>
              <a:cs typeface="Arial" charset="0"/>
            </a:endParaRPr>
          </a:p>
        </p:txBody>
      </p:sp>
      <p:sp>
        <p:nvSpPr>
          <p:cNvPr id="120" name="Right Brace 119"/>
          <p:cNvSpPr/>
          <p:nvPr/>
        </p:nvSpPr>
        <p:spPr bwMode="auto">
          <a:xfrm>
            <a:off x="1524000" y="1655781"/>
            <a:ext cx="234876" cy="877870"/>
          </a:xfrm>
          <a:prstGeom prst="rightBrace">
            <a:avLst>
              <a:gd name="adj1" fmla="val 37847"/>
              <a:gd name="adj2" fmla="val 50000"/>
            </a:avLst>
          </a:prstGeom>
          <a:solidFill>
            <a:schemeClr val="bg1">
              <a:lumMod val="85000"/>
            </a:schemeClr>
          </a:solidFill>
          <a:ln w="3175" cap="flat" cmpd="sng" algn="ctr">
            <a:noFill/>
            <a:prstDash val="solid"/>
            <a:round/>
            <a:headEnd type="none" w="med" len="med"/>
            <a:tailEnd type="none" w="med" len="med"/>
          </a:ln>
          <a:effectLst/>
        </p:spPr>
        <p:txBody>
          <a:bodyPr rtlCol="0" anchor="ctr"/>
          <a:lstStyle/>
          <a:p>
            <a:pPr algn="ctr" defTabSz="914400" eaLnBrk="0" fontAlgn="base" hangingPunct="0">
              <a:spcBef>
                <a:spcPct val="0"/>
              </a:spcBef>
              <a:spcAft>
                <a:spcPct val="0"/>
              </a:spcAft>
            </a:pPr>
            <a:endParaRPr lang="en-US" sz="1600" dirty="0">
              <a:solidFill>
                <a:srgbClr val="909090">
                  <a:lumMod val="50000"/>
                </a:srgbClr>
              </a:solidFill>
              <a:cs typeface="Arial" charset="0"/>
            </a:endParaRPr>
          </a:p>
        </p:txBody>
      </p:sp>
      <p:sp>
        <p:nvSpPr>
          <p:cNvPr id="8" name="Rectangle 7"/>
          <p:cNvSpPr/>
          <p:nvPr/>
        </p:nvSpPr>
        <p:spPr>
          <a:xfrm>
            <a:off x="1784102" y="1495425"/>
            <a:ext cx="3066129" cy="1231106"/>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lIns="0" tIns="0" rIns="0" bIns="0" rtlCol="0" anchor="t" anchorCtr="0">
            <a:spAutoFit/>
          </a:bodyPr>
          <a:lstStyle/>
          <a:p>
            <a:r>
              <a:rPr lang="en-US" sz="1600" dirty="0">
                <a:solidFill>
                  <a:srgbClr val="909090">
                    <a:lumMod val="50000"/>
                  </a:srgbClr>
                </a:solidFill>
              </a:rPr>
              <a:t>One of the world's foremost providers of consulting, </a:t>
            </a:r>
            <a:r>
              <a:rPr lang="en-US" sz="1600" dirty="0" smtClean="0">
                <a:solidFill>
                  <a:srgbClr val="909090">
                    <a:lumMod val="50000"/>
                  </a:srgbClr>
                </a:solidFill>
              </a:rPr>
              <a:t>technology and outsourcing services with presence in </a:t>
            </a:r>
            <a:br>
              <a:rPr lang="en-US" sz="1600" dirty="0" smtClean="0">
                <a:solidFill>
                  <a:srgbClr val="909090">
                    <a:lumMod val="50000"/>
                  </a:srgbClr>
                </a:solidFill>
              </a:rPr>
            </a:br>
            <a:r>
              <a:rPr lang="en-US" sz="1600" dirty="0" smtClean="0">
                <a:solidFill>
                  <a:srgbClr val="909090">
                    <a:lumMod val="50000"/>
                  </a:srgbClr>
                </a:solidFill>
              </a:rPr>
              <a:t>over </a:t>
            </a:r>
            <a:r>
              <a:rPr lang="en-US" sz="1600" dirty="0">
                <a:solidFill>
                  <a:srgbClr val="909090">
                    <a:lumMod val="50000"/>
                  </a:srgbClr>
                </a:solidFill>
              </a:rPr>
              <a:t>40 </a:t>
            </a:r>
            <a:r>
              <a:rPr lang="en-US" sz="1600" dirty="0" smtClean="0">
                <a:solidFill>
                  <a:srgbClr val="909090">
                    <a:lumMod val="50000"/>
                  </a:srgbClr>
                </a:solidFill>
              </a:rPr>
              <a:t>countries.</a:t>
            </a:r>
            <a:endParaRPr lang="en-US" sz="1600" dirty="0">
              <a:solidFill>
                <a:srgbClr val="909090">
                  <a:lumMod val="50000"/>
                </a:srgbClr>
              </a:solidFill>
            </a:endParaRPr>
          </a:p>
        </p:txBody>
      </p:sp>
      <p:pic>
        <p:nvPicPr>
          <p:cNvPr id="14" name="Picture 2"/>
          <p:cNvPicPr>
            <a:picLocks noChangeAspect="1" noChangeArrowheads="1"/>
          </p:cNvPicPr>
          <p:nvPr/>
        </p:nvPicPr>
        <p:blipFill>
          <a:blip r:embed="rId5" cstate="email">
            <a:extLst>
              <a:ext uri="{28A0092B-C50C-407E-A947-70E740481C1C}">
                <a14:useLocalDpi xmlns="" xmlns:a14="http://schemas.microsoft.com/office/drawing/2010/main"/>
              </a:ext>
            </a:extLst>
          </a:blip>
          <a:srcRect/>
          <a:stretch>
            <a:fillRect/>
          </a:stretch>
        </p:blipFill>
        <p:spPr bwMode="auto">
          <a:xfrm>
            <a:off x="425371" y="3331369"/>
            <a:ext cx="1155367" cy="67011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9" name="Rectangle 18"/>
          <p:cNvSpPr/>
          <p:nvPr/>
        </p:nvSpPr>
        <p:spPr>
          <a:xfrm>
            <a:off x="1743993" y="4639702"/>
            <a:ext cx="3066129" cy="98488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lIns="0" tIns="0" rIns="0" bIns="0" rtlCol="0" anchor="t" anchorCtr="0">
            <a:spAutoFit/>
          </a:bodyPr>
          <a:lstStyle/>
          <a:p>
            <a:r>
              <a:rPr lang="en-US" sz="1600" dirty="0" smtClean="0">
                <a:solidFill>
                  <a:srgbClr val="909090">
                    <a:lumMod val="50000"/>
                  </a:srgbClr>
                </a:solidFill>
              </a:rPr>
              <a:t>Helping our </a:t>
            </a:r>
            <a:r>
              <a:rPr lang="en-US" sz="1600" dirty="0">
                <a:solidFill>
                  <a:srgbClr val="909090">
                    <a:lumMod val="50000"/>
                  </a:srgbClr>
                </a:solidFill>
              </a:rPr>
              <a:t>clients improve their performance and competitive positioning through a </a:t>
            </a:r>
            <a:r>
              <a:rPr lang="en-US" sz="1600" dirty="0" smtClean="0">
                <a:solidFill>
                  <a:srgbClr val="909090">
                    <a:lumMod val="50000"/>
                  </a:srgbClr>
                </a:solidFill>
              </a:rPr>
              <a:t>people-centered </a:t>
            </a:r>
            <a:r>
              <a:rPr lang="en-US" sz="1600" dirty="0">
                <a:solidFill>
                  <a:srgbClr val="909090">
                    <a:lumMod val="50000"/>
                  </a:srgbClr>
                </a:solidFill>
              </a:rPr>
              <a:t>approach to </a:t>
            </a:r>
            <a:r>
              <a:rPr lang="en-US" sz="1600" dirty="0" smtClean="0">
                <a:solidFill>
                  <a:srgbClr val="909090">
                    <a:lumMod val="50000"/>
                  </a:srgbClr>
                </a:solidFill>
              </a:rPr>
              <a:t>technology.</a:t>
            </a:r>
            <a:endParaRPr lang="en-US" sz="1600" dirty="0">
              <a:solidFill>
                <a:srgbClr val="909090">
                  <a:lumMod val="50000"/>
                </a:srgbClr>
              </a:solidFill>
            </a:endParaRPr>
          </a:p>
        </p:txBody>
      </p:sp>
      <p:sp>
        <p:nvSpPr>
          <p:cNvPr id="7" name="Title 6"/>
          <p:cNvSpPr>
            <a:spLocks noGrp="1"/>
          </p:cNvSpPr>
          <p:nvPr>
            <p:ph type="title"/>
          </p:nvPr>
        </p:nvSpPr>
        <p:spPr/>
        <p:txBody>
          <a:bodyPr/>
          <a:lstStyle/>
          <a:p>
            <a:r>
              <a:rPr lang="en-US" dirty="0" smtClean="0"/>
              <a:t>Capgemini Group: Who </a:t>
            </a:r>
            <a:r>
              <a:rPr lang="en-US" dirty="0"/>
              <a:t>we are </a:t>
            </a:r>
          </a:p>
        </p:txBody>
      </p:sp>
      <p:cxnSp>
        <p:nvCxnSpPr>
          <p:cNvPr id="85" name="Straight Connector 84"/>
          <p:cNvCxnSpPr/>
          <p:nvPr/>
        </p:nvCxnSpPr>
        <p:spPr>
          <a:xfrm flipH="1">
            <a:off x="349251" y="6092817"/>
            <a:ext cx="5384799" cy="0"/>
          </a:xfrm>
          <a:prstGeom prst="line">
            <a:avLst/>
          </a:prstGeom>
          <a:ln w="19050" cap="rnd">
            <a:solidFill>
              <a:schemeClr val="accent5">
                <a:lumMod val="75000"/>
              </a:schemeClr>
            </a:solidFill>
            <a:prstDash val="solid"/>
            <a:tailEnd type="oval"/>
          </a:ln>
        </p:spPr>
        <p:style>
          <a:lnRef idx="1">
            <a:schemeClr val="accent1"/>
          </a:lnRef>
          <a:fillRef idx="0">
            <a:schemeClr val="accent1"/>
          </a:fillRef>
          <a:effectRef idx="0">
            <a:schemeClr val="accent1"/>
          </a:effectRef>
          <a:fontRef idx="minor">
            <a:schemeClr val="tx1"/>
          </a:fontRef>
        </p:style>
      </p:cxnSp>
      <p:sp>
        <p:nvSpPr>
          <p:cNvPr id="11" name="Rounded Rectangle 10"/>
          <p:cNvSpPr/>
          <p:nvPr/>
        </p:nvSpPr>
        <p:spPr bwMode="auto">
          <a:xfrm>
            <a:off x="349250" y="1495425"/>
            <a:ext cx="1208315" cy="1231106"/>
          </a:xfrm>
          <a:prstGeom prst="roundRect">
            <a:avLst>
              <a:gd name="adj" fmla="val 9460"/>
            </a:avLst>
          </a:prstGeom>
          <a:solidFill>
            <a:schemeClr val="bg1"/>
          </a:solidFill>
          <a:ln w="317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smtClean="0">
              <a:solidFill>
                <a:srgbClr val="909090">
                  <a:lumMod val="50000"/>
                </a:srgbClr>
              </a:solidFill>
              <a:cs typeface="Arial" charset="0"/>
            </a:endParaRPr>
          </a:p>
        </p:txBody>
      </p:sp>
      <p:sp>
        <p:nvSpPr>
          <p:cNvPr id="13" name="Rectangle 12"/>
          <p:cNvSpPr/>
          <p:nvPr/>
        </p:nvSpPr>
        <p:spPr>
          <a:xfrm>
            <a:off x="1763046" y="3129119"/>
            <a:ext cx="3066129" cy="98488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lIns="0" tIns="0" rIns="0" bIns="0" rtlCol="0" anchor="t" anchorCtr="0">
            <a:spAutoFit/>
          </a:bodyPr>
          <a:lstStyle/>
          <a:p>
            <a:r>
              <a:rPr lang="en-US" sz="1600" dirty="0" smtClean="0">
                <a:solidFill>
                  <a:srgbClr val="909090">
                    <a:lumMod val="50000"/>
                  </a:srgbClr>
                </a:solidFill>
              </a:rPr>
              <a:t>For the third consecutive year, we were named “One of the World’s Most Ethical Companies</a:t>
            </a:r>
            <a:r>
              <a:rPr lang="en-US" sz="1600" baseline="30000" dirty="0" smtClean="0">
                <a:solidFill>
                  <a:srgbClr val="909090">
                    <a:lumMod val="50000"/>
                  </a:srgbClr>
                </a:solidFill>
              </a:rPr>
              <a:t>®</a:t>
            </a:r>
            <a:r>
              <a:rPr lang="en-US" sz="1600" dirty="0" smtClean="0">
                <a:solidFill>
                  <a:srgbClr val="909090">
                    <a:lumMod val="50000"/>
                  </a:srgbClr>
                </a:solidFill>
              </a:rPr>
              <a:t>” </a:t>
            </a:r>
            <a:br>
              <a:rPr lang="en-US" sz="1600" dirty="0" smtClean="0">
                <a:solidFill>
                  <a:srgbClr val="909090">
                    <a:lumMod val="50000"/>
                  </a:srgbClr>
                </a:solidFill>
              </a:rPr>
            </a:br>
            <a:r>
              <a:rPr lang="en-US" sz="1600" dirty="0" smtClean="0">
                <a:solidFill>
                  <a:srgbClr val="909090">
                    <a:lumMod val="50000"/>
                  </a:srgbClr>
                </a:solidFill>
              </a:rPr>
              <a:t>by the Ethisphere Institute.</a:t>
            </a:r>
            <a:endParaRPr lang="en-US" sz="1600" dirty="0">
              <a:solidFill>
                <a:srgbClr val="909090">
                  <a:lumMod val="50000"/>
                </a:srgbClr>
              </a:solidFill>
            </a:endParaRPr>
          </a:p>
        </p:txBody>
      </p:sp>
      <p:sp>
        <p:nvSpPr>
          <p:cNvPr id="114" name="Rounded Rectangle 113"/>
          <p:cNvSpPr/>
          <p:nvPr/>
        </p:nvSpPr>
        <p:spPr bwMode="auto">
          <a:xfrm>
            <a:off x="349250" y="3006008"/>
            <a:ext cx="1208315" cy="1231106"/>
          </a:xfrm>
          <a:prstGeom prst="roundRect">
            <a:avLst>
              <a:gd name="adj" fmla="val 9460"/>
            </a:avLst>
          </a:prstGeom>
          <a:solidFill>
            <a:schemeClr val="bg1"/>
          </a:solidFill>
          <a:ln w="317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smtClean="0">
              <a:solidFill>
                <a:srgbClr val="909090">
                  <a:lumMod val="50000"/>
                </a:srgbClr>
              </a:solidFill>
              <a:cs typeface="Arial" charset="0"/>
            </a:endParaRPr>
          </a:p>
        </p:txBody>
      </p:sp>
      <p:sp>
        <p:nvSpPr>
          <p:cNvPr id="115" name="Rounded Rectangle 114"/>
          <p:cNvSpPr/>
          <p:nvPr/>
        </p:nvSpPr>
        <p:spPr bwMode="auto">
          <a:xfrm>
            <a:off x="349250" y="4516591"/>
            <a:ext cx="1208315" cy="1231106"/>
          </a:xfrm>
          <a:prstGeom prst="roundRect">
            <a:avLst>
              <a:gd name="adj" fmla="val 9460"/>
            </a:avLst>
          </a:prstGeom>
          <a:solidFill>
            <a:schemeClr val="bg1"/>
          </a:solidFill>
          <a:ln w="317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smtClean="0">
              <a:solidFill>
                <a:srgbClr val="909090">
                  <a:lumMod val="50000"/>
                </a:srgbClr>
              </a:solidFill>
              <a:cs typeface="Arial" charset="0"/>
            </a:endParaRPr>
          </a:p>
        </p:txBody>
      </p:sp>
      <p:sp>
        <p:nvSpPr>
          <p:cNvPr id="116" name="Rectangle 115"/>
          <p:cNvSpPr/>
          <p:nvPr/>
        </p:nvSpPr>
        <p:spPr>
          <a:xfrm>
            <a:off x="6511677" y="1741646"/>
            <a:ext cx="3085182" cy="492443"/>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lIns="0" tIns="0" rIns="0" bIns="0" rtlCol="0" anchor="t" anchorCtr="0">
            <a:spAutoFit/>
          </a:bodyPr>
          <a:lstStyle/>
          <a:p>
            <a:r>
              <a:rPr lang="en-US" sz="1600" dirty="0">
                <a:solidFill>
                  <a:srgbClr val="909090">
                    <a:lumMod val="50000"/>
                  </a:srgbClr>
                </a:solidFill>
              </a:rPr>
              <a:t>Listed on Paris Stock exchange </a:t>
            </a:r>
            <a:r>
              <a:rPr lang="en-US" sz="1600" dirty="0" smtClean="0">
                <a:solidFill>
                  <a:srgbClr val="909090">
                    <a:lumMod val="50000"/>
                  </a:srgbClr>
                </a:solidFill>
              </a:rPr>
              <a:t>since 1985. </a:t>
            </a:r>
            <a:endParaRPr lang="en-US" sz="1600" dirty="0">
              <a:solidFill>
                <a:srgbClr val="909090">
                  <a:lumMod val="50000"/>
                </a:srgbClr>
              </a:solidFill>
            </a:endParaRPr>
          </a:p>
        </p:txBody>
      </p:sp>
      <p:sp>
        <p:nvSpPr>
          <p:cNvPr id="117" name="Rounded Rectangle 116"/>
          <p:cNvSpPr/>
          <p:nvPr/>
        </p:nvSpPr>
        <p:spPr bwMode="auto">
          <a:xfrm>
            <a:off x="5076825" y="1495425"/>
            <a:ext cx="1208315" cy="1231106"/>
          </a:xfrm>
          <a:prstGeom prst="roundRect">
            <a:avLst>
              <a:gd name="adj" fmla="val 9460"/>
            </a:avLst>
          </a:prstGeom>
          <a:solidFill>
            <a:schemeClr val="bg1"/>
          </a:solidFill>
          <a:ln w="317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smtClean="0">
              <a:solidFill>
                <a:srgbClr val="909090">
                  <a:lumMod val="50000"/>
                </a:srgbClr>
              </a:solidFill>
              <a:cs typeface="Arial" charset="0"/>
            </a:endParaRPr>
          </a:p>
        </p:txBody>
      </p:sp>
      <p:sp>
        <p:nvSpPr>
          <p:cNvPr id="118" name="Rectangle 117"/>
          <p:cNvSpPr/>
          <p:nvPr/>
        </p:nvSpPr>
        <p:spPr>
          <a:xfrm>
            <a:off x="6490621" y="3252229"/>
            <a:ext cx="3085182" cy="738664"/>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lIns="0" tIns="0" rIns="0" bIns="0" rtlCol="0" anchor="t" anchorCtr="0">
            <a:spAutoFit/>
          </a:bodyPr>
          <a:lstStyle/>
          <a:p>
            <a:r>
              <a:rPr lang="en-US" sz="1600" b="1" dirty="0">
                <a:solidFill>
                  <a:srgbClr val="909090">
                    <a:lumMod val="50000"/>
                  </a:srgbClr>
                </a:solidFill>
              </a:rPr>
              <a:t>Our Vision: </a:t>
            </a:r>
            <a:r>
              <a:rPr lang="en-US" sz="1600" dirty="0">
                <a:solidFill>
                  <a:srgbClr val="909090">
                    <a:lumMod val="50000"/>
                  </a:srgbClr>
                </a:solidFill>
              </a:rPr>
              <a:t>the business value of </a:t>
            </a:r>
            <a:r>
              <a:rPr lang="en-US" sz="1600" dirty="0" smtClean="0">
                <a:solidFill>
                  <a:srgbClr val="909090">
                    <a:lumMod val="50000"/>
                  </a:srgbClr>
                </a:solidFill>
              </a:rPr>
              <a:t>technology </a:t>
            </a:r>
            <a:r>
              <a:rPr lang="en-US" sz="1600" dirty="0">
                <a:solidFill>
                  <a:srgbClr val="909090">
                    <a:lumMod val="50000"/>
                  </a:srgbClr>
                </a:solidFill>
              </a:rPr>
              <a:t>comes from and through </a:t>
            </a:r>
            <a:r>
              <a:rPr lang="en-US" sz="1600" dirty="0" smtClean="0">
                <a:solidFill>
                  <a:srgbClr val="909090">
                    <a:lumMod val="50000"/>
                  </a:srgbClr>
                </a:solidFill>
              </a:rPr>
              <a:t>people. </a:t>
            </a:r>
            <a:endParaRPr lang="en-US" sz="1600" dirty="0">
              <a:solidFill>
                <a:srgbClr val="909090">
                  <a:lumMod val="50000"/>
                </a:srgbClr>
              </a:solidFill>
            </a:endParaRPr>
          </a:p>
        </p:txBody>
      </p:sp>
      <p:sp>
        <p:nvSpPr>
          <p:cNvPr id="119" name="Rounded Rectangle 118"/>
          <p:cNvSpPr/>
          <p:nvPr/>
        </p:nvSpPr>
        <p:spPr bwMode="auto">
          <a:xfrm>
            <a:off x="5076825" y="3006008"/>
            <a:ext cx="1208315" cy="1231106"/>
          </a:xfrm>
          <a:prstGeom prst="roundRect">
            <a:avLst>
              <a:gd name="adj" fmla="val 9460"/>
            </a:avLst>
          </a:prstGeom>
          <a:solidFill>
            <a:schemeClr val="bg1"/>
          </a:solidFill>
          <a:ln w="317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smtClean="0">
              <a:solidFill>
                <a:srgbClr val="909090">
                  <a:lumMod val="50000"/>
                </a:srgbClr>
              </a:solidFill>
              <a:cs typeface="Arial" charset="0"/>
            </a:endParaRPr>
          </a:p>
        </p:txBody>
      </p:sp>
      <p:sp>
        <p:nvSpPr>
          <p:cNvPr id="87" name="Freeform 461"/>
          <p:cNvSpPr>
            <a:spLocks/>
          </p:cNvSpPr>
          <p:nvPr/>
        </p:nvSpPr>
        <p:spPr bwMode="auto">
          <a:xfrm>
            <a:off x="8844359" y="4199811"/>
            <a:ext cx="161677" cy="153456"/>
          </a:xfrm>
          <a:custGeom>
            <a:avLst/>
            <a:gdLst>
              <a:gd name="T0" fmla="*/ 43 w 59"/>
              <a:gd name="T1" fmla="*/ 35 h 56"/>
              <a:gd name="T2" fmla="*/ 55 w 59"/>
              <a:gd name="T3" fmla="*/ 26 h 56"/>
              <a:gd name="T4" fmla="*/ 52 w 59"/>
              <a:gd name="T5" fmla="*/ 19 h 56"/>
              <a:gd name="T6" fmla="*/ 38 w 59"/>
              <a:gd name="T7" fmla="*/ 19 h 56"/>
              <a:gd name="T8" fmla="*/ 33 w 59"/>
              <a:gd name="T9" fmla="*/ 5 h 56"/>
              <a:gd name="T10" fmla="*/ 26 w 59"/>
              <a:gd name="T11" fmla="*/ 5 h 56"/>
              <a:gd name="T12" fmla="*/ 21 w 59"/>
              <a:gd name="T13" fmla="*/ 19 h 56"/>
              <a:gd name="T14" fmla="*/ 7 w 59"/>
              <a:gd name="T15" fmla="*/ 19 h 56"/>
              <a:gd name="T16" fmla="*/ 5 w 59"/>
              <a:gd name="T17" fmla="*/ 26 h 56"/>
              <a:gd name="T18" fmla="*/ 16 w 59"/>
              <a:gd name="T19" fmla="*/ 35 h 56"/>
              <a:gd name="T20" fmla="*/ 12 w 59"/>
              <a:gd name="T21" fmla="*/ 48 h 56"/>
              <a:gd name="T22" fmla="*/ 18 w 59"/>
              <a:gd name="T23" fmla="*/ 53 h 56"/>
              <a:gd name="T24" fmla="*/ 30 w 59"/>
              <a:gd name="T25" fmla="*/ 44 h 56"/>
              <a:gd name="T26" fmla="*/ 41 w 59"/>
              <a:gd name="T27" fmla="*/ 53 h 56"/>
              <a:gd name="T28" fmla="*/ 47 w 59"/>
              <a:gd name="T29" fmla="*/ 48 h 56"/>
              <a:gd name="T30" fmla="*/ 46 w 59"/>
              <a:gd name="T31" fmla="*/ 4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 h="56">
                <a:moveTo>
                  <a:pt x="43" y="35"/>
                </a:moveTo>
                <a:cubicBezTo>
                  <a:pt x="55" y="26"/>
                  <a:pt x="55" y="26"/>
                  <a:pt x="55" y="26"/>
                </a:cubicBezTo>
                <a:cubicBezTo>
                  <a:pt x="59" y="22"/>
                  <a:pt x="58" y="19"/>
                  <a:pt x="52" y="19"/>
                </a:cubicBezTo>
                <a:cubicBezTo>
                  <a:pt x="38" y="19"/>
                  <a:pt x="38" y="19"/>
                  <a:pt x="38" y="19"/>
                </a:cubicBezTo>
                <a:cubicBezTo>
                  <a:pt x="33" y="5"/>
                  <a:pt x="33" y="5"/>
                  <a:pt x="33" y="5"/>
                </a:cubicBezTo>
                <a:cubicBezTo>
                  <a:pt x="31" y="0"/>
                  <a:pt x="28" y="0"/>
                  <a:pt x="26" y="5"/>
                </a:cubicBezTo>
                <a:cubicBezTo>
                  <a:pt x="21" y="19"/>
                  <a:pt x="21" y="19"/>
                  <a:pt x="21" y="19"/>
                </a:cubicBezTo>
                <a:cubicBezTo>
                  <a:pt x="7" y="19"/>
                  <a:pt x="7" y="19"/>
                  <a:pt x="7" y="19"/>
                </a:cubicBezTo>
                <a:cubicBezTo>
                  <a:pt x="1" y="19"/>
                  <a:pt x="0" y="22"/>
                  <a:pt x="5" y="26"/>
                </a:cubicBezTo>
                <a:cubicBezTo>
                  <a:pt x="16" y="35"/>
                  <a:pt x="16" y="35"/>
                  <a:pt x="16" y="35"/>
                </a:cubicBezTo>
                <a:cubicBezTo>
                  <a:pt x="12" y="48"/>
                  <a:pt x="12" y="48"/>
                  <a:pt x="12" y="48"/>
                </a:cubicBezTo>
                <a:cubicBezTo>
                  <a:pt x="10" y="54"/>
                  <a:pt x="13" y="56"/>
                  <a:pt x="18" y="53"/>
                </a:cubicBezTo>
                <a:cubicBezTo>
                  <a:pt x="30" y="44"/>
                  <a:pt x="30" y="44"/>
                  <a:pt x="30" y="44"/>
                </a:cubicBezTo>
                <a:cubicBezTo>
                  <a:pt x="41" y="53"/>
                  <a:pt x="41" y="53"/>
                  <a:pt x="41" y="53"/>
                </a:cubicBezTo>
                <a:cubicBezTo>
                  <a:pt x="46" y="56"/>
                  <a:pt x="49" y="54"/>
                  <a:pt x="47" y="48"/>
                </a:cubicBezTo>
                <a:cubicBezTo>
                  <a:pt x="46" y="43"/>
                  <a:pt x="46" y="43"/>
                  <a:pt x="46" y="43"/>
                </a:cubicBezTo>
              </a:path>
            </a:pathLst>
          </a:custGeom>
          <a:noFill/>
          <a:ln w="19050" cap="rnd">
            <a:solidFill>
              <a:schemeClr val="accent6"/>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88" name="Freeform 462"/>
          <p:cNvSpPr>
            <a:spLocks/>
          </p:cNvSpPr>
          <p:nvPr/>
        </p:nvSpPr>
        <p:spPr bwMode="auto">
          <a:xfrm>
            <a:off x="8978633" y="4051835"/>
            <a:ext cx="117833" cy="109612"/>
          </a:xfrm>
          <a:custGeom>
            <a:avLst/>
            <a:gdLst>
              <a:gd name="T0" fmla="*/ 31 w 43"/>
              <a:gd name="T1" fmla="*/ 25 h 40"/>
              <a:gd name="T2" fmla="*/ 39 w 43"/>
              <a:gd name="T3" fmla="*/ 19 h 40"/>
              <a:gd name="T4" fmla="*/ 37 w 43"/>
              <a:gd name="T5" fmla="*/ 14 h 40"/>
              <a:gd name="T6" fmla="*/ 27 w 43"/>
              <a:gd name="T7" fmla="*/ 13 h 40"/>
              <a:gd name="T8" fmla="*/ 24 w 43"/>
              <a:gd name="T9" fmla="*/ 4 h 40"/>
              <a:gd name="T10" fmla="*/ 19 w 43"/>
              <a:gd name="T11" fmla="*/ 4 h 40"/>
              <a:gd name="T12" fmla="*/ 15 w 43"/>
              <a:gd name="T13" fmla="*/ 13 h 40"/>
              <a:gd name="T14" fmla="*/ 5 w 43"/>
              <a:gd name="T15" fmla="*/ 14 h 40"/>
              <a:gd name="T16" fmla="*/ 4 w 43"/>
              <a:gd name="T17" fmla="*/ 19 h 40"/>
              <a:gd name="T18" fmla="*/ 12 w 43"/>
              <a:gd name="T19" fmla="*/ 25 h 40"/>
              <a:gd name="T20" fmla="*/ 9 w 43"/>
              <a:gd name="T21" fmla="*/ 34 h 40"/>
              <a:gd name="T22" fmla="*/ 13 w 43"/>
              <a:gd name="T23" fmla="*/ 38 h 40"/>
              <a:gd name="T24" fmla="*/ 21 w 43"/>
              <a:gd name="T25" fmla="*/ 32 h 40"/>
              <a:gd name="T26" fmla="*/ 30 w 43"/>
              <a:gd name="T27" fmla="*/ 38 h 40"/>
              <a:gd name="T28" fmla="*/ 34 w 43"/>
              <a:gd name="T29" fmla="*/ 34 h 40"/>
              <a:gd name="T30" fmla="*/ 33 w 43"/>
              <a:gd name="T31" fmla="*/ 3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40">
                <a:moveTo>
                  <a:pt x="31" y="25"/>
                </a:moveTo>
                <a:cubicBezTo>
                  <a:pt x="39" y="19"/>
                  <a:pt x="39" y="19"/>
                  <a:pt x="39" y="19"/>
                </a:cubicBezTo>
                <a:cubicBezTo>
                  <a:pt x="43" y="16"/>
                  <a:pt x="42" y="14"/>
                  <a:pt x="37" y="14"/>
                </a:cubicBezTo>
                <a:cubicBezTo>
                  <a:pt x="27" y="13"/>
                  <a:pt x="27" y="13"/>
                  <a:pt x="27" y="13"/>
                </a:cubicBezTo>
                <a:cubicBezTo>
                  <a:pt x="24" y="4"/>
                  <a:pt x="24" y="4"/>
                  <a:pt x="24" y="4"/>
                </a:cubicBezTo>
                <a:cubicBezTo>
                  <a:pt x="23" y="0"/>
                  <a:pt x="20" y="0"/>
                  <a:pt x="19" y="4"/>
                </a:cubicBezTo>
                <a:cubicBezTo>
                  <a:pt x="15" y="13"/>
                  <a:pt x="15" y="13"/>
                  <a:pt x="15" y="13"/>
                </a:cubicBezTo>
                <a:cubicBezTo>
                  <a:pt x="5" y="14"/>
                  <a:pt x="5" y="14"/>
                  <a:pt x="5" y="14"/>
                </a:cubicBezTo>
                <a:cubicBezTo>
                  <a:pt x="1" y="14"/>
                  <a:pt x="0" y="16"/>
                  <a:pt x="4" y="19"/>
                </a:cubicBezTo>
                <a:cubicBezTo>
                  <a:pt x="12" y="25"/>
                  <a:pt x="12" y="25"/>
                  <a:pt x="12" y="25"/>
                </a:cubicBezTo>
                <a:cubicBezTo>
                  <a:pt x="9" y="34"/>
                  <a:pt x="9" y="34"/>
                  <a:pt x="9" y="34"/>
                </a:cubicBezTo>
                <a:cubicBezTo>
                  <a:pt x="7" y="39"/>
                  <a:pt x="9" y="40"/>
                  <a:pt x="13" y="38"/>
                </a:cubicBezTo>
                <a:cubicBezTo>
                  <a:pt x="21" y="32"/>
                  <a:pt x="21" y="32"/>
                  <a:pt x="21" y="32"/>
                </a:cubicBezTo>
                <a:cubicBezTo>
                  <a:pt x="30" y="38"/>
                  <a:pt x="30" y="38"/>
                  <a:pt x="30" y="38"/>
                </a:cubicBezTo>
                <a:cubicBezTo>
                  <a:pt x="33" y="40"/>
                  <a:pt x="35" y="39"/>
                  <a:pt x="34" y="34"/>
                </a:cubicBezTo>
                <a:cubicBezTo>
                  <a:pt x="33" y="31"/>
                  <a:pt x="33" y="31"/>
                  <a:pt x="33" y="31"/>
                </a:cubicBezTo>
              </a:path>
            </a:pathLst>
          </a:custGeom>
          <a:noFill/>
          <a:ln w="19050" cap="rnd">
            <a:solidFill>
              <a:schemeClr val="accent6"/>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89" name="Freeform 463"/>
          <p:cNvSpPr>
            <a:spLocks/>
          </p:cNvSpPr>
          <p:nvPr/>
        </p:nvSpPr>
        <p:spPr bwMode="auto">
          <a:xfrm>
            <a:off x="8885463" y="3898379"/>
            <a:ext cx="90430" cy="84949"/>
          </a:xfrm>
          <a:custGeom>
            <a:avLst/>
            <a:gdLst>
              <a:gd name="T0" fmla="*/ 24 w 33"/>
              <a:gd name="T1" fmla="*/ 19 h 31"/>
              <a:gd name="T2" fmla="*/ 30 w 33"/>
              <a:gd name="T3" fmla="*/ 15 h 31"/>
              <a:gd name="T4" fmla="*/ 29 w 33"/>
              <a:gd name="T5" fmla="*/ 11 h 31"/>
              <a:gd name="T6" fmla="*/ 21 w 33"/>
              <a:gd name="T7" fmla="*/ 11 h 31"/>
              <a:gd name="T8" fmla="*/ 19 w 33"/>
              <a:gd name="T9" fmla="*/ 3 h 31"/>
              <a:gd name="T10" fmla="*/ 14 w 33"/>
              <a:gd name="T11" fmla="*/ 3 h 31"/>
              <a:gd name="T12" fmla="*/ 12 w 33"/>
              <a:gd name="T13" fmla="*/ 11 h 31"/>
              <a:gd name="T14" fmla="*/ 4 w 33"/>
              <a:gd name="T15" fmla="*/ 11 h 31"/>
              <a:gd name="T16" fmla="*/ 3 w 33"/>
              <a:gd name="T17" fmla="*/ 15 h 31"/>
              <a:gd name="T18" fmla="*/ 9 w 33"/>
              <a:gd name="T19" fmla="*/ 19 h 31"/>
              <a:gd name="T20" fmla="*/ 7 w 33"/>
              <a:gd name="T21" fmla="*/ 27 h 31"/>
              <a:gd name="T22" fmla="*/ 10 w 33"/>
              <a:gd name="T23" fmla="*/ 29 h 31"/>
              <a:gd name="T24" fmla="*/ 16 w 33"/>
              <a:gd name="T25" fmla="*/ 25 h 31"/>
              <a:gd name="T26" fmla="*/ 23 w 33"/>
              <a:gd name="T27" fmla="*/ 29 h 31"/>
              <a:gd name="T28" fmla="*/ 26 w 33"/>
              <a:gd name="T29" fmla="*/ 27 h 31"/>
              <a:gd name="T30" fmla="*/ 25 w 33"/>
              <a:gd name="T31"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24" y="19"/>
                </a:moveTo>
                <a:cubicBezTo>
                  <a:pt x="30" y="15"/>
                  <a:pt x="30" y="15"/>
                  <a:pt x="30" y="15"/>
                </a:cubicBezTo>
                <a:cubicBezTo>
                  <a:pt x="33" y="13"/>
                  <a:pt x="32" y="11"/>
                  <a:pt x="29" y="11"/>
                </a:cubicBezTo>
                <a:cubicBezTo>
                  <a:pt x="21" y="11"/>
                  <a:pt x="21" y="11"/>
                  <a:pt x="21" y="11"/>
                </a:cubicBezTo>
                <a:cubicBezTo>
                  <a:pt x="19" y="3"/>
                  <a:pt x="19" y="3"/>
                  <a:pt x="19" y="3"/>
                </a:cubicBezTo>
                <a:cubicBezTo>
                  <a:pt x="17" y="0"/>
                  <a:pt x="16" y="0"/>
                  <a:pt x="14" y="3"/>
                </a:cubicBezTo>
                <a:cubicBezTo>
                  <a:pt x="12" y="11"/>
                  <a:pt x="12" y="11"/>
                  <a:pt x="12" y="11"/>
                </a:cubicBezTo>
                <a:cubicBezTo>
                  <a:pt x="4" y="11"/>
                  <a:pt x="4" y="11"/>
                  <a:pt x="4" y="11"/>
                </a:cubicBezTo>
                <a:cubicBezTo>
                  <a:pt x="1" y="11"/>
                  <a:pt x="0" y="13"/>
                  <a:pt x="3" y="15"/>
                </a:cubicBezTo>
                <a:cubicBezTo>
                  <a:pt x="9" y="19"/>
                  <a:pt x="9" y="19"/>
                  <a:pt x="9" y="19"/>
                </a:cubicBezTo>
                <a:cubicBezTo>
                  <a:pt x="7" y="27"/>
                  <a:pt x="7" y="27"/>
                  <a:pt x="7" y="27"/>
                </a:cubicBezTo>
                <a:cubicBezTo>
                  <a:pt x="6" y="30"/>
                  <a:pt x="7" y="31"/>
                  <a:pt x="10" y="29"/>
                </a:cubicBezTo>
                <a:cubicBezTo>
                  <a:pt x="16" y="25"/>
                  <a:pt x="16" y="25"/>
                  <a:pt x="16" y="25"/>
                </a:cubicBezTo>
                <a:cubicBezTo>
                  <a:pt x="23" y="29"/>
                  <a:pt x="23" y="29"/>
                  <a:pt x="23" y="29"/>
                </a:cubicBezTo>
                <a:cubicBezTo>
                  <a:pt x="26" y="31"/>
                  <a:pt x="27" y="30"/>
                  <a:pt x="26" y="27"/>
                </a:cubicBezTo>
                <a:cubicBezTo>
                  <a:pt x="25" y="24"/>
                  <a:pt x="25" y="24"/>
                  <a:pt x="25" y="24"/>
                </a:cubicBezTo>
              </a:path>
            </a:pathLst>
          </a:custGeom>
          <a:noFill/>
          <a:ln w="19050" cap="rnd">
            <a:solidFill>
              <a:schemeClr val="accent6"/>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90" name="Freeform 464"/>
          <p:cNvSpPr>
            <a:spLocks/>
          </p:cNvSpPr>
          <p:nvPr/>
        </p:nvSpPr>
        <p:spPr bwMode="auto">
          <a:xfrm>
            <a:off x="8616914" y="3769585"/>
            <a:ext cx="90430" cy="84949"/>
          </a:xfrm>
          <a:custGeom>
            <a:avLst/>
            <a:gdLst>
              <a:gd name="T0" fmla="*/ 24 w 33"/>
              <a:gd name="T1" fmla="*/ 19 h 31"/>
              <a:gd name="T2" fmla="*/ 30 w 33"/>
              <a:gd name="T3" fmla="*/ 15 h 31"/>
              <a:gd name="T4" fmla="*/ 29 w 33"/>
              <a:gd name="T5" fmla="*/ 11 h 31"/>
              <a:gd name="T6" fmla="*/ 21 w 33"/>
              <a:gd name="T7" fmla="*/ 11 h 31"/>
              <a:gd name="T8" fmla="*/ 18 w 33"/>
              <a:gd name="T9" fmla="*/ 3 h 31"/>
              <a:gd name="T10" fmla="*/ 14 w 33"/>
              <a:gd name="T11" fmla="*/ 3 h 31"/>
              <a:gd name="T12" fmla="*/ 12 w 33"/>
              <a:gd name="T13" fmla="*/ 11 h 31"/>
              <a:gd name="T14" fmla="*/ 4 w 33"/>
              <a:gd name="T15" fmla="*/ 11 h 31"/>
              <a:gd name="T16" fmla="*/ 2 w 33"/>
              <a:gd name="T17" fmla="*/ 15 h 31"/>
              <a:gd name="T18" fmla="*/ 9 w 33"/>
              <a:gd name="T19" fmla="*/ 19 h 31"/>
              <a:gd name="T20" fmla="*/ 6 w 33"/>
              <a:gd name="T21" fmla="*/ 27 h 31"/>
              <a:gd name="T22" fmla="*/ 10 w 33"/>
              <a:gd name="T23" fmla="*/ 29 h 31"/>
              <a:gd name="T24" fmla="*/ 16 w 33"/>
              <a:gd name="T25" fmla="*/ 25 h 31"/>
              <a:gd name="T26" fmla="*/ 23 w 33"/>
              <a:gd name="T27" fmla="*/ 29 h 31"/>
              <a:gd name="T28" fmla="*/ 26 w 33"/>
              <a:gd name="T29" fmla="*/ 27 h 31"/>
              <a:gd name="T30" fmla="*/ 25 w 33"/>
              <a:gd name="T31"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24" y="19"/>
                </a:moveTo>
                <a:cubicBezTo>
                  <a:pt x="30" y="15"/>
                  <a:pt x="30" y="15"/>
                  <a:pt x="30" y="15"/>
                </a:cubicBezTo>
                <a:cubicBezTo>
                  <a:pt x="33" y="13"/>
                  <a:pt x="32" y="11"/>
                  <a:pt x="29" y="11"/>
                </a:cubicBezTo>
                <a:cubicBezTo>
                  <a:pt x="21" y="11"/>
                  <a:pt x="21" y="11"/>
                  <a:pt x="21" y="11"/>
                </a:cubicBezTo>
                <a:cubicBezTo>
                  <a:pt x="18" y="3"/>
                  <a:pt x="18" y="3"/>
                  <a:pt x="18" y="3"/>
                </a:cubicBezTo>
                <a:cubicBezTo>
                  <a:pt x="17" y="0"/>
                  <a:pt x="15" y="0"/>
                  <a:pt x="14" y="3"/>
                </a:cubicBezTo>
                <a:cubicBezTo>
                  <a:pt x="12" y="11"/>
                  <a:pt x="12" y="11"/>
                  <a:pt x="12" y="11"/>
                </a:cubicBezTo>
                <a:cubicBezTo>
                  <a:pt x="4" y="11"/>
                  <a:pt x="4" y="11"/>
                  <a:pt x="4" y="11"/>
                </a:cubicBezTo>
                <a:cubicBezTo>
                  <a:pt x="0" y="11"/>
                  <a:pt x="0" y="13"/>
                  <a:pt x="2" y="15"/>
                </a:cubicBezTo>
                <a:cubicBezTo>
                  <a:pt x="9" y="19"/>
                  <a:pt x="9" y="19"/>
                  <a:pt x="9" y="19"/>
                </a:cubicBezTo>
                <a:cubicBezTo>
                  <a:pt x="6" y="27"/>
                  <a:pt x="6" y="27"/>
                  <a:pt x="6" y="27"/>
                </a:cubicBezTo>
                <a:cubicBezTo>
                  <a:pt x="5" y="30"/>
                  <a:pt x="7" y="31"/>
                  <a:pt x="10" y="29"/>
                </a:cubicBezTo>
                <a:cubicBezTo>
                  <a:pt x="16" y="25"/>
                  <a:pt x="16" y="25"/>
                  <a:pt x="16" y="25"/>
                </a:cubicBezTo>
                <a:cubicBezTo>
                  <a:pt x="23" y="29"/>
                  <a:pt x="23" y="29"/>
                  <a:pt x="23" y="29"/>
                </a:cubicBezTo>
                <a:cubicBezTo>
                  <a:pt x="25" y="31"/>
                  <a:pt x="27" y="30"/>
                  <a:pt x="26" y="27"/>
                </a:cubicBezTo>
                <a:cubicBezTo>
                  <a:pt x="25" y="24"/>
                  <a:pt x="25" y="24"/>
                  <a:pt x="25" y="24"/>
                </a:cubicBezTo>
              </a:path>
            </a:pathLst>
          </a:custGeom>
          <a:noFill/>
          <a:ln w="19050" cap="rnd">
            <a:solidFill>
              <a:schemeClr val="accent6"/>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91" name="Freeform 465"/>
          <p:cNvSpPr>
            <a:spLocks/>
          </p:cNvSpPr>
          <p:nvPr/>
        </p:nvSpPr>
        <p:spPr bwMode="auto">
          <a:xfrm>
            <a:off x="8337404" y="4218993"/>
            <a:ext cx="164418" cy="153456"/>
          </a:xfrm>
          <a:custGeom>
            <a:avLst/>
            <a:gdLst>
              <a:gd name="T0" fmla="*/ 16 w 60"/>
              <a:gd name="T1" fmla="*/ 35 h 56"/>
              <a:gd name="T2" fmla="*/ 5 w 60"/>
              <a:gd name="T3" fmla="*/ 26 h 56"/>
              <a:gd name="T4" fmla="*/ 7 w 60"/>
              <a:gd name="T5" fmla="*/ 19 h 56"/>
              <a:gd name="T6" fmla="*/ 22 w 60"/>
              <a:gd name="T7" fmla="*/ 19 h 56"/>
              <a:gd name="T8" fmla="*/ 26 w 60"/>
              <a:gd name="T9" fmla="*/ 5 h 56"/>
              <a:gd name="T10" fmla="*/ 34 w 60"/>
              <a:gd name="T11" fmla="*/ 5 h 56"/>
              <a:gd name="T12" fmla="*/ 38 w 60"/>
              <a:gd name="T13" fmla="*/ 19 h 56"/>
              <a:gd name="T14" fmla="*/ 52 w 60"/>
              <a:gd name="T15" fmla="*/ 19 h 56"/>
              <a:gd name="T16" fmla="*/ 55 w 60"/>
              <a:gd name="T17" fmla="*/ 26 h 56"/>
              <a:gd name="T18" fmla="*/ 43 w 60"/>
              <a:gd name="T19" fmla="*/ 35 h 56"/>
              <a:gd name="T20" fmla="*/ 48 w 60"/>
              <a:gd name="T21" fmla="*/ 48 h 56"/>
              <a:gd name="T22" fmla="*/ 41 w 60"/>
              <a:gd name="T23" fmla="*/ 53 h 56"/>
              <a:gd name="T24" fmla="*/ 30 w 60"/>
              <a:gd name="T25" fmla="*/ 44 h 56"/>
              <a:gd name="T26" fmla="*/ 18 w 60"/>
              <a:gd name="T27" fmla="*/ 53 h 56"/>
              <a:gd name="T28" fmla="*/ 12 w 60"/>
              <a:gd name="T29" fmla="*/ 48 h 56"/>
              <a:gd name="T30" fmla="*/ 14 w 60"/>
              <a:gd name="T31" fmla="*/ 4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56">
                <a:moveTo>
                  <a:pt x="16" y="35"/>
                </a:moveTo>
                <a:cubicBezTo>
                  <a:pt x="5" y="26"/>
                  <a:pt x="5" y="26"/>
                  <a:pt x="5" y="26"/>
                </a:cubicBezTo>
                <a:cubicBezTo>
                  <a:pt x="0" y="22"/>
                  <a:pt x="1" y="19"/>
                  <a:pt x="7" y="19"/>
                </a:cubicBezTo>
                <a:cubicBezTo>
                  <a:pt x="22" y="19"/>
                  <a:pt x="22" y="19"/>
                  <a:pt x="22" y="19"/>
                </a:cubicBezTo>
                <a:cubicBezTo>
                  <a:pt x="26" y="5"/>
                  <a:pt x="26" y="5"/>
                  <a:pt x="26" y="5"/>
                </a:cubicBezTo>
                <a:cubicBezTo>
                  <a:pt x="28" y="0"/>
                  <a:pt x="32" y="0"/>
                  <a:pt x="34" y="5"/>
                </a:cubicBezTo>
                <a:cubicBezTo>
                  <a:pt x="38" y="19"/>
                  <a:pt x="38" y="19"/>
                  <a:pt x="38" y="19"/>
                </a:cubicBezTo>
                <a:cubicBezTo>
                  <a:pt x="52" y="19"/>
                  <a:pt x="52" y="19"/>
                  <a:pt x="52" y="19"/>
                </a:cubicBezTo>
                <a:cubicBezTo>
                  <a:pt x="59" y="19"/>
                  <a:pt x="60" y="22"/>
                  <a:pt x="55" y="26"/>
                </a:cubicBezTo>
                <a:cubicBezTo>
                  <a:pt x="43" y="35"/>
                  <a:pt x="43" y="35"/>
                  <a:pt x="43" y="35"/>
                </a:cubicBezTo>
                <a:cubicBezTo>
                  <a:pt x="48" y="48"/>
                  <a:pt x="48" y="48"/>
                  <a:pt x="48" y="48"/>
                </a:cubicBezTo>
                <a:cubicBezTo>
                  <a:pt x="49" y="54"/>
                  <a:pt x="47" y="56"/>
                  <a:pt x="41" y="53"/>
                </a:cubicBezTo>
                <a:cubicBezTo>
                  <a:pt x="30" y="44"/>
                  <a:pt x="30" y="44"/>
                  <a:pt x="30" y="44"/>
                </a:cubicBezTo>
                <a:cubicBezTo>
                  <a:pt x="18" y="53"/>
                  <a:pt x="18" y="53"/>
                  <a:pt x="18" y="53"/>
                </a:cubicBezTo>
                <a:cubicBezTo>
                  <a:pt x="13" y="56"/>
                  <a:pt x="10" y="54"/>
                  <a:pt x="12" y="48"/>
                </a:cubicBezTo>
                <a:cubicBezTo>
                  <a:pt x="14" y="43"/>
                  <a:pt x="14" y="43"/>
                  <a:pt x="14" y="43"/>
                </a:cubicBezTo>
              </a:path>
            </a:pathLst>
          </a:custGeom>
          <a:noFill/>
          <a:ln w="19050" cap="rnd">
            <a:solidFill>
              <a:schemeClr val="accent6"/>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92" name="Freeform 466"/>
          <p:cNvSpPr>
            <a:spLocks/>
          </p:cNvSpPr>
          <p:nvPr/>
        </p:nvSpPr>
        <p:spPr bwMode="auto">
          <a:xfrm>
            <a:off x="8249715" y="4071017"/>
            <a:ext cx="117833" cy="109612"/>
          </a:xfrm>
          <a:custGeom>
            <a:avLst/>
            <a:gdLst>
              <a:gd name="T0" fmla="*/ 12 w 43"/>
              <a:gd name="T1" fmla="*/ 25 h 40"/>
              <a:gd name="T2" fmla="*/ 3 w 43"/>
              <a:gd name="T3" fmla="*/ 19 h 40"/>
              <a:gd name="T4" fmla="*/ 5 w 43"/>
              <a:gd name="T5" fmla="*/ 14 h 40"/>
              <a:gd name="T6" fmla="*/ 15 w 43"/>
              <a:gd name="T7" fmla="*/ 14 h 40"/>
              <a:gd name="T8" fmla="*/ 19 w 43"/>
              <a:gd name="T9" fmla="*/ 4 h 40"/>
              <a:gd name="T10" fmla="*/ 24 w 43"/>
              <a:gd name="T11" fmla="*/ 4 h 40"/>
              <a:gd name="T12" fmla="*/ 27 w 43"/>
              <a:gd name="T13" fmla="*/ 14 h 40"/>
              <a:gd name="T14" fmla="*/ 37 w 43"/>
              <a:gd name="T15" fmla="*/ 14 h 40"/>
              <a:gd name="T16" fmla="*/ 39 w 43"/>
              <a:gd name="T17" fmla="*/ 19 h 40"/>
              <a:gd name="T18" fmla="*/ 31 w 43"/>
              <a:gd name="T19" fmla="*/ 25 h 40"/>
              <a:gd name="T20" fmla="*/ 34 w 43"/>
              <a:gd name="T21" fmla="*/ 34 h 40"/>
              <a:gd name="T22" fmla="*/ 29 w 43"/>
              <a:gd name="T23" fmla="*/ 38 h 40"/>
              <a:gd name="T24" fmla="*/ 21 w 43"/>
              <a:gd name="T25" fmla="*/ 32 h 40"/>
              <a:gd name="T26" fmla="*/ 13 w 43"/>
              <a:gd name="T27" fmla="*/ 38 h 40"/>
              <a:gd name="T28" fmla="*/ 9 w 43"/>
              <a:gd name="T29" fmla="*/ 34 h 40"/>
              <a:gd name="T30" fmla="*/ 10 w 43"/>
              <a:gd name="T31" fmla="*/ 3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40">
                <a:moveTo>
                  <a:pt x="12" y="25"/>
                </a:moveTo>
                <a:cubicBezTo>
                  <a:pt x="3" y="19"/>
                  <a:pt x="3" y="19"/>
                  <a:pt x="3" y="19"/>
                </a:cubicBezTo>
                <a:cubicBezTo>
                  <a:pt x="0" y="16"/>
                  <a:pt x="1" y="14"/>
                  <a:pt x="5" y="14"/>
                </a:cubicBezTo>
                <a:cubicBezTo>
                  <a:pt x="15" y="14"/>
                  <a:pt x="15" y="14"/>
                  <a:pt x="15" y="14"/>
                </a:cubicBezTo>
                <a:cubicBezTo>
                  <a:pt x="19" y="4"/>
                  <a:pt x="19" y="4"/>
                  <a:pt x="19" y="4"/>
                </a:cubicBezTo>
                <a:cubicBezTo>
                  <a:pt x="20" y="0"/>
                  <a:pt x="22" y="0"/>
                  <a:pt x="24" y="4"/>
                </a:cubicBezTo>
                <a:cubicBezTo>
                  <a:pt x="27" y="14"/>
                  <a:pt x="27" y="14"/>
                  <a:pt x="27" y="14"/>
                </a:cubicBezTo>
                <a:cubicBezTo>
                  <a:pt x="37" y="14"/>
                  <a:pt x="37" y="14"/>
                  <a:pt x="37" y="14"/>
                </a:cubicBezTo>
                <a:cubicBezTo>
                  <a:pt x="42" y="14"/>
                  <a:pt x="43" y="16"/>
                  <a:pt x="39" y="19"/>
                </a:cubicBezTo>
                <a:cubicBezTo>
                  <a:pt x="31" y="25"/>
                  <a:pt x="31" y="25"/>
                  <a:pt x="31" y="25"/>
                </a:cubicBezTo>
                <a:cubicBezTo>
                  <a:pt x="34" y="34"/>
                  <a:pt x="34" y="34"/>
                  <a:pt x="34" y="34"/>
                </a:cubicBezTo>
                <a:cubicBezTo>
                  <a:pt x="35" y="39"/>
                  <a:pt x="33" y="40"/>
                  <a:pt x="29" y="38"/>
                </a:cubicBezTo>
                <a:cubicBezTo>
                  <a:pt x="21" y="32"/>
                  <a:pt x="21" y="32"/>
                  <a:pt x="21" y="32"/>
                </a:cubicBezTo>
                <a:cubicBezTo>
                  <a:pt x="13" y="38"/>
                  <a:pt x="13" y="38"/>
                  <a:pt x="13" y="38"/>
                </a:cubicBezTo>
                <a:cubicBezTo>
                  <a:pt x="9" y="40"/>
                  <a:pt x="7" y="39"/>
                  <a:pt x="9" y="34"/>
                </a:cubicBezTo>
                <a:cubicBezTo>
                  <a:pt x="10" y="31"/>
                  <a:pt x="10" y="31"/>
                  <a:pt x="10" y="31"/>
                </a:cubicBezTo>
              </a:path>
            </a:pathLst>
          </a:custGeom>
          <a:noFill/>
          <a:ln w="19050" cap="rnd">
            <a:solidFill>
              <a:schemeClr val="accent6"/>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93" name="Freeform 467"/>
          <p:cNvSpPr>
            <a:spLocks/>
          </p:cNvSpPr>
          <p:nvPr/>
        </p:nvSpPr>
        <p:spPr bwMode="auto">
          <a:xfrm>
            <a:off x="8370288" y="3917561"/>
            <a:ext cx="90430" cy="84949"/>
          </a:xfrm>
          <a:custGeom>
            <a:avLst/>
            <a:gdLst>
              <a:gd name="T0" fmla="*/ 9 w 33"/>
              <a:gd name="T1" fmla="*/ 19 h 31"/>
              <a:gd name="T2" fmla="*/ 2 w 33"/>
              <a:gd name="T3" fmla="*/ 15 h 31"/>
              <a:gd name="T4" fmla="*/ 4 w 33"/>
              <a:gd name="T5" fmla="*/ 11 h 31"/>
              <a:gd name="T6" fmla="*/ 11 w 33"/>
              <a:gd name="T7" fmla="*/ 11 h 31"/>
              <a:gd name="T8" fmla="*/ 14 w 33"/>
              <a:gd name="T9" fmla="*/ 3 h 31"/>
              <a:gd name="T10" fmla="*/ 18 w 33"/>
              <a:gd name="T11" fmla="*/ 3 h 31"/>
              <a:gd name="T12" fmla="*/ 21 w 33"/>
              <a:gd name="T13" fmla="*/ 11 h 31"/>
              <a:gd name="T14" fmla="*/ 29 w 33"/>
              <a:gd name="T15" fmla="*/ 11 h 31"/>
              <a:gd name="T16" fmla="*/ 30 w 33"/>
              <a:gd name="T17" fmla="*/ 15 h 31"/>
              <a:gd name="T18" fmla="*/ 24 w 33"/>
              <a:gd name="T19" fmla="*/ 19 h 31"/>
              <a:gd name="T20" fmla="*/ 26 w 33"/>
              <a:gd name="T21" fmla="*/ 27 h 31"/>
              <a:gd name="T22" fmla="*/ 22 w 33"/>
              <a:gd name="T23" fmla="*/ 29 h 31"/>
              <a:gd name="T24" fmla="*/ 16 w 33"/>
              <a:gd name="T25" fmla="*/ 25 h 31"/>
              <a:gd name="T26" fmla="*/ 10 w 33"/>
              <a:gd name="T27" fmla="*/ 29 h 31"/>
              <a:gd name="T28" fmla="*/ 6 w 33"/>
              <a:gd name="T29" fmla="*/ 27 h 31"/>
              <a:gd name="T30" fmla="*/ 7 w 33"/>
              <a:gd name="T31"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9" y="19"/>
                </a:moveTo>
                <a:cubicBezTo>
                  <a:pt x="2" y="15"/>
                  <a:pt x="2" y="15"/>
                  <a:pt x="2" y="15"/>
                </a:cubicBezTo>
                <a:cubicBezTo>
                  <a:pt x="0" y="13"/>
                  <a:pt x="0" y="11"/>
                  <a:pt x="4" y="11"/>
                </a:cubicBezTo>
                <a:cubicBezTo>
                  <a:pt x="11" y="11"/>
                  <a:pt x="11" y="11"/>
                  <a:pt x="11" y="11"/>
                </a:cubicBezTo>
                <a:cubicBezTo>
                  <a:pt x="14" y="3"/>
                  <a:pt x="14" y="3"/>
                  <a:pt x="14" y="3"/>
                </a:cubicBezTo>
                <a:cubicBezTo>
                  <a:pt x="15" y="0"/>
                  <a:pt x="17" y="0"/>
                  <a:pt x="18" y="3"/>
                </a:cubicBezTo>
                <a:cubicBezTo>
                  <a:pt x="21" y="11"/>
                  <a:pt x="21" y="11"/>
                  <a:pt x="21" y="11"/>
                </a:cubicBezTo>
                <a:cubicBezTo>
                  <a:pt x="29" y="11"/>
                  <a:pt x="29" y="11"/>
                  <a:pt x="29" y="11"/>
                </a:cubicBezTo>
                <a:cubicBezTo>
                  <a:pt x="32" y="11"/>
                  <a:pt x="33" y="13"/>
                  <a:pt x="30" y="15"/>
                </a:cubicBezTo>
                <a:cubicBezTo>
                  <a:pt x="24" y="19"/>
                  <a:pt x="24" y="19"/>
                  <a:pt x="24" y="19"/>
                </a:cubicBezTo>
                <a:cubicBezTo>
                  <a:pt x="26" y="27"/>
                  <a:pt x="26" y="27"/>
                  <a:pt x="26" y="27"/>
                </a:cubicBezTo>
                <a:cubicBezTo>
                  <a:pt x="27" y="30"/>
                  <a:pt x="25" y="31"/>
                  <a:pt x="22" y="29"/>
                </a:cubicBezTo>
                <a:cubicBezTo>
                  <a:pt x="16" y="25"/>
                  <a:pt x="16" y="25"/>
                  <a:pt x="16" y="25"/>
                </a:cubicBezTo>
                <a:cubicBezTo>
                  <a:pt x="10" y="29"/>
                  <a:pt x="10" y="29"/>
                  <a:pt x="10" y="29"/>
                </a:cubicBezTo>
                <a:cubicBezTo>
                  <a:pt x="7" y="31"/>
                  <a:pt x="5" y="30"/>
                  <a:pt x="6" y="27"/>
                </a:cubicBezTo>
                <a:cubicBezTo>
                  <a:pt x="7" y="24"/>
                  <a:pt x="7" y="24"/>
                  <a:pt x="7" y="24"/>
                </a:cubicBezTo>
              </a:path>
            </a:pathLst>
          </a:custGeom>
          <a:noFill/>
          <a:ln w="19050" cap="rnd">
            <a:solidFill>
              <a:schemeClr val="accent6"/>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94" name="Oval 468"/>
          <p:cNvSpPr>
            <a:spLocks noChangeArrowheads="1"/>
          </p:cNvSpPr>
          <p:nvPr/>
        </p:nvSpPr>
        <p:spPr bwMode="auto">
          <a:xfrm>
            <a:off x="5769749" y="5001348"/>
            <a:ext cx="235665" cy="235665"/>
          </a:xfrm>
          <a:prstGeom prst="ellipse">
            <a:avLst/>
          </a:prstGeom>
          <a:noFill/>
          <a:ln w="1905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95" name="Freeform 469"/>
          <p:cNvSpPr>
            <a:spLocks/>
          </p:cNvSpPr>
          <p:nvPr/>
        </p:nvSpPr>
        <p:spPr bwMode="auto">
          <a:xfrm>
            <a:off x="5624513" y="5267156"/>
            <a:ext cx="526137" cy="979656"/>
          </a:xfrm>
          <a:custGeom>
            <a:avLst/>
            <a:gdLst>
              <a:gd name="T0" fmla="*/ 17 w 192"/>
              <a:gd name="T1" fmla="*/ 183 h 357"/>
              <a:gd name="T2" fmla="*/ 18 w 192"/>
              <a:gd name="T3" fmla="*/ 183 h 357"/>
              <a:gd name="T4" fmla="*/ 32 w 192"/>
              <a:gd name="T5" fmla="*/ 167 h 357"/>
              <a:gd name="T6" fmla="*/ 31 w 192"/>
              <a:gd name="T7" fmla="*/ 132 h 357"/>
              <a:gd name="T8" fmla="*/ 44 w 192"/>
              <a:gd name="T9" fmla="*/ 46 h 357"/>
              <a:gd name="T10" fmla="*/ 44 w 192"/>
              <a:gd name="T11" fmla="*/ 109 h 357"/>
              <a:gd name="T12" fmla="*/ 44 w 192"/>
              <a:gd name="T13" fmla="*/ 146 h 357"/>
              <a:gd name="T14" fmla="*/ 44 w 192"/>
              <a:gd name="T15" fmla="*/ 333 h 357"/>
              <a:gd name="T16" fmla="*/ 68 w 192"/>
              <a:gd name="T17" fmla="*/ 357 h 357"/>
              <a:gd name="T18" fmla="*/ 92 w 192"/>
              <a:gd name="T19" fmla="*/ 333 h 357"/>
              <a:gd name="T20" fmla="*/ 92 w 192"/>
              <a:gd name="T21" fmla="*/ 160 h 357"/>
              <a:gd name="T22" fmla="*/ 101 w 192"/>
              <a:gd name="T23" fmla="*/ 160 h 357"/>
              <a:gd name="T24" fmla="*/ 101 w 192"/>
              <a:gd name="T25" fmla="*/ 333 h 357"/>
              <a:gd name="T26" fmla="*/ 124 w 192"/>
              <a:gd name="T27" fmla="*/ 357 h 357"/>
              <a:gd name="T28" fmla="*/ 148 w 192"/>
              <a:gd name="T29" fmla="*/ 333 h 357"/>
              <a:gd name="T30" fmla="*/ 148 w 192"/>
              <a:gd name="T31" fmla="*/ 146 h 357"/>
              <a:gd name="T32" fmla="*/ 148 w 192"/>
              <a:gd name="T33" fmla="*/ 109 h 357"/>
              <a:gd name="T34" fmla="*/ 148 w 192"/>
              <a:gd name="T35" fmla="*/ 46 h 357"/>
              <a:gd name="T36" fmla="*/ 151 w 192"/>
              <a:gd name="T37" fmla="*/ 54 h 357"/>
              <a:gd name="T38" fmla="*/ 161 w 192"/>
              <a:gd name="T39" fmla="*/ 132 h 357"/>
              <a:gd name="T40" fmla="*/ 160 w 192"/>
              <a:gd name="T41" fmla="*/ 167 h 357"/>
              <a:gd name="T42" fmla="*/ 175 w 192"/>
              <a:gd name="T43" fmla="*/ 183 h 357"/>
              <a:gd name="T44" fmla="*/ 175 w 192"/>
              <a:gd name="T45" fmla="*/ 183 h 357"/>
              <a:gd name="T46" fmla="*/ 191 w 192"/>
              <a:gd name="T47" fmla="*/ 169 h 357"/>
              <a:gd name="T48" fmla="*/ 192 w 192"/>
              <a:gd name="T49" fmla="*/ 132 h 357"/>
              <a:gd name="T50" fmla="*/ 170 w 192"/>
              <a:gd name="T51" fmla="*/ 23 h 357"/>
              <a:gd name="T52" fmla="*/ 149 w 192"/>
              <a:gd name="T53" fmla="*/ 4 h 357"/>
              <a:gd name="T54" fmla="*/ 134 w 192"/>
              <a:gd name="T55" fmla="*/ 0 h 357"/>
              <a:gd name="T56" fmla="*/ 133 w 192"/>
              <a:gd name="T57" fmla="*/ 0 h 357"/>
              <a:gd name="T58" fmla="*/ 59 w 192"/>
              <a:gd name="T59" fmla="*/ 0 h 357"/>
              <a:gd name="T60" fmla="*/ 58 w 192"/>
              <a:gd name="T61" fmla="*/ 0 h 357"/>
              <a:gd name="T62" fmla="*/ 43 w 192"/>
              <a:gd name="T63" fmla="*/ 4 h 357"/>
              <a:gd name="T64" fmla="*/ 13 w 192"/>
              <a:gd name="T65" fmla="*/ 40 h 357"/>
              <a:gd name="T66" fmla="*/ 0 w 192"/>
              <a:gd name="T67" fmla="*/ 132 h 357"/>
              <a:gd name="T68" fmla="*/ 1 w 192"/>
              <a:gd name="T69" fmla="*/ 169 h 357"/>
              <a:gd name="T70" fmla="*/ 17 w 192"/>
              <a:gd name="T71" fmla="*/ 18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2" h="357">
                <a:moveTo>
                  <a:pt x="17" y="183"/>
                </a:moveTo>
                <a:cubicBezTo>
                  <a:pt x="17" y="183"/>
                  <a:pt x="17" y="183"/>
                  <a:pt x="18" y="183"/>
                </a:cubicBezTo>
                <a:cubicBezTo>
                  <a:pt x="26" y="183"/>
                  <a:pt x="33" y="175"/>
                  <a:pt x="32" y="167"/>
                </a:cubicBezTo>
                <a:cubicBezTo>
                  <a:pt x="31" y="154"/>
                  <a:pt x="31" y="143"/>
                  <a:pt x="31" y="132"/>
                </a:cubicBezTo>
                <a:cubicBezTo>
                  <a:pt x="31" y="86"/>
                  <a:pt x="38" y="60"/>
                  <a:pt x="44" y="46"/>
                </a:cubicBezTo>
                <a:cubicBezTo>
                  <a:pt x="44" y="109"/>
                  <a:pt x="44" y="109"/>
                  <a:pt x="44" y="109"/>
                </a:cubicBezTo>
                <a:cubicBezTo>
                  <a:pt x="44" y="146"/>
                  <a:pt x="44" y="146"/>
                  <a:pt x="44" y="146"/>
                </a:cubicBezTo>
                <a:cubicBezTo>
                  <a:pt x="44" y="333"/>
                  <a:pt x="44" y="333"/>
                  <a:pt x="44" y="333"/>
                </a:cubicBezTo>
                <a:cubicBezTo>
                  <a:pt x="44" y="346"/>
                  <a:pt x="55" y="357"/>
                  <a:pt x="68" y="357"/>
                </a:cubicBezTo>
                <a:cubicBezTo>
                  <a:pt x="81" y="357"/>
                  <a:pt x="92" y="346"/>
                  <a:pt x="92" y="333"/>
                </a:cubicBezTo>
                <a:cubicBezTo>
                  <a:pt x="92" y="160"/>
                  <a:pt x="92" y="160"/>
                  <a:pt x="92" y="160"/>
                </a:cubicBezTo>
                <a:cubicBezTo>
                  <a:pt x="101" y="160"/>
                  <a:pt x="101" y="160"/>
                  <a:pt x="101" y="160"/>
                </a:cubicBezTo>
                <a:cubicBezTo>
                  <a:pt x="101" y="333"/>
                  <a:pt x="101" y="333"/>
                  <a:pt x="101" y="333"/>
                </a:cubicBezTo>
                <a:cubicBezTo>
                  <a:pt x="101" y="346"/>
                  <a:pt x="111" y="357"/>
                  <a:pt x="124" y="357"/>
                </a:cubicBezTo>
                <a:cubicBezTo>
                  <a:pt x="137" y="357"/>
                  <a:pt x="148" y="346"/>
                  <a:pt x="148" y="333"/>
                </a:cubicBezTo>
                <a:cubicBezTo>
                  <a:pt x="148" y="146"/>
                  <a:pt x="148" y="146"/>
                  <a:pt x="148" y="146"/>
                </a:cubicBezTo>
                <a:cubicBezTo>
                  <a:pt x="148" y="109"/>
                  <a:pt x="148" y="109"/>
                  <a:pt x="148" y="109"/>
                </a:cubicBezTo>
                <a:cubicBezTo>
                  <a:pt x="148" y="46"/>
                  <a:pt x="148" y="46"/>
                  <a:pt x="148" y="46"/>
                </a:cubicBezTo>
                <a:cubicBezTo>
                  <a:pt x="149" y="48"/>
                  <a:pt x="150" y="51"/>
                  <a:pt x="151" y="54"/>
                </a:cubicBezTo>
                <a:cubicBezTo>
                  <a:pt x="157" y="69"/>
                  <a:pt x="161" y="94"/>
                  <a:pt x="161" y="132"/>
                </a:cubicBezTo>
                <a:cubicBezTo>
                  <a:pt x="161" y="143"/>
                  <a:pt x="161" y="154"/>
                  <a:pt x="160" y="167"/>
                </a:cubicBezTo>
                <a:cubicBezTo>
                  <a:pt x="160" y="175"/>
                  <a:pt x="166" y="183"/>
                  <a:pt x="175" y="183"/>
                </a:cubicBezTo>
                <a:cubicBezTo>
                  <a:pt x="175" y="183"/>
                  <a:pt x="175" y="183"/>
                  <a:pt x="175" y="183"/>
                </a:cubicBezTo>
                <a:cubicBezTo>
                  <a:pt x="183" y="183"/>
                  <a:pt x="190" y="177"/>
                  <a:pt x="191" y="169"/>
                </a:cubicBezTo>
                <a:cubicBezTo>
                  <a:pt x="191" y="155"/>
                  <a:pt x="192" y="143"/>
                  <a:pt x="192" y="132"/>
                </a:cubicBezTo>
                <a:cubicBezTo>
                  <a:pt x="192" y="74"/>
                  <a:pt x="183" y="42"/>
                  <a:pt x="170" y="23"/>
                </a:cubicBezTo>
                <a:cubicBezTo>
                  <a:pt x="164" y="13"/>
                  <a:pt x="156" y="7"/>
                  <a:pt x="149" y="4"/>
                </a:cubicBezTo>
                <a:cubicBezTo>
                  <a:pt x="143" y="1"/>
                  <a:pt x="137" y="0"/>
                  <a:pt x="134" y="0"/>
                </a:cubicBezTo>
                <a:cubicBezTo>
                  <a:pt x="134" y="0"/>
                  <a:pt x="133" y="0"/>
                  <a:pt x="133" y="0"/>
                </a:cubicBezTo>
                <a:cubicBezTo>
                  <a:pt x="59" y="0"/>
                  <a:pt x="59" y="0"/>
                  <a:pt x="59" y="0"/>
                </a:cubicBezTo>
                <a:cubicBezTo>
                  <a:pt x="59" y="0"/>
                  <a:pt x="58" y="0"/>
                  <a:pt x="58" y="0"/>
                </a:cubicBezTo>
                <a:cubicBezTo>
                  <a:pt x="55" y="0"/>
                  <a:pt x="49" y="1"/>
                  <a:pt x="43" y="4"/>
                </a:cubicBezTo>
                <a:cubicBezTo>
                  <a:pt x="32" y="9"/>
                  <a:pt x="21" y="20"/>
                  <a:pt x="13" y="40"/>
                </a:cubicBezTo>
                <a:cubicBezTo>
                  <a:pt x="6" y="60"/>
                  <a:pt x="0" y="89"/>
                  <a:pt x="0" y="132"/>
                </a:cubicBezTo>
                <a:cubicBezTo>
                  <a:pt x="0" y="143"/>
                  <a:pt x="1" y="155"/>
                  <a:pt x="1" y="169"/>
                </a:cubicBezTo>
                <a:cubicBezTo>
                  <a:pt x="2" y="177"/>
                  <a:pt x="9" y="183"/>
                  <a:pt x="17" y="183"/>
                </a:cubicBezTo>
                <a:close/>
              </a:path>
            </a:pathLst>
          </a:custGeom>
          <a:noFill/>
          <a:ln w="1905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96" name="Freeform 470"/>
          <p:cNvSpPr>
            <a:spLocks/>
          </p:cNvSpPr>
          <p:nvPr/>
        </p:nvSpPr>
        <p:spPr bwMode="auto">
          <a:xfrm>
            <a:off x="5838256" y="5374028"/>
            <a:ext cx="98651" cy="274029"/>
          </a:xfrm>
          <a:custGeom>
            <a:avLst/>
            <a:gdLst>
              <a:gd name="T0" fmla="*/ 18 w 36"/>
              <a:gd name="T1" fmla="*/ 100 h 100"/>
              <a:gd name="T2" fmla="*/ 0 w 36"/>
              <a:gd name="T3" fmla="*/ 77 h 100"/>
              <a:gd name="T4" fmla="*/ 10 w 36"/>
              <a:gd name="T5" fmla="*/ 0 h 100"/>
              <a:gd name="T6" fmla="*/ 18 w 36"/>
              <a:gd name="T7" fmla="*/ 1 h 100"/>
              <a:gd name="T8" fmla="*/ 18 w 36"/>
              <a:gd name="T9" fmla="*/ 1 h 100"/>
              <a:gd name="T10" fmla="*/ 18 w 36"/>
              <a:gd name="T11" fmla="*/ 1 h 100"/>
              <a:gd name="T12" fmla="*/ 26 w 36"/>
              <a:gd name="T13" fmla="*/ 0 h 100"/>
              <a:gd name="T14" fmla="*/ 36 w 36"/>
              <a:gd name="T15" fmla="*/ 77 h 100"/>
              <a:gd name="T16" fmla="*/ 18 w 36"/>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00">
                <a:moveTo>
                  <a:pt x="18" y="100"/>
                </a:moveTo>
                <a:cubicBezTo>
                  <a:pt x="0" y="77"/>
                  <a:pt x="0" y="77"/>
                  <a:pt x="0" y="77"/>
                </a:cubicBezTo>
                <a:cubicBezTo>
                  <a:pt x="10" y="0"/>
                  <a:pt x="10" y="0"/>
                  <a:pt x="10" y="0"/>
                </a:cubicBezTo>
                <a:cubicBezTo>
                  <a:pt x="13" y="1"/>
                  <a:pt x="15" y="1"/>
                  <a:pt x="18" y="1"/>
                </a:cubicBezTo>
                <a:cubicBezTo>
                  <a:pt x="18" y="1"/>
                  <a:pt x="18" y="1"/>
                  <a:pt x="18" y="1"/>
                </a:cubicBezTo>
                <a:cubicBezTo>
                  <a:pt x="18" y="1"/>
                  <a:pt x="18" y="1"/>
                  <a:pt x="18" y="1"/>
                </a:cubicBezTo>
                <a:cubicBezTo>
                  <a:pt x="21" y="1"/>
                  <a:pt x="23" y="1"/>
                  <a:pt x="26" y="0"/>
                </a:cubicBezTo>
                <a:cubicBezTo>
                  <a:pt x="36" y="77"/>
                  <a:pt x="36" y="77"/>
                  <a:pt x="36" y="77"/>
                </a:cubicBezTo>
                <a:lnTo>
                  <a:pt x="18" y="100"/>
                </a:lnTo>
                <a:close/>
              </a:path>
            </a:pathLst>
          </a:custGeom>
          <a:noFill/>
          <a:ln w="19050" cap="rnd">
            <a:solidFill>
              <a:schemeClr val="accent5">
                <a:lumMod val="50000"/>
              </a:scheme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97" name="Freeform 471"/>
          <p:cNvSpPr>
            <a:spLocks/>
          </p:cNvSpPr>
          <p:nvPr/>
        </p:nvSpPr>
        <p:spPr bwMode="auto">
          <a:xfrm>
            <a:off x="5857438" y="5308261"/>
            <a:ext cx="60286" cy="52066"/>
          </a:xfrm>
          <a:custGeom>
            <a:avLst/>
            <a:gdLst>
              <a:gd name="T0" fmla="*/ 11 w 22"/>
              <a:gd name="T1" fmla="*/ 0 h 19"/>
              <a:gd name="T2" fmla="*/ 18 w 22"/>
              <a:gd name="T3" fmla="*/ 0 h 19"/>
              <a:gd name="T4" fmla="*/ 22 w 22"/>
              <a:gd name="T5" fmla="*/ 15 h 19"/>
              <a:gd name="T6" fmla="*/ 21 w 22"/>
              <a:gd name="T7" fmla="*/ 16 h 19"/>
              <a:gd name="T8" fmla="*/ 11 w 22"/>
              <a:gd name="T9" fmla="*/ 19 h 19"/>
              <a:gd name="T10" fmla="*/ 1 w 22"/>
              <a:gd name="T11" fmla="*/ 16 h 19"/>
              <a:gd name="T12" fmla="*/ 0 w 22"/>
              <a:gd name="T13" fmla="*/ 15 h 19"/>
              <a:gd name="T14" fmla="*/ 4 w 22"/>
              <a:gd name="T15" fmla="*/ 0 h 19"/>
              <a:gd name="T16" fmla="*/ 11 w 22"/>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9">
                <a:moveTo>
                  <a:pt x="11" y="0"/>
                </a:moveTo>
                <a:cubicBezTo>
                  <a:pt x="18" y="0"/>
                  <a:pt x="18" y="0"/>
                  <a:pt x="18" y="0"/>
                </a:cubicBezTo>
                <a:cubicBezTo>
                  <a:pt x="22" y="15"/>
                  <a:pt x="22" y="15"/>
                  <a:pt x="22" y="15"/>
                </a:cubicBezTo>
                <a:cubicBezTo>
                  <a:pt x="21" y="16"/>
                  <a:pt x="21" y="16"/>
                  <a:pt x="21" y="16"/>
                </a:cubicBezTo>
                <a:cubicBezTo>
                  <a:pt x="18" y="18"/>
                  <a:pt x="15" y="19"/>
                  <a:pt x="11" y="19"/>
                </a:cubicBezTo>
                <a:cubicBezTo>
                  <a:pt x="7" y="19"/>
                  <a:pt x="4" y="18"/>
                  <a:pt x="1" y="16"/>
                </a:cubicBezTo>
                <a:cubicBezTo>
                  <a:pt x="0" y="15"/>
                  <a:pt x="0" y="15"/>
                  <a:pt x="0" y="15"/>
                </a:cubicBezTo>
                <a:cubicBezTo>
                  <a:pt x="4" y="0"/>
                  <a:pt x="4" y="0"/>
                  <a:pt x="4" y="0"/>
                </a:cubicBezTo>
                <a:lnTo>
                  <a:pt x="11" y="0"/>
                </a:lnTo>
                <a:close/>
              </a:path>
            </a:pathLst>
          </a:custGeom>
          <a:noFill/>
          <a:ln w="19050" cap="rnd">
            <a:solidFill>
              <a:schemeClr val="accent5">
                <a:lumMod val="50000"/>
              </a:scheme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98" name="Oval 472"/>
          <p:cNvSpPr>
            <a:spLocks noChangeArrowheads="1"/>
          </p:cNvSpPr>
          <p:nvPr/>
        </p:nvSpPr>
        <p:spPr bwMode="auto">
          <a:xfrm>
            <a:off x="6328769" y="5001348"/>
            <a:ext cx="235665" cy="235665"/>
          </a:xfrm>
          <a:prstGeom prst="ellipse">
            <a:avLst/>
          </a:prstGeom>
          <a:noFill/>
          <a:ln w="1905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99" name="Freeform 473"/>
          <p:cNvSpPr>
            <a:spLocks/>
          </p:cNvSpPr>
          <p:nvPr/>
        </p:nvSpPr>
        <p:spPr bwMode="auto">
          <a:xfrm>
            <a:off x="6183533" y="5267156"/>
            <a:ext cx="526137" cy="979656"/>
          </a:xfrm>
          <a:custGeom>
            <a:avLst/>
            <a:gdLst>
              <a:gd name="T0" fmla="*/ 17 w 192"/>
              <a:gd name="T1" fmla="*/ 183 h 357"/>
              <a:gd name="T2" fmla="*/ 18 w 192"/>
              <a:gd name="T3" fmla="*/ 183 h 357"/>
              <a:gd name="T4" fmla="*/ 32 w 192"/>
              <a:gd name="T5" fmla="*/ 167 h 357"/>
              <a:gd name="T6" fmla="*/ 31 w 192"/>
              <a:gd name="T7" fmla="*/ 132 h 357"/>
              <a:gd name="T8" fmla="*/ 44 w 192"/>
              <a:gd name="T9" fmla="*/ 46 h 357"/>
              <a:gd name="T10" fmla="*/ 44 w 192"/>
              <a:gd name="T11" fmla="*/ 109 h 357"/>
              <a:gd name="T12" fmla="*/ 44 w 192"/>
              <a:gd name="T13" fmla="*/ 146 h 357"/>
              <a:gd name="T14" fmla="*/ 44 w 192"/>
              <a:gd name="T15" fmla="*/ 333 h 357"/>
              <a:gd name="T16" fmla="*/ 68 w 192"/>
              <a:gd name="T17" fmla="*/ 357 h 357"/>
              <a:gd name="T18" fmla="*/ 92 w 192"/>
              <a:gd name="T19" fmla="*/ 333 h 357"/>
              <a:gd name="T20" fmla="*/ 92 w 192"/>
              <a:gd name="T21" fmla="*/ 160 h 357"/>
              <a:gd name="T22" fmla="*/ 101 w 192"/>
              <a:gd name="T23" fmla="*/ 160 h 357"/>
              <a:gd name="T24" fmla="*/ 101 w 192"/>
              <a:gd name="T25" fmla="*/ 333 h 357"/>
              <a:gd name="T26" fmla="*/ 124 w 192"/>
              <a:gd name="T27" fmla="*/ 357 h 357"/>
              <a:gd name="T28" fmla="*/ 148 w 192"/>
              <a:gd name="T29" fmla="*/ 333 h 357"/>
              <a:gd name="T30" fmla="*/ 148 w 192"/>
              <a:gd name="T31" fmla="*/ 146 h 357"/>
              <a:gd name="T32" fmla="*/ 148 w 192"/>
              <a:gd name="T33" fmla="*/ 109 h 357"/>
              <a:gd name="T34" fmla="*/ 148 w 192"/>
              <a:gd name="T35" fmla="*/ 46 h 357"/>
              <a:gd name="T36" fmla="*/ 151 w 192"/>
              <a:gd name="T37" fmla="*/ 54 h 357"/>
              <a:gd name="T38" fmla="*/ 161 w 192"/>
              <a:gd name="T39" fmla="*/ 132 h 357"/>
              <a:gd name="T40" fmla="*/ 160 w 192"/>
              <a:gd name="T41" fmla="*/ 167 h 357"/>
              <a:gd name="T42" fmla="*/ 175 w 192"/>
              <a:gd name="T43" fmla="*/ 183 h 357"/>
              <a:gd name="T44" fmla="*/ 175 w 192"/>
              <a:gd name="T45" fmla="*/ 183 h 357"/>
              <a:gd name="T46" fmla="*/ 191 w 192"/>
              <a:gd name="T47" fmla="*/ 169 h 357"/>
              <a:gd name="T48" fmla="*/ 192 w 192"/>
              <a:gd name="T49" fmla="*/ 132 h 357"/>
              <a:gd name="T50" fmla="*/ 170 w 192"/>
              <a:gd name="T51" fmla="*/ 23 h 357"/>
              <a:gd name="T52" fmla="*/ 149 w 192"/>
              <a:gd name="T53" fmla="*/ 4 h 357"/>
              <a:gd name="T54" fmla="*/ 134 w 192"/>
              <a:gd name="T55" fmla="*/ 0 h 357"/>
              <a:gd name="T56" fmla="*/ 133 w 192"/>
              <a:gd name="T57" fmla="*/ 0 h 357"/>
              <a:gd name="T58" fmla="*/ 59 w 192"/>
              <a:gd name="T59" fmla="*/ 0 h 357"/>
              <a:gd name="T60" fmla="*/ 58 w 192"/>
              <a:gd name="T61" fmla="*/ 0 h 357"/>
              <a:gd name="T62" fmla="*/ 43 w 192"/>
              <a:gd name="T63" fmla="*/ 4 h 357"/>
              <a:gd name="T64" fmla="*/ 13 w 192"/>
              <a:gd name="T65" fmla="*/ 40 h 357"/>
              <a:gd name="T66" fmla="*/ 0 w 192"/>
              <a:gd name="T67" fmla="*/ 132 h 357"/>
              <a:gd name="T68" fmla="*/ 1 w 192"/>
              <a:gd name="T69" fmla="*/ 169 h 357"/>
              <a:gd name="T70" fmla="*/ 17 w 192"/>
              <a:gd name="T71" fmla="*/ 18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2" h="357">
                <a:moveTo>
                  <a:pt x="17" y="183"/>
                </a:moveTo>
                <a:cubicBezTo>
                  <a:pt x="17" y="183"/>
                  <a:pt x="17" y="183"/>
                  <a:pt x="18" y="183"/>
                </a:cubicBezTo>
                <a:cubicBezTo>
                  <a:pt x="26" y="183"/>
                  <a:pt x="33" y="175"/>
                  <a:pt x="32" y="167"/>
                </a:cubicBezTo>
                <a:cubicBezTo>
                  <a:pt x="31" y="154"/>
                  <a:pt x="31" y="143"/>
                  <a:pt x="31" y="132"/>
                </a:cubicBezTo>
                <a:cubicBezTo>
                  <a:pt x="31" y="86"/>
                  <a:pt x="38" y="60"/>
                  <a:pt x="44" y="46"/>
                </a:cubicBezTo>
                <a:cubicBezTo>
                  <a:pt x="44" y="109"/>
                  <a:pt x="44" y="109"/>
                  <a:pt x="44" y="109"/>
                </a:cubicBezTo>
                <a:cubicBezTo>
                  <a:pt x="44" y="146"/>
                  <a:pt x="44" y="146"/>
                  <a:pt x="44" y="146"/>
                </a:cubicBezTo>
                <a:cubicBezTo>
                  <a:pt x="44" y="333"/>
                  <a:pt x="44" y="333"/>
                  <a:pt x="44" y="333"/>
                </a:cubicBezTo>
                <a:cubicBezTo>
                  <a:pt x="44" y="346"/>
                  <a:pt x="55" y="357"/>
                  <a:pt x="68" y="357"/>
                </a:cubicBezTo>
                <a:cubicBezTo>
                  <a:pt x="81" y="357"/>
                  <a:pt x="92" y="346"/>
                  <a:pt x="92" y="333"/>
                </a:cubicBezTo>
                <a:cubicBezTo>
                  <a:pt x="92" y="160"/>
                  <a:pt x="92" y="160"/>
                  <a:pt x="92" y="160"/>
                </a:cubicBezTo>
                <a:cubicBezTo>
                  <a:pt x="101" y="160"/>
                  <a:pt x="101" y="160"/>
                  <a:pt x="101" y="160"/>
                </a:cubicBezTo>
                <a:cubicBezTo>
                  <a:pt x="101" y="333"/>
                  <a:pt x="101" y="333"/>
                  <a:pt x="101" y="333"/>
                </a:cubicBezTo>
                <a:cubicBezTo>
                  <a:pt x="101" y="346"/>
                  <a:pt x="111" y="357"/>
                  <a:pt x="124" y="357"/>
                </a:cubicBezTo>
                <a:cubicBezTo>
                  <a:pt x="137" y="357"/>
                  <a:pt x="148" y="346"/>
                  <a:pt x="148" y="333"/>
                </a:cubicBezTo>
                <a:cubicBezTo>
                  <a:pt x="148" y="146"/>
                  <a:pt x="148" y="146"/>
                  <a:pt x="148" y="146"/>
                </a:cubicBezTo>
                <a:cubicBezTo>
                  <a:pt x="148" y="109"/>
                  <a:pt x="148" y="109"/>
                  <a:pt x="148" y="109"/>
                </a:cubicBezTo>
                <a:cubicBezTo>
                  <a:pt x="148" y="46"/>
                  <a:pt x="148" y="46"/>
                  <a:pt x="148" y="46"/>
                </a:cubicBezTo>
                <a:cubicBezTo>
                  <a:pt x="149" y="48"/>
                  <a:pt x="150" y="51"/>
                  <a:pt x="151" y="54"/>
                </a:cubicBezTo>
                <a:cubicBezTo>
                  <a:pt x="157" y="69"/>
                  <a:pt x="161" y="94"/>
                  <a:pt x="161" y="132"/>
                </a:cubicBezTo>
                <a:cubicBezTo>
                  <a:pt x="161" y="143"/>
                  <a:pt x="161" y="154"/>
                  <a:pt x="160" y="167"/>
                </a:cubicBezTo>
                <a:cubicBezTo>
                  <a:pt x="160" y="175"/>
                  <a:pt x="166" y="183"/>
                  <a:pt x="175" y="183"/>
                </a:cubicBezTo>
                <a:cubicBezTo>
                  <a:pt x="175" y="183"/>
                  <a:pt x="175" y="183"/>
                  <a:pt x="175" y="183"/>
                </a:cubicBezTo>
                <a:cubicBezTo>
                  <a:pt x="183" y="183"/>
                  <a:pt x="190" y="177"/>
                  <a:pt x="191" y="169"/>
                </a:cubicBezTo>
                <a:cubicBezTo>
                  <a:pt x="191" y="155"/>
                  <a:pt x="192" y="143"/>
                  <a:pt x="192" y="132"/>
                </a:cubicBezTo>
                <a:cubicBezTo>
                  <a:pt x="192" y="74"/>
                  <a:pt x="183" y="42"/>
                  <a:pt x="170" y="23"/>
                </a:cubicBezTo>
                <a:cubicBezTo>
                  <a:pt x="164" y="13"/>
                  <a:pt x="156" y="7"/>
                  <a:pt x="149" y="4"/>
                </a:cubicBezTo>
                <a:cubicBezTo>
                  <a:pt x="143" y="1"/>
                  <a:pt x="137" y="0"/>
                  <a:pt x="134" y="0"/>
                </a:cubicBezTo>
                <a:cubicBezTo>
                  <a:pt x="134" y="0"/>
                  <a:pt x="133" y="0"/>
                  <a:pt x="133" y="0"/>
                </a:cubicBezTo>
                <a:cubicBezTo>
                  <a:pt x="59" y="0"/>
                  <a:pt x="59" y="0"/>
                  <a:pt x="59" y="0"/>
                </a:cubicBezTo>
                <a:cubicBezTo>
                  <a:pt x="59" y="0"/>
                  <a:pt x="58" y="0"/>
                  <a:pt x="58" y="0"/>
                </a:cubicBezTo>
                <a:cubicBezTo>
                  <a:pt x="55" y="0"/>
                  <a:pt x="49" y="1"/>
                  <a:pt x="43" y="4"/>
                </a:cubicBezTo>
                <a:cubicBezTo>
                  <a:pt x="32" y="9"/>
                  <a:pt x="21" y="20"/>
                  <a:pt x="13" y="40"/>
                </a:cubicBezTo>
                <a:cubicBezTo>
                  <a:pt x="6" y="60"/>
                  <a:pt x="0" y="89"/>
                  <a:pt x="0" y="132"/>
                </a:cubicBezTo>
                <a:cubicBezTo>
                  <a:pt x="0" y="143"/>
                  <a:pt x="1" y="155"/>
                  <a:pt x="1" y="169"/>
                </a:cubicBezTo>
                <a:cubicBezTo>
                  <a:pt x="2" y="177"/>
                  <a:pt x="9" y="183"/>
                  <a:pt x="17" y="183"/>
                </a:cubicBezTo>
                <a:close/>
              </a:path>
            </a:pathLst>
          </a:custGeom>
          <a:noFill/>
          <a:ln w="1905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00" name="Freeform 474"/>
          <p:cNvSpPr>
            <a:spLocks/>
          </p:cNvSpPr>
          <p:nvPr/>
        </p:nvSpPr>
        <p:spPr bwMode="auto">
          <a:xfrm>
            <a:off x="6397276" y="5374028"/>
            <a:ext cx="98651" cy="274029"/>
          </a:xfrm>
          <a:custGeom>
            <a:avLst/>
            <a:gdLst>
              <a:gd name="T0" fmla="*/ 18 w 36"/>
              <a:gd name="T1" fmla="*/ 100 h 100"/>
              <a:gd name="T2" fmla="*/ 0 w 36"/>
              <a:gd name="T3" fmla="*/ 77 h 100"/>
              <a:gd name="T4" fmla="*/ 10 w 36"/>
              <a:gd name="T5" fmla="*/ 0 h 100"/>
              <a:gd name="T6" fmla="*/ 18 w 36"/>
              <a:gd name="T7" fmla="*/ 1 h 100"/>
              <a:gd name="T8" fmla="*/ 18 w 36"/>
              <a:gd name="T9" fmla="*/ 1 h 100"/>
              <a:gd name="T10" fmla="*/ 18 w 36"/>
              <a:gd name="T11" fmla="*/ 1 h 100"/>
              <a:gd name="T12" fmla="*/ 26 w 36"/>
              <a:gd name="T13" fmla="*/ 0 h 100"/>
              <a:gd name="T14" fmla="*/ 36 w 36"/>
              <a:gd name="T15" fmla="*/ 77 h 100"/>
              <a:gd name="T16" fmla="*/ 18 w 36"/>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00">
                <a:moveTo>
                  <a:pt x="18" y="100"/>
                </a:moveTo>
                <a:cubicBezTo>
                  <a:pt x="0" y="77"/>
                  <a:pt x="0" y="77"/>
                  <a:pt x="0" y="77"/>
                </a:cubicBezTo>
                <a:cubicBezTo>
                  <a:pt x="10" y="0"/>
                  <a:pt x="10" y="0"/>
                  <a:pt x="10" y="0"/>
                </a:cubicBezTo>
                <a:cubicBezTo>
                  <a:pt x="13" y="1"/>
                  <a:pt x="15" y="1"/>
                  <a:pt x="18" y="1"/>
                </a:cubicBezTo>
                <a:cubicBezTo>
                  <a:pt x="18" y="1"/>
                  <a:pt x="18" y="1"/>
                  <a:pt x="18" y="1"/>
                </a:cubicBezTo>
                <a:cubicBezTo>
                  <a:pt x="18" y="1"/>
                  <a:pt x="18" y="1"/>
                  <a:pt x="18" y="1"/>
                </a:cubicBezTo>
                <a:cubicBezTo>
                  <a:pt x="21" y="1"/>
                  <a:pt x="23" y="1"/>
                  <a:pt x="26" y="0"/>
                </a:cubicBezTo>
                <a:cubicBezTo>
                  <a:pt x="36" y="77"/>
                  <a:pt x="36" y="77"/>
                  <a:pt x="36" y="77"/>
                </a:cubicBezTo>
                <a:lnTo>
                  <a:pt x="18" y="100"/>
                </a:lnTo>
                <a:close/>
              </a:path>
            </a:pathLst>
          </a:custGeom>
          <a:noFill/>
          <a:ln w="19050" cap="rnd">
            <a:solidFill>
              <a:schemeClr val="accent5">
                <a:lumMod val="50000"/>
              </a:scheme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01" name="Freeform 475"/>
          <p:cNvSpPr>
            <a:spLocks/>
          </p:cNvSpPr>
          <p:nvPr/>
        </p:nvSpPr>
        <p:spPr bwMode="auto">
          <a:xfrm>
            <a:off x="6416458" y="5308261"/>
            <a:ext cx="60286" cy="52066"/>
          </a:xfrm>
          <a:custGeom>
            <a:avLst/>
            <a:gdLst>
              <a:gd name="T0" fmla="*/ 11 w 22"/>
              <a:gd name="T1" fmla="*/ 0 h 19"/>
              <a:gd name="T2" fmla="*/ 18 w 22"/>
              <a:gd name="T3" fmla="*/ 0 h 19"/>
              <a:gd name="T4" fmla="*/ 22 w 22"/>
              <a:gd name="T5" fmla="*/ 15 h 19"/>
              <a:gd name="T6" fmla="*/ 21 w 22"/>
              <a:gd name="T7" fmla="*/ 16 h 19"/>
              <a:gd name="T8" fmla="*/ 11 w 22"/>
              <a:gd name="T9" fmla="*/ 19 h 19"/>
              <a:gd name="T10" fmla="*/ 1 w 22"/>
              <a:gd name="T11" fmla="*/ 16 h 19"/>
              <a:gd name="T12" fmla="*/ 0 w 22"/>
              <a:gd name="T13" fmla="*/ 15 h 19"/>
              <a:gd name="T14" fmla="*/ 4 w 22"/>
              <a:gd name="T15" fmla="*/ 0 h 19"/>
              <a:gd name="T16" fmla="*/ 11 w 22"/>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9">
                <a:moveTo>
                  <a:pt x="11" y="0"/>
                </a:moveTo>
                <a:cubicBezTo>
                  <a:pt x="18" y="0"/>
                  <a:pt x="18" y="0"/>
                  <a:pt x="18" y="0"/>
                </a:cubicBezTo>
                <a:cubicBezTo>
                  <a:pt x="22" y="15"/>
                  <a:pt x="22" y="15"/>
                  <a:pt x="22" y="15"/>
                </a:cubicBezTo>
                <a:cubicBezTo>
                  <a:pt x="21" y="16"/>
                  <a:pt x="21" y="16"/>
                  <a:pt x="21" y="16"/>
                </a:cubicBezTo>
                <a:cubicBezTo>
                  <a:pt x="18" y="18"/>
                  <a:pt x="15" y="19"/>
                  <a:pt x="11" y="19"/>
                </a:cubicBezTo>
                <a:cubicBezTo>
                  <a:pt x="7" y="19"/>
                  <a:pt x="4" y="18"/>
                  <a:pt x="1" y="16"/>
                </a:cubicBezTo>
                <a:cubicBezTo>
                  <a:pt x="0" y="15"/>
                  <a:pt x="0" y="15"/>
                  <a:pt x="0" y="15"/>
                </a:cubicBezTo>
                <a:cubicBezTo>
                  <a:pt x="4" y="0"/>
                  <a:pt x="4" y="0"/>
                  <a:pt x="4" y="0"/>
                </a:cubicBezTo>
                <a:lnTo>
                  <a:pt x="11" y="0"/>
                </a:lnTo>
                <a:close/>
              </a:path>
            </a:pathLst>
          </a:custGeom>
          <a:noFill/>
          <a:ln w="19050" cap="rnd">
            <a:solidFill>
              <a:schemeClr val="accent5">
                <a:lumMod val="50000"/>
              </a:scheme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02" name="Oval 476"/>
          <p:cNvSpPr>
            <a:spLocks noChangeArrowheads="1"/>
          </p:cNvSpPr>
          <p:nvPr/>
        </p:nvSpPr>
        <p:spPr bwMode="auto">
          <a:xfrm>
            <a:off x="6897380" y="5001348"/>
            <a:ext cx="235665" cy="235665"/>
          </a:xfrm>
          <a:prstGeom prst="ellipse">
            <a:avLst/>
          </a:prstGeom>
          <a:noFill/>
          <a:ln w="1905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03" name="Freeform 477"/>
          <p:cNvSpPr>
            <a:spLocks/>
          </p:cNvSpPr>
          <p:nvPr/>
        </p:nvSpPr>
        <p:spPr bwMode="auto">
          <a:xfrm>
            <a:off x="6750774" y="5267156"/>
            <a:ext cx="524767" cy="979656"/>
          </a:xfrm>
          <a:custGeom>
            <a:avLst/>
            <a:gdLst>
              <a:gd name="T0" fmla="*/ 148 w 191"/>
              <a:gd name="T1" fmla="*/ 273 h 357"/>
              <a:gd name="T2" fmla="*/ 148 w 191"/>
              <a:gd name="T3" fmla="*/ 146 h 357"/>
              <a:gd name="T4" fmla="*/ 148 w 191"/>
              <a:gd name="T5" fmla="*/ 109 h 357"/>
              <a:gd name="T6" fmla="*/ 148 w 191"/>
              <a:gd name="T7" fmla="*/ 46 h 357"/>
              <a:gd name="T8" fmla="*/ 151 w 191"/>
              <a:gd name="T9" fmla="*/ 54 h 357"/>
              <a:gd name="T10" fmla="*/ 161 w 191"/>
              <a:gd name="T11" fmla="*/ 132 h 357"/>
              <a:gd name="T12" fmla="*/ 160 w 191"/>
              <a:gd name="T13" fmla="*/ 167 h 357"/>
              <a:gd name="T14" fmla="*/ 174 w 191"/>
              <a:gd name="T15" fmla="*/ 183 h 357"/>
              <a:gd name="T16" fmla="*/ 175 w 191"/>
              <a:gd name="T17" fmla="*/ 183 h 357"/>
              <a:gd name="T18" fmla="*/ 190 w 191"/>
              <a:gd name="T19" fmla="*/ 169 h 357"/>
              <a:gd name="T20" fmla="*/ 191 w 191"/>
              <a:gd name="T21" fmla="*/ 132 h 357"/>
              <a:gd name="T22" fmla="*/ 170 w 191"/>
              <a:gd name="T23" fmla="*/ 23 h 357"/>
              <a:gd name="T24" fmla="*/ 149 w 191"/>
              <a:gd name="T25" fmla="*/ 4 h 357"/>
              <a:gd name="T26" fmla="*/ 134 w 191"/>
              <a:gd name="T27" fmla="*/ 0 h 357"/>
              <a:gd name="T28" fmla="*/ 133 w 191"/>
              <a:gd name="T29" fmla="*/ 0 h 357"/>
              <a:gd name="T30" fmla="*/ 59 w 191"/>
              <a:gd name="T31" fmla="*/ 0 h 357"/>
              <a:gd name="T32" fmla="*/ 58 w 191"/>
              <a:gd name="T33" fmla="*/ 0 h 357"/>
              <a:gd name="T34" fmla="*/ 42 w 191"/>
              <a:gd name="T35" fmla="*/ 4 h 357"/>
              <a:gd name="T36" fmla="*/ 13 w 191"/>
              <a:gd name="T37" fmla="*/ 40 h 357"/>
              <a:gd name="T38" fmla="*/ 0 w 191"/>
              <a:gd name="T39" fmla="*/ 132 h 357"/>
              <a:gd name="T40" fmla="*/ 1 w 191"/>
              <a:gd name="T41" fmla="*/ 169 h 357"/>
              <a:gd name="T42" fmla="*/ 16 w 191"/>
              <a:gd name="T43" fmla="*/ 183 h 357"/>
              <a:gd name="T44" fmla="*/ 17 w 191"/>
              <a:gd name="T45" fmla="*/ 183 h 357"/>
              <a:gd name="T46" fmla="*/ 32 w 191"/>
              <a:gd name="T47" fmla="*/ 167 h 357"/>
              <a:gd name="T48" fmla="*/ 31 w 191"/>
              <a:gd name="T49" fmla="*/ 132 h 357"/>
              <a:gd name="T50" fmla="*/ 44 w 191"/>
              <a:gd name="T51" fmla="*/ 46 h 357"/>
              <a:gd name="T52" fmla="*/ 44 w 191"/>
              <a:gd name="T53" fmla="*/ 109 h 357"/>
              <a:gd name="T54" fmla="*/ 44 w 191"/>
              <a:gd name="T55" fmla="*/ 146 h 357"/>
              <a:gd name="T56" fmla="*/ 44 w 191"/>
              <a:gd name="T57" fmla="*/ 333 h 357"/>
              <a:gd name="T58" fmla="*/ 68 w 191"/>
              <a:gd name="T59" fmla="*/ 357 h 357"/>
              <a:gd name="T60" fmla="*/ 91 w 191"/>
              <a:gd name="T61" fmla="*/ 333 h 357"/>
              <a:gd name="T62" fmla="*/ 91 w 191"/>
              <a:gd name="T63" fmla="*/ 160 h 357"/>
              <a:gd name="T64" fmla="*/ 100 w 191"/>
              <a:gd name="T65" fmla="*/ 160 h 357"/>
              <a:gd name="T66" fmla="*/ 100 w 191"/>
              <a:gd name="T67" fmla="*/ 333 h 357"/>
              <a:gd name="T68" fmla="*/ 124 w 191"/>
              <a:gd name="T69" fmla="*/ 357 h 357"/>
              <a:gd name="T70" fmla="*/ 148 w 191"/>
              <a:gd name="T71" fmla="*/ 333 h 357"/>
              <a:gd name="T72" fmla="*/ 148 w 191"/>
              <a:gd name="T73" fmla="*/ 308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1" h="357">
                <a:moveTo>
                  <a:pt x="148" y="273"/>
                </a:moveTo>
                <a:cubicBezTo>
                  <a:pt x="148" y="146"/>
                  <a:pt x="148" y="146"/>
                  <a:pt x="148" y="146"/>
                </a:cubicBezTo>
                <a:cubicBezTo>
                  <a:pt x="148" y="109"/>
                  <a:pt x="148" y="109"/>
                  <a:pt x="148" y="109"/>
                </a:cubicBezTo>
                <a:cubicBezTo>
                  <a:pt x="148" y="46"/>
                  <a:pt x="148" y="46"/>
                  <a:pt x="148" y="46"/>
                </a:cubicBezTo>
                <a:cubicBezTo>
                  <a:pt x="149" y="48"/>
                  <a:pt x="150" y="51"/>
                  <a:pt x="151" y="54"/>
                </a:cubicBezTo>
                <a:cubicBezTo>
                  <a:pt x="156" y="69"/>
                  <a:pt x="161" y="94"/>
                  <a:pt x="161" y="132"/>
                </a:cubicBezTo>
                <a:cubicBezTo>
                  <a:pt x="161" y="143"/>
                  <a:pt x="161" y="154"/>
                  <a:pt x="160" y="167"/>
                </a:cubicBezTo>
                <a:cubicBezTo>
                  <a:pt x="159" y="175"/>
                  <a:pt x="166" y="183"/>
                  <a:pt x="174" y="183"/>
                </a:cubicBezTo>
                <a:cubicBezTo>
                  <a:pt x="174" y="183"/>
                  <a:pt x="175" y="183"/>
                  <a:pt x="175" y="183"/>
                </a:cubicBezTo>
                <a:cubicBezTo>
                  <a:pt x="183" y="183"/>
                  <a:pt x="190" y="177"/>
                  <a:pt x="190" y="169"/>
                </a:cubicBezTo>
                <a:cubicBezTo>
                  <a:pt x="191" y="155"/>
                  <a:pt x="191" y="143"/>
                  <a:pt x="191" y="132"/>
                </a:cubicBezTo>
                <a:cubicBezTo>
                  <a:pt x="191" y="74"/>
                  <a:pt x="182" y="42"/>
                  <a:pt x="170" y="23"/>
                </a:cubicBezTo>
                <a:cubicBezTo>
                  <a:pt x="163" y="13"/>
                  <a:pt x="156" y="7"/>
                  <a:pt x="149" y="4"/>
                </a:cubicBezTo>
                <a:cubicBezTo>
                  <a:pt x="143" y="1"/>
                  <a:pt x="137" y="0"/>
                  <a:pt x="134" y="0"/>
                </a:cubicBezTo>
                <a:cubicBezTo>
                  <a:pt x="133" y="0"/>
                  <a:pt x="133" y="0"/>
                  <a:pt x="133" y="0"/>
                </a:cubicBezTo>
                <a:cubicBezTo>
                  <a:pt x="59" y="0"/>
                  <a:pt x="59" y="0"/>
                  <a:pt x="59" y="0"/>
                </a:cubicBezTo>
                <a:cubicBezTo>
                  <a:pt x="58" y="0"/>
                  <a:pt x="58" y="0"/>
                  <a:pt x="58" y="0"/>
                </a:cubicBezTo>
                <a:cubicBezTo>
                  <a:pt x="54" y="0"/>
                  <a:pt x="49" y="1"/>
                  <a:pt x="42" y="4"/>
                </a:cubicBezTo>
                <a:cubicBezTo>
                  <a:pt x="32" y="9"/>
                  <a:pt x="21" y="20"/>
                  <a:pt x="13" y="40"/>
                </a:cubicBezTo>
                <a:cubicBezTo>
                  <a:pt x="5" y="60"/>
                  <a:pt x="0" y="89"/>
                  <a:pt x="0" y="132"/>
                </a:cubicBezTo>
                <a:cubicBezTo>
                  <a:pt x="0" y="143"/>
                  <a:pt x="0" y="155"/>
                  <a:pt x="1" y="169"/>
                </a:cubicBezTo>
                <a:cubicBezTo>
                  <a:pt x="2" y="177"/>
                  <a:pt x="8" y="183"/>
                  <a:pt x="16" y="183"/>
                </a:cubicBezTo>
                <a:cubicBezTo>
                  <a:pt x="17" y="183"/>
                  <a:pt x="17" y="183"/>
                  <a:pt x="17" y="183"/>
                </a:cubicBezTo>
                <a:cubicBezTo>
                  <a:pt x="26" y="183"/>
                  <a:pt x="32" y="175"/>
                  <a:pt x="32" y="167"/>
                </a:cubicBezTo>
                <a:cubicBezTo>
                  <a:pt x="31" y="154"/>
                  <a:pt x="31" y="143"/>
                  <a:pt x="31" y="132"/>
                </a:cubicBezTo>
                <a:cubicBezTo>
                  <a:pt x="31" y="86"/>
                  <a:pt x="37" y="60"/>
                  <a:pt x="44" y="46"/>
                </a:cubicBezTo>
                <a:cubicBezTo>
                  <a:pt x="44" y="109"/>
                  <a:pt x="44" y="109"/>
                  <a:pt x="44" y="109"/>
                </a:cubicBezTo>
                <a:cubicBezTo>
                  <a:pt x="44" y="146"/>
                  <a:pt x="44" y="146"/>
                  <a:pt x="44" y="146"/>
                </a:cubicBezTo>
                <a:cubicBezTo>
                  <a:pt x="44" y="333"/>
                  <a:pt x="44" y="333"/>
                  <a:pt x="44" y="333"/>
                </a:cubicBezTo>
                <a:cubicBezTo>
                  <a:pt x="44" y="346"/>
                  <a:pt x="55" y="357"/>
                  <a:pt x="68" y="357"/>
                </a:cubicBezTo>
                <a:cubicBezTo>
                  <a:pt x="81" y="357"/>
                  <a:pt x="91" y="346"/>
                  <a:pt x="91" y="333"/>
                </a:cubicBezTo>
                <a:cubicBezTo>
                  <a:pt x="91" y="160"/>
                  <a:pt x="91" y="160"/>
                  <a:pt x="91" y="160"/>
                </a:cubicBezTo>
                <a:cubicBezTo>
                  <a:pt x="100" y="160"/>
                  <a:pt x="100" y="160"/>
                  <a:pt x="100" y="160"/>
                </a:cubicBezTo>
                <a:cubicBezTo>
                  <a:pt x="100" y="333"/>
                  <a:pt x="100" y="333"/>
                  <a:pt x="100" y="333"/>
                </a:cubicBezTo>
                <a:cubicBezTo>
                  <a:pt x="100" y="346"/>
                  <a:pt x="111" y="357"/>
                  <a:pt x="124" y="357"/>
                </a:cubicBezTo>
                <a:cubicBezTo>
                  <a:pt x="137" y="357"/>
                  <a:pt x="148" y="346"/>
                  <a:pt x="148" y="333"/>
                </a:cubicBezTo>
                <a:cubicBezTo>
                  <a:pt x="148" y="308"/>
                  <a:pt x="148" y="308"/>
                  <a:pt x="148" y="308"/>
                </a:cubicBezTo>
              </a:path>
            </a:pathLst>
          </a:custGeom>
          <a:noFill/>
          <a:ln w="1905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04" name="Freeform 478"/>
          <p:cNvSpPr>
            <a:spLocks/>
          </p:cNvSpPr>
          <p:nvPr/>
        </p:nvSpPr>
        <p:spPr bwMode="auto">
          <a:xfrm>
            <a:off x="6965888" y="5374028"/>
            <a:ext cx="98651" cy="274029"/>
          </a:xfrm>
          <a:custGeom>
            <a:avLst/>
            <a:gdLst>
              <a:gd name="T0" fmla="*/ 18 w 36"/>
              <a:gd name="T1" fmla="*/ 100 h 100"/>
              <a:gd name="T2" fmla="*/ 0 w 36"/>
              <a:gd name="T3" fmla="*/ 77 h 100"/>
              <a:gd name="T4" fmla="*/ 10 w 36"/>
              <a:gd name="T5" fmla="*/ 0 h 100"/>
              <a:gd name="T6" fmla="*/ 18 w 36"/>
              <a:gd name="T7" fmla="*/ 1 h 100"/>
              <a:gd name="T8" fmla="*/ 18 w 36"/>
              <a:gd name="T9" fmla="*/ 1 h 100"/>
              <a:gd name="T10" fmla="*/ 18 w 36"/>
              <a:gd name="T11" fmla="*/ 1 h 100"/>
              <a:gd name="T12" fmla="*/ 25 w 36"/>
              <a:gd name="T13" fmla="*/ 0 h 100"/>
              <a:gd name="T14" fmla="*/ 36 w 36"/>
              <a:gd name="T15" fmla="*/ 77 h 100"/>
              <a:gd name="T16" fmla="*/ 18 w 36"/>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00">
                <a:moveTo>
                  <a:pt x="18" y="100"/>
                </a:moveTo>
                <a:cubicBezTo>
                  <a:pt x="0" y="77"/>
                  <a:pt x="0" y="77"/>
                  <a:pt x="0" y="77"/>
                </a:cubicBezTo>
                <a:cubicBezTo>
                  <a:pt x="10" y="0"/>
                  <a:pt x="10" y="0"/>
                  <a:pt x="10" y="0"/>
                </a:cubicBezTo>
                <a:cubicBezTo>
                  <a:pt x="13" y="1"/>
                  <a:pt x="15" y="1"/>
                  <a:pt x="18" y="1"/>
                </a:cubicBezTo>
                <a:cubicBezTo>
                  <a:pt x="18" y="1"/>
                  <a:pt x="18" y="1"/>
                  <a:pt x="18" y="1"/>
                </a:cubicBezTo>
                <a:cubicBezTo>
                  <a:pt x="18" y="1"/>
                  <a:pt x="18" y="1"/>
                  <a:pt x="18" y="1"/>
                </a:cubicBezTo>
                <a:cubicBezTo>
                  <a:pt x="20" y="1"/>
                  <a:pt x="23" y="1"/>
                  <a:pt x="25" y="0"/>
                </a:cubicBezTo>
                <a:cubicBezTo>
                  <a:pt x="36" y="77"/>
                  <a:pt x="36" y="77"/>
                  <a:pt x="36" y="77"/>
                </a:cubicBezTo>
                <a:lnTo>
                  <a:pt x="18" y="100"/>
                </a:lnTo>
                <a:close/>
              </a:path>
            </a:pathLst>
          </a:custGeom>
          <a:noFill/>
          <a:ln w="19050" cap="rnd">
            <a:solidFill>
              <a:schemeClr val="accent5">
                <a:lumMod val="50000"/>
              </a:scheme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05" name="Freeform 479"/>
          <p:cNvSpPr>
            <a:spLocks/>
          </p:cNvSpPr>
          <p:nvPr/>
        </p:nvSpPr>
        <p:spPr bwMode="auto">
          <a:xfrm>
            <a:off x="6985070" y="5308261"/>
            <a:ext cx="60286" cy="52066"/>
          </a:xfrm>
          <a:custGeom>
            <a:avLst/>
            <a:gdLst>
              <a:gd name="T0" fmla="*/ 11 w 22"/>
              <a:gd name="T1" fmla="*/ 0 h 19"/>
              <a:gd name="T2" fmla="*/ 18 w 22"/>
              <a:gd name="T3" fmla="*/ 0 h 19"/>
              <a:gd name="T4" fmla="*/ 22 w 22"/>
              <a:gd name="T5" fmla="*/ 15 h 19"/>
              <a:gd name="T6" fmla="*/ 21 w 22"/>
              <a:gd name="T7" fmla="*/ 16 h 19"/>
              <a:gd name="T8" fmla="*/ 11 w 22"/>
              <a:gd name="T9" fmla="*/ 19 h 19"/>
              <a:gd name="T10" fmla="*/ 0 w 22"/>
              <a:gd name="T11" fmla="*/ 16 h 19"/>
              <a:gd name="T12" fmla="*/ 0 w 22"/>
              <a:gd name="T13" fmla="*/ 15 h 19"/>
              <a:gd name="T14" fmla="*/ 3 w 22"/>
              <a:gd name="T15" fmla="*/ 0 h 19"/>
              <a:gd name="T16" fmla="*/ 11 w 22"/>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9">
                <a:moveTo>
                  <a:pt x="11" y="0"/>
                </a:moveTo>
                <a:cubicBezTo>
                  <a:pt x="18" y="0"/>
                  <a:pt x="18" y="0"/>
                  <a:pt x="18" y="0"/>
                </a:cubicBezTo>
                <a:cubicBezTo>
                  <a:pt x="22" y="15"/>
                  <a:pt x="22" y="15"/>
                  <a:pt x="22" y="15"/>
                </a:cubicBezTo>
                <a:cubicBezTo>
                  <a:pt x="21" y="16"/>
                  <a:pt x="21" y="16"/>
                  <a:pt x="21" y="16"/>
                </a:cubicBezTo>
                <a:cubicBezTo>
                  <a:pt x="18" y="18"/>
                  <a:pt x="14" y="19"/>
                  <a:pt x="11" y="19"/>
                </a:cubicBezTo>
                <a:cubicBezTo>
                  <a:pt x="7" y="19"/>
                  <a:pt x="3" y="18"/>
                  <a:pt x="0" y="16"/>
                </a:cubicBezTo>
                <a:cubicBezTo>
                  <a:pt x="0" y="15"/>
                  <a:pt x="0" y="15"/>
                  <a:pt x="0" y="15"/>
                </a:cubicBezTo>
                <a:cubicBezTo>
                  <a:pt x="3" y="0"/>
                  <a:pt x="3" y="0"/>
                  <a:pt x="3" y="0"/>
                </a:cubicBezTo>
                <a:lnTo>
                  <a:pt x="11" y="0"/>
                </a:lnTo>
                <a:close/>
              </a:path>
            </a:pathLst>
          </a:custGeom>
          <a:noFill/>
          <a:ln w="19050" cap="rnd">
            <a:solidFill>
              <a:schemeClr val="accent5">
                <a:lumMod val="50000"/>
              </a:scheme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06" name="Freeform 480"/>
          <p:cNvSpPr>
            <a:spLocks/>
          </p:cNvSpPr>
          <p:nvPr/>
        </p:nvSpPr>
        <p:spPr bwMode="auto">
          <a:xfrm>
            <a:off x="8641577" y="4856112"/>
            <a:ext cx="98651" cy="274029"/>
          </a:xfrm>
          <a:custGeom>
            <a:avLst/>
            <a:gdLst>
              <a:gd name="T0" fmla="*/ 18 w 36"/>
              <a:gd name="T1" fmla="*/ 100 h 100"/>
              <a:gd name="T2" fmla="*/ 0 w 36"/>
              <a:gd name="T3" fmla="*/ 77 h 100"/>
              <a:gd name="T4" fmla="*/ 11 w 36"/>
              <a:gd name="T5" fmla="*/ 0 h 100"/>
              <a:gd name="T6" fmla="*/ 18 w 36"/>
              <a:gd name="T7" fmla="*/ 2 h 100"/>
              <a:gd name="T8" fmla="*/ 18 w 36"/>
              <a:gd name="T9" fmla="*/ 2 h 100"/>
              <a:gd name="T10" fmla="*/ 18 w 36"/>
              <a:gd name="T11" fmla="*/ 2 h 100"/>
              <a:gd name="T12" fmla="*/ 26 w 36"/>
              <a:gd name="T13" fmla="*/ 0 h 100"/>
              <a:gd name="T14" fmla="*/ 36 w 36"/>
              <a:gd name="T15" fmla="*/ 77 h 100"/>
              <a:gd name="T16" fmla="*/ 18 w 36"/>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00">
                <a:moveTo>
                  <a:pt x="18" y="100"/>
                </a:moveTo>
                <a:cubicBezTo>
                  <a:pt x="0" y="77"/>
                  <a:pt x="0" y="77"/>
                  <a:pt x="0" y="77"/>
                </a:cubicBezTo>
                <a:cubicBezTo>
                  <a:pt x="11" y="0"/>
                  <a:pt x="11" y="0"/>
                  <a:pt x="11" y="0"/>
                </a:cubicBezTo>
                <a:cubicBezTo>
                  <a:pt x="13" y="1"/>
                  <a:pt x="16" y="2"/>
                  <a:pt x="18" y="2"/>
                </a:cubicBezTo>
                <a:cubicBezTo>
                  <a:pt x="18" y="2"/>
                  <a:pt x="18" y="2"/>
                  <a:pt x="18" y="2"/>
                </a:cubicBezTo>
                <a:cubicBezTo>
                  <a:pt x="18" y="2"/>
                  <a:pt x="18" y="2"/>
                  <a:pt x="18" y="2"/>
                </a:cubicBezTo>
                <a:cubicBezTo>
                  <a:pt x="21" y="2"/>
                  <a:pt x="24" y="1"/>
                  <a:pt x="26" y="0"/>
                </a:cubicBezTo>
                <a:cubicBezTo>
                  <a:pt x="36" y="77"/>
                  <a:pt x="36" y="77"/>
                  <a:pt x="36" y="77"/>
                </a:cubicBezTo>
                <a:lnTo>
                  <a:pt x="18" y="100"/>
                </a:lnTo>
                <a:close/>
              </a:path>
            </a:pathLst>
          </a:custGeom>
          <a:noFill/>
          <a:ln w="19050" cap="rnd">
            <a:solidFill>
              <a:schemeClr val="accent5">
                <a:lumMod val="50000"/>
              </a:scheme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07" name="Freeform 481"/>
          <p:cNvSpPr>
            <a:spLocks/>
          </p:cNvSpPr>
          <p:nvPr/>
        </p:nvSpPr>
        <p:spPr bwMode="auto">
          <a:xfrm>
            <a:off x="8660759" y="4793085"/>
            <a:ext cx="60286" cy="52066"/>
          </a:xfrm>
          <a:custGeom>
            <a:avLst/>
            <a:gdLst>
              <a:gd name="T0" fmla="*/ 11 w 22"/>
              <a:gd name="T1" fmla="*/ 0 h 19"/>
              <a:gd name="T2" fmla="*/ 19 w 22"/>
              <a:gd name="T3" fmla="*/ 0 h 19"/>
              <a:gd name="T4" fmla="*/ 22 w 22"/>
              <a:gd name="T5" fmla="*/ 14 h 19"/>
              <a:gd name="T6" fmla="*/ 22 w 22"/>
              <a:gd name="T7" fmla="*/ 15 h 19"/>
              <a:gd name="T8" fmla="*/ 11 w 22"/>
              <a:gd name="T9" fmla="*/ 19 h 19"/>
              <a:gd name="T10" fmla="*/ 1 w 22"/>
              <a:gd name="T11" fmla="*/ 15 h 19"/>
              <a:gd name="T12" fmla="*/ 0 w 22"/>
              <a:gd name="T13" fmla="*/ 14 h 19"/>
              <a:gd name="T14" fmla="*/ 4 w 22"/>
              <a:gd name="T15" fmla="*/ 0 h 19"/>
              <a:gd name="T16" fmla="*/ 11 w 22"/>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9">
                <a:moveTo>
                  <a:pt x="11" y="0"/>
                </a:moveTo>
                <a:cubicBezTo>
                  <a:pt x="19" y="0"/>
                  <a:pt x="19" y="0"/>
                  <a:pt x="19" y="0"/>
                </a:cubicBezTo>
                <a:cubicBezTo>
                  <a:pt x="22" y="14"/>
                  <a:pt x="22" y="14"/>
                  <a:pt x="22" y="14"/>
                </a:cubicBezTo>
                <a:cubicBezTo>
                  <a:pt x="22" y="15"/>
                  <a:pt x="22" y="15"/>
                  <a:pt x="22" y="15"/>
                </a:cubicBezTo>
                <a:cubicBezTo>
                  <a:pt x="19" y="18"/>
                  <a:pt x="15" y="19"/>
                  <a:pt x="11" y="19"/>
                </a:cubicBezTo>
                <a:cubicBezTo>
                  <a:pt x="8" y="19"/>
                  <a:pt x="4" y="18"/>
                  <a:pt x="1" y="15"/>
                </a:cubicBezTo>
                <a:cubicBezTo>
                  <a:pt x="0" y="14"/>
                  <a:pt x="0" y="14"/>
                  <a:pt x="0" y="14"/>
                </a:cubicBezTo>
                <a:cubicBezTo>
                  <a:pt x="4" y="0"/>
                  <a:pt x="4" y="0"/>
                  <a:pt x="4" y="0"/>
                </a:cubicBezTo>
                <a:lnTo>
                  <a:pt x="11" y="0"/>
                </a:lnTo>
                <a:close/>
              </a:path>
            </a:pathLst>
          </a:custGeom>
          <a:noFill/>
          <a:ln w="19050" cap="rnd">
            <a:solidFill>
              <a:schemeClr val="accent5">
                <a:lumMod val="50000"/>
              </a:scheme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08" name="Freeform 482"/>
          <p:cNvSpPr>
            <a:spLocks/>
          </p:cNvSpPr>
          <p:nvPr/>
        </p:nvSpPr>
        <p:spPr bwMode="auto">
          <a:xfrm>
            <a:off x="8447016" y="3944964"/>
            <a:ext cx="471331" cy="1730496"/>
          </a:xfrm>
          <a:custGeom>
            <a:avLst/>
            <a:gdLst>
              <a:gd name="T0" fmla="*/ 75 w 172"/>
              <a:gd name="T1" fmla="*/ 130 h 631"/>
              <a:gd name="T2" fmla="*/ 71 w 172"/>
              <a:gd name="T3" fmla="*/ 134 h 631"/>
              <a:gd name="T4" fmla="*/ 68 w 172"/>
              <a:gd name="T5" fmla="*/ 129 h 631"/>
              <a:gd name="T6" fmla="*/ 46 w 172"/>
              <a:gd name="T7" fmla="*/ 130 h 631"/>
              <a:gd name="T8" fmla="*/ 0 w 172"/>
              <a:gd name="T9" fmla="*/ 238 h 631"/>
              <a:gd name="T10" fmla="*/ 17 w 172"/>
              <a:gd name="T11" fmla="*/ 303 h 631"/>
              <a:gd name="T12" fmla="*/ 34 w 172"/>
              <a:gd name="T13" fmla="*/ 329 h 631"/>
              <a:gd name="T14" fmla="*/ 34 w 172"/>
              <a:gd name="T15" fmla="*/ 406 h 631"/>
              <a:gd name="T16" fmla="*/ 34 w 172"/>
              <a:gd name="T17" fmla="*/ 439 h 631"/>
              <a:gd name="T18" fmla="*/ 34 w 172"/>
              <a:gd name="T19" fmla="*/ 607 h 631"/>
              <a:gd name="T20" fmla="*/ 58 w 172"/>
              <a:gd name="T21" fmla="*/ 631 h 631"/>
              <a:gd name="T22" fmla="*/ 81 w 172"/>
              <a:gd name="T23" fmla="*/ 607 h 631"/>
              <a:gd name="T24" fmla="*/ 81 w 172"/>
              <a:gd name="T25" fmla="*/ 453 h 631"/>
              <a:gd name="T26" fmla="*/ 90 w 172"/>
              <a:gd name="T27" fmla="*/ 453 h 631"/>
              <a:gd name="T28" fmla="*/ 90 w 172"/>
              <a:gd name="T29" fmla="*/ 607 h 631"/>
              <a:gd name="T30" fmla="*/ 114 w 172"/>
              <a:gd name="T31" fmla="*/ 631 h 631"/>
              <a:gd name="T32" fmla="*/ 138 w 172"/>
              <a:gd name="T33" fmla="*/ 607 h 631"/>
              <a:gd name="T34" fmla="*/ 138 w 172"/>
              <a:gd name="T35" fmla="*/ 439 h 631"/>
              <a:gd name="T36" fmla="*/ 138 w 172"/>
              <a:gd name="T37" fmla="*/ 406 h 631"/>
              <a:gd name="T38" fmla="*/ 138 w 172"/>
              <a:gd name="T39" fmla="*/ 329 h 631"/>
              <a:gd name="T40" fmla="*/ 155 w 172"/>
              <a:gd name="T41" fmla="*/ 303 h 631"/>
              <a:gd name="T42" fmla="*/ 172 w 172"/>
              <a:gd name="T43" fmla="*/ 238 h 631"/>
              <a:gd name="T44" fmla="*/ 126 w 172"/>
              <a:gd name="T45" fmla="*/ 131 h 631"/>
              <a:gd name="T46" fmla="*/ 104 w 172"/>
              <a:gd name="T47" fmla="*/ 129 h 631"/>
              <a:gd name="T48" fmla="*/ 101 w 172"/>
              <a:gd name="T49" fmla="*/ 134 h 631"/>
              <a:gd name="T50" fmla="*/ 97 w 172"/>
              <a:gd name="T51" fmla="*/ 130 h 631"/>
              <a:gd name="T52" fmla="*/ 94 w 172"/>
              <a:gd name="T53" fmla="*/ 111 h 631"/>
              <a:gd name="T54" fmla="*/ 109 w 172"/>
              <a:gd name="T55" fmla="*/ 89 h 631"/>
              <a:gd name="T56" fmla="*/ 148 w 172"/>
              <a:gd name="T57" fmla="*/ 9 h 631"/>
              <a:gd name="T58" fmla="*/ 124 w 172"/>
              <a:gd name="T59" fmla="*/ 9 h 631"/>
              <a:gd name="T60" fmla="*/ 124 w 172"/>
              <a:gd name="T61" fmla="*/ 2 h 631"/>
              <a:gd name="T62" fmla="*/ 125 w 172"/>
              <a:gd name="T63" fmla="*/ 1 h 631"/>
              <a:gd name="T64" fmla="*/ 123 w 172"/>
              <a:gd name="T65" fmla="*/ 0 h 631"/>
              <a:gd name="T66" fmla="*/ 48 w 172"/>
              <a:gd name="T67" fmla="*/ 0 h 631"/>
              <a:gd name="T68" fmla="*/ 47 w 172"/>
              <a:gd name="T69" fmla="*/ 1 h 631"/>
              <a:gd name="T70" fmla="*/ 47 w 172"/>
              <a:gd name="T71" fmla="*/ 2 h 631"/>
              <a:gd name="T72" fmla="*/ 47 w 172"/>
              <a:gd name="T73" fmla="*/ 9 h 631"/>
              <a:gd name="T74" fmla="*/ 23 w 172"/>
              <a:gd name="T75" fmla="*/ 9 h 631"/>
              <a:gd name="T76" fmla="*/ 63 w 172"/>
              <a:gd name="T77" fmla="*/ 89 h 631"/>
              <a:gd name="T78" fmla="*/ 78 w 172"/>
              <a:gd name="T79" fmla="*/ 111 h 631"/>
              <a:gd name="T80" fmla="*/ 75 w 172"/>
              <a:gd name="T81" fmla="*/ 130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2" h="631">
                <a:moveTo>
                  <a:pt x="75" y="130"/>
                </a:moveTo>
                <a:cubicBezTo>
                  <a:pt x="75" y="130"/>
                  <a:pt x="73" y="132"/>
                  <a:pt x="71" y="134"/>
                </a:cubicBezTo>
                <a:cubicBezTo>
                  <a:pt x="70" y="132"/>
                  <a:pt x="69" y="131"/>
                  <a:pt x="68" y="129"/>
                </a:cubicBezTo>
                <a:cubicBezTo>
                  <a:pt x="61" y="124"/>
                  <a:pt x="52" y="124"/>
                  <a:pt x="46" y="130"/>
                </a:cubicBezTo>
                <a:cubicBezTo>
                  <a:pt x="12" y="168"/>
                  <a:pt x="0" y="206"/>
                  <a:pt x="0" y="238"/>
                </a:cubicBezTo>
                <a:cubicBezTo>
                  <a:pt x="0" y="265"/>
                  <a:pt x="9" y="288"/>
                  <a:pt x="17" y="303"/>
                </a:cubicBezTo>
                <a:cubicBezTo>
                  <a:pt x="25" y="318"/>
                  <a:pt x="32" y="327"/>
                  <a:pt x="34" y="329"/>
                </a:cubicBezTo>
                <a:cubicBezTo>
                  <a:pt x="34" y="406"/>
                  <a:pt x="34" y="406"/>
                  <a:pt x="34" y="406"/>
                </a:cubicBezTo>
                <a:cubicBezTo>
                  <a:pt x="34" y="439"/>
                  <a:pt x="34" y="439"/>
                  <a:pt x="34" y="439"/>
                </a:cubicBezTo>
                <a:cubicBezTo>
                  <a:pt x="34" y="607"/>
                  <a:pt x="34" y="607"/>
                  <a:pt x="34" y="607"/>
                </a:cubicBezTo>
                <a:cubicBezTo>
                  <a:pt x="34" y="620"/>
                  <a:pt x="45" y="631"/>
                  <a:pt x="58" y="631"/>
                </a:cubicBezTo>
                <a:cubicBezTo>
                  <a:pt x="71" y="631"/>
                  <a:pt x="81" y="620"/>
                  <a:pt x="81" y="607"/>
                </a:cubicBezTo>
                <a:cubicBezTo>
                  <a:pt x="81" y="453"/>
                  <a:pt x="81" y="453"/>
                  <a:pt x="81" y="453"/>
                </a:cubicBezTo>
                <a:cubicBezTo>
                  <a:pt x="90" y="453"/>
                  <a:pt x="90" y="453"/>
                  <a:pt x="90" y="453"/>
                </a:cubicBezTo>
                <a:cubicBezTo>
                  <a:pt x="90" y="607"/>
                  <a:pt x="90" y="607"/>
                  <a:pt x="90" y="607"/>
                </a:cubicBezTo>
                <a:cubicBezTo>
                  <a:pt x="90" y="620"/>
                  <a:pt x="101" y="631"/>
                  <a:pt x="114" y="631"/>
                </a:cubicBezTo>
                <a:cubicBezTo>
                  <a:pt x="127" y="631"/>
                  <a:pt x="138" y="620"/>
                  <a:pt x="138" y="607"/>
                </a:cubicBezTo>
                <a:cubicBezTo>
                  <a:pt x="138" y="439"/>
                  <a:pt x="138" y="439"/>
                  <a:pt x="138" y="439"/>
                </a:cubicBezTo>
                <a:cubicBezTo>
                  <a:pt x="138" y="406"/>
                  <a:pt x="138" y="406"/>
                  <a:pt x="138" y="406"/>
                </a:cubicBezTo>
                <a:cubicBezTo>
                  <a:pt x="138" y="329"/>
                  <a:pt x="138" y="329"/>
                  <a:pt x="138" y="329"/>
                </a:cubicBezTo>
                <a:cubicBezTo>
                  <a:pt x="139" y="327"/>
                  <a:pt x="147" y="318"/>
                  <a:pt x="155" y="303"/>
                </a:cubicBezTo>
                <a:cubicBezTo>
                  <a:pt x="163" y="288"/>
                  <a:pt x="172" y="265"/>
                  <a:pt x="172" y="238"/>
                </a:cubicBezTo>
                <a:cubicBezTo>
                  <a:pt x="172" y="206"/>
                  <a:pt x="160" y="168"/>
                  <a:pt x="126" y="131"/>
                </a:cubicBezTo>
                <a:cubicBezTo>
                  <a:pt x="120" y="124"/>
                  <a:pt x="110" y="124"/>
                  <a:pt x="104" y="129"/>
                </a:cubicBezTo>
                <a:cubicBezTo>
                  <a:pt x="103" y="131"/>
                  <a:pt x="102" y="132"/>
                  <a:pt x="101" y="134"/>
                </a:cubicBezTo>
                <a:cubicBezTo>
                  <a:pt x="99" y="132"/>
                  <a:pt x="97" y="130"/>
                  <a:pt x="97" y="130"/>
                </a:cubicBezTo>
                <a:cubicBezTo>
                  <a:pt x="88" y="125"/>
                  <a:pt x="94" y="111"/>
                  <a:pt x="94" y="111"/>
                </a:cubicBezTo>
                <a:cubicBezTo>
                  <a:pt x="100" y="106"/>
                  <a:pt x="105" y="98"/>
                  <a:pt x="109" y="89"/>
                </a:cubicBezTo>
                <a:cubicBezTo>
                  <a:pt x="155" y="73"/>
                  <a:pt x="148" y="9"/>
                  <a:pt x="148" y="9"/>
                </a:cubicBezTo>
                <a:cubicBezTo>
                  <a:pt x="124" y="9"/>
                  <a:pt x="124" y="9"/>
                  <a:pt x="124" y="9"/>
                </a:cubicBezTo>
                <a:cubicBezTo>
                  <a:pt x="124" y="6"/>
                  <a:pt x="124" y="3"/>
                  <a:pt x="124" y="2"/>
                </a:cubicBezTo>
                <a:cubicBezTo>
                  <a:pt x="124" y="2"/>
                  <a:pt x="125" y="1"/>
                  <a:pt x="125" y="1"/>
                </a:cubicBezTo>
                <a:cubicBezTo>
                  <a:pt x="125" y="0"/>
                  <a:pt x="124" y="0"/>
                  <a:pt x="123" y="0"/>
                </a:cubicBezTo>
                <a:cubicBezTo>
                  <a:pt x="48" y="0"/>
                  <a:pt x="48" y="0"/>
                  <a:pt x="48" y="0"/>
                </a:cubicBezTo>
                <a:cubicBezTo>
                  <a:pt x="48" y="0"/>
                  <a:pt x="47" y="0"/>
                  <a:pt x="47" y="1"/>
                </a:cubicBezTo>
                <a:cubicBezTo>
                  <a:pt x="47" y="1"/>
                  <a:pt x="47" y="2"/>
                  <a:pt x="47" y="2"/>
                </a:cubicBezTo>
                <a:cubicBezTo>
                  <a:pt x="47" y="3"/>
                  <a:pt x="47" y="6"/>
                  <a:pt x="47" y="9"/>
                </a:cubicBezTo>
                <a:cubicBezTo>
                  <a:pt x="23" y="9"/>
                  <a:pt x="23" y="9"/>
                  <a:pt x="23" y="9"/>
                </a:cubicBezTo>
                <a:cubicBezTo>
                  <a:pt x="23" y="9"/>
                  <a:pt x="17" y="73"/>
                  <a:pt x="63" y="89"/>
                </a:cubicBezTo>
                <a:cubicBezTo>
                  <a:pt x="67" y="98"/>
                  <a:pt x="71" y="106"/>
                  <a:pt x="78" y="111"/>
                </a:cubicBezTo>
                <a:cubicBezTo>
                  <a:pt x="78" y="111"/>
                  <a:pt x="84" y="125"/>
                  <a:pt x="75" y="130"/>
                </a:cubicBezTo>
                <a:close/>
              </a:path>
            </a:pathLst>
          </a:custGeom>
          <a:noFill/>
          <a:ln w="1905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09" name="Freeform 483"/>
          <p:cNvSpPr>
            <a:spLocks/>
          </p:cNvSpPr>
          <p:nvPr/>
        </p:nvSpPr>
        <p:spPr bwMode="auto">
          <a:xfrm>
            <a:off x="8759410" y="3991549"/>
            <a:ext cx="71248" cy="158937"/>
          </a:xfrm>
          <a:custGeom>
            <a:avLst/>
            <a:gdLst>
              <a:gd name="T0" fmla="*/ 10 w 26"/>
              <a:gd name="T1" fmla="*/ 0 h 58"/>
              <a:gd name="T2" fmla="*/ 26 w 26"/>
              <a:gd name="T3" fmla="*/ 0 h 58"/>
              <a:gd name="T4" fmla="*/ 0 w 26"/>
              <a:gd name="T5" fmla="*/ 58 h 58"/>
              <a:gd name="T6" fmla="*/ 10 w 26"/>
              <a:gd name="T7" fmla="*/ 0 h 58"/>
            </a:gdLst>
            <a:ahLst/>
            <a:cxnLst>
              <a:cxn ang="0">
                <a:pos x="T0" y="T1"/>
              </a:cxn>
              <a:cxn ang="0">
                <a:pos x="T2" y="T3"/>
              </a:cxn>
              <a:cxn ang="0">
                <a:pos x="T4" y="T5"/>
              </a:cxn>
              <a:cxn ang="0">
                <a:pos x="T6" y="T7"/>
              </a:cxn>
            </a:cxnLst>
            <a:rect l="0" t="0" r="r" b="b"/>
            <a:pathLst>
              <a:path w="26" h="58">
                <a:moveTo>
                  <a:pt x="10" y="0"/>
                </a:moveTo>
                <a:cubicBezTo>
                  <a:pt x="26" y="0"/>
                  <a:pt x="26" y="0"/>
                  <a:pt x="26" y="0"/>
                </a:cubicBezTo>
                <a:cubicBezTo>
                  <a:pt x="26" y="0"/>
                  <a:pt x="26" y="52"/>
                  <a:pt x="0" y="58"/>
                </a:cubicBezTo>
                <a:cubicBezTo>
                  <a:pt x="6" y="38"/>
                  <a:pt x="9" y="15"/>
                  <a:pt x="10" y="0"/>
                </a:cubicBezTo>
                <a:close/>
              </a:path>
            </a:pathLst>
          </a:custGeom>
          <a:noFill/>
          <a:ln w="1905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10" name="Freeform 484"/>
          <p:cNvSpPr>
            <a:spLocks/>
          </p:cNvSpPr>
          <p:nvPr/>
        </p:nvSpPr>
        <p:spPr bwMode="auto">
          <a:xfrm>
            <a:off x="8531965" y="3991549"/>
            <a:ext cx="71248" cy="158937"/>
          </a:xfrm>
          <a:custGeom>
            <a:avLst/>
            <a:gdLst>
              <a:gd name="T0" fmla="*/ 0 w 26"/>
              <a:gd name="T1" fmla="*/ 0 h 58"/>
              <a:gd name="T2" fmla="*/ 17 w 26"/>
              <a:gd name="T3" fmla="*/ 0 h 58"/>
              <a:gd name="T4" fmla="*/ 26 w 26"/>
              <a:gd name="T5" fmla="*/ 58 h 58"/>
              <a:gd name="T6" fmla="*/ 0 w 26"/>
              <a:gd name="T7" fmla="*/ 0 h 58"/>
            </a:gdLst>
            <a:ahLst/>
            <a:cxnLst>
              <a:cxn ang="0">
                <a:pos x="T0" y="T1"/>
              </a:cxn>
              <a:cxn ang="0">
                <a:pos x="T2" y="T3"/>
              </a:cxn>
              <a:cxn ang="0">
                <a:pos x="T4" y="T5"/>
              </a:cxn>
              <a:cxn ang="0">
                <a:pos x="T6" y="T7"/>
              </a:cxn>
            </a:cxnLst>
            <a:rect l="0" t="0" r="r" b="b"/>
            <a:pathLst>
              <a:path w="26" h="58">
                <a:moveTo>
                  <a:pt x="0" y="0"/>
                </a:moveTo>
                <a:cubicBezTo>
                  <a:pt x="17" y="0"/>
                  <a:pt x="17" y="0"/>
                  <a:pt x="17" y="0"/>
                </a:cubicBezTo>
                <a:cubicBezTo>
                  <a:pt x="18" y="15"/>
                  <a:pt x="20" y="38"/>
                  <a:pt x="26" y="58"/>
                </a:cubicBezTo>
                <a:cubicBezTo>
                  <a:pt x="0" y="52"/>
                  <a:pt x="0" y="0"/>
                  <a:pt x="0" y="0"/>
                </a:cubicBezTo>
                <a:close/>
              </a:path>
            </a:pathLst>
          </a:custGeom>
          <a:noFill/>
          <a:ln w="1905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11" name="Freeform 485"/>
          <p:cNvSpPr>
            <a:spLocks/>
          </p:cNvSpPr>
          <p:nvPr/>
        </p:nvSpPr>
        <p:spPr bwMode="auto">
          <a:xfrm>
            <a:off x="8531965" y="4336826"/>
            <a:ext cx="301432" cy="412415"/>
          </a:xfrm>
          <a:custGeom>
            <a:avLst/>
            <a:gdLst>
              <a:gd name="T0" fmla="*/ 68 w 110"/>
              <a:gd name="T1" fmla="*/ 0 h 150"/>
              <a:gd name="T2" fmla="*/ 72 w 110"/>
              <a:gd name="T3" fmla="*/ 8 h 150"/>
              <a:gd name="T4" fmla="*/ 110 w 110"/>
              <a:gd name="T5" fmla="*/ 95 h 150"/>
              <a:gd name="T6" fmla="*/ 97 w 110"/>
              <a:gd name="T7" fmla="*/ 146 h 150"/>
              <a:gd name="T8" fmla="*/ 94 w 110"/>
              <a:gd name="T9" fmla="*/ 150 h 150"/>
              <a:gd name="T10" fmla="*/ 92 w 110"/>
              <a:gd name="T11" fmla="*/ 150 h 150"/>
              <a:gd name="T12" fmla="*/ 18 w 110"/>
              <a:gd name="T13" fmla="*/ 150 h 150"/>
              <a:gd name="T14" fmla="*/ 15 w 110"/>
              <a:gd name="T15" fmla="*/ 150 h 150"/>
              <a:gd name="T16" fmla="*/ 12 w 110"/>
              <a:gd name="T17" fmla="*/ 145 h 150"/>
              <a:gd name="T18" fmla="*/ 0 w 110"/>
              <a:gd name="T19" fmla="*/ 95 h 150"/>
              <a:gd name="T20" fmla="*/ 38 w 110"/>
              <a:gd name="T21" fmla="*/ 8 h 150"/>
              <a:gd name="T22" fmla="*/ 41 w 110"/>
              <a:gd name="T23" fmla="*/ 0 h 150"/>
              <a:gd name="T24" fmla="*/ 68 w 110"/>
              <a:gd name="T2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50">
                <a:moveTo>
                  <a:pt x="68" y="0"/>
                </a:moveTo>
                <a:cubicBezTo>
                  <a:pt x="69" y="3"/>
                  <a:pt x="70" y="6"/>
                  <a:pt x="72" y="8"/>
                </a:cubicBezTo>
                <a:cubicBezTo>
                  <a:pt x="102" y="41"/>
                  <a:pt x="110" y="70"/>
                  <a:pt x="110" y="95"/>
                </a:cubicBezTo>
                <a:cubicBezTo>
                  <a:pt x="110" y="116"/>
                  <a:pt x="103" y="133"/>
                  <a:pt x="97" y="146"/>
                </a:cubicBezTo>
                <a:cubicBezTo>
                  <a:pt x="96" y="147"/>
                  <a:pt x="95" y="149"/>
                  <a:pt x="94" y="150"/>
                </a:cubicBezTo>
                <a:cubicBezTo>
                  <a:pt x="94" y="150"/>
                  <a:pt x="93" y="150"/>
                  <a:pt x="92" y="150"/>
                </a:cubicBezTo>
                <a:cubicBezTo>
                  <a:pt x="18" y="150"/>
                  <a:pt x="18" y="150"/>
                  <a:pt x="18" y="150"/>
                </a:cubicBezTo>
                <a:cubicBezTo>
                  <a:pt x="17" y="150"/>
                  <a:pt x="16" y="150"/>
                  <a:pt x="15" y="150"/>
                </a:cubicBezTo>
                <a:cubicBezTo>
                  <a:pt x="14" y="148"/>
                  <a:pt x="13" y="147"/>
                  <a:pt x="12" y="145"/>
                </a:cubicBezTo>
                <a:cubicBezTo>
                  <a:pt x="6" y="132"/>
                  <a:pt x="0" y="115"/>
                  <a:pt x="0" y="95"/>
                </a:cubicBezTo>
                <a:cubicBezTo>
                  <a:pt x="0" y="70"/>
                  <a:pt x="8" y="41"/>
                  <a:pt x="38" y="8"/>
                </a:cubicBezTo>
                <a:cubicBezTo>
                  <a:pt x="40" y="6"/>
                  <a:pt x="41" y="3"/>
                  <a:pt x="41" y="0"/>
                </a:cubicBezTo>
                <a:lnTo>
                  <a:pt x="68" y="0"/>
                </a:lnTo>
                <a:close/>
              </a:path>
            </a:pathLst>
          </a:custGeom>
          <a:noFill/>
          <a:ln w="1905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12" name="Freeform 486"/>
          <p:cNvSpPr>
            <a:spLocks/>
          </p:cNvSpPr>
          <p:nvPr/>
        </p:nvSpPr>
        <p:spPr bwMode="auto">
          <a:xfrm>
            <a:off x="8551147" y="4480692"/>
            <a:ext cx="260328" cy="257588"/>
          </a:xfrm>
          <a:custGeom>
            <a:avLst/>
            <a:gdLst>
              <a:gd name="T0" fmla="*/ 6 w 95"/>
              <a:gd name="T1" fmla="*/ 37 h 94"/>
              <a:gd name="T2" fmla="*/ 38 w 95"/>
              <a:gd name="T3" fmla="*/ 89 h 94"/>
              <a:gd name="T4" fmla="*/ 90 w 95"/>
              <a:gd name="T5" fmla="*/ 57 h 94"/>
              <a:gd name="T6" fmla="*/ 58 w 95"/>
              <a:gd name="T7" fmla="*/ 5 h 94"/>
              <a:gd name="T8" fmla="*/ 6 w 95"/>
              <a:gd name="T9" fmla="*/ 37 h 94"/>
            </a:gdLst>
            <a:ahLst/>
            <a:cxnLst>
              <a:cxn ang="0">
                <a:pos x="T0" y="T1"/>
              </a:cxn>
              <a:cxn ang="0">
                <a:pos x="T2" y="T3"/>
              </a:cxn>
              <a:cxn ang="0">
                <a:pos x="T4" y="T5"/>
              </a:cxn>
              <a:cxn ang="0">
                <a:pos x="T6" y="T7"/>
              </a:cxn>
              <a:cxn ang="0">
                <a:pos x="T8" y="T9"/>
              </a:cxn>
            </a:cxnLst>
            <a:rect l="0" t="0" r="r" b="b"/>
            <a:pathLst>
              <a:path w="95" h="94">
                <a:moveTo>
                  <a:pt x="6" y="37"/>
                </a:moveTo>
                <a:cubicBezTo>
                  <a:pt x="0" y="60"/>
                  <a:pt x="15" y="84"/>
                  <a:pt x="38" y="89"/>
                </a:cubicBezTo>
                <a:cubicBezTo>
                  <a:pt x="61" y="94"/>
                  <a:pt x="84" y="80"/>
                  <a:pt x="90" y="57"/>
                </a:cubicBezTo>
                <a:cubicBezTo>
                  <a:pt x="95" y="34"/>
                  <a:pt x="81" y="10"/>
                  <a:pt x="58" y="5"/>
                </a:cubicBezTo>
                <a:cubicBezTo>
                  <a:pt x="34" y="0"/>
                  <a:pt x="11" y="14"/>
                  <a:pt x="6" y="37"/>
                </a:cubicBezTo>
                <a:close/>
              </a:path>
            </a:pathLst>
          </a:custGeom>
          <a:noFill/>
          <a:ln w="1905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13" name="Freeform 487"/>
          <p:cNvSpPr>
            <a:spLocks/>
          </p:cNvSpPr>
          <p:nvPr/>
        </p:nvSpPr>
        <p:spPr bwMode="auto">
          <a:xfrm>
            <a:off x="7157708" y="5691902"/>
            <a:ext cx="2419680" cy="524767"/>
          </a:xfrm>
          <a:custGeom>
            <a:avLst/>
            <a:gdLst>
              <a:gd name="T0" fmla="*/ 526 w 1766"/>
              <a:gd name="T1" fmla="*/ 383 h 383"/>
              <a:gd name="T2" fmla="*/ 1766 w 1766"/>
              <a:gd name="T3" fmla="*/ 383 h 383"/>
              <a:gd name="T4" fmla="*/ 1766 w 1766"/>
              <a:gd name="T5" fmla="*/ 363 h 383"/>
              <a:gd name="T6" fmla="*/ 1766 w 1766"/>
              <a:gd name="T7" fmla="*/ 346 h 383"/>
              <a:gd name="T8" fmla="*/ 1766 w 1766"/>
              <a:gd name="T9" fmla="*/ 324 h 383"/>
              <a:gd name="T10" fmla="*/ 1766 w 1766"/>
              <a:gd name="T11" fmla="*/ 306 h 383"/>
              <a:gd name="T12" fmla="*/ 1690 w 1766"/>
              <a:gd name="T13" fmla="*/ 306 h 383"/>
              <a:gd name="T14" fmla="*/ 1690 w 1766"/>
              <a:gd name="T15" fmla="*/ 190 h 383"/>
              <a:gd name="T16" fmla="*/ 1321 w 1766"/>
              <a:gd name="T17" fmla="*/ 190 h 383"/>
              <a:gd name="T18" fmla="*/ 1321 w 1766"/>
              <a:gd name="T19" fmla="*/ 306 h 383"/>
              <a:gd name="T20" fmla="*/ 1307 w 1766"/>
              <a:gd name="T21" fmla="*/ 306 h 383"/>
              <a:gd name="T22" fmla="*/ 1307 w 1766"/>
              <a:gd name="T23" fmla="*/ 0 h 383"/>
              <a:gd name="T24" fmla="*/ 919 w 1766"/>
              <a:gd name="T25" fmla="*/ 0 h 383"/>
              <a:gd name="T26" fmla="*/ 919 w 1766"/>
              <a:gd name="T27" fmla="*/ 306 h 383"/>
              <a:gd name="T28" fmla="*/ 903 w 1766"/>
              <a:gd name="T29" fmla="*/ 306 h 383"/>
              <a:gd name="T30" fmla="*/ 903 w 1766"/>
              <a:gd name="T31" fmla="*/ 114 h 383"/>
              <a:gd name="T32" fmla="*/ 536 w 1766"/>
              <a:gd name="T33" fmla="*/ 114 h 383"/>
              <a:gd name="T34" fmla="*/ 536 w 1766"/>
              <a:gd name="T35" fmla="*/ 306 h 383"/>
              <a:gd name="T36" fmla="*/ 0 w 1766"/>
              <a:gd name="T37" fmla="*/ 306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6" h="383">
                <a:moveTo>
                  <a:pt x="526" y="383"/>
                </a:moveTo>
                <a:lnTo>
                  <a:pt x="1766" y="383"/>
                </a:lnTo>
                <a:lnTo>
                  <a:pt x="1766" y="363"/>
                </a:lnTo>
                <a:lnTo>
                  <a:pt x="1766" y="346"/>
                </a:lnTo>
                <a:lnTo>
                  <a:pt x="1766" y="324"/>
                </a:lnTo>
                <a:lnTo>
                  <a:pt x="1766" y="306"/>
                </a:lnTo>
                <a:lnTo>
                  <a:pt x="1690" y="306"/>
                </a:lnTo>
                <a:lnTo>
                  <a:pt x="1690" y="190"/>
                </a:lnTo>
                <a:lnTo>
                  <a:pt x="1321" y="190"/>
                </a:lnTo>
                <a:lnTo>
                  <a:pt x="1321" y="306"/>
                </a:lnTo>
                <a:lnTo>
                  <a:pt x="1307" y="306"/>
                </a:lnTo>
                <a:lnTo>
                  <a:pt x="1307" y="0"/>
                </a:lnTo>
                <a:lnTo>
                  <a:pt x="919" y="0"/>
                </a:lnTo>
                <a:lnTo>
                  <a:pt x="919" y="306"/>
                </a:lnTo>
                <a:lnTo>
                  <a:pt x="903" y="306"/>
                </a:lnTo>
                <a:lnTo>
                  <a:pt x="903" y="114"/>
                </a:lnTo>
                <a:lnTo>
                  <a:pt x="536" y="114"/>
                </a:lnTo>
                <a:lnTo>
                  <a:pt x="536" y="306"/>
                </a:lnTo>
                <a:lnTo>
                  <a:pt x="0" y="306"/>
                </a:lnTo>
              </a:path>
            </a:pathLst>
          </a:custGeom>
          <a:noFill/>
          <a:ln w="19050" cap="rnd">
            <a:solidFill>
              <a:schemeClr val="accent5">
                <a:lumMod val="75000"/>
              </a:scheme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pic>
        <p:nvPicPr>
          <p:cNvPr id="50" name="Picture 2"/>
          <p:cNvPicPr>
            <a:picLocks noChangeAspect="1" noChangeArrowheads="1"/>
          </p:cNvPicPr>
          <p:nvPr/>
        </p:nvPicPr>
        <p:blipFill rotWithShape="1">
          <a:blip r:embed="rId6" cstate="email">
            <a:extLst>
              <a:ext uri="{28A0092B-C50C-407E-A947-70E740481C1C}">
                <a14:useLocalDpi xmlns="" xmlns:a14="http://schemas.microsoft.com/office/drawing/2010/main"/>
              </a:ext>
            </a:extLst>
          </a:blip>
          <a:srcRect/>
          <a:stretch/>
        </p:blipFill>
        <p:spPr bwMode="auto">
          <a:xfrm>
            <a:off x="385763" y="3310808"/>
            <a:ext cx="1119698" cy="62150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nvGrpSpPr>
          <p:cNvPr id="2" name="Group 1"/>
          <p:cNvGrpSpPr/>
          <p:nvPr/>
        </p:nvGrpSpPr>
        <p:grpSpPr>
          <a:xfrm>
            <a:off x="5153025" y="3408222"/>
            <a:ext cx="1071563" cy="426679"/>
            <a:chOff x="5203545" y="3289440"/>
            <a:chExt cx="980561" cy="390443"/>
          </a:xfrm>
        </p:grpSpPr>
        <p:pic>
          <p:nvPicPr>
            <p:cNvPr id="57" name="Picture 104" descr="C:\Users\UserSim\Desktop\Capgemini\moto.emf"/>
            <p:cNvPicPr>
              <a:picLocks noChangeAspect="1" noChangeArrowheads="1"/>
            </p:cNvPicPr>
            <p:nvPr>
              <p:custDataLst>
                <p:tags r:id="rId1"/>
              </p:custDataLst>
            </p:nvPr>
          </p:nvPicPr>
          <p:blipFill rotWithShape="1">
            <a:blip r:embed="rId7" cstate="email">
              <a:extLst>
                <a:ext uri="{28A0092B-C50C-407E-A947-70E740481C1C}">
                  <a14:useLocalDpi xmlns="" xmlns:a14="http://schemas.microsoft.com/office/drawing/2010/main"/>
                </a:ext>
              </a:extLst>
            </a:blip>
            <a:srcRect t="1" r="49523" b="-1"/>
            <a:stretch/>
          </p:blipFill>
          <p:spPr bwMode="auto">
            <a:xfrm>
              <a:off x="5203545" y="3289440"/>
              <a:ext cx="980561" cy="154699"/>
            </a:xfrm>
            <a:prstGeom prst="rect">
              <a:avLst/>
            </a:prstGeom>
            <a:noFill/>
          </p:spPr>
        </p:pic>
        <p:pic>
          <p:nvPicPr>
            <p:cNvPr id="58" name="Picture 104" descr="C:\Users\UserSim\Desktop\Capgemini\moto.emf"/>
            <p:cNvPicPr>
              <a:picLocks noChangeAspect="1" noChangeArrowheads="1"/>
            </p:cNvPicPr>
            <p:nvPr>
              <p:custDataLst>
                <p:tags r:id="rId2"/>
              </p:custDataLst>
            </p:nvPr>
          </p:nvPicPr>
          <p:blipFill rotWithShape="1">
            <a:blip r:embed="rId7" cstate="email">
              <a:extLst>
                <a:ext uri="{28A0092B-C50C-407E-A947-70E740481C1C}">
                  <a14:useLocalDpi xmlns="" xmlns:a14="http://schemas.microsoft.com/office/drawing/2010/main"/>
                </a:ext>
              </a:extLst>
            </a:blip>
            <a:srcRect l="51335" t="1" b="-1"/>
            <a:stretch/>
          </p:blipFill>
          <p:spPr bwMode="auto">
            <a:xfrm>
              <a:off x="5203545" y="3525184"/>
              <a:ext cx="945356" cy="154699"/>
            </a:xfrm>
            <a:prstGeom prst="rect">
              <a:avLst/>
            </a:prstGeom>
            <a:noFill/>
          </p:spPr>
        </p:pic>
      </p:grpSp>
      <p:sp>
        <p:nvSpPr>
          <p:cNvPr id="68" name="Freeform 27"/>
          <p:cNvSpPr>
            <a:spLocks/>
          </p:cNvSpPr>
          <p:nvPr/>
        </p:nvSpPr>
        <p:spPr bwMode="auto">
          <a:xfrm>
            <a:off x="5804152" y="2216568"/>
            <a:ext cx="381239" cy="376840"/>
          </a:xfrm>
          <a:custGeom>
            <a:avLst/>
            <a:gdLst/>
            <a:ahLst/>
            <a:cxnLst>
              <a:cxn ang="0">
                <a:pos x="50" y="0"/>
              </a:cxn>
              <a:cxn ang="0">
                <a:pos x="0" y="54"/>
              </a:cxn>
              <a:cxn ang="0">
                <a:pos x="55" y="109"/>
              </a:cxn>
              <a:cxn ang="0">
                <a:pos x="110" y="54"/>
              </a:cxn>
              <a:cxn ang="0">
                <a:pos x="93" y="15"/>
              </a:cxn>
            </a:cxnLst>
            <a:rect l="0" t="0" r="r" b="b"/>
            <a:pathLst>
              <a:path w="110" h="109">
                <a:moveTo>
                  <a:pt x="50" y="0"/>
                </a:moveTo>
                <a:cubicBezTo>
                  <a:pt x="22" y="2"/>
                  <a:pt x="0" y="26"/>
                  <a:pt x="0" y="54"/>
                </a:cubicBezTo>
                <a:cubicBezTo>
                  <a:pt x="0" y="85"/>
                  <a:pt x="25" y="109"/>
                  <a:pt x="55" y="109"/>
                </a:cubicBezTo>
                <a:cubicBezTo>
                  <a:pt x="85" y="109"/>
                  <a:pt x="110" y="85"/>
                  <a:pt x="110" y="54"/>
                </a:cubicBezTo>
                <a:cubicBezTo>
                  <a:pt x="110" y="38"/>
                  <a:pt x="104" y="25"/>
                  <a:pt x="93" y="15"/>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463A45"/>
              </a:solidFill>
            </a:endParaRPr>
          </a:p>
        </p:txBody>
      </p:sp>
      <p:sp>
        <p:nvSpPr>
          <p:cNvPr id="69" name="Freeform 29"/>
          <p:cNvSpPr>
            <a:spLocks/>
          </p:cNvSpPr>
          <p:nvPr/>
        </p:nvSpPr>
        <p:spPr bwMode="auto">
          <a:xfrm>
            <a:off x="5978557" y="2151578"/>
            <a:ext cx="168626" cy="234609"/>
          </a:xfrm>
          <a:custGeom>
            <a:avLst/>
            <a:gdLst/>
            <a:ahLst/>
            <a:cxnLst>
              <a:cxn ang="0">
                <a:pos x="49" y="18"/>
              </a:cxn>
              <a:cxn ang="0">
                <a:pos x="10" y="0"/>
              </a:cxn>
              <a:cxn ang="0">
                <a:pos x="0" y="68"/>
              </a:cxn>
              <a:cxn ang="0">
                <a:pos x="49" y="18"/>
              </a:cxn>
            </a:cxnLst>
            <a:rect l="0" t="0" r="r" b="b"/>
            <a:pathLst>
              <a:path w="49" h="68">
                <a:moveTo>
                  <a:pt x="49" y="18"/>
                </a:moveTo>
                <a:cubicBezTo>
                  <a:pt x="39" y="8"/>
                  <a:pt x="26" y="1"/>
                  <a:pt x="10" y="0"/>
                </a:cubicBezTo>
                <a:cubicBezTo>
                  <a:pt x="0" y="68"/>
                  <a:pt x="0" y="68"/>
                  <a:pt x="0" y="68"/>
                </a:cubicBezTo>
                <a:lnTo>
                  <a:pt x="49" y="18"/>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463A45"/>
              </a:solidFill>
            </a:endParaRPr>
          </a:p>
        </p:txBody>
      </p:sp>
      <p:sp>
        <p:nvSpPr>
          <p:cNvPr id="74" name="Line 34"/>
          <p:cNvSpPr>
            <a:spLocks noChangeShapeType="1"/>
          </p:cNvSpPr>
          <p:nvPr/>
        </p:nvSpPr>
        <p:spPr bwMode="auto">
          <a:xfrm flipH="1">
            <a:off x="5176574" y="2385193"/>
            <a:ext cx="589454" cy="1465"/>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463A45"/>
              </a:solidFill>
            </a:endParaRPr>
          </a:p>
        </p:txBody>
      </p:sp>
      <p:grpSp>
        <p:nvGrpSpPr>
          <p:cNvPr id="3" name="Group 9"/>
          <p:cNvGrpSpPr/>
          <p:nvPr/>
        </p:nvGrpSpPr>
        <p:grpSpPr>
          <a:xfrm>
            <a:off x="5203831" y="1770581"/>
            <a:ext cx="546093" cy="561202"/>
            <a:chOff x="8470907" y="2237623"/>
            <a:chExt cx="406756" cy="418010"/>
          </a:xfrm>
        </p:grpSpPr>
        <p:sp>
          <p:nvSpPr>
            <p:cNvPr id="140" name="Freeform 68"/>
            <p:cNvSpPr>
              <a:spLocks/>
            </p:cNvSpPr>
            <p:nvPr/>
          </p:nvSpPr>
          <p:spPr bwMode="auto">
            <a:xfrm flipV="1">
              <a:off x="8470907" y="2237623"/>
              <a:ext cx="386532" cy="253364"/>
            </a:xfrm>
            <a:custGeom>
              <a:avLst/>
              <a:gdLst/>
              <a:ahLst/>
              <a:cxnLst>
                <a:cxn ang="0">
                  <a:pos x="189" y="119"/>
                </a:cxn>
                <a:cxn ang="0">
                  <a:pos x="188" y="122"/>
                </a:cxn>
                <a:cxn ang="0">
                  <a:pos x="184" y="124"/>
                </a:cxn>
                <a:cxn ang="0">
                  <a:pos x="150" y="124"/>
                </a:cxn>
                <a:cxn ang="0">
                  <a:pos x="148" y="123"/>
                </a:cxn>
                <a:cxn ang="0">
                  <a:pos x="148" y="123"/>
                </a:cxn>
                <a:cxn ang="0">
                  <a:pos x="145" y="118"/>
                </a:cxn>
                <a:cxn ang="0">
                  <a:pos x="148" y="113"/>
                </a:cxn>
                <a:cxn ang="0">
                  <a:pos x="150" y="113"/>
                </a:cxn>
                <a:cxn ang="0">
                  <a:pos x="162" y="113"/>
                </a:cxn>
                <a:cxn ang="0">
                  <a:pos x="164" y="112"/>
                </a:cxn>
                <a:cxn ang="0">
                  <a:pos x="163" y="110"/>
                </a:cxn>
                <a:cxn ang="0">
                  <a:pos x="93" y="40"/>
                </a:cxn>
                <a:cxn ang="0">
                  <a:pos x="92" y="39"/>
                </a:cxn>
                <a:cxn ang="0">
                  <a:pos x="90" y="40"/>
                </a:cxn>
                <a:cxn ang="0">
                  <a:pos x="70" y="59"/>
                </a:cxn>
                <a:cxn ang="0">
                  <a:pos x="66" y="61"/>
                </a:cxn>
                <a:cxn ang="0">
                  <a:pos x="62" y="59"/>
                </a:cxn>
                <a:cxn ang="0">
                  <a:pos x="0" y="0"/>
                </a:cxn>
                <a:cxn ang="0">
                  <a:pos x="18" y="0"/>
                </a:cxn>
                <a:cxn ang="0">
                  <a:pos x="65" y="45"/>
                </a:cxn>
                <a:cxn ang="0">
                  <a:pos x="66" y="46"/>
                </a:cxn>
                <a:cxn ang="0">
                  <a:pos x="67" y="45"/>
                </a:cxn>
                <a:cxn ang="0">
                  <a:pos x="87" y="25"/>
                </a:cxn>
                <a:cxn ang="0">
                  <a:pos x="92" y="24"/>
                </a:cxn>
                <a:cxn ang="0">
                  <a:pos x="96" y="25"/>
                </a:cxn>
                <a:cxn ang="0">
                  <a:pos x="175" y="104"/>
                </a:cxn>
                <a:cxn ang="0">
                  <a:pos x="175" y="104"/>
                </a:cxn>
                <a:cxn ang="0">
                  <a:pos x="175" y="105"/>
                </a:cxn>
                <a:cxn ang="0">
                  <a:pos x="176" y="105"/>
                </a:cxn>
                <a:cxn ang="0">
                  <a:pos x="177" y="105"/>
                </a:cxn>
                <a:cxn ang="0">
                  <a:pos x="178" y="103"/>
                </a:cxn>
                <a:cxn ang="0">
                  <a:pos x="178" y="86"/>
                </a:cxn>
                <a:cxn ang="0">
                  <a:pos x="184" y="81"/>
                </a:cxn>
                <a:cxn ang="0">
                  <a:pos x="189" y="86"/>
                </a:cxn>
                <a:cxn ang="0">
                  <a:pos x="189" y="119"/>
                </a:cxn>
              </a:cxnLst>
              <a:rect l="0" t="0" r="r" b="b"/>
              <a:pathLst>
                <a:path w="189" h="124">
                  <a:moveTo>
                    <a:pt x="189" y="119"/>
                  </a:moveTo>
                  <a:cubicBezTo>
                    <a:pt x="189" y="120"/>
                    <a:pt x="189" y="121"/>
                    <a:pt x="188" y="122"/>
                  </a:cubicBezTo>
                  <a:cubicBezTo>
                    <a:pt x="187" y="123"/>
                    <a:pt x="185" y="124"/>
                    <a:pt x="184" y="124"/>
                  </a:cubicBezTo>
                  <a:cubicBezTo>
                    <a:pt x="150" y="124"/>
                    <a:pt x="150" y="124"/>
                    <a:pt x="150" y="124"/>
                  </a:cubicBezTo>
                  <a:cubicBezTo>
                    <a:pt x="149" y="124"/>
                    <a:pt x="149" y="124"/>
                    <a:pt x="148" y="123"/>
                  </a:cubicBezTo>
                  <a:cubicBezTo>
                    <a:pt x="148" y="123"/>
                    <a:pt x="148" y="123"/>
                    <a:pt x="148" y="123"/>
                  </a:cubicBezTo>
                  <a:cubicBezTo>
                    <a:pt x="146" y="122"/>
                    <a:pt x="145" y="121"/>
                    <a:pt x="145" y="118"/>
                  </a:cubicBezTo>
                  <a:cubicBezTo>
                    <a:pt x="145" y="116"/>
                    <a:pt x="146" y="114"/>
                    <a:pt x="148" y="113"/>
                  </a:cubicBezTo>
                  <a:cubicBezTo>
                    <a:pt x="149" y="113"/>
                    <a:pt x="149" y="113"/>
                    <a:pt x="150" y="113"/>
                  </a:cubicBezTo>
                  <a:cubicBezTo>
                    <a:pt x="150" y="113"/>
                    <a:pt x="162" y="113"/>
                    <a:pt x="162" y="113"/>
                  </a:cubicBezTo>
                  <a:cubicBezTo>
                    <a:pt x="163" y="113"/>
                    <a:pt x="163" y="113"/>
                    <a:pt x="164" y="112"/>
                  </a:cubicBezTo>
                  <a:cubicBezTo>
                    <a:pt x="164" y="111"/>
                    <a:pt x="164" y="110"/>
                    <a:pt x="163" y="110"/>
                  </a:cubicBezTo>
                  <a:cubicBezTo>
                    <a:pt x="93" y="40"/>
                    <a:pt x="93" y="40"/>
                    <a:pt x="93" y="40"/>
                  </a:cubicBezTo>
                  <a:cubicBezTo>
                    <a:pt x="93" y="39"/>
                    <a:pt x="92" y="39"/>
                    <a:pt x="92" y="39"/>
                  </a:cubicBezTo>
                  <a:cubicBezTo>
                    <a:pt x="91" y="39"/>
                    <a:pt x="91" y="39"/>
                    <a:pt x="90" y="40"/>
                  </a:cubicBezTo>
                  <a:cubicBezTo>
                    <a:pt x="70" y="59"/>
                    <a:pt x="70" y="59"/>
                    <a:pt x="70" y="59"/>
                  </a:cubicBezTo>
                  <a:cubicBezTo>
                    <a:pt x="69" y="61"/>
                    <a:pt x="68" y="61"/>
                    <a:pt x="66" y="61"/>
                  </a:cubicBezTo>
                  <a:cubicBezTo>
                    <a:pt x="64" y="61"/>
                    <a:pt x="63" y="61"/>
                    <a:pt x="62" y="59"/>
                  </a:cubicBezTo>
                  <a:cubicBezTo>
                    <a:pt x="0" y="0"/>
                    <a:pt x="0" y="0"/>
                    <a:pt x="0" y="0"/>
                  </a:cubicBezTo>
                  <a:cubicBezTo>
                    <a:pt x="18" y="0"/>
                    <a:pt x="18" y="0"/>
                    <a:pt x="18" y="0"/>
                  </a:cubicBezTo>
                  <a:cubicBezTo>
                    <a:pt x="65" y="45"/>
                    <a:pt x="65" y="45"/>
                    <a:pt x="65" y="45"/>
                  </a:cubicBezTo>
                  <a:cubicBezTo>
                    <a:pt x="65" y="46"/>
                    <a:pt x="66" y="46"/>
                    <a:pt x="66" y="46"/>
                  </a:cubicBezTo>
                  <a:cubicBezTo>
                    <a:pt x="67" y="46"/>
                    <a:pt x="67" y="46"/>
                    <a:pt x="67" y="45"/>
                  </a:cubicBezTo>
                  <a:cubicBezTo>
                    <a:pt x="87" y="25"/>
                    <a:pt x="87" y="25"/>
                    <a:pt x="87" y="25"/>
                  </a:cubicBezTo>
                  <a:cubicBezTo>
                    <a:pt x="89" y="24"/>
                    <a:pt x="90" y="24"/>
                    <a:pt x="92" y="24"/>
                  </a:cubicBezTo>
                  <a:cubicBezTo>
                    <a:pt x="93" y="24"/>
                    <a:pt x="95" y="24"/>
                    <a:pt x="96" y="25"/>
                  </a:cubicBezTo>
                  <a:cubicBezTo>
                    <a:pt x="175" y="104"/>
                    <a:pt x="175" y="104"/>
                    <a:pt x="175" y="104"/>
                  </a:cubicBezTo>
                  <a:cubicBezTo>
                    <a:pt x="175" y="104"/>
                    <a:pt x="175" y="104"/>
                    <a:pt x="175" y="104"/>
                  </a:cubicBezTo>
                  <a:cubicBezTo>
                    <a:pt x="175" y="105"/>
                    <a:pt x="175" y="105"/>
                    <a:pt x="175" y="105"/>
                  </a:cubicBezTo>
                  <a:cubicBezTo>
                    <a:pt x="176" y="105"/>
                    <a:pt x="176" y="105"/>
                    <a:pt x="176" y="105"/>
                  </a:cubicBezTo>
                  <a:cubicBezTo>
                    <a:pt x="177" y="105"/>
                    <a:pt x="177" y="105"/>
                    <a:pt x="177" y="105"/>
                  </a:cubicBezTo>
                  <a:cubicBezTo>
                    <a:pt x="178" y="104"/>
                    <a:pt x="178" y="104"/>
                    <a:pt x="178" y="103"/>
                  </a:cubicBezTo>
                  <a:cubicBezTo>
                    <a:pt x="178" y="86"/>
                    <a:pt x="178" y="86"/>
                    <a:pt x="178" y="86"/>
                  </a:cubicBezTo>
                  <a:cubicBezTo>
                    <a:pt x="178" y="83"/>
                    <a:pt x="181" y="81"/>
                    <a:pt x="184" y="81"/>
                  </a:cubicBezTo>
                  <a:cubicBezTo>
                    <a:pt x="187" y="81"/>
                    <a:pt x="189" y="83"/>
                    <a:pt x="189" y="86"/>
                  </a:cubicBezTo>
                  <a:lnTo>
                    <a:pt x="189" y="119"/>
                  </a:lnTo>
                  <a:close/>
                </a:path>
              </a:pathLst>
            </a:custGeom>
            <a:noFill/>
            <a:ln w="12700"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264A"/>
                </a:solidFill>
              </a:endParaRPr>
            </a:p>
          </p:txBody>
        </p:sp>
        <p:grpSp>
          <p:nvGrpSpPr>
            <p:cNvPr id="4" name="Group 8"/>
            <p:cNvGrpSpPr/>
            <p:nvPr/>
          </p:nvGrpSpPr>
          <p:grpSpPr>
            <a:xfrm flipH="1">
              <a:off x="8475567" y="2346927"/>
              <a:ext cx="402096" cy="308706"/>
              <a:chOff x="8475567" y="2346927"/>
              <a:chExt cx="402096" cy="308706"/>
            </a:xfrm>
          </p:grpSpPr>
          <p:sp>
            <p:nvSpPr>
              <p:cNvPr id="141" name="Freeform 69"/>
              <p:cNvSpPr>
                <a:spLocks/>
              </p:cNvSpPr>
              <p:nvPr/>
            </p:nvSpPr>
            <p:spPr bwMode="auto">
              <a:xfrm>
                <a:off x="8802432" y="2606344"/>
                <a:ext cx="75231" cy="49289"/>
              </a:xfrm>
              <a:custGeom>
                <a:avLst/>
                <a:gdLst/>
                <a:ahLst/>
                <a:cxnLst>
                  <a:cxn ang="0">
                    <a:pos x="87" y="57"/>
                  </a:cxn>
                  <a:cxn ang="0">
                    <a:pos x="0" y="57"/>
                  </a:cxn>
                  <a:cxn ang="0">
                    <a:pos x="0" y="0"/>
                  </a:cxn>
                  <a:cxn ang="0">
                    <a:pos x="87" y="0"/>
                  </a:cxn>
                  <a:cxn ang="0">
                    <a:pos x="87" y="57"/>
                  </a:cxn>
                  <a:cxn ang="0">
                    <a:pos x="87" y="57"/>
                  </a:cxn>
                </a:cxnLst>
                <a:rect l="0" t="0" r="r" b="b"/>
                <a:pathLst>
                  <a:path w="87" h="57">
                    <a:moveTo>
                      <a:pt x="87" y="57"/>
                    </a:moveTo>
                    <a:lnTo>
                      <a:pt x="0" y="57"/>
                    </a:lnTo>
                    <a:lnTo>
                      <a:pt x="0" y="0"/>
                    </a:lnTo>
                    <a:lnTo>
                      <a:pt x="87" y="0"/>
                    </a:lnTo>
                    <a:lnTo>
                      <a:pt x="87" y="57"/>
                    </a:lnTo>
                    <a:lnTo>
                      <a:pt x="87" y="57"/>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264A"/>
                  </a:solidFill>
                </a:endParaRPr>
              </a:p>
            </p:txBody>
          </p:sp>
          <p:sp>
            <p:nvSpPr>
              <p:cNvPr id="142" name="Freeform 70"/>
              <p:cNvSpPr>
                <a:spLocks/>
              </p:cNvSpPr>
              <p:nvPr/>
            </p:nvSpPr>
            <p:spPr bwMode="auto">
              <a:xfrm>
                <a:off x="8697801" y="2520736"/>
                <a:ext cx="76096" cy="134897"/>
              </a:xfrm>
              <a:custGeom>
                <a:avLst/>
                <a:gdLst/>
                <a:ahLst/>
                <a:cxnLst>
                  <a:cxn ang="0">
                    <a:pos x="88" y="156"/>
                  </a:cxn>
                  <a:cxn ang="0">
                    <a:pos x="0" y="156"/>
                  </a:cxn>
                  <a:cxn ang="0">
                    <a:pos x="0" y="0"/>
                  </a:cxn>
                  <a:cxn ang="0">
                    <a:pos x="88" y="0"/>
                  </a:cxn>
                  <a:cxn ang="0">
                    <a:pos x="88" y="156"/>
                  </a:cxn>
                  <a:cxn ang="0">
                    <a:pos x="88" y="156"/>
                  </a:cxn>
                </a:cxnLst>
                <a:rect l="0" t="0" r="r" b="b"/>
                <a:pathLst>
                  <a:path w="88" h="156">
                    <a:moveTo>
                      <a:pt x="88" y="156"/>
                    </a:moveTo>
                    <a:lnTo>
                      <a:pt x="0" y="156"/>
                    </a:lnTo>
                    <a:lnTo>
                      <a:pt x="0" y="0"/>
                    </a:lnTo>
                    <a:lnTo>
                      <a:pt x="88" y="0"/>
                    </a:lnTo>
                    <a:lnTo>
                      <a:pt x="88" y="156"/>
                    </a:lnTo>
                    <a:lnTo>
                      <a:pt x="88" y="15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264A"/>
                  </a:solidFill>
                </a:endParaRPr>
              </a:p>
            </p:txBody>
          </p:sp>
          <p:sp>
            <p:nvSpPr>
              <p:cNvPr id="143" name="Freeform 71"/>
              <p:cNvSpPr>
                <a:spLocks/>
              </p:cNvSpPr>
              <p:nvPr/>
            </p:nvSpPr>
            <p:spPr bwMode="auto">
              <a:xfrm>
                <a:off x="8585387" y="2433399"/>
                <a:ext cx="73502" cy="222234"/>
              </a:xfrm>
              <a:custGeom>
                <a:avLst/>
                <a:gdLst/>
                <a:ahLst/>
                <a:cxnLst>
                  <a:cxn ang="0">
                    <a:pos x="85" y="257"/>
                  </a:cxn>
                  <a:cxn ang="0">
                    <a:pos x="0" y="257"/>
                  </a:cxn>
                  <a:cxn ang="0">
                    <a:pos x="0" y="0"/>
                  </a:cxn>
                  <a:cxn ang="0">
                    <a:pos x="85" y="0"/>
                  </a:cxn>
                  <a:cxn ang="0">
                    <a:pos x="85" y="257"/>
                  </a:cxn>
                  <a:cxn ang="0">
                    <a:pos x="85" y="257"/>
                  </a:cxn>
                </a:cxnLst>
                <a:rect l="0" t="0" r="r" b="b"/>
                <a:pathLst>
                  <a:path w="85" h="257">
                    <a:moveTo>
                      <a:pt x="85" y="257"/>
                    </a:moveTo>
                    <a:lnTo>
                      <a:pt x="0" y="257"/>
                    </a:lnTo>
                    <a:lnTo>
                      <a:pt x="0" y="0"/>
                    </a:lnTo>
                    <a:lnTo>
                      <a:pt x="85" y="0"/>
                    </a:lnTo>
                    <a:lnTo>
                      <a:pt x="85" y="257"/>
                    </a:lnTo>
                    <a:lnTo>
                      <a:pt x="85" y="257"/>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264A"/>
                  </a:solidFill>
                </a:endParaRPr>
              </a:p>
            </p:txBody>
          </p:sp>
          <p:sp>
            <p:nvSpPr>
              <p:cNvPr id="144" name="Freeform 72"/>
              <p:cNvSpPr>
                <a:spLocks/>
              </p:cNvSpPr>
              <p:nvPr/>
            </p:nvSpPr>
            <p:spPr bwMode="auto">
              <a:xfrm>
                <a:off x="8475567" y="2346927"/>
                <a:ext cx="75231" cy="308706"/>
              </a:xfrm>
              <a:custGeom>
                <a:avLst/>
                <a:gdLst/>
                <a:ahLst/>
                <a:cxnLst>
                  <a:cxn ang="0">
                    <a:pos x="87" y="357"/>
                  </a:cxn>
                  <a:cxn ang="0">
                    <a:pos x="0" y="357"/>
                  </a:cxn>
                  <a:cxn ang="0">
                    <a:pos x="0" y="0"/>
                  </a:cxn>
                  <a:cxn ang="0">
                    <a:pos x="87" y="0"/>
                  </a:cxn>
                  <a:cxn ang="0">
                    <a:pos x="87" y="357"/>
                  </a:cxn>
                  <a:cxn ang="0">
                    <a:pos x="87" y="357"/>
                  </a:cxn>
                </a:cxnLst>
                <a:rect l="0" t="0" r="r" b="b"/>
                <a:pathLst>
                  <a:path w="87" h="357">
                    <a:moveTo>
                      <a:pt x="87" y="357"/>
                    </a:moveTo>
                    <a:lnTo>
                      <a:pt x="0" y="357"/>
                    </a:lnTo>
                    <a:lnTo>
                      <a:pt x="0" y="0"/>
                    </a:lnTo>
                    <a:lnTo>
                      <a:pt x="87" y="0"/>
                    </a:lnTo>
                    <a:lnTo>
                      <a:pt x="87" y="357"/>
                    </a:lnTo>
                    <a:lnTo>
                      <a:pt x="87" y="357"/>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264A"/>
                  </a:solidFill>
                </a:endParaRPr>
              </a:p>
            </p:txBody>
          </p:sp>
        </p:grpSp>
      </p:grpSp>
      <p:grpSp>
        <p:nvGrpSpPr>
          <p:cNvPr id="5" name="Group 144"/>
          <p:cNvGrpSpPr/>
          <p:nvPr/>
        </p:nvGrpSpPr>
        <p:grpSpPr>
          <a:xfrm>
            <a:off x="477182" y="1613578"/>
            <a:ext cx="865844" cy="856220"/>
            <a:chOff x="4703763" y="1335088"/>
            <a:chExt cx="285750" cy="282575"/>
          </a:xfrm>
        </p:grpSpPr>
        <p:sp>
          <p:nvSpPr>
            <p:cNvPr id="146" name="Freeform 589"/>
            <p:cNvSpPr>
              <a:spLocks/>
            </p:cNvSpPr>
            <p:nvPr/>
          </p:nvSpPr>
          <p:spPr bwMode="auto">
            <a:xfrm>
              <a:off x="4916488" y="1382713"/>
              <a:ext cx="73025" cy="219075"/>
            </a:xfrm>
            <a:custGeom>
              <a:avLst/>
              <a:gdLst>
                <a:gd name="T0" fmla="*/ 0 w 23"/>
                <a:gd name="T1" fmla="*/ 69 h 69"/>
                <a:gd name="T2" fmla="*/ 12 w 23"/>
                <a:gd name="T3" fmla="*/ 59 h 69"/>
                <a:gd name="T4" fmla="*/ 23 w 23"/>
                <a:gd name="T5" fmla="*/ 29 h 69"/>
                <a:gd name="T6" fmla="*/ 12 w 23"/>
                <a:gd name="T7" fmla="*/ 0 h 69"/>
              </a:gdLst>
              <a:ahLst/>
              <a:cxnLst>
                <a:cxn ang="0">
                  <a:pos x="T0" y="T1"/>
                </a:cxn>
                <a:cxn ang="0">
                  <a:pos x="T2" y="T3"/>
                </a:cxn>
                <a:cxn ang="0">
                  <a:pos x="T4" y="T5"/>
                </a:cxn>
                <a:cxn ang="0">
                  <a:pos x="T6" y="T7"/>
                </a:cxn>
              </a:cxnLst>
              <a:rect l="0" t="0" r="r" b="b"/>
              <a:pathLst>
                <a:path w="23" h="69">
                  <a:moveTo>
                    <a:pt x="0" y="69"/>
                  </a:moveTo>
                  <a:cubicBezTo>
                    <a:pt x="4" y="67"/>
                    <a:pt x="9" y="63"/>
                    <a:pt x="12" y="59"/>
                  </a:cubicBezTo>
                  <a:cubicBezTo>
                    <a:pt x="19" y="51"/>
                    <a:pt x="23" y="41"/>
                    <a:pt x="23" y="29"/>
                  </a:cubicBezTo>
                  <a:cubicBezTo>
                    <a:pt x="23" y="18"/>
                    <a:pt x="19" y="8"/>
                    <a:pt x="12" y="0"/>
                  </a:cubicBezTo>
                </a:path>
              </a:pathLst>
            </a:custGeom>
            <a:noFill/>
            <a:ln w="1270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47" name="Freeform 590"/>
            <p:cNvSpPr>
              <a:spLocks/>
            </p:cNvSpPr>
            <p:nvPr/>
          </p:nvSpPr>
          <p:spPr bwMode="auto">
            <a:xfrm>
              <a:off x="4703763" y="1382713"/>
              <a:ext cx="142875" cy="234950"/>
            </a:xfrm>
            <a:custGeom>
              <a:avLst/>
              <a:gdLst>
                <a:gd name="T0" fmla="*/ 11 w 45"/>
                <a:gd name="T1" fmla="*/ 0 h 74"/>
                <a:gd name="T2" fmla="*/ 0 w 45"/>
                <a:gd name="T3" fmla="*/ 29 h 74"/>
                <a:gd name="T4" fmla="*/ 45 w 45"/>
                <a:gd name="T5" fmla="*/ 74 h 74"/>
              </a:gdLst>
              <a:ahLst/>
              <a:cxnLst>
                <a:cxn ang="0">
                  <a:pos x="T0" y="T1"/>
                </a:cxn>
                <a:cxn ang="0">
                  <a:pos x="T2" y="T3"/>
                </a:cxn>
                <a:cxn ang="0">
                  <a:pos x="T4" y="T5"/>
                </a:cxn>
              </a:cxnLst>
              <a:rect l="0" t="0" r="r" b="b"/>
              <a:pathLst>
                <a:path w="45" h="74">
                  <a:moveTo>
                    <a:pt x="11" y="0"/>
                  </a:moveTo>
                  <a:cubicBezTo>
                    <a:pt x="4" y="8"/>
                    <a:pt x="0" y="18"/>
                    <a:pt x="0" y="29"/>
                  </a:cubicBezTo>
                  <a:cubicBezTo>
                    <a:pt x="0" y="54"/>
                    <a:pt x="20" y="74"/>
                    <a:pt x="45" y="74"/>
                  </a:cubicBezTo>
                </a:path>
              </a:pathLst>
            </a:custGeom>
            <a:noFill/>
            <a:ln w="1270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48" name="Freeform 591"/>
            <p:cNvSpPr>
              <a:spLocks/>
            </p:cNvSpPr>
            <p:nvPr/>
          </p:nvSpPr>
          <p:spPr bwMode="auto">
            <a:xfrm>
              <a:off x="4738688" y="1335088"/>
              <a:ext cx="219075" cy="47625"/>
            </a:xfrm>
            <a:custGeom>
              <a:avLst/>
              <a:gdLst>
                <a:gd name="T0" fmla="*/ 0 w 69"/>
                <a:gd name="T1" fmla="*/ 15 h 15"/>
                <a:gd name="T2" fmla="*/ 35 w 69"/>
                <a:gd name="T3" fmla="*/ 0 h 15"/>
                <a:gd name="T4" fmla="*/ 69 w 69"/>
                <a:gd name="T5" fmla="*/ 15 h 15"/>
              </a:gdLst>
              <a:ahLst/>
              <a:cxnLst>
                <a:cxn ang="0">
                  <a:pos x="T0" y="T1"/>
                </a:cxn>
                <a:cxn ang="0">
                  <a:pos x="T2" y="T3"/>
                </a:cxn>
                <a:cxn ang="0">
                  <a:pos x="T4" y="T5"/>
                </a:cxn>
              </a:cxnLst>
              <a:rect l="0" t="0" r="r" b="b"/>
              <a:pathLst>
                <a:path w="69" h="15">
                  <a:moveTo>
                    <a:pt x="0" y="15"/>
                  </a:moveTo>
                  <a:cubicBezTo>
                    <a:pt x="8" y="6"/>
                    <a:pt x="21" y="0"/>
                    <a:pt x="35" y="0"/>
                  </a:cubicBezTo>
                  <a:cubicBezTo>
                    <a:pt x="48" y="0"/>
                    <a:pt x="60" y="6"/>
                    <a:pt x="69" y="15"/>
                  </a:cubicBezTo>
                </a:path>
              </a:pathLst>
            </a:custGeom>
            <a:noFill/>
            <a:ln w="1270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49" name="Freeform 592"/>
            <p:cNvSpPr>
              <a:spLocks/>
            </p:cNvSpPr>
            <p:nvPr/>
          </p:nvSpPr>
          <p:spPr bwMode="auto">
            <a:xfrm>
              <a:off x="4738688" y="1382713"/>
              <a:ext cx="219075" cy="28575"/>
            </a:xfrm>
            <a:custGeom>
              <a:avLst/>
              <a:gdLst>
                <a:gd name="T0" fmla="*/ 0 w 69"/>
                <a:gd name="T1" fmla="*/ 0 h 9"/>
                <a:gd name="T2" fmla="*/ 34 w 69"/>
                <a:gd name="T3" fmla="*/ 9 h 9"/>
                <a:gd name="T4" fmla="*/ 69 w 69"/>
                <a:gd name="T5" fmla="*/ 0 h 9"/>
              </a:gdLst>
              <a:ahLst/>
              <a:cxnLst>
                <a:cxn ang="0">
                  <a:pos x="T0" y="T1"/>
                </a:cxn>
                <a:cxn ang="0">
                  <a:pos x="T2" y="T3"/>
                </a:cxn>
                <a:cxn ang="0">
                  <a:pos x="T4" y="T5"/>
                </a:cxn>
              </a:cxnLst>
              <a:rect l="0" t="0" r="r" b="b"/>
              <a:pathLst>
                <a:path w="69" h="9">
                  <a:moveTo>
                    <a:pt x="0" y="0"/>
                  </a:moveTo>
                  <a:cubicBezTo>
                    <a:pt x="8" y="6"/>
                    <a:pt x="21" y="9"/>
                    <a:pt x="34" y="9"/>
                  </a:cubicBezTo>
                  <a:cubicBezTo>
                    <a:pt x="48" y="9"/>
                    <a:pt x="60" y="6"/>
                    <a:pt x="69" y="0"/>
                  </a:cubicBezTo>
                </a:path>
              </a:pathLst>
            </a:custGeom>
            <a:noFill/>
            <a:ln w="1270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50" name="Freeform 593"/>
            <p:cNvSpPr>
              <a:spLocks/>
            </p:cNvSpPr>
            <p:nvPr/>
          </p:nvSpPr>
          <p:spPr bwMode="auto">
            <a:xfrm>
              <a:off x="4738688" y="1544638"/>
              <a:ext cx="219075" cy="25400"/>
            </a:xfrm>
            <a:custGeom>
              <a:avLst/>
              <a:gdLst>
                <a:gd name="T0" fmla="*/ 69 w 69"/>
                <a:gd name="T1" fmla="*/ 8 h 8"/>
                <a:gd name="T2" fmla="*/ 35 w 69"/>
                <a:gd name="T3" fmla="*/ 0 h 8"/>
                <a:gd name="T4" fmla="*/ 0 w 69"/>
                <a:gd name="T5" fmla="*/ 8 h 8"/>
              </a:gdLst>
              <a:ahLst/>
              <a:cxnLst>
                <a:cxn ang="0">
                  <a:pos x="T0" y="T1"/>
                </a:cxn>
                <a:cxn ang="0">
                  <a:pos x="T2" y="T3"/>
                </a:cxn>
                <a:cxn ang="0">
                  <a:pos x="T4" y="T5"/>
                </a:cxn>
              </a:cxnLst>
              <a:rect l="0" t="0" r="r" b="b"/>
              <a:pathLst>
                <a:path w="69" h="8">
                  <a:moveTo>
                    <a:pt x="69" y="8"/>
                  </a:moveTo>
                  <a:cubicBezTo>
                    <a:pt x="60" y="3"/>
                    <a:pt x="48" y="0"/>
                    <a:pt x="35" y="0"/>
                  </a:cubicBezTo>
                  <a:cubicBezTo>
                    <a:pt x="21" y="0"/>
                    <a:pt x="8" y="3"/>
                    <a:pt x="0" y="8"/>
                  </a:cubicBezTo>
                </a:path>
              </a:pathLst>
            </a:custGeom>
            <a:noFill/>
            <a:ln w="1270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51" name="Freeform 594"/>
            <p:cNvSpPr>
              <a:spLocks/>
            </p:cNvSpPr>
            <p:nvPr/>
          </p:nvSpPr>
          <p:spPr bwMode="auto">
            <a:xfrm>
              <a:off x="4770438" y="1335088"/>
              <a:ext cx="155575" cy="282575"/>
            </a:xfrm>
            <a:custGeom>
              <a:avLst/>
              <a:gdLst>
                <a:gd name="T0" fmla="*/ 0 w 49"/>
                <a:gd name="T1" fmla="*/ 45 h 89"/>
                <a:gd name="T2" fmla="*/ 25 w 49"/>
                <a:gd name="T3" fmla="*/ 0 h 89"/>
                <a:gd name="T4" fmla="*/ 25 w 49"/>
                <a:gd name="T5" fmla="*/ 0 h 89"/>
                <a:gd name="T6" fmla="*/ 25 w 49"/>
                <a:gd name="T7" fmla="*/ 0 h 89"/>
                <a:gd name="T8" fmla="*/ 49 w 49"/>
                <a:gd name="T9" fmla="*/ 45 h 89"/>
                <a:gd name="T10" fmla="*/ 49 w 49"/>
                <a:gd name="T11" fmla="*/ 45 h 89"/>
                <a:gd name="T12" fmla="*/ 25 w 49"/>
                <a:gd name="T13" fmla="*/ 89 h 89"/>
                <a:gd name="T14" fmla="*/ 25 w 49"/>
                <a:gd name="T15" fmla="*/ 89 h 89"/>
                <a:gd name="T16" fmla="*/ 0 w 49"/>
                <a:gd name="T17"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89">
                  <a:moveTo>
                    <a:pt x="0" y="45"/>
                  </a:moveTo>
                  <a:cubicBezTo>
                    <a:pt x="0" y="20"/>
                    <a:pt x="11" y="0"/>
                    <a:pt x="25" y="0"/>
                  </a:cubicBezTo>
                  <a:cubicBezTo>
                    <a:pt x="25" y="0"/>
                    <a:pt x="25" y="0"/>
                    <a:pt x="25" y="0"/>
                  </a:cubicBezTo>
                  <a:cubicBezTo>
                    <a:pt x="25" y="0"/>
                    <a:pt x="25" y="0"/>
                    <a:pt x="25" y="0"/>
                  </a:cubicBezTo>
                  <a:cubicBezTo>
                    <a:pt x="38" y="0"/>
                    <a:pt x="49" y="20"/>
                    <a:pt x="49" y="45"/>
                  </a:cubicBezTo>
                  <a:cubicBezTo>
                    <a:pt x="49" y="45"/>
                    <a:pt x="49" y="45"/>
                    <a:pt x="49" y="45"/>
                  </a:cubicBezTo>
                  <a:cubicBezTo>
                    <a:pt x="49" y="69"/>
                    <a:pt x="38" y="89"/>
                    <a:pt x="25" y="89"/>
                  </a:cubicBezTo>
                  <a:cubicBezTo>
                    <a:pt x="25" y="89"/>
                    <a:pt x="25" y="89"/>
                    <a:pt x="25" y="89"/>
                  </a:cubicBezTo>
                  <a:cubicBezTo>
                    <a:pt x="11" y="89"/>
                    <a:pt x="0" y="69"/>
                    <a:pt x="0" y="45"/>
                  </a:cubicBezTo>
                  <a:close/>
                </a:path>
              </a:pathLst>
            </a:custGeom>
            <a:noFill/>
            <a:ln w="12700" cap="rnd">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52" name="Line 595"/>
            <p:cNvSpPr>
              <a:spLocks noChangeShapeType="1"/>
            </p:cNvSpPr>
            <p:nvPr/>
          </p:nvSpPr>
          <p:spPr bwMode="auto">
            <a:xfrm>
              <a:off x="4703763" y="1474788"/>
              <a:ext cx="285750" cy="0"/>
            </a:xfrm>
            <a:prstGeom prst="line">
              <a:avLst/>
            </a:prstGeom>
            <a:noFill/>
            <a:ln w="12700" cap="rnd">
              <a:solidFill>
                <a:schemeClr val="accent5"/>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sp>
          <p:nvSpPr>
            <p:cNvPr id="153" name="Line 596"/>
            <p:cNvSpPr>
              <a:spLocks noChangeShapeType="1"/>
            </p:cNvSpPr>
            <p:nvPr/>
          </p:nvSpPr>
          <p:spPr bwMode="auto">
            <a:xfrm flipV="1">
              <a:off x="4846638" y="1335088"/>
              <a:ext cx="0" cy="282575"/>
            </a:xfrm>
            <a:prstGeom prst="line">
              <a:avLst/>
            </a:prstGeom>
            <a:noFill/>
            <a:ln w="12700" cap="rnd">
              <a:solidFill>
                <a:schemeClr val="accent5"/>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solidFill>
                  <a:srgbClr val="00264A"/>
                </a:solidFill>
              </a:endParaRPr>
            </a:p>
          </p:txBody>
        </p:sp>
      </p:grpSp>
      <p:grpSp>
        <p:nvGrpSpPr>
          <p:cNvPr id="6" name="Group 75"/>
          <p:cNvGrpSpPr/>
          <p:nvPr/>
        </p:nvGrpSpPr>
        <p:grpSpPr>
          <a:xfrm>
            <a:off x="635745" y="1895937"/>
            <a:ext cx="548530" cy="771432"/>
            <a:chOff x="5576721" y="4568813"/>
            <a:chExt cx="486520" cy="684225"/>
          </a:xfrm>
          <a:solidFill>
            <a:schemeClr val="bg1"/>
          </a:solidFill>
        </p:grpSpPr>
        <p:grpSp>
          <p:nvGrpSpPr>
            <p:cNvPr id="9" name="Group 210"/>
            <p:cNvGrpSpPr>
              <a:grpSpLocks/>
            </p:cNvGrpSpPr>
            <p:nvPr/>
          </p:nvGrpSpPr>
          <p:grpSpPr bwMode="auto">
            <a:xfrm>
              <a:off x="5576721" y="4568813"/>
              <a:ext cx="486520" cy="558204"/>
              <a:chOff x="10971213" y="4222750"/>
              <a:chExt cx="1481137" cy="1701801"/>
            </a:xfrm>
            <a:grpFill/>
          </p:grpSpPr>
          <p:grpSp>
            <p:nvGrpSpPr>
              <p:cNvPr id="10" name="Group 216"/>
              <p:cNvGrpSpPr>
                <a:grpSpLocks/>
              </p:cNvGrpSpPr>
              <p:nvPr/>
            </p:nvGrpSpPr>
            <p:grpSpPr bwMode="auto">
              <a:xfrm>
                <a:off x="10971213" y="4222750"/>
                <a:ext cx="630238" cy="1701801"/>
                <a:chOff x="10971213" y="4222750"/>
                <a:chExt cx="630238" cy="1701801"/>
              </a:xfrm>
              <a:grpFill/>
            </p:grpSpPr>
            <p:sp>
              <p:nvSpPr>
                <p:cNvPr id="128" name="Oval 103"/>
                <p:cNvSpPr>
                  <a:spLocks noChangeArrowheads="1"/>
                </p:cNvSpPr>
                <p:nvPr/>
              </p:nvSpPr>
              <p:spPr bwMode="auto">
                <a:xfrm>
                  <a:off x="11172103" y="4224802"/>
                  <a:ext cx="319945" cy="320402"/>
                </a:xfrm>
                <a:prstGeom prst="ellipse">
                  <a:avLst/>
                </a:prstGeom>
                <a:grpFill/>
                <a:ln w="12700" cap="rnd">
                  <a:solidFill>
                    <a:schemeClr val="accent5"/>
                  </a:solidFill>
                  <a:prstDash val="solid"/>
                  <a:round/>
                  <a:headEnd/>
                  <a:tailEnd/>
                </a:ln>
                <a:extLst/>
              </p:spPr>
              <p:txBody>
                <a:bodyPr/>
                <a:lstStyle/>
                <a:p>
                  <a:pPr>
                    <a:defRPr/>
                  </a:pPr>
                  <a:endParaRPr lang="en-US" dirty="0">
                    <a:solidFill>
                      <a:srgbClr val="00264A"/>
                    </a:solidFill>
                  </a:endParaRPr>
                </a:p>
              </p:txBody>
            </p:sp>
            <p:sp>
              <p:nvSpPr>
                <p:cNvPr id="129" name="Freeform 104"/>
                <p:cNvSpPr>
                  <a:spLocks/>
                </p:cNvSpPr>
                <p:nvPr/>
              </p:nvSpPr>
              <p:spPr bwMode="auto">
                <a:xfrm>
                  <a:off x="11525983" y="4763658"/>
                  <a:ext cx="43627" cy="213601"/>
                </a:xfrm>
                <a:custGeom>
                  <a:avLst/>
                  <a:gdLst>
                    <a:gd name="T0" fmla="*/ 0 w 12"/>
                    <a:gd name="T1" fmla="*/ 57 h 57"/>
                    <a:gd name="T2" fmla="*/ 0 w 12"/>
                    <a:gd name="T3" fmla="*/ 0 h 57"/>
                    <a:gd name="T4" fmla="*/ 4 w 12"/>
                    <a:gd name="T5" fmla="*/ 8 h 57"/>
                    <a:gd name="T6" fmla="*/ 12 w 12"/>
                    <a:gd name="T7" fmla="*/ 52 h 57"/>
                  </a:gdLst>
                  <a:ahLst/>
                  <a:cxnLst>
                    <a:cxn ang="0">
                      <a:pos x="T0" y="T1"/>
                    </a:cxn>
                    <a:cxn ang="0">
                      <a:pos x="T2" y="T3"/>
                    </a:cxn>
                    <a:cxn ang="0">
                      <a:pos x="T4" y="T5"/>
                    </a:cxn>
                    <a:cxn ang="0">
                      <a:pos x="T6" y="T7"/>
                    </a:cxn>
                  </a:cxnLst>
                  <a:rect l="0" t="0" r="r" b="b"/>
                  <a:pathLst>
                    <a:path w="12" h="57">
                      <a:moveTo>
                        <a:pt x="0" y="57"/>
                      </a:moveTo>
                      <a:cubicBezTo>
                        <a:pt x="0" y="0"/>
                        <a:pt x="0" y="0"/>
                        <a:pt x="0" y="0"/>
                      </a:cubicBezTo>
                      <a:cubicBezTo>
                        <a:pt x="2" y="2"/>
                        <a:pt x="3" y="5"/>
                        <a:pt x="4" y="8"/>
                      </a:cubicBezTo>
                      <a:cubicBezTo>
                        <a:pt x="7" y="18"/>
                        <a:pt x="11" y="32"/>
                        <a:pt x="12" y="52"/>
                      </a:cubicBezTo>
                    </a:path>
                  </a:pathLst>
                </a:custGeom>
                <a:grpFill/>
                <a:ln w="12700" cap="rnd">
                  <a:solidFill>
                    <a:schemeClr val="accent5"/>
                  </a:solidFill>
                  <a:prstDash val="solid"/>
                  <a:round/>
                  <a:headEnd/>
                  <a:tailEnd/>
                </a:ln>
                <a:extLst/>
              </p:spPr>
              <p:txBody>
                <a:bodyPr/>
                <a:lstStyle/>
                <a:p>
                  <a:pPr>
                    <a:defRPr/>
                  </a:pPr>
                  <a:endParaRPr lang="en-US" dirty="0">
                    <a:solidFill>
                      <a:srgbClr val="00264A"/>
                    </a:solidFill>
                  </a:endParaRPr>
                </a:p>
              </p:txBody>
            </p:sp>
            <p:sp>
              <p:nvSpPr>
                <p:cNvPr id="130" name="Freeform 105"/>
                <p:cNvSpPr>
                  <a:spLocks/>
                </p:cNvSpPr>
                <p:nvPr/>
              </p:nvSpPr>
              <p:spPr bwMode="auto">
                <a:xfrm>
                  <a:off x="10973351" y="4588893"/>
                  <a:ext cx="630195" cy="1335009"/>
                </a:xfrm>
                <a:custGeom>
                  <a:avLst/>
                  <a:gdLst>
                    <a:gd name="T0" fmla="*/ 168 w 168"/>
                    <a:gd name="T1" fmla="*/ 21 h 357"/>
                    <a:gd name="T2" fmla="*/ 149 w 168"/>
                    <a:gd name="T3" fmla="*/ 4 h 357"/>
                    <a:gd name="T4" fmla="*/ 133 w 168"/>
                    <a:gd name="T5" fmla="*/ 0 h 357"/>
                    <a:gd name="T6" fmla="*/ 133 w 168"/>
                    <a:gd name="T7" fmla="*/ 0 h 357"/>
                    <a:gd name="T8" fmla="*/ 59 w 168"/>
                    <a:gd name="T9" fmla="*/ 0 h 357"/>
                    <a:gd name="T10" fmla="*/ 58 w 168"/>
                    <a:gd name="T11" fmla="*/ 0 h 357"/>
                    <a:gd name="T12" fmla="*/ 42 w 168"/>
                    <a:gd name="T13" fmla="*/ 4 h 357"/>
                    <a:gd name="T14" fmla="*/ 13 w 168"/>
                    <a:gd name="T15" fmla="*/ 40 h 357"/>
                    <a:gd name="T16" fmla="*/ 0 w 168"/>
                    <a:gd name="T17" fmla="*/ 132 h 357"/>
                    <a:gd name="T18" fmla="*/ 1 w 168"/>
                    <a:gd name="T19" fmla="*/ 169 h 357"/>
                    <a:gd name="T20" fmla="*/ 16 w 168"/>
                    <a:gd name="T21" fmla="*/ 184 h 357"/>
                    <a:gd name="T22" fmla="*/ 17 w 168"/>
                    <a:gd name="T23" fmla="*/ 184 h 357"/>
                    <a:gd name="T24" fmla="*/ 32 w 168"/>
                    <a:gd name="T25" fmla="*/ 167 h 357"/>
                    <a:gd name="T26" fmla="*/ 30 w 168"/>
                    <a:gd name="T27" fmla="*/ 132 h 357"/>
                    <a:gd name="T28" fmla="*/ 44 w 168"/>
                    <a:gd name="T29" fmla="*/ 46 h 357"/>
                    <a:gd name="T30" fmla="*/ 44 w 168"/>
                    <a:gd name="T31" fmla="*/ 110 h 357"/>
                    <a:gd name="T32" fmla="*/ 44 w 168"/>
                    <a:gd name="T33" fmla="*/ 146 h 357"/>
                    <a:gd name="T34" fmla="*/ 44 w 168"/>
                    <a:gd name="T35" fmla="*/ 334 h 357"/>
                    <a:gd name="T36" fmla="*/ 68 w 168"/>
                    <a:gd name="T37" fmla="*/ 357 h 357"/>
                    <a:gd name="T38" fmla="*/ 91 w 168"/>
                    <a:gd name="T39" fmla="*/ 334 h 357"/>
                    <a:gd name="T40" fmla="*/ 91 w 168"/>
                    <a:gd name="T41" fmla="*/ 161 h 357"/>
                    <a:gd name="T42" fmla="*/ 100 w 168"/>
                    <a:gd name="T43" fmla="*/ 161 h 357"/>
                    <a:gd name="T44" fmla="*/ 100 w 168"/>
                    <a:gd name="T45" fmla="*/ 334 h 357"/>
                    <a:gd name="T46" fmla="*/ 124 w 168"/>
                    <a:gd name="T47" fmla="*/ 357 h 357"/>
                    <a:gd name="T48" fmla="*/ 147 w 168"/>
                    <a:gd name="T49" fmla="*/ 334 h 357"/>
                    <a:gd name="T50" fmla="*/ 147 w 168"/>
                    <a:gd name="T51" fmla="*/ 159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8" h="357">
                      <a:moveTo>
                        <a:pt x="168" y="21"/>
                      </a:moveTo>
                      <a:cubicBezTo>
                        <a:pt x="162" y="13"/>
                        <a:pt x="155" y="7"/>
                        <a:pt x="149" y="4"/>
                      </a:cubicBezTo>
                      <a:cubicBezTo>
                        <a:pt x="143" y="1"/>
                        <a:pt x="137" y="0"/>
                        <a:pt x="133" y="0"/>
                      </a:cubicBezTo>
                      <a:cubicBezTo>
                        <a:pt x="133" y="0"/>
                        <a:pt x="133" y="0"/>
                        <a:pt x="133" y="0"/>
                      </a:cubicBezTo>
                      <a:cubicBezTo>
                        <a:pt x="59" y="0"/>
                        <a:pt x="59" y="0"/>
                        <a:pt x="59" y="0"/>
                      </a:cubicBezTo>
                      <a:cubicBezTo>
                        <a:pt x="58" y="0"/>
                        <a:pt x="58" y="0"/>
                        <a:pt x="58" y="0"/>
                      </a:cubicBezTo>
                      <a:cubicBezTo>
                        <a:pt x="54" y="0"/>
                        <a:pt x="49" y="1"/>
                        <a:pt x="42" y="4"/>
                      </a:cubicBezTo>
                      <a:cubicBezTo>
                        <a:pt x="32" y="9"/>
                        <a:pt x="21" y="21"/>
                        <a:pt x="13" y="40"/>
                      </a:cubicBezTo>
                      <a:cubicBezTo>
                        <a:pt x="5" y="60"/>
                        <a:pt x="0" y="89"/>
                        <a:pt x="0" y="132"/>
                      </a:cubicBezTo>
                      <a:cubicBezTo>
                        <a:pt x="0" y="144"/>
                        <a:pt x="0" y="156"/>
                        <a:pt x="1" y="169"/>
                      </a:cubicBezTo>
                      <a:cubicBezTo>
                        <a:pt x="1" y="177"/>
                        <a:pt x="8" y="184"/>
                        <a:pt x="16" y="184"/>
                      </a:cubicBezTo>
                      <a:cubicBezTo>
                        <a:pt x="17" y="184"/>
                        <a:pt x="17" y="184"/>
                        <a:pt x="17" y="184"/>
                      </a:cubicBezTo>
                      <a:cubicBezTo>
                        <a:pt x="26" y="183"/>
                        <a:pt x="32" y="176"/>
                        <a:pt x="32" y="167"/>
                      </a:cubicBezTo>
                      <a:cubicBezTo>
                        <a:pt x="31" y="155"/>
                        <a:pt x="30" y="143"/>
                        <a:pt x="30" y="132"/>
                      </a:cubicBezTo>
                      <a:cubicBezTo>
                        <a:pt x="30" y="86"/>
                        <a:pt x="37" y="60"/>
                        <a:pt x="44" y="46"/>
                      </a:cubicBezTo>
                      <a:cubicBezTo>
                        <a:pt x="44" y="110"/>
                        <a:pt x="44" y="110"/>
                        <a:pt x="44" y="110"/>
                      </a:cubicBezTo>
                      <a:cubicBezTo>
                        <a:pt x="44" y="146"/>
                        <a:pt x="44" y="146"/>
                        <a:pt x="44" y="146"/>
                      </a:cubicBezTo>
                      <a:cubicBezTo>
                        <a:pt x="44" y="334"/>
                        <a:pt x="44" y="334"/>
                        <a:pt x="44" y="334"/>
                      </a:cubicBezTo>
                      <a:cubicBezTo>
                        <a:pt x="44" y="347"/>
                        <a:pt x="54" y="357"/>
                        <a:pt x="68" y="357"/>
                      </a:cubicBezTo>
                      <a:cubicBezTo>
                        <a:pt x="81" y="357"/>
                        <a:pt x="91" y="347"/>
                        <a:pt x="91" y="334"/>
                      </a:cubicBezTo>
                      <a:cubicBezTo>
                        <a:pt x="91" y="161"/>
                        <a:pt x="91" y="161"/>
                        <a:pt x="91" y="161"/>
                      </a:cubicBezTo>
                      <a:cubicBezTo>
                        <a:pt x="100" y="161"/>
                        <a:pt x="100" y="161"/>
                        <a:pt x="100" y="161"/>
                      </a:cubicBezTo>
                      <a:cubicBezTo>
                        <a:pt x="100" y="334"/>
                        <a:pt x="100" y="334"/>
                        <a:pt x="100" y="334"/>
                      </a:cubicBezTo>
                      <a:cubicBezTo>
                        <a:pt x="100" y="347"/>
                        <a:pt x="111" y="357"/>
                        <a:pt x="124" y="357"/>
                      </a:cubicBezTo>
                      <a:cubicBezTo>
                        <a:pt x="137" y="357"/>
                        <a:pt x="147" y="347"/>
                        <a:pt x="147" y="334"/>
                      </a:cubicBezTo>
                      <a:cubicBezTo>
                        <a:pt x="147" y="159"/>
                        <a:pt x="147" y="159"/>
                        <a:pt x="147" y="159"/>
                      </a:cubicBezTo>
                    </a:path>
                  </a:pathLst>
                </a:custGeom>
                <a:grpFill/>
                <a:ln w="12700" cap="rnd">
                  <a:solidFill>
                    <a:schemeClr val="accent5"/>
                  </a:solidFill>
                  <a:prstDash val="solid"/>
                  <a:round/>
                  <a:headEnd/>
                  <a:tailEnd/>
                </a:ln>
                <a:extLst/>
              </p:spPr>
              <p:txBody>
                <a:bodyPr/>
                <a:lstStyle/>
                <a:p>
                  <a:pPr>
                    <a:defRPr/>
                  </a:pPr>
                  <a:endParaRPr lang="en-US" dirty="0">
                    <a:solidFill>
                      <a:srgbClr val="00264A"/>
                    </a:solidFill>
                  </a:endParaRPr>
                </a:p>
              </p:txBody>
            </p:sp>
            <p:sp>
              <p:nvSpPr>
                <p:cNvPr id="131" name="Freeform 106"/>
                <p:cNvSpPr>
                  <a:spLocks/>
                </p:cNvSpPr>
                <p:nvPr/>
              </p:nvSpPr>
              <p:spPr bwMode="auto">
                <a:xfrm>
                  <a:off x="11264210" y="4734531"/>
                  <a:ext cx="135734" cy="373804"/>
                </a:xfrm>
                <a:custGeom>
                  <a:avLst/>
                  <a:gdLst>
                    <a:gd name="T0" fmla="*/ 19 w 37"/>
                    <a:gd name="T1" fmla="*/ 100 h 100"/>
                    <a:gd name="T2" fmla="*/ 0 w 37"/>
                    <a:gd name="T3" fmla="*/ 77 h 100"/>
                    <a:gd name="T4" fmla="*/ 11 w 37"/>
                    <a:gd name="T5" fmla="*/ 0 h 100"/>
                    <a:gd name="T6" fmla="*/ 19 w 37"/>
                    <a:gd name="T7" fmla="*/ 2 h 100"/>
                    <a:gd name="T8" fmla="*/ 19 w 37"/>
                    <a:gd name="T9" fmla="*/ 2 h 100"/>
                    <a:gd name="T10" fmla="*/ 19 w 37"/>
                    <a:gd name="T11" fmla="*/ 2 h 100"/>
                    <a:gd name="T12" fmla="*/ 26 w 37"/>
                    <a:gd name="T13" fmla="*/ 0 h 100"/>
                    <a:gd name="T14" fmla="*/ 37 w 37"/>
                    <a:gd name="T15" fmla="*/ 77 h 100"/>
                    <a:gd name="T16" fmla="*/ 19 w 3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00">
                      <a:moveTo>
                        <a:pt x="19" y="100"/>
                      </a:moveTo>
                      <a:cubicBezTo>
                        <a:pt x="0" y="77"/>
                        <a:pt x="0" y="77"/>
                        <a:pt x="0" y="77"/>
                      </a:cubicBezTo>
                      <a:cubicBezTo>
                        <a:pt x="11" y="0"/>
                        <a:pt x="11" y="0"/>
                        <a:pt x="11" y="0"/>
                      </a:cubicBezTo>
                      <a:cubicBezTo>
                        <a:pt x="13" y="1"/>
                        <a:pt x="16" y="2"/>
                        <a:pt x="19" y="2"/>
                      </a:cubicBezTo>
                      <a:cubicBezTo>
                        <a:pt x="19" y="2"/>
                        <a:pt x="19" y="2"/>
                        <a:pt x="19" y="2"/>
                      </a:cubicBezTo>
                      <a:cubicBezTo>
                        <a:pt x="19" y="2"/>
                        <a:pt x="19" y="2"/>
                        <a:pt x="19" y="2"/>
                      </a:cubicBezTo>
                      <a:cubicBezTo>
                        <a:pt x="21" y="2"/>
                        <a:pt x="24" y="1"/>
                        <a:pt x="26" y="0"/>
                      </a:cubicBezTo>
                      <a:cubicBezTo>
                        <a:pt x="37" y="77"/>
                        <a:pt x="37" y="77"/>
                        <a:pt x="37" y="77"/>
                      </a:cubicBezTo>
                      <a:lnTo>
                        <a:pt x="19" y="100"/>
                      </a:lnTo>
                      <a:close/>
                    </a:path>
                  </a:pathLst>
                </a:custGeom>
                <a:grpFill/>
                <a:ln w="12700" cap="rnd">
                  <a:solidFill>
                    <a:schemeClr val="accent5"/>
                  </a:solidFill>
                  <a:prstDash val="solid"/>
                  <a:round/>
                  <a:headEnd/>
                  <a:tailEnd/>
                </a:ln>
                <a:extLst/>
              </p:spPr>
              <p:txBody>
                <a:bodyPr/>
                <a:lstStyle/>
                <a:p>
                  <a:pPr>
                    <a:defRPr/>
                  </a:pPr>
                  <a:endParaRPr lang="en-US" dirty="0">
                    <a:solidFill>
                      <a:srgbClr val="00264A"/>
                    </a:solidFill>
                  </a:endParaRPr>
                </a:p>
              </p:txBody>
            </p:sp>
            <p:sp>
              <p:nvSpPr>
                <p:cNvPr id="132" name="Freeform 107"/>
                <p:cNvSpPr>
                  <a:spLocks/>
                </p:cNvSpPr>
                <p:nvPr/>
              </p:nvSpPr>
              <p:spPr bwMode="auto">
                <a:xfrm>
                  <a:off x="11293296" y="4647148"/>
                  <a:ext cx="82409" cy="72820"/>
                </a:xfrm>
                <a:custGeom>
                  <a:avLst/>
                  <a:gdLst>
                    <a:gd name="T0" fmla="*/ 11 w 22"/>
                    <a:gd name="T1" fmla="*/ 0 h 19"/>
                    <a:gd name="T2" fmla="*/ 18 w 22"/>
                    <a:gd name="T3" fmla="*/ 0 h 19"/>
                    <a:gd name="T4" fmla="*/ 22 w 22"/>
                    <a:gd name="T5" fmla="*/ 14 h 19"/>
                    <a:gd name="T6" fmla="*/ 21 w 22"/>
                    <a:gd name="T7" fmla="*/ 15 h 19"/>
                    <a:gd name="T8" fmla="*/ 11 w 22"/>
                    <a:gd name="T9" fmla="*/ 19 h 19"/>
                    <a:gd name="T10" fmla="*/ 0 w 22"/>
                    <a:gd name="T11" fmla="*/ 15 h 19"/>
                    <a:gd name="T12" fmla="*/ 0 w 22"/>
                    <a:gd name="T13" fmla="*/ 14 h 19"/>
                    <a:gd name="T14" fmla="*/ 3 w 22"/>
                    <a:gd name="T15" fmla="*/ 0 h 19"/>
                    <a:gd name="T16" fmla="*/ 11 w 22"/>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9">
                      <a:moveTo>
                        <a:pt x="11" y="0"/>
                      </a:moveTo>
                      <a:cubicBezTo>
                        <a:pt x="18" y="0"/>
                        <a:pt x="18" y="0"/>
                        <a:pt x="18" y="0"/>
                      </a:cubicBezTo>
                      <a:cubicBezTo>
                        <a:pt x="22" y="14"/>
                        <a:pt x="22" y="14"/>
                        <a:pt x="22" y="14"/>
                      </a:cubicBezTo>
                      <a:cubicBezTo>
                        <a:pt x="21" y="15"/>
                        <a:pt x="21" y="15"/>
                        <a:pt x="21" y="15"/>
                      </a:cubicBezTo>
                      <a:cubicBezTo>
                        <a:pt x="18" y="18"/>
                        <a:pt x="14" y="19"/>
                        <a:pt x="11" y="19"/>
                      </a:cubicBezTo>
                      <a:cubicBezTo>
                        <a:pt x="7" y="19"/>
                        <a:pt x="3" y="18"/>
                        <a:pt x="0" y="15"/>
                      </a:cubicBezTo>
                      <a:cubicBezTo>
                        <a:pt x="0" y="14"/>
                        <a:pt x="0" y="14"/>
                        <a:pt x="0" y="14"/>
                      </a:cubicBezTo>
                      <a:cubicBezTo>
                        <a:pt x="3" y="0"/>
                        <a:pt x="3" y="0"/>
                        <a:pt x="3" y="0"/>
                      </a:cubicBezTo>
                      <a:lnTo>
                        <a:pt x="11" y="0"/>
                      </a:lnTo>
                      <a:close/>
                    </a:path>
                  </a:pathLst>
                </a:custGeom>
                <a:grpFill/>
                <a:ln w="12700" cap="rnd">
                  <a:solidFill>
                    <a:schemeClr val="accent5"/>
                  </a:solidFill>
                  <a:prstDash val="solid"/>
                  <a:round/>
                  <a:headEnd/>
                  <a:tailEnd/>
                </a:ln>
                <a:extLst/>
              </p:spPr>
              <p:txBody>
                <a:bodyPr/>
                <a:lstStyle/>
                <a:p>
                  <a:pPr>
                    <a:defRPr/>
                  </a:pPr>
                  <a:endParaRPr lang="en-US" dirty="0">
                    <a:solidFill>
                      <a:srgbClr val="00264A"/>
                    </a:solidFill>
                  </a:endParaRPr>
                </a:p>
              </p:txBody>
            </p:sp>
          </p:grpSp>
          <p:grpSp>
            <p:nvGrpSpPr>
              <p:cNvPr id="12" name="Group 217"/>
              <p:cNvGrpSpPr>
                <a:grpSpLocks/>
              </p:cNvGrpSpPr>
              <p:nvPr/>
            </p:nvGrpSpPr>
            <p:grpSpPr bwMode="auto">
              <a:xfrm>
                <a:off x="11739563" y="4222750"/>
                <a:ext cx="712787" cy="1701801"/>
                <a:chOff x="11739563" y="4222750"/>
                <a:chExt cx="712787" cy="1701801"/>
              </a:xfrm>
              <a:grpFill/>
            </p:grpSpPr>
            <p:sp>
              <p:nvSpPr>
                <p:cNvPr id="83" name="Freeform 110"/>
                <p:cNvSpPr>
                  <a:spLocks/>
                </p:cNvSpPr>
                <p:nvPr/>
              </p:nvSpPr>
              <p:spPr bwMode="auto">
                <a:xfrm>
                  <a:off x="11933188" y="5622919"/>
                  <a:ext cx="145430" cy="300984"/>
                </a:xfrm>
                <a:custGeom>
                  <a:avLst/>
                  <a:gdLst>
                    <a:gd name="T0" fmla="*/ 0 w 38"/>
                    <a:gd name="T1" fmla="*/ 76 h 80"/>
                    <a:gd name="T2" fmla="*/ 14 w 38"/>
                    <a:gd name="T3" fmla="*/ 80 h 80"/>
                    <a:gd name="T4" fmla="*/ 38 w 38"/>
                    <a:gd name="T5" fmla="*/ 57 h 80"/>
                    <a:gd name="T6" fmla="*/ 38 w 38"/>
                    <a:gd name="T7" fmla="*/ 0 h 80"/>
                  </a:gdLst>
                  <a:ahLst/>
                  <a:cxnLst>
                    <a:cxn ang="0">
                      <a:pos x="T0" y="T1"/>
                    </a:cxn>
                    <a:cxn ang="0">
                      <a:pos x="T2" y="T3"/>
                    </a:cxn>
                    <a:cxn ang="0">
                      <a:pos x="T4" y="T5"/>
                    </a:cxn>
                    <a:cxn ang="0">
                      <a:pos x="T6" y="T7"/>
                    </a:cxn>
                  </a:cxnLst>
                  <a:rect l="0" t="0" r="r" b="b"/>
                  <a:pathLst>
                    <a:path w="38" h="80">
                      <a:moveTo>
                        <a:pt x="0" y="76"/>
                      </a:moveTo>
                      <a:cubicBezTo>
                        <a:pt x="4" y="79"/>
                        <a:pt x="9" y="80"/>
                        <a:pt x="14" y="80"/>
                      </a:cubicBezTo>
                      <a:cubicBezTo>
                        <a:pt x="27" y="80"/>
                        <a:pt x="38" y="70"/>
                        <a:pt x="38" y="57"/>
                      </a:cubicBezTo>
                      <a:cubicBezTo>
                        <a:pt x="38" y="0"/>
                        <a:pt x="38" y="0"/>
                        <a:pt x="38" y="0"/>
                      </a:cubicBezTo>
                    </a:path>
                  </a:pathLst>
                </a:custGeom>
                <a:grpFill/>
                <a:ln w="12700" cap="rnd">
                  <a:solidFill>
                    <a:schemeClr val="accent5"/>
                  </a:solidFill>
                  <a:prstDash val="solid"/>
                  <a:round/>
                  <a:headEnd/>
                  <a:tailEnd/>
                </a:ln>
                <a:extLst/>
              </p:spPr>
              <p:txBody>
                <a:bodyPr/>
                <a:lstStyle/>
                <a:p>
                  <a:pPr>
                    <a:defRPr/>
                  </a:pPr>
                  <a:endParaRPr lang="en-US" dirty="0">
                    <a:solidFill>
                      <a:srgbClr val="00264A"/>
                    </a:solidFill>
                  </a:endParaRPr>
                </a:p>
              </p:txBody>
            </p:sp>
            <p:grpSp>
              <p:nvGrpSpPr>
                <p:cNvPr id="15" name="Group 219"/>
                <p:cNvGrpSpPr>
                  <a:grpSpLocks/>
                </p:cNvGrpSpPr>
                <p:nvPr/>
              </p:nvGrpSpPr>
              <p:grpSpPr bwMode="auto">
                <a:xfrm>
                  <a:off x="11739563" y="4222750"/>
                  <a:ext cx="712787" cy="1701801"/>
                  <a:chOff x="11739563" y="4222750"/>
                  <a:chExt cx="712787" cy="1701801"/>
                </a:xfrm>
                <a:grpFill/>
              </p:grpSpPr>
              <p:sp>
                <p:nvSpPr>
                  <p:cNvPr id="86" name="Oval 108"/>
                  <p:cNvSpPr>
                    <a:spLocks noChangeArrowheads="1"/>
                  </p:cNvSpPr>
                  <p:nvPr/>
                </p:nvSpPr>
                <p:spPr bwMode="auto">
                  <a:xfrm>
                    <a:off x="11933188" y="4224802"/>
                    <a:ext cx="319945" cy="320402"/>
                  </a:xfrm>
                  <a:prstGeom prst="ellipse">
                    <a:avLst/>
                  </a:prstGeom>
                  <a:grpFill/>
                  <a:ln w="12700" cap="rnd">
                    <a:solidFill>
                      <a:schemeClr val="accent5"/>
                    </a:solidFill>
                    <a:prstDash val="solid"/>
                    <a:round/>
                    <a:headEnd/>
                    <a:tailEnd/>
                  </a:ln>
                  <a:extLst/>
                </p:spPr>
                <p:txBody>
                  <a:bodyPr/>
                  <a:lstStyle/>
                  <a:p>
                    <a:pPr>
                      <a:defRPr/>
                    </a:pPr>
                    <a:endParaRPr lang="en-US" dirty="0">
                      <a:solidFill>
                        <a:srgbClr val="00264A"/>
                      </a:solidFill>
                    </a:endParaRPr>
                  </a:p>
                </p:txBody>
              </p:sp>
              <p:sp>
                <p:nvSpPr>
                  <p:cNvPr id="121" name="Freeform 109"/>
                  <p:cNvSpPr>
                    <a:spLocks/>
                  </p:cNvSpPr>
                  <p:nvPr/>
                </p:nvSpPr>
                <p:spPr bwMode="auto">
                  <a:xfrm>
                    <a:off x="11850777" y="4588893"/>
                    <a:ext cx="601109" cy="1335009"/>
                  </a:xfrm>
                  <a:custGeom>
                    <a:avLst/>
                    <a:gdLst>
                      <a:gd name="T0" fmla="*/ 61 w 161"/>
                      <a:gd name="T1" fmla="*/ 161 h 357"/>
                      <a:gd name="T2" fmla="*/ 70 w 161"/>
                      <a:gd name="T3" fmla="*/ 161 h 357"/>
                      <a:gd name="T4" fmla="*/ 70 w 161"/>
                      <a:gd name="T5" fmla="*/ 334 h 357"/>
                      <a:gd name="T6" fmla="*/ 93 w 161"/>
                      <a:gd name="T7" fmla="*/ 357 h 357"/>
                      <a:gd name="T8" fmla="*/ 117 w 161"/>
                      <a:gd name="T9" fmla="*/ 334 h 357"/>
                      <a:gd name="T10" fmla="*/ 117 w 161"/>
                      <a:gd name="T11" fmla="*/ 146 h 357"/>
                      <a:gd name="T12" fmla="*/ 117 w 161"/>
                      <a:gd name="T13" fmla="*/ 110 h 357"/>
                      <a:gd name="T14" fmla="*/ 117 w 161"/>
                      <a:gd name="T15" fmla="*/ 47 h 357"/>
                      <a:gd name="T16" fmla="*/ 120 w 161"/>
                      <a:gd name="T17" fmla="*/ 55 h 357"/>
                      <a:gd name="T18" fmla="*/ 130 w 161"/>
                      <a:gd name="T19" fmla="*/ 133 h 357"/>
                      <a:gd name="T20" fmla="*/ 129 w 161"/>
                      <a:gd name="T21" fmla="*/ 167 h 357"/>
                      <a:gd name="T22" fmla="*/ 144 w 161"/>
                      <a:gd name="T23" fmla="*/ 184 h 357"/>
                      <a:gd name="T24" fmla="*/ 144 w 161"/>
                      <a:gd name="T25" fmla="*/ 184 h 357"/>
                      <a:gd name="T26" fmla="*/ 160 w 161"/>
                      <a:gd name="T27" fmla="*/ 169 h 357"/>
                      <a:gd name="T28" fmla="*/ 161 w 161"/>
                      <a:gd name="T29" fmla="*/ 133 h 357"/>
                      <a:gd name="T30" fmla="*/ 139 w 161"/>
                      <a:gd name="T31" fmla="*/ 24 h 357"/>
                      <a:gd name="T32" fmla="*/ 118 w 161"/>
                      <a:gd name="T33" fmla="*/ 5 h 357"/>
                      <a:gd name="T34" fmla="*/ 103 w 161"/>
                      <a:gd name="T35" fmla="*/ 0 h 357"/>
                      <a:gd name="T36" fmla="*/ 102 w 161"/>
                      <a:gd name="T37" fmla="*/ 0 h 357"/>
                      <a:gd name="T38" fmla="*/ 28 w 161"/>
                      <a:gd name="T39" fmla="*/ 0 h 357"/>
                      <a:gd name="T40" fmla="*/ 27 w 161"/>
                      <a:gd name="T41" fmla="*/ 0 h 357"/>
                      <a:gd name="T42" fmla="*/ 12 w 161"/>
                      <a:gd name="T43" fmla="*/ 5 h 357"/>
                      <a:gd name="T44" fmla="*/ 0 w 161"/>
                      <a:gd name="T45" fmla="*/ 1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 h="357">
                        <a:moveTo>
                          <a:pt x="61" y="161"/>
                        </a:moveTo>
                        <a:cubicBezTo>
                          <a:pt x="70" y="161"/>
                          <a:pt x="70" y="161"/>
                          <a:pt x="70" y="161"/>
                        </a:cubicBezTo>
                        <a:cubicBezTo>
                          <a:pt x="70" y="334"/>
                          <a:pt x="70" y="334"/>
                          <a:pt x="70" y="334"/>
                        </a:cubicBezTo>
                        <a:cubicBezTo>
                          <a:pt x="70" y="347"/>
                          <a:pt x="80" y="357"/>
                          <a:pt x="93" y="357"/>
                        </a:cubicBezTo>
                        <a:cubicBezTo>
                          <a:pt x="106" y="357"/>
                          <a:pt x="117" y="347"/>
                          <a:pt x="117" y="334"/>
                        </a:cubicBezTo>
                        <a:cubicBezTo>
                          <a:pt x="117" y="146"/>
                          <a:pt x="117" y="146"/>
                          <a:pt x="117" y="146"/>
                        </a:cubicBezTo>
                        <a:cubicBezTo>
                          <a:pt x="117" y="110"/>
                          <a:pt x="117" y="110"/>
                          <a:pt x="117" y="110"/>
                        </a:cubicBezTo>
                        <a:cubicBezTo>
                          <a:pt x="117" y="47"/>
                          <a:pt x="117" y="47"/>
                          <a:pt x="117" y="47"/>
                        </a:cubicBezTo>
                        <a:cubicBezTo>
                          <a:pt x="118" y="49"/>
                          <a:pt x="119" y="52"/>
                          <a:pt x="120" y="55"/>
                        </a:cubicBezTo>
                        <a:cubicBezTo>
                          <a:pt x="126" y="70"/>
                          <a:pt x="130" y="94"/>
                          <a:pt x="130" y="133"/>
                        </a:cubicBezTo>
                        <a:cubicBezTo>
                          <a:pt x="130" y="143"/>
                          <a:pt x="130" y="155"/>
                          <a:pt x="129" y="167"/>
                        </a:cubicBezTo>
                        <a:cubicBezTo>
                          <a:pt x="129" y="176"/>
                          <a:pt x="135" y="183"/>
                          <a:pt x="144" y="184"/>
                        </a:cubicBezTo>
                        <a:cubicBezTo>
                          <a:pt x="144" y="184"/>
                          <a:pt x="144" y="184"/>
                          <a:pt x="144" y="184"/>
                        </a:cubicBezTo>
                        <a:cubicBezTo>
                          <a:pt x="152" y="184"/>
                          <a:pt x="159" y="177"/>
                          <a:pt x="160" y="169"/>
                        </a:cubicBezTo>
                        <a:cubicBezTo>
                          <a:pt x="160" y="156"/>
                          <a:pt x="161" y="144"/>
                          <a:pt x="161" y="133"/>
                        </a:cubicBezTo>
                        <a:cubicBezTo>
                          <a:pt x="161" y="75"/>
                          <a:pt x="152" y="43"/>
                          <a:pt x="139" y="24"/>
                        </a:cubicBezTo>
                        <a:cubicBezTo>
                          <a:pt x="133" y="14"/>
                          <a:pt x="125" y="8"/>
                          <a:pt x="118" y="5"/>
                        </a:cubicBezTo>
                        <a:cubicBezTo>
                          <a:pt x="112" y="1"/>
                          <a:pt x="106" y="1"/>
                          <a:pt x="103" y="0"/>
                        </a:cubicBezTo>
                        <a:cubicBezTo>
                          <a:pt x="103" y="0"/>
                          <a:pt x="102" y="0"/>
                          <a:pt x="102" y="0"/>
                        </a:cubicBezTo>
                        <a:cubicBezTo>
                          <a:pt x="28" y="0"/>
                          <a:pt x="28" y="0"/>
                          <a:pt x="28" y="0"/>
                        </a:cubicBezTo>
                        <a:cubicBezTo>
                          <a:pt x="28" y="0"/>
                          <a:pt x="27" y="0"/>
                          <a:pt x="27" y="0"/>
                        </a:cubicBezTo>
                        <a:cubicBezTo>
                          <a:pt x="24" y="1"/>
                          <a:pt x="18" y="1"/>
                          <a:pt x="12" y="5"/>
                        </a:cubicBezTo>
                        <a:cubicBezTo>
                          <a:pt x="8" y="6"/>
                          <a:pt x="4" y="9"/>
                          <a:pt x="0" y="13"/>
                        </a:cubicBezTo>
                      </a:path>
                    </a:pathLst>
                  </a:custGeom>
                  <a:grpFill/>
                  <a:ln w="12700" cap="rnd">
                    <a:solidFill>
                      <a:schemeClr val="accent5"/>
                    </a:solidFill>
                    <a:prstDash val="solid"/>
                    <a:round/>
                    <a:headEnd/>
                    <a:tailEnd/>
                  </a:ln>
                  <a:extLst/>
                </p:spPr>
                <p:txBody>
                  <a:bodyPr/>
                  <a:lstStyle/>
                  <a:p>
                    <a:pPr>
                      <a:defRPr/>
                    </a:pPr>
                    <a:endParaRPr lang="en-US" dirty="0">
                      <a:solidFill>
                        <a:srgbClr val="00264A"/>
                      </a:solidFill>
                    </a:endParaRPr>
                  </a:p>
                </p:txBody>
              </p:sp>
              <p:sp>
                <p:nvSpPr>
                  <p:cNvPr id="122" name="Line 111"/>
                  <p:cNvSpPr>
                    <a:spLocks noChangeShapeType="1"/>
                  </p:cNvSpPr>
                  <p:nvPr/>
                </p:nvSpPr>
                <p:spPr bwMode="auto">
                  <a:xfrm>
                    <a:off x="11894407" y="4783076"/>
                    <a:ext cx="0" cy="169912"/>
                  </a:xfrm>
                  <a:prstGeom prst="line">
                    <a:avLst/>
                  </a:prstGeom>
                  <a:grpFill/>
                  <a:ln w="12700" cap="rnd">
                    <a:solidFill>
                      <a:schemeClr val="accent5"/>
                    </a:solidFill>
                    <a:prstDash val="solid"/>
                    <a:round/>
                    <a:headEnd/>
                    <a:tailEnd/>
                  </a:ln>
                  <a:extLst/>
                </p:spPr>
                <p:txBody>
                  <a:bodyPr/>
                  <a:lstStyle/>
                  <a:p>
                    <a:pPr>
                      <a:defRPr/>
                    </a:pPr>
                    <a:endParaRPr lang="en-US" dirty="0">
                      <a:solidFill>
                        <a:srgbClr val="00264A"/>
                      </a:solidFill>
                    </a:endParaRPr>
                  </a:p>
                </p:txBody>
              </p:sp>
              <p:sp>
                <p:nvSpPr>
                  <p:cNvPr id="124" name="Freeform 112"/>
                  <p:cNvSpPr>
                    <a:spLocks/>
                  </p:cNvSpPr>
                  <p:nvPr/>
                </p:nvSpPr>
                <p:spPr bwMode="auto">
                  <a:xfrm>
                    <a:off x="11850777" y="4846187"/>
                    <a:ext cx="19391" cy="106801"/>
                  </a:xfrm>
                  <a:custGeom>
                    <a:avLst/>
                    <a:gdLst>
                      <a:gd name="T0" fmla="*/ 0 w 5"/>
                      <a:gd name="T1" fmla="*/ 29 h 29"/>
                      <a:gd name="T2" fmla="*/ 5 w 5"/>
                      <a:gd name="T3" fmla="*/ 0 h 29"/>
                    </a:gdLst>
                    <a:ahLst/>
                    <a:cxnLst>
                      <a:cxn ang="0">
                        <a:pos x="T0" y="T1"/>
                      </a:cxn>
                      <a:cxn ang="0">
                        <a:pos x="T2" y="T3"/>
                      </a:cxn>
                    </a:cxnLst>
                    <a:rect l="0" t="0" r="r" b="b"/>
                    <a:pathLst>
                      <a:path w="5" h="29">
                        <a:moveTo>
                          <a:pt x="0" y="29"/>
                        </a:moveTo>
                        <a:cubicBezTo>
                          <a:pt x="1" y="17"/>
                          <a:pt x="3" y="8"/>
                          <a:pt x="5" y="0"/>
                        </a:cubicBezTo>
                      </a:path>
                    </a:pathLst>
                  </a:custGeom>
                  <a:grpFill/>
                  <a:ln w="12700" cap="rnd">
                    <a:solidFill>
                      <a:schemeClr val="accent5"/>
                    </a:solidFill>
                    <a:prstDash val="solid"/>
                    <a:round/>
                    <a:headEnd/>
                    <a:tailEnd/>
                  </a:ln>
                  <a:extLst/>
                </p:spPr>
                <p:txBody>
                  <a:bodyPr/>
                  <a:lstStyle/>
                  <a:p>
                    <a:pPr>
                      <a:defRPr/>
                    </a:pPr>
                    <a:endParaRPr lang="en-US" dirty="0">
                      <a:solidFill>
                        <a:srgbClr val="00264A"/>
                      </a:solidFill>
                    </a:endParaRPr>
                  </a:p>
                </p:txBody>
              </p:sp>
              <p:sp>
                <p:nvSpPr>
                  <p:cNvPr id="125" name="Freeform 113"/>
                  <p:cNvSpPr>
                    <a:spLocks/>
                  </p:cNvSpPr>
                  <p:nvPr/>
                </p:nvSpPr>
                <p:spPr bwMode="auto">
                  <a:xfrm>
                    <a:off x="11739282" y="4914151"/>
                    <a:ext cx="4846" cy="38837"/>
                  </a:xfrm>
                  <a:custGeom>
                    <a:avLst/>
                    <a:gdLst>
                      <a:gd name="T0" fmla="*/ 1 w 1"/>
                      <a:gd name="T1" fmla="*/ 0 h 11"/>
                      <a:gd name="T2" fmla="*/ 0 w 1"/>
                      <a:gd name="T3" fmla="*/ 11 h 11"/>
                    </a:gdLst>
                    <a:ahLst/>
                    <a:cxnLst>
                      <a:cxn ang="0">
                        <a:pos x="T0" y="T1"/>
                      </a:cxn>
                      <a:cxn ang="0">
                        <a:pos x="T2" y="T3"/>
                      </a:cxn>
                    </a:cxnLst>
                    <a:rect l="0" t="0" r="r" b="b"/>
                    <a:pathLst>
                      <a:path w="1" h="11">
                        <a:moveTo>
                          <a:pt x="1" y="0"/>
                        </a:moveTo>
                        <a:cubicBezTo>
                          <a:pt x="0" y="3"/>
                          <a:pt x="0" y="7"/>
                          <a:pt x="0" y="11"/>
                        </a:cubicBezTo>
                      </a:path>
                    </a:pathLst>
                  </a:custGeom>
                  <a:grpFill/>
                  <a:ln w="12700" cap="rnd">
                    <a:solidFill>
                      <a:schemeClr val="accent5"/>
                    </a:solidFill>
                    <a:prstDash val="solid"/>
                    <a:round/>
                    <a:headEnd/>
                    <a:tailEnd/>
                  </a:ln>
                  <a:extLst/>
                </p:spPr>
                <p:txBody>
                  <a:bodyPr/>
                  <a:lstStyle/>
                  <a:p>
                    <a:pPr>
                      <a:defRPr/>
                    </a:pPr>
                    <a:endParaRPr lang="en-US" dirty="0">
                      <a:solidFill>
                        <a:srgbClr val="00264A"/>
                      </a:solidFill>
                    </a:endParaRPr>
                  </a:p>
                </p:txBody>
              </p:sp>
              <p:sp>
                <p:nvSpPr>
                  <p:cNvPr id="126" name="Freeform 114"/>
                  <p:cNvSpPr>
                    <a:spLocks/>
                  </p:cNvSpPr>
                  <p:nvPr/>
                </p:nvSpPr>
                <p:spPr bwMode="auto">
                  <a:xfrm>
                    <a:off x="12025292" y="4734531"/>
                    <a:ext cx="135734" cy="378657"/>
                  </a:xfrm>
                  <a:custGeom>
                    <a:avLst/>
                    <a:gdLst>
                      <a:gd name="T0" fmla="*/ 18 w 36"/>
                      <a:gd name="T1" fmla="*/ 101 h 101"/>
                      <a:gd name="T2" fmla="*/ 0 w 36"/>
                      <a:gd name="T3" fmla="*/ 78 h 101"/>
                      <a:gd name="T4" fmla="*/ 10 w 36"/>
                      <a:gd name="T5" fmla="*/ 0 h 101"/>
                      <a:gd name="T6" fmla="*/ 18 w 36"/>
                      <a:gd name="T7" fmla="*/ 2 h 101"/>
                      <a:gd name="T8" fmla="*/ 18 w 36"/>
                      <a:gd name="T9" fmla="*/ 2 h 101"/>
                      <a:gd name="T10" fmla="*/ 18 w 36"/>
                      <a:gd name="T11" fmla="*/ 2 h 101"/>
                      <a:gd name="T12" fmla="*/ 26 w 36"/>
                      <a:gd name="T13" fmla="*/ 0 h 101"/>
                      <a:gd name="T14" fmla="*/ 36 w 36"/>
                      <a:gd name="T15" fmla="*/ 78 h 101"/>
                      <a:gd name="T16" fmla="*/ 18 w 36"/>
                      <a:gd name="T1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01">
                        <a:moveTo>
                          <a:pt x="18" y="101"/>
                        </a:moveTo>
                        <a:cubicBezTo>
                          <a:pt x="0" y="78"/>
                          <a:pt x="0" y="78"/>
                          <a:pt x="0" y="78"/>
                        </a:cubicBezTo>
                        <a:cubicBezTo>
                          <a:pt x="10" y="0"/>
                          <a:pt x="10" y="0"/>
                          <a:pt x="10" y="0"/>
                        </a:cubicBezTo>
                        <a:cubicBezTo>
                          <a:pt x="13" y="1"/>
                          <a:pt x="15" y="2"/>
                          <a:pt x="18" y="2"/>
                        </a:cubicBezTo>
                        <a:cubicBezTo>
                          <a:pt x="18" y="2"/>
                          <a:pt x="18" y="2"/>
                          <a:pt x="18" y="2"/>
                        </a:cubicBezTo>
                        <a:cubicBezTo>
                          <a:pt x="18" y="2"/>
                          <a:pt x="18" y="2"/>
                          <a:pt x="18" y="2"/>
                        </a:cubicBezTo>
                        <a:cubicBezTo>
                          <a:pt x="21" y="2"/>
                          <a:pt x="23" y="1"/>
                          <a:pt x="26" y="0"/>
                        </a:cubicBezTo>
                        <a:cubicBezTo>
                          <a:pt x="36" y="78"/>
                          <a:pt x="36" y="78"/>
                          <a:pt x="36" y="78"/>
                        </a:cubicBezTo>
                        <a:lnTo>
                          <a:pt x="18" y="101"/>
                        </a:lnTo>
                        <a:close/>
                      </a:path>
                    </a:pathLst>
                  </a:custGeom>
                  <a:grpFill/>
                  <a:ln w="12700" cap="rnd">
                    <a:solidFill>
                      <a:schemeClr val="accent5"/>
                    </a:solidFill>
                    <a:prstDash val="solid"/>
                    <a:round/>
                    <a:headEnd/>
                    <a:tailEnd/>
                  </a:ln>
                  <a:extLst/>
                </p:spPr>
                <p:txBody>
                  <a:bodyPr/>
                  <a:lstStyle/>
                  <a:p>
                    <a:pPr>
                      <a:defRPr/>
                    </a:pPr>
                    <a:endParaRPr lang="en-US" dirty="0">
                      <a:solidFill>
                        <a:srgbClr val="00264A"/>
                      </a:solidFill>
                    </a:endParaRPr>
                  </a:p>
                </p:txBody>
              </p:sp>
              <p:sp>
                <p:nvSpPr>
                  <p:cNvPr id="127" name="Freeform 115"/>
                  <p:cNvSpPr>
                    <a:spLocks/>
                  </p:cNvSpPr>
                  <p:nvPr/>
                </p:nvSpPr>
                <p:spPr bwMode="auto">
                  <a:xfrm>
                    <a:off x="12049532" y="4647148"/>
                    <a:ext cx="82409" cy="72820"/>
                  </a:xfrm>
                  <a:custGeom>
                    <a:avLst/>
                    <a:gdLst>
                      <a:gd name="T0" fmla="*/ 11 w 22"/>
                      <a:gd name="T1" fmla="*/ 0 h 19"/>
                      <a:gd name="T2" fmla="*/ 18 w 22"/>
                      <a:gd name="T3" fmla="*/ 0 h 19"/>
                      <a:gd name="T4" fmla="*/ 22 w 22"/>
                      <a:gd name="T5" fmla="*/ 14 h 19"/>
                      <a:gd name="T6" fmla="*/ 21 w 22"/>
                      <a:gd name="T7" fmla="*/ 15 h 19"/>
                      <a:gd name="T8" fmla="*/ 11 w 22"/>
                      <a:gd name="T9" fmla="*/ 19 h 19"/>
                      <a:gd name="T10" fmla="*/ 1 w 22"/>
                      <a:gd name="T11" fmla="*/ 15 h 19"/>
                      <a:gd name="T12" fmla="*/ 0 w 22"/>
                      <a:gd name="T13" fmla="*/ 14 h 19"/>
                      <a:gd name="T14" fmla="*/ 4 w 22"/>
                      <a:gd name="T15" fmla="*/ 0 h 19"/>
                      <a:gd name="T16" fmla="*/ 11 w 22"/>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9">
                        <a:moveTo>
                          <a:pt x="11" y="0"/>
                        </a:moveTo>
                        <a:cubicBezTo>
                          <a:pt x="18" y="0"/>
                          <a:pt x="18" y="0"/>
                          <a:pt x="18" y="0"/>
                        </a:cubicBezTo>
                        <a:cubicBezTo>
                          <a:pt x="22" y="14"/>
                          <a:pt x="22" y="14"/>
                          <a:pt x="22" y="14"/>
                        </a:cubicBezTo>
                        <a:cubicBezTo>
                          <a:pt x="21" y="15"/>
                          <a:pt x="21" y="15"/>
                          <a:pt x="21" y="15"/>
                        </a:cubicBezTo>
                        <a:cubicBezTo>
                          <a:pt x="18" y="18"/>
                          <a:pt x="15" y="19"/>
                          <a:pt x="11" y="19"/>
                        </a:cubicBezTo>
                        <a:cubicBezTo>
                          <a:pt x="7" y="19"/>
                          <a:pt x="4" y="18"/>
                          <a:pt x="1" y="15"/>
                        </a:cubicBezTo>
                        <a:cubicBezTo>
                          <a:pt x="0" y="14"/>
                          <a:pt x="0" y="14"/>
                          <a:pt x="0" y="14"/>
                        </a:cubicBezTo>
                        <a:cubicBezTo>
                          <a:pt x="4" y="0"/>
                          <a:pt x="4" y="0"/>
                          <a:pt x="4" y="0"/>
                        </a:cubicBezTo>
                        <a:lnTo>
                          <a:pt x="11" y="0"/>
                        </a:lnTo>
                        <a:close/>
                      </a:path>
                    </a:pathLst>
                  </a:custGeom>
                  <a:grpFill/>
                  <a:ln w="12700" cap="rnd">
                    <a:solidFill>
                      <a:schemeClr val="accent5"/>
                    </a:solidFill>
                    <a:prstDash val="solid"/>
                    <a:round/>
                    <a:headEnd/>
                    <a:tailEnd/>
                  </a:ln>
                  <a:extLst/>
                </p:spPr>
                <p:txBody>
                  <a:bodyPr/>
                  <a:lstStyle/>
                  <a:p>
                    <a:pPr>
                      <a:defRPr/>
                    </a:pPr>
                    <a:endParaRPr lang="en-US" dirty="0">
                      <a:solidFill>
                        <a:srgbClr val="00264A"/>
                      </a:solidFill>
                    </a:endParaRPr>
                  </a:p>
                </p:txBody>
              </p:sp>
            </p:grpSp>
          </p:grpSp>
        </p:grpSp>
        <p:grpSp>
          <p:nvGrpSpPr>
            <p:cNvPr id="16" name="Group 14"/>
            <p:cNvGrpSpPr/>
            <p:nvPr/>
          </p:nvGrpSpPr>
          <p:grpSpPr>
            <a:xfrm>
              <a:off x="5687025" y="4689098"/>
              <a:ext cx="294083" cy="563940"/>
              <a:chOff x="6889557" y="5345107"/>
              <a:chExt cx="543898" cy="1042994"/>
            </a:xfrm>
            <a:grpFill/>
          </p:grpSpPr>
          <p:sp>
            <p:nvSpPr>
              <p:cNvPr id="79" name="Freeform 19"/>
              <p:cNvSpPr>
                <a:spLocks/>
              </p:cNvSpPr>
              <p:nvPr/>
            </p:nvSpPr>
            <p:spPr bwMode="auto">
              <a:xfrm>
                <a:off x="6889557" y="5345107"/>
                <a:ext cx="543898" cy="1001719"/>
              </a:xfrm>
              <a:custGeom>
                <a:avLst/>
                <a:gdLst>
                  <a:gd name="T0" fmla="*/ 493 w 553"/>
                  <a:gd name="T1" fmla="*/ 243 h 322"/>
                  <a:gd name="T2" fmla="*/ 498 w 553"/>
                  <a:gd name="T3" fmla="*/ 152 h 322"/>
                  <a:gd name="T4" fmla="*/ 530 w 553"/>
                  <a:gd name="T5" fmla="*/ 190 h 322"/>
                  <a:gd name="T6" fmla="*/ 548 w 553"/>
                  <a:gd name="T7" fmla="*/ 191 h 322"/>
                  <a:gd name="T8" fmla="*/ 503 w 553"/>
                  <a:gd name="T9" fmla="*/ 93 h 322"/>
                  <a:gd name="T10" fmla="*/ 490 w 553"/>
                  <a:gd name="T11" fmla="*/ 85 h 322"/>
                  <a:gd name="T12" fmla="*/ 504 w 553"/>
                  <a:gd name="T13" fmla="*/ 48 h 322"/>
                  <a:gd name="T14" fmla="*/ 429 w 553"/>
                  <a:gd name="T15" fmla="*/ 48 h 322"/>
                  <a:gd name="T16" fmla="*/ 443 w 553"/>
                  <a:gd name="T17" fmla="*/ 85 h 322"/>
                  <a:gd name="T18" fmla="*/ 431 w 553"/>
                  <a:gd name="T19" fmla="*/ 93 h 322"/>
                  <a:gd name="T20" fmla="*/ 381 w 553"/>
                  <a:gd name="T21" fmla="*/ 186 h 322"/>
                  <a:gd name="T22" fmla="*/ 365 w 553"/>
                  <a:gd name="T23" fmla="*/ 201 h 322"/>
                  <a:gd name="T24" fmla="*/ 346 w 553"/>
                  <a:gd name="T25" fmla="*/ 175 h 322"/>
                  <a:gd name="T26" fmla="*/ 336 w 553"/>
                  <a:gd name="T27" fmla="*/ 172 h 322"/>
                  <a:gd name="T28" fmla="*/ 326 w 553"/>
                  <a:gd name="T29" fmla="*/ 123 h 322"/>
                  <a:gd name="T30" fmla="*/ 316 w 553"/>
                  <a:gd name="T31" fmla="*/ 172 h 322"/>
                  <a:gd name="T32" fmla="*/ 306 w 553"/>
                  <a:gd name="T33" fmla="*/ 174 h 322"/>
                  <a:gd name="T34" fmla="*/ 277 w 553"/>
                  <a:gd name="T35" fmla="*/ 223 h 322"/>
                  <a:gd name="T36" fmla="*/ 248 w 553"/>
                  <a:gd name="T37" fmla="*/ 173 h 322"/>
                  <a:gd name="T38" fmla="*/ 227 w 553"/>
                  <a:gd name="T39" fmla="*/ 170 h 322"/>
                  <a:gd name="T40" fmla="*/ 225 w 553"/>
                  <a:gd name="T41" fmla="*/ 118 h 322"/>
                  <a:gd name="T42" fmla="*/ 224 w 553"/>
                  <a:gd name="T43" fmla="*/ 170 h 322"/>
                  <a:gd name="T44" fmla="*/ 202 w 553"/>
                  <a:gd name="T45" fmla="*/ 174 h 322"/>
                  <a:gd name="T46" fmla="*/ 184 w 553"/>
                  <a:gd name="T47" fmla="*/ 198 h 322"/>
                  <a:gd name="T48" fmla="*/ 174 w 553"/>
                  <a:gd name="T49" fmla="*/ 187 h 322"/>
                  <a:gd name="T50" fmla="*/ 129 w 553"/>
                  <a:gd name="T51" fmla="*/ 90 h 322"/>
                  <a:gd name="T52" fmla="*/ 116 w 553"/>
                  <a:gd name="T53" fmla="*/ 82 h 322"/>
                  <a:gd name="T54" fmla="*/ 128 w 553"/>
                  <a:gd name="T55" fmla="*/ 41 h 322"/>
                  <a:gd name="T56" fmla="*/ 53 w 553"/>
                  <a:gd name="T57" fmla="*/ 41 h 322"/>
                  <a:gd name="T58" fmla="*/ 64 w 553"/>
                  <a:gd name="T59" fmla="*/ 82 h 322"/>
                  <a:gd name="T60" fmla="*/ 51 w 553"/>
                  <a:gd name="T61" fmla="*/ 90 h 322"/>
                  <a:gd name="T62" fmla="*/ 5 w 553"/>
                  <a:gd name="T63" fmla="*/ 188 h 322"/>
                  <a:gd name="T64" fmla="*/ 24 w 553"/>
                  <a:gd name="T65" fmla="*/ 187 h 322"/>
                  <a:gd name="T66" fmla="*/ 55 w 553"/>
                  <a:gd name="T67" fmla="*/ 205 h 322"/>
                  <a:gd name="T68" fmla="*/ 56 w 553"/>
                  <a:gd name="T69" fmla="*/ 312 h 322"/>
                  <a:gd name="connsiteX0" fmla="*/ 8893 w 9955"/>
                  <a:gd name="connsiteY0" fmla="*/ 10000 h 10000"/>
                  <a:gd name="connsiteX1" fmla="*/ 8893 w 9955"/>
                  <a:gd name="connsiteY1" fmla="*/ 7547 h 10000"/>
                  <a:gd name="connsiteX2" fmla="*/ 9797 w 9955"/>
                  <a:gd name="connsiteY2" fmla="*/ 7547 h 10000"/>
                  <a:gd name="connsiteX3" fmla="*/ 8983 w 9955"/>
                  <a:gd name="connsiteY3" fmla="*/ 4720 h 10000"/>
                  <a:gd name="connsiteX4" fmla="*/ 8983 w 9955"/>
                  <a:gd name="connsiteY4" fmla="*/ 4224 h 10000"/>
                  <a:gd name="connsiteX5" fmla="*/ 9562 w 9955"/>
                  <a:gd name="connsiteY5" fmla="*/ 5901 h 10000"/>
                  <a:gd name="connsiteX6" fmla="*/ 9779 w 9955"/>
                  <a:gd name="connsiteY6" fmla="*/ 6056 h 10000"/>
                  <a:gd name="connsiteX7" fmla="*/ 9888 w 9955"/>
                  <a:gd name="connsiteY7" fmla="*/ 5932 h 10000"/>
                  <a:gd name="connsiteX8" fmla="*/ 9924 w 9955"/>
                  <a:gd name="connsiteY8" fmla="*/ 5466 h 10000"/>
                  <a:gd name="connsiteX9" fmla="*/ 9074 w 9955"/>
                  <a:gd name="connsiteY9" fmla="*/ 2888 h 10000"/>
                  <a:gd name="connsiteX10" fmla="*/ 8965 w 9955"/>
                  <a:gd name="connsiteY10" fmla="*/ 2733 h 10000"/>
                  <a:gd name="connsiteX11" fmla="*/ 8839 w 9955"/>
                  <a:gd name="connsiteY11" fmla="*/ 2640 h 10000"/>
                  <a:gd name="connsiteX12" fmla="*/ 8676 w 9955"/>
                  <a:gd name="connsiteY12" fmla="*/ 2640 h 10000"/>
                  <a:gd name="connsiteX13" fmla="*/ 9092 w 9955"/>
                  <a:gd name="connsiteY13" fmla="*/ 1491 h 10000"/>
                  <a:gd name="connsiteX14" fmla="*/ 8405 w 9955"/>
                  <a:gd name="connsiteY14" fmla="*/ 217 h 10000"/>
                  <a:gd name="connsiteX15" fmla="*/ 7736 w 9955"/>
                  <a:gd name="connsiteY15" fmla="*/ 1491 h 10000"/>
                  <a:gd name="connsiteX16" fmla="*/ 8152 w 9955"/>
                  <a:gd name="connsiteY16" fmla="*/ 2640 h 10000"/>
                  <a:gd name="connsiteX17" fmla="*/ 7989 w 9955"/>
                  <a:gd name="connsiteY17" fmla="*/ 2640 h 10000"/>
                  <a:gd name="connsiteX18" fmla="*/ 7844 w 9955"/>
                  <a:gd name="connsiteY18" fmla="*/ 2764 h 10000"/>
                  <a:gd name="connsiteX19" fmla="*/ 7772 w 9955"/>
                  <a:gd name="connsiteY19" fmla="*/ 2888 h 10000"/>
                  <a:gd name="connsiteX20" fmla="*/ 6904 w 9955"/>
                  <a:gd name="connsiteY20" fmla="*/ 5466 h 10000"/>
                  <a:gd name="connsiteX21" fmla="*/ 6868 w 9955"/>
                  <a:gd name="connsiteY21" fmla="*/ 5776 h 10000"/>
                  <a:gd name="connsiteX22" fmla="*/ 6832 w 9955"/>
                  <a:gd name="connsiteY22" fmla="*/ 5807 h 10000"/>
                  <a:gd name="connsiteX23" fmla="*/ 6578 w 9955"/>
                  <a:gd name="connsiteY23" fmla="*/ 6242 h 10000"/>
                  <a:gd name="connsiteX24" fmla="*/ 6235 w 9955"/>
                  <a:gd name="connsiteY24" fmla="*/ 5466 h 10000"/>
                  <a:gd name="connsiteX25" fmla="*/ 6235 w 9955"/>
                  <a:gd name="connsiteY25" fmla="*/ 5435 h 10000"/>
                  <a:gd name="connsiteX26" fmla="*/ 6144 w 9955"/>
                  <a:gd name="connsiteY26" fmla="*/ 5342 h 10000"/>
                  <a:gd name="connsiteX27" fmla="*/ 6054 w 9955"/>
                  <a:gd name="connsiteY27" fmla="*/ 5342 h 10000"/>
                  <a:gd name="connsiteX28" fmla="*/ 6307 w 9955"/>
                  <a:gd name="connsiteY28" fmla="*/ 4627 h 10000"/>
                  <a:gd name="connsiteX29" fmla="*/ 5873 w 9955"/>
                  <a:gd name="connsiteY29" fmla="*/ 3820 h 10000"/>
                  <a:gd name="connsiteX30" fmla="*/ 5439 w 9955"/>
                  <a:gd name="connsiteY30" fmla="*/ 4627 h 10000"/>
                  <a:gd name="connsiteX31" fmla="*/ 5692 w 9955"/>
                  <a:gd name="connsiteY31" fmla="*/ 5342 h 10000"/>
                  <a:gd name="connsiteX32" fmla="*/ 5602 w 9955"/>
                  <a:gd name="connsiteY32" fmla="*/ 5342 h 10000"/>
                  <a:gd name="connsiteX33" fmla="*/ 5511 w 9955"/>
                  <a:gd name="connsiteY33" fmla="*/ 5404 h 10000"/>
                  <a:gd name="connsiteX34" fmla="*/ 5475 w 9955"/>
                  <a:gd name="connsiteY34" fmla="*/ 5497 h 10000"/>
                  <a:gd name="connsiteX35" fmla="*/ 4987 w 9955"/>
                  <a:gd name="connsiteY35" fmla="*/ 6925 h 10000"/>
                  <a:gd name="connsiteX36" fmla="*/ 4499 w 9955"/>
                  <a:gd name="connsiteY36" fmla="*/ 5435 h 10000"/>
                  <a:gd name="connsiteX37" fmla="*/ 4463 w 9955"/>
                  <a:gd name="connsiteY37" fmla="*/ 5373 h 10000"/>
                  <a:gd name="connsiteX38" fmla="*/ 4354 w 9955"/>
                  <a:gd name="connsiteY38" fmla="*/ 5280 h 10000"/>
                  <a:gd name="connsiteX39" fmla="*/ 4083 w 9955"/>
                  <a:gd name="connsiteY39" fmla="*/ 5280 h 10000"/>
                  <a:gd name="connsiteX40" fmla="*/ 4481 w 9955"/>
                  <a:gd name="connsiteY40" fmla="*/ 4472 h 10000"/>
                  <a:gd name="connsiteX41" fmla="*/ 4047 w 9955"/>
                  <a:gd name="connsiteY41" fmla="*/ 3665 h 10000"/>
                  <a:gd name="connsiteX42" fmla="*/ 3613 w 9955"/>
                  <a:gd name="connsiteY42" fmla="*/ 4472 h 10000"/>
                  <a:gd name="connsiteX43" fmla="*/ 4029 w 9955"/>
                  <a:gd name="connsiteY43" fmla="*/ 5280 h 10000"/>
                  <a:gd name="connsiteX44" fmla="*/ 3757 w 9955"/>
                  <a:gd name="connsiteY44" fmla="*/ 5280 h 10000"/>
                  <a:gd name="connsiteX45" fmla="*/ 3631 w 9955"/>
                  <a:gd name="connsiteY45" fmla="*/ 5404 h 10000"/>
                  <a:gd name="connsiteX46" fmla="*/ 3631 w 9955"/>
                  <a:gd name="connsiteY46" fmla="*/ 5404 h 10000"/>
                  <a:gd name="connsiteX47" fmla="*/ 3305 w 9955"/>
                  <a:gd name="connsiteY47" fmla="*/ 6149 h 10000"/>
                  <a:gd name="connsiteX48" fmla="*/ 3124 w 9955"/>
                  <a:gd name="connsiteY48" fmla="*/ 5839 h 10000"/>
                  <a:gd name="connsiteX49" fmla="*/ 3124 w 9955"/>
                  <a:gd name="connsiteY49" fmla="*/ 5807 h 10000"/>
                  <a:gd name="connsiteX50" fmla="*/ 3161 w 9955"/>
                  <a:gd name="connsiteY50" fmla="*/ 5373 h 10000"/>
                  <a:gd name="connsiteX51" fmla="*/ 2311 w 9955"/>
                  <a:gd name="connsiteY51" fmla="*/ 2795 h 10000"/>
                  <a:gd name="connsiteX52" fmla="*/ 2256 w 9955"/>
                  <a:gd name="connsiteY52" fmla="*/ 2671 h 10000"/>
                  <a:gd name="connsiteX53" fmla="*/ 2076 w 9955"/>
                  <a:gd name="connsiteY53" fmla="*/ 2547 h 10000"/>
                  <a:gd name="connsiteX54" fmla="*/ 1642 w 9955"/>
                  <a:gd name="connsiteY54" fmla="*/ 2547 h 10000"/>
                  <a:gd name="connsiteX55" fmla="*/ 2293 w 9955"/>
                  <a:gd name="connsiteY55" fmla="*/ 1273 h 10000"/>
                  <a:gd name="connsiteX56" fmla="*/ 1605 w 9955"/>
                  <a:gd name="connsiteY56" fmla="*/ 0 h 10000"/>
                  <a:gd name="connsiteX57" fmla="*/ 936 w 9955"/>
                  <a:gd name="connsiteY57" fmla="*/ 1273 h 10000"/>
                  <a:gd name="connsiteX58" fmla="*/ 1569 w 9955"/>
                  <a:gd name="connsiteY58" fmla="*/ 2547 h 10000"/>
                  <a:gd name="connsiteX59" fmla="*/ 1135 w 9955"/>
                  <a:gd name="connsiteY59" fmla="*/ 2547 h 10000"/>
                  <a:gd name="connsiteX60" fmla="*/ 973 w 9955"/>
                  <a:gd name="connsiteY60" fmla="*/ 2671 h 10000"/>
                  <a:gd name="connsiteX61" fmla="*/ 900 w 9955"/>
                  <a:gd name="connsiteY61" fmla="*/ 2795 h 10000"/>
                  <a:gd name="connsiteX62" fmla="*/ 32 w 9955"/>
                  <a:gd name="connsiteY62" fmla="*/ 5373 h 10000"/>
                  <a:gd name="connsiteX63" fmla="*/ 68 w 9955"/>
                  <a:gd name="connsiteY63" fmla="*/ 5839 h 10000"/>
                  <a:gd name="connsiteX64" fmla="*/ 177 w 9955"/>
                  <a:gd name="connsiteY64" fmla="*/ 5963 h 10000"/>
                  <a:gd name="connsiteX65" fmla="*/ 412 w 9955"/>
                  <a:gd name="connsiteY65" fmla="*/ 5807 h 10000"/>
                  <a:gd name="connsiteX66" fmla="*/ 973 w 9955"/>
                  <a:gd name="connsiteY66" fmla="*/ 4130 h 10000"/>
                  <a:gd name="connsiteX67" fmla="*/ 973 w 9955"/>
                  <a:gd name="connsiteY67" fmla="*/ 6366 h 10000"/>
                  <a:gd name="connsiteX68" fmla="*/ 991 w 9955"/>
                  <a:gd name="connsiteY68" fmla="*/ 6491 h 10000"/>
                  <a:gd name="connsiteX0" fmla="*/ 8933 w 10000"/>
                  <a:gd name="connsiteY0" fmla="*/ 10000 h 10000"/>
                  <a:gd name="connsiteX1" fmla="*/ 8933 w 10000"/>
                  <a:gd name="connsiteY1" fmla="*/ 7547 h 10000"/>
                  <a:gd name="connsiteX2" fmla="*/ 9841 w 10000"/>
                  <a:gd name="connsiteY2" fmla="*/ 7547 h 10000"/>
                  <a:gd name="connsiteX3" fmla="*/ 9024 w 10000"/>
                  <a:gd name="connsiteY3" fmla="*/ 4720 h 10000"/>
                  <a:gd name="connsiteX4" fmla="*/ 9024 w 10000"/>
                  <a:gd name="connsiteY4" fmla="*/ 4224 h 10000"/>
                  <a:gd name="connsiteX5" fmla="*/ 9605 w 10000"/>
                  <a:gd name="connsiteY5" fmla="*/ 5901 h 10000"/>
                  <a:gd name="connsiteX6" fmla="*/ 9823 w 10000"/>
                  <a:gd name="connsiteY6" fmla="*/ 6056 h 10000"/>
                  <a:gd name="connsiteX7" fmla="*/ 9933 w 10000"/>
                  <a:gd name="connsiteY7" fmla="*/ 5932 h 10000"/>
                  <a:gd name="connsiteX8" fmla="*/ 9969 w 10000"/>
                  <a:gd name="connsiteY8" fmla="*/ 5466 h 10000"/>
                  <a:gd name="connsiteX9" fmla="*/ 9115 w 10000"/>
                  <a:gd name="connsiteY9" fmla="*/ 2888 h 10000"/>
                  <a:gd name="connsiteX10" fmla="*/ 9006 w 10000"/>
                  <a:gd name="connsiteY10" fmla="*/ 2733 h 10000"/>
                  <a:gd name="connsiteX11" fmla="*/ 8879 w 10000"/>
                  <a:gd name="connsiteY11" fmla="*/ 2640 h 10000"/>
                  <a:gd name="connsiteX12" fmla="*/ 8715 w 10000"/>
                  <a:gd name="connsiteY12" fmla="*/ 2640 h 10000"/>
                  <a:gd name="connsiteX13" fmla="*/ 9133 w 10000"/>
                  <a:gd name="connsiteY13" fmla="*/ 1491 h 10000"/>
                  <a:gd name="connsiteX14" fmla="*/ 8443 w 10000"/>
                  <a:gd name="connsiteY14" fmla="*/ 217 h 10000"/>
                  <a:gd name="connsiteX15" fmla="*/ 7771 w 10000"/>
                  <a:gd name="connsiteY15" fmla="*/ 1491 h 10000"/>
                  <a:gd name="connsiteX16" fmla="*/ 8189 w 10000"/>
                  <a:gd name="connsiteY16" fmla="*/ 2640 h 10000"/>
                  <a:gd name="connsiteX17" fmla="*/ 8025 w 10000"/>
                  <a:gd name="connsiteY17" fmla="*/ 2640 h 10000"/>
                  <a:gd name="connsiteX18" fmla="*/ 7879 w 10000"/>
                  <a:gd name="connsiteY18" fmla="*/ 2764 h 10000"/>
                  <a:gd name="connsiteX19" fmla="*/ 7807 w 10000"/>
                  <a:gd name="connsiteY19" fmla="*/ 2888 h 10000"/>
                  <a:gd name="connsiteX20" fmla="*/ 6935 w 10000"/>
                  <a:gd name="connsiteY20" fmla="*/ 5466 h 10000"/>
                  <a:gd name="connsiteX21" fmla="*/ 6899 w 10000"/>
                  <a:gd name="connsiteY21" fmla="*/ 5776 h 10000"/>
                  <a:gd name="connsiteX22" fmla="*/ 6863 w 10000"/>
                  <a:gd name="connsiteY22" fmla="*/ 5807 h 10000"/>
                  <a:gd name="connsiteX23" fmla="*/ 6608 w 10000"/>
                  <a:gd name="connsiteY23" fmla="*/ 6242 h 10000"/>
                  <a:gd name="connsiteX24" fmla="*/ 6263 w 10000"/>
                  <a:gd name="connsiteY24" fmla="*/ 5466 h 10000"/>
                  <a:gd name="connsiteX25" fmla="*/ 6263 w 10000"/>
                  <a:gd name="connsiteY25" fmla="*/ 5435 h 10000"/>
                  <a:gd name="connsiteX26" fmla="*/ 6172 w 10000"/>
                  <a:gd name="connsiteY26" fmla="*/ 5342 h 10000"/>
                  <a:gd name="connsiteX27" fmla="*/ 6081 w 10000"/>
                  <a:gd name="connsiteY27" fmla="*/ 5342 h 10000"/>
                  <a:gd name="connsiteX28" fmla="*/ 6336 w 10000"/>
                  <a:gd name="connsiteY28" fmla="*/ 4627 h 10000"/>
                  <a:gd name="connsiteX29" fmla="*/ 5900 w 10000"/>
                  <a:gd name="connsiteY29" fmla="*/ 3820 h 10000"/>
                  <a:gd name="connsiteX30" fmla="*/ 5464 w 10000"/>
                  <a:gd name="connsiteY30" fmla="*/ 4627 h 10000"/>
                  <a:gd name="connsiteX31" fmla="*/ 5718 w 10000"/>
                  <a:gd name="connsiteY31" fmla="*/ 5342 h 10000"/>
                  <a:gd name="connsiteX32" fmla="*/ 5627 w 10000"/>
                  <a:gd name="connsiteY32" fmla="*/ 5342 h 10000"/>
                  <a:gd name="connsiteX33" fmla="*/ 5536 w 10000"/>
                  <a:gd name="connsiteY33" fmla="*/ 5404 h 10000"/>
                  <a:gd name="connsiteX34" fmla="*/ 5500 w 10000"/>
                  <a:gd name="connsiteY34" fmla="*/ 5497 h 10000"/>
                  <a:gd name="connsiteX35" fmla="*/ 5010 w 10000"/>
                  <a:gd name="connsiteY35" fmla="*/ 6925 h 10000"/>
                  <a:gd name="connsiteX36" fmla="*/ 4519 w 10000"/>
                  <a:gd name="connsiteY36" fmla="*/ 5435 h 10000"/>
                  <a:gd name="connsiteX37" fmla="*/ 4483 w 10000"/>
                  <a:gd name="connsiteY37" fmla="*/ 5373 h 10000"/>
                  <a:gd name="connsiteX38" fmla="*/ 4374 w 10000"/>
                  <a:gd name="connsiteY38" fmla="*/ 5280 h 10000"/>
                  <a:gd name="connsiteX39" fmla="*/ 4101 w 10000"/>
                  <a:gd name="connsiteY39" fmla="*/ 5280 h 10000"/>
                  <a:gd name="connsiteX40" fmla="*/ 4501 w 10000"/>
                  <a:gd name="connsiteY40" fmla="*/ 4472 h 10000"/>
                  <a:gd name="connsiteX41" fmla="*/ 4065 w 10000"/>
                  <a:gd name="connsiteY41" fmla="*/ 3665 h 10000"/>
                  <a:gd name="connsiteX42" fmla="*/ 3629 w 10000"/>
                  <a:gd name="connsiteY42" fmla="*/ 4472 h 10000"/>
                  <a:gd name="connsiteX43" fmla="*/ 4047 w 10000"/>
                  <a:gd name="connsiteY43" fmla="*/ 5280 h 10000"/>
                  <a:gd name="connsiteX44" fmla="*/ 3774 w 10000"/>
                  <a:gd name="connsiteY44" fmla="*/ 5280 h 10000"/>
                  <a:gd name="connsiteX45" fmla="*/ 3647 w 10000"/>
                  <a:gd name="connsiteY45" fmla="*/ 5404 h 10000"/>
                  <a:gd name="connsiteX46" fmla="*/ 3647 w 10000"/>
                  <a:gd name="connsiteY46" fmla="*/ 5404 h 10000"/>
                  <a:gd name="connsiteX47" fmla="*/ 3320 w 10000"/>
                  <a:gd name="connsiteY47" fmla="*/ 6149 h 10000"/>
                  <a:gd name="connsiteX48" fmla="*/ 3138 w 10000"/>
                  <a:gd name="connsiteY48" fmla="*/ 5839 h 10000"/>
                  <a:gd name="connsiteX49" fmla="*/ 3138 w 10000"/>
                  <a:gd name="connsiteY49" fmla="*/ 5807 h 10000"/>
                  <a:gd name="connsiteX50" fmla="*/ 3175 w 10000"/>
                  <a:gd name="connsiteY50" fmla="*/ 5373 h 10000"/>
                  <a:gd name="connsiteX51" fmla="*/ 2321 w 10000"/>
                  <a:gd name="connsiteY51" fmla="*/ 2795 h 10000"/>
                  <a:gd name="connsiteX52" fmla="*/ 2266 w 10000"/>
                  <a:gd name="connsiteY52" fmla="*/ 2671 h 10000"/>
                  <a:gd name="connsiteX53" fmla="*/ 2085 w 10000"/>
                  <a:gd name="connsiteY53" fmla="*/ 2547 h 10000"/>
                  <a:gd name="connsiteX54" fmla="*/ 1649 w 10000"/>
                  <a:gd name="connsiteY54" fmla="*/ 2547 h 10000"/>
                  <a:gd name="connsiteX55" fmla="*/ 2303 w 10000"/>
                  <a:gd name="connsiteY55" fmla="*/ 1273 h 10000"/>
                  <a:gd name="connsiteX56" fmla="*/ 1612 w 10000"/>
                  <a:gd name="connsiteY56" fmla="*/ 0 h 10000"/>
                  <a:gd name="connsiteX57" fmla="*/ 940 w 10000"/>
                  <a:gd name="connsiteY57" fmla="*/ 1273 h 10000"/>
                  <a:gd name="connsiteX58" fmla="*/ 1576 w 10000"/>
                  <a:gd name="connsiteY58" fmla="*/ 2547 h 10000"/>
                  <a:gd name="connsiteX59" fmla="*/ 1140 w 10000"/>
                  <a:gd name="connsiteY59" fmla="*/ 2547 h 10000"/>
                  <a:gd name="connsiteX60" fmla="*/ 977 w 10000"/>
                  <a:gd name="connsiteY60" fmla="*/ 2671 h 10000"/>
                  <a:gd name="connsiteX61" fmla="*/ 904 w 10000"/>
                  <a:gd name="connsiteY61" fmla="*/ 2795 h 10000"/>
                  <a:gd name="connsiteX62" fmla="*/ 32 w 10000"/>
                  <a:gd name="connsiteY62" fmla="*/ 5373 h 10000"/>
                  <a:gd name="connsiteX63" fmla="*/ 68 w 10000"/>
                  <a:gd name="connsiteY63" fmla="*/ 5839 h 10000"/>
                  <a:gd name="connsiteX64" fmla="*/ 178 w 10000"/>
                  <a:gd name="connsiteY64" fmla="*/ 5963 h 10000"/>
                  <a:gd name="connsiteX65" fmla="*/ 414 w 10000"/>
                  <a:gd name="connsiteY65" fmla="*/ 5807 h 10000"/>
                  <a:gd name="connsiteX66" fmla="*/ 977 w 10000"/>
                  <a:gd name="connsiteY66" fmla="*/ 4130 h 10000"/>
                  <a:gd name="connsiteX67" fmla="*/ 977 w 10000"/>
                  <a:gd name="connsiteY67" fmla="*/ 6366 h 10000"/>
                  <a:gd name="connsiteX0" fmla="*/ 8933 w 10000"/>
                  <a:gd name="connsiteY0" fmla="*/ 10000 h 10000"/>
                  <a:gd name="connsiteX1" fmla="*/ 8933 w 10000"/>
                  <a:gd name="connsiteY1" fmla="*/ 7547 h 10000"/>
                  <a:gd name="connsiteX2" fmla="*/ 9841 w 10000"/>
                  <a:gd name="connsiteY2" fmla="*/ 7547 h 10000"/>
                  <a:gd name="connsiteX3" fmla="*/ 9024 w 10000"/>
                  <a:gd name="connsiteY3" fmla="*/ 4720 h 10000"/>
                  <a:gd name="connsiteX4" fmla="*/ 9024 w 10000"/>
                  <a:gd name="connsiteY4" fmla="*/ 4224 h 10000"/>
                  <a:gd name="connsiteX5" fmla="*/ 9605 w 10000"/>
                  <a:gd name="connsiteY5" fmla="*/ 5901 h 10000"/>
                  <a:gd name="connsiteX6" fmla="*/ 9823 w 10000"/>
                  <a:gd name="connsiteY6" fmla="*/ 6056 h 10000"/>
                  <a:gd name="connsiteX7" fmla="*/ 9933 w 10000"/>
                  <a:gd name="connsiteY7" fmla="*/ 5932 h 10000"/>
                  <a:gd name="connsiteX8" fmla="*/ 9969 w 10000"/>
                  <a:gd name="connsiteY8" fmla="*/ 5466 h 10000"/>
                  <a:gd name="connsiteX9" fmla="*/ 9115 w 10000"/>
                  <a:gd name="connsiteY9" fmla="*/ 2888 h 10000"/>
                  <a:gd name="connsiteX10" fmla="*/ 9006 w 10000"/>
                  <a:gd name="connsiteY10" fmla="*/ 2733 h 10000"/>
                  <a:gd name="connsiteX11" fmla="*/ 8879 w 10000"/>
                  <a:gd name="connsiteY11" fmla="*/ 2640 h 10000"/>
                  <a:gd name="connsiteX12" fmla="*/ 8715 w 10000"/>
                  <a:gd name="connsiteY12" fmla="*/ 2640 h 10000"/>
                  <a:gd name="connsiteX13" fmla="*/ 9133 w 10000"/>
                  <a:gd name="connsiteY13" fmla="*/ 1491 h 10000"/>
                  <a:gd name="connsiteX14" fmla="*/ 8443 w 10000"/>
                  <a:gd name="connsiteY14" fmla="*/ 217 h 10000"/>
                  <a:gd name="connsiteX15" fmla="*/ 7771 w 10000"/>
                  <a:gd name="connsiteY15" fmla="*/ 1491 h 10000"/>
                  <a:gd name="connsiteX16" fmla="*/ 8189 w 10000"/>
                  <a:gd name="connsiteY16" fmla="*/ 2640 h 10000"/>
                  <a:gd name="connsiteX17" fmla="*/ 8025 w 10000"/>
                  <a:gd name="connsiteY17" fmla="*/ 2640 h 10000"/>
                  <a:gd name="connsiteX18" fmla="*/ 7879 w 10000"/>
                  <a:gd name="connsiteY18" fmla="*/ 2764 h 10000"/>
                  <a:gd name="connsiteX19" fmla="*/ 7807 w 10000"/>
                  <a:gd name="connsiteY19" fmla="*/ 2888 h 10000"/>
                  <a:gd name="connsiteX20" fmla="*/ 6935 w 10000"/>
                  <a:gd name="connsiteY20" fmla="*/ 5466 h 10000"/>
                  <a:gd name="connsiteX21" fmla="*/ 6899 w 10000"/>
                  <a:gd name="connsiteY21" fmla="*/ 5776 h 10000"/>
                  <a:gd name="connsiteX22" fmla="*/ 6863 w 10000"/>
                  <a:gd name="connsiteY22" fmla="*/ 5807 h 10000"/>
                  <a:gd name="connsiteX23" fmla="*/ 6608 w 10000"/>
                  <a:gd name="connsiteY23" fmla="*/ 6242 h 10000"/>
                  <a:gd name="connsiteX24" fmla="*/ 6263 w 10000"/>
                  <a:gd name="connsiteY24" fmla="*/ 5466 h 10000"/>
                  <a:gd name="connsiteX25" fmla="*/ 6263 w 10000"/>
                  <a:gd name="connsiteY25" fmla="*/ 5435 h 10000"/>
                  <a:gd name="connsiteX26" fmla="*/ 6172 w 10000"/>
                  <a:gd name="connsiteY26" fmla="*/ 5342 h 10000"/>
                  <a:gd name="connsiteX27" fmla="*/ 6081 w 10000"/>
                  <a:gd name="connsiteY27" fmla="*/ 5342 h 10000"/>
                  <a:gd name="connsiteX28" fmla="*/ 6336 w 10000"/>
                  <a:gd name="connsiteY28" fmla="*/ 4627 h 10000"/>
                  <a:gd name="connsiteX29" fmla="*/ 5900 w 10000"/>
                  <a:gd name="connsiteY29" fmla="*/ 3820 h 10000"/>
                  <a:gd name="connsiteX30" fmla="*/ 5464 w 10000"/>
                  <a:gd name="connsiteY30" fmla="*/ 4627 h 10000"/>
                  <a:gd name="connsiteX31" fmla="*/ 5718 w 10000"/>
                  <a:gd name="connsiteY31" fmla="*/ 5342 h 10000"/>
                  <a:gd name="connsiteX32" fmla="*/ 5627 w 10000"/>
                  <a:gd name="connsiteY32" fmla="*/ 5342 h 10000"/>
                  <a:gd name="connsiteX33" fmla="*/ 5536 w 10000"/>
                  <a:gd name="connsiteY33" fmla="*/ 5404 h 10000"/>
                  <a:gd name="connsiteX34" fmla="*/ 5500 w 10000"/>
                  <a:gd name="connsiteY34" fmla="*/ 5497 h 10000"/>
                  <a:gd name="connsiteX35" fmla="*/ 5010 w 10000"/>
                  <a:gd name="connsiteY35" fmla="*/ 6925 h 10000"/>
                  <a:gd name="connsiteX36" fmla="*/ 4519 w 10000"/>
                  <a:gd name="connsiteY36" fmla="*/ 5435 h 10000"/>
                  <a:gd name="connsiteX37" fmla="*/ 4483 w 10000"/>
                  <a:gd name="connsiteY37" fmla="*/ 5373 h 10000"/>
                  <a:gd name="connsiteX38" fmla="*/ 4374 w 10000"/>
                  <a:gd name="connsiteY38" fmla="*/ 5280 h 10000"/>
                  <a:gd name="connsiteX39" fmla="*/ 4101 w 10000"/>
                  <a:gd name="connsiteY39" fmla="*/ 5280 h 10000"/>
                  <a:gd name="connsiteX40" fmla="*/ 4501 w 10000"/>
                  <a:gd name="connsiteY40" fmla="*/ 4472 h 10000"/>
                  <a:gd name="connsiteX41" fmla="*/ 4065 w 10000"/>
                  <a:gd name="connsiteY41" fmla="*/ 3665 h 10000"/>
                  <a:gd name="connsiteX42" fmla="*/ 3629 w 10000"/>
                  <a:gd name="connsiteY42" fmla="*/ 4472 h 10000"/>
                  <a:gd name="connsiteX43" fmla="*/ 4047 w 10000"/>
                  <a:gd name="connsiteY43" fmla="*/ 5280 h 10000"/>
                  <a:gd name="connsiteX44" fmla="*/ 3774 w 10000"/>
                  <a:gd name="connsiteY44" fmla="*/ 5280 h 10000"/>
                  <a:gd name="connsiteX45" fmla="*/ 3647 w 10000"/>
                  <a:gd name="connsiteY45" fmla="*/ 5404 h 10000"/>
                  <a:gd name="connsiteX46" fmla="*/ 3647 w 10000"/>
                  <a:gd name="connsiteY46" fmla="*/ 5404 h 10000"/>
                  <a:gd name="connsiteX47" fmla="*/ 3320 w 10000"/>
                  <a:gd name="connsiteY47" fmla="*/ 6149 h 10000"/>
                  <a:gd name="connsiteX48" fmla="*/ 3138 w 10000"/>
                  <a:gd name="connsiteY48" fmla="*/ 5839 h 10000"/>
                  <a:gd name="connsiteX49" fmla="*/ 3138 w 10000"/>
                  <a:gd name="connsiteY49" fmla="*/ 5807 h 10000"/>
                  <a:gd name="connsiteX50" fmla="*/ 3175 w 10000"/>
                  <a:gd name="connsiteY50" fmla="*/ 5373 h 10000"/>
                  <a:gd name="connsiteX51" fmla="*/ 2321 w 10000"/>
                  <a:gd name="connsiteY51" fmla="*/ 2795 h 10000"/>
                  <a:gd name="connsiteX52" fmla="*/ 2266 w 10000"/>
                  <a:gd name="connsiteY52" fmla="*/ 2671 h 10000"/>
                  <a:gd name="connsiteX53" fmla="*/ 2085 w 10000"/>
                  <a:gd name="connsiteY53" fmla="*/ 2547 h 10000"/>
                  <a:gd name="connsiteX54" fmla="*/ 1649 w 10000"/>
                  <a:gd name="connsiteY54" fmla="*/ 2547 h 10000"/>
                  <a:gd name="connsiteX55" fmla="*/ 2303 w 10000"/>
                  <a:gd name="connsiteY55" fmla="*/ 1273 h 10000"/>
                  <a:gd name="connsiteX56" fmla="*/ 1612 w 10000"/>
                  <a:gd name="connsiteY56" fmla="*/ 0 h 10000"/>
                  <a:gd name="connsiteX57" fmla="*/ 940 w 10000"/>
                  <a:gd name="connsiteY57" fmla="*/ 1273 h 10000"/>
                  <a:gd name="connsiteX58" fmla="*/ 1576 w 10000"/>
                  <a:gd name="connsiteY58" fmla="*/ 2547 h 10000"/>
                  <a:gd name="connsiteX59" fmla="*/ 1140 w 10000"/>
                  <a:gd name="connsiteY59" fmla="*/ 2547 h 10000"/>
                  <a:gd name="connsiteX60" fmla="*/ 977 w 10000"/>
                  <a:gd name="connsiteY60" fmla="*/ 2671 h 10000"/>
                  <a:gd name="connsiteX61" fmla="*/ 904 w 10000"/>
                  <a:gd name="connsiteY61" fmla="*/ 2795 h 10000"/>
                  <a:gd name="connsiteX62" fmla="*/ 32 w 10000"/>
                  <a:gd name="connsiteY62" fmla="*/ 5373 h 10000"/>
                  <a:gd name="connsiteX63" fmla="*/ 68 w 10000"/>
                  <a:gd name="connsiteY63" fmla="*/ 5839 h 10000"/>
                  <a:gd name="connsiteX64" fmla="*/ 178 w 10000"/>
                  <a:gd name="connsiteY64" fmla="*/ 5963 h 10000"/>
                  <a:gd name="connsiteX65" fmla="*/ 414 w 10000"/>
                  <a:gd name="connsiteY65" fmla="*/ 5807 h 10000"/>
                  <a:gd name="connsiteX66" fmla="*/ 977 w 10000"/>
                  <a:gd name="connsiteY66" fmla="*/ 4130 h 10000"/>
                  <a:gd name="connsiteX0" fmla="*/ 8933 w 10000"/>
                  <a:gd name="connsiteY0" fmla="*/ 10000 h 10000"/>
                  <a:gd name="connsiteX1" fmla="*/ 8933 w 10000"/>
                  <a:gd name="connsiteY1" fmla="*/ 7547 h 10000"/>
                  <a:gd name="connsiteX2" fmla="*/ 9841 w 10000"/>
                  <a:gd name="connsiteY2" fmla="*/ 7547 h 10000"/>
                  <a:gd name="connsiteX3" fmla="*/ 9024 w 10000"/>
                  <a:gd name="connsiteY3" fmla="*/ 4720 h 10000"/>
                  <a:gd name="connsiteX4" fmla="*/ 9024 w 10000"/>
                  <a:gd name="connsiteY4" fmla="*/ 4224 h 10000"/>
                  <a:gd name="connsiteX5" fmla="*/ 9605 w 10000"/>
                  <a:gd name="connsiteY5" fmla="*/ 5901 h 10000"/>
                  <a:gd name="connsiteX6" fmla="*/ 9823 w 10000"/>
                  <a:gd name="connsiteY6" fmla="*/ 6056 h 10000"/>
                  <a:gd name="connsiteX7" fmla="*/ 9933 w 10000"/>
                  <a:gd name="connsiteY7" fmla="*/ 5932 h 10000"/>
                  <a:gd name="connsiteX8" fmla="*/ 9969 w 10000"/>
                  <a:gd name="connsiteY8" fmla="*/ 5466 h 10000"/>
                  <a:gd name="connsiteX9" fmla="*/ 9115 w 10000"/>
                  <a:gd name="connsiteY9" fmla="*/ 2888 h 10000"/>
                  <a:gd name="connsiteX10" fmla="*/ 9006 w 10000"/>
                  <a:gd name="connsiteY10" fmla="*/ 2733 h 10000"/>
                  <a:gd name="connsiteX11" fmla="*/ 8879 w 10000"/>
                  <a:gd name="connsiteY11" fmla="*/ 2640 h 10000"/>
                  <a:gd name="connsiteX12" fmla="*/ 8715 w 10000"/>
                  <a:gd name="connsiteY12" fmla="*/ 2640 h 10000"/>
                  <a:gd name="connsiteX13" fmla="*/ 9133 w 10000"/>
                  <a:gd name="connsiteY13" fmla="*/ 1491 h 10000"/>
                  <a:gd name="connsiteX14" fmla="*/ 8443 w 10000"/>
                  <a:gd name="connsiteY14" fmla="*/ 217 h 10000"/>
                  <a:gd name="connsiteX15" fmla="*/ 7771 w 10000"/>
                  <a:gd name="connsiteY15" fmla="*/ 1491 h 10000"/>
                  <a:gd name="connsiteX16" fmla="*/ 8189 w 10000"/>
                  <a:gd name="connsiteY16" fmla="*/ 2640 h 10000"/>
                  <a:gd name="connsiteX17" fmla="*/ 8025 w 10000"/>
                  <a:gd name="connsiteY17" fmla="*/ 2640 h 10000"/>
                  <a:gd name="connsiteX18" fmla="*/ 7879 w 10000"/>
                  <a:gd name="connsiteY18" fmla="*/ 2764 h 10000"/>
                  <a:gd name="connsiteX19" fmla="*/ 7807 w 10000"/>
                  <a:gd name="connsiteY19" fmla="*/ 2888 h 10000"/>
                  <a:gd name="connsiteX20" fmla="*/ 6935 w 10000"/>
                  <a:gd name="connsiteY20" fmla="*/ 5466 h 10000"/>
                  <a:gd name="connsiteX21" fmla="*/ 6899 w 10000"/>
                  <a:gd name="connsiteY21" fmla="*/ 5776 h 10000"/>
                  <a:gd name="connsiteX22" fmla="*/ 6863 w 10000"/>
                  <a:gd name="connsiteY22" fmla="*/ 5807 h 10000"/>
                  <a:gd name="connsiteX23" fmla="*/ 6608 w 10000"/>
                  <a:gd name="connsiteY23" fmla="*/ 6242 h 10000"/>
                  <a:gd name="connsiteX24" fmla="*/ 6263 w 10000"/>
                  <a:gd name="connsiteY24" fmla="*/ 5466 h 10000"/>
                  <a:gd name="connsiteX25" fmla="*/ 6263 w 10000"/>
                  <a:gd name="connsiteY25" fmla="*/ 5435 h 10000"/>
                  <a:gd name="connsiteX26" fmla="*/ 6172 w 10000"/>
                  <a:gd name="connsiteY26" fmla="*/ 5342 h 10000"/>
                  <a:gd name="connsiteX27" fmla="*/ 6081 w 10000"/>
                  <a:gd name="connsiteY27" fmla="*/ 5342 h 10000"/>
                  <a:gd name="connsiteX28" fmla="*/ 6336 w 10000"/>
                  <a:gd name="connsiteY28" fmla="*/ 4627 h 10000"/>
                  <a:gd name="connsiteX29" fmla="*/ 5900 w 10000"/>
                  <a:gd name="connsiteY29" fmla="*/ 3820 h 10000"/>
                  <a:gd name="connsiteX30" fmla="*/ 5464 w 10000"/>
                  <a:gd name="connsiteY30" fmla="*/ 4627 h 10000"/>
                  <a:gd name="connsiteX31" fmla="*/ 5718 w 10000"/>
                  <a:gd name="connsiteY31" fmla="*/ 5342 h 10000"/>
                  <a:gd name="connsiteX32" fmla="*/ 5627 w 10000"/>
                  <a:gd name="connsiteY32" fmla="*/ 5342 h 10000"/>
                  <a:gd name="connsiteX33" fmla="*/ 5536 w 10000"/>
                  <a:gd name="connsiteY33" fmla="*/ 5404 h 10000"/>
                  <a:gd name="connsiteX34" fmla="*/ 5500 w 10000"/>
                  <a:gd name="connsiteY34" fmla="*/ 5497 h 10000"/>
                  <a:gd name="connsiteX35" fmla="*/ 5010 w 10000"/>
                  <a:gd name="connsiteY35" fmla="*/ 6925 h 10000"/>
                  <a:gd name="connsiteX36" fmla="*/ 4519 w 10000"/>
                  <a:gd name="connsiteY36" fmla="*/ 5435 h 10000"/>
                  <a:gd name="connsiteX37" fmla="*/ 4483 w 10000"/>
                  <a:gd name="connsiteY37" fmla="*/ 5373 h 10000"/>
                  <a:gd name="connsiteX38" fmla="*/ 4374 w 10000"/>
                  <a:gd name="connsiteY38" fmla="*/ 5280 h 10000"/>
                  <a:gd name="connsiteX39" fmla="*/ 4101 w 10000"/>
                  <a:gd name="connsiteY39" fmla="*/ 5280 h 10000"/>
                  <a:gd name="connsiteX40" fmla="*/ 4501 w 10000"/>
                  <a:gd name="connsiteY40" fmla="*/ 4472 h 10000"/>
                  <a:gd name="connsiteX41" fmla="*/ 4065 w 10000"/>
                  <a:gd name="connsiteY41" fmla="*/ 3665 h 10000"/>
                  <a:gd name="connsiteX42" fmla="*/ 3629 w 10000"/>
                  <a:gd name="connsiteY42" fmla="*/ 4472 h 10000"/>
                  <a:gd name="connsiteX43" fmla="*/ 4047 w 10000"/>
                  <a:gd name="connsiteY43" fmla="*/ 5280 h 10000"/>
                  <a:gd name="connsiteX44" fmla="*/ 3774 w 10000"/>
                  <a:gd name="connsiteY44" fmla="*/ 5280 h 10000"/>
                  <a:gd name="connsiteX45" fmla="*/ 3647 w 10000"/>
                  <a:gd name="connsiteY45" fmla="*/ 5404 h 10000"/>
                  <a:gd name="connsiteX46" fmla="*/ 3647 w 10000"/>
                  <a:gd name="connsiteY46" fmla="*/ 5404 h 10000"/>
                  <a:gd name="connsiteX47" fmla="*/ 3320 w 10000"/>
                  <a:gd name="connsiteY47" fmla="*/ 6149 h 10000"/>
                  <a:gd name="connsiteX48" fmla="*/ 3138 w 10000"/>
                  <a:gd name="connsiteY48" fmla="*/ 5839 h 10000"/>
                  <a:gd name="connsiteX49" fmla="*/ 3138 w 10000"/>
                  <a:gd name="connsiteY49" fmla="*/ 5807 h 10000"/>
                  <a:gd name="connsiteX50" fmla="*/ 3175 w 10000"/>
                  <a:gd name="connsiteY50" fmla="*/ 5373 h 10000"/>
                  <a:gd name="connsiteX51" fmla="*/ 2321 w 10000"/>
                  <a:gd name="connsiteY51" fmla="*/ 2795 h 10000"/>
                  <a:gd name="connsiteX52" fmla="*/ 2266 w 10000"/>
                  <a:gd name="connsiteY52" fmla="*/ 2671 h 10000"/>
                  <a:gd name="connsiteX53" fmla="*/ 2085 w 10000"/>
                  <a:gd name="connsiteY53" fmla="*/ 2547 h 10000"/>
                  <a:gd name="connsiteX54" fmla="*/ 1649 w 10000"/>
                  <a:gd name="connsiteY54" fmla="*/ 2547 h 10000"/>
                  <a:gd name="connsiteX55" fmla="*/ 2303 w 10000"/>
                  <a:gd name="connsiteY55" fmla="*/ 1273 h 10000"/>
                  <a:gd name="connsiteX56" fmla="*/ 1612 w 10000"/>
                  <a:gd name="connsiteY56" fmla="*/ 0 h 10000"/>
                  <a:gd name="connsiteX57" fmla="*/ 940 w 10000"/>
                  <a:gd name="connsiteY57" fmla="*/ 1273 h 10000"/>
                  <a:gd name="connsiteX58" fmla="*/ 1576 w 10000"/>
                  <a:gd name="connsiteY58" fmla="*/ 2547 h 10000"/>
                  <a:gd name="connsiteX59" fmla="*/ 1140 w 10000"/>
                  <a:gd name="connsiteY59" fmla="*/ 2547 h 10000"/>
                  <a:gd name="connsiteX60" fmla="*/ 977 w 10000"/>
                  <a:gd name="connsiteY60" fmla="*/ 2671 h 10000"/>
                  <a:gd name="connsiteX61" fmla="*/ 904 w 10000"/>
                  <a:gd name="connsiteY61" fmla="*/ 2795 h 10000"/>
                  <a:gd name="connsiteX62" fmla="*/ 32 w 10000"/>
                  <a:gd name="connsiteY62" fmla="*/ 5373 h 10000"/>
                  <a:gd name="connsiteX63" fmla="*/ 68 w 10000"/>
                  <a:gd name="connsiteY63" fmla="*/ 5839 h 10000"/>
                  <a:gd name="connsiteX64" fmla="*/ 178 w 10000"/>
                  <a:gd name="connsiteY64" fmla="*/ 5963 h 10000"/>
                  <a:gd name="connsiteX65" fmla="*/ 977 w 10000"/>
                  <a:gd name="connsiteY65" fmla="*/ 4130 h 10000"/>
                  <a:gd name="connsiteX0" fmla="*/ 8933 w 10000"/>
                  <a:gd name="connsiteY0" fmla="*/ 10000 h 10000"/>
                  <a:gd name="connsiteX1" fmla="*/ 8933 w 10000"/>
                  <a:gd name="connsiteY1" fmla="*/ 7547 h 10000"/>
                  <a:gd name="connsiteX2" fmla="*/ 9841 w 10000"/>
                  <a:gd name="connsiteY2" fmla="*/ 7547 h 10000"/>
                  <a:gd name="connsiteX3" fmla="*/ 9024 w 10000"/>
                  <a:gd name="connsiteY3" fmla="*/ 4720 h 10000"/>
                  <a:gd name="connsiteX4" fmla="*/ 9024 w 10000"/>
                  <a:gd name="connsiteY4" fmla="*/ 4224 h 10000"/>
                  <a:gd name="connsiteX5" fmla="*/ 9605 w 10000"/>
                  <a:gd name="connsiteY5" fmla="*/ 5901 h 10000"/>
                  <a:gd name="connsiteX6" fmla="*/ 9823 w 10000"/>
                  <a:gd name="connsiteY6" fmla="*/ 6056 h 10000"/>
                  <a:gd name="connsiteX7" fmla="*/ 9933 w 10000"/>
                  <a:gd name="connsiteY7" fmla="*/ 5932 h 10000"/>
                  <a:gd name="connsiteX8" fmla="*/ 9969 w 10000"/>
                  <a:gd name="connsiteY8" fmla="*/ 5466 h 10000"/>
                  <a:gd name="connsiteX9" fmla="*/ 9115 w 10000"/>
                  <a:gd name="connsiteY9" fmla="*/ 2888 h 10000"/>
                  <a:gd name="connsiteX10" fmla="*/ 9006 w 10000"/>
                  <a:gd name="connsiteY10" fmla="*/ 2733 h 10000"/>
                  <a:gd name="connsiteX11" fmla="*/ 8879 w 10000"/>
                  <a:gd name="connsiteY11" fmla="*/ 2640 h 10000"/>
                  <a:gd name="connsiteX12" fmla="*/ 8715 w 10000"/>
                  <a:gd name="connsiteY12" fmla="*/ 2640 h 10000"/>
                  <a:gd name="connsiteX13" fmla="*/ 9133 w 10000"/>
                  <a:gd name="connsiteY13" fmla="*/ 1491 h 10000"/>
                  <a:gd name="connsiteX14" fmla="*/ 8443 w 10000"/>
                  <a:gd name="connsiteY14" fmla="*/ 217 h 10000"/>
                  <a:gd name="connsiteX15" fmla="*/ 7771 w 10000"/>
                  <a:gd name="connsiteY15" fmla="*/ 1491 h 10000"/>
                  <a:gd name="connsiteX16" fmla="*/ 8189 w 10000"/>
                  <a:gd name="connsiteY16" fmla="*/ 2640 h 10000"/>
                  <a:gd name="connsiteX17" fmla="*/ 8025 w 10000"/>
                  <a:gd name="connsiteY17" fmla="*/ 2640 h 10000"/>
                  <a:gd name="connsiteX18" fmla="*/ 7879 w 10000"/>
                  <a:gd name="connsiteY18" fmla="*/ 2764 h 10000"/>
                  <a:gd name="connsiteX19" fmla="*/ 7807 w 10000"/>
                  <a:gd name="connsiteY19" fmla="*/ 2888 h 10000"/>
                  <a:gd name="connsiteX20" fmla="*/ 6935 w 10000"/>
                  <a:gd name="connsiteY20" fmla="*/ 5466 h 10000"/>
                  <a:gd name="connsiteX21" fmla="*/ 6899 w 10000"/>
                  <a:gd name="connsiteY21" fmla="*/ 5776 h 10000"/>
                  <a:gd name="connsiteX22" fmla="*/ 6863 w 10000"/>
                  <a:gd name="connsiteY22" fmla="*/ 5807 h 10000"/>
                  <a:gd name="connsiteX23" fmla="*/ 6608 w 10000"/>
                  <a:gd name="connsiteY23" fmla="*/ 6242 h 10000"/>
                  <a:gd name="connsiteX24" fmla="*/ 6263 w 10000"/>
                  <a:gd name="connsiteY24" fmla="*/ 5466 h 10000"/>
                  <a:gd name="connsiteX25" fmla="*/ 6263 w 10000"/>
                  <a:gd name="connsiteY25" fmla="*/ 5435 h 10000"/>
                  <a:gd name="connsiteX26" fmla="*/ 6172 w 10000"/>
                  <a:gd name="connsiteY26" fmla="*/ 5342 h 10000"/>
                  <a:gd name="connsiteX27" fmla="*/ 6081 w 10000"/>
                  <a:gd name="connsiteY27" fmla="*/ 5342 h 10000"/>
                  <a:gd name="connsiteX28" fmla="*/ 6336 w 10000"/>
                  <a:gd name="connsiteY28" fmla="*/ 4627 h 10000"/>
                  <a:gd name="connsiteX29" fmla="*/ 5900 w 10000"/>
                  <a:gd name="connsiteY29" fmla="*/ 3820 h 10000"/>
                  <a:gd name="connsiteX30" fmla="*/ 5464 w 10000"/>
                  <a:gd name="connsiteY30" fmla="*/ 4627 h 10000"/>
                  <a:gd name="connsiteX31" fmla="*/ 5718 w 10000"/>
                  <a:gd name="connsiteY31" fmla="*/ 5342 h 10000"/>
                  <a:gd name="connsiteX32" fmla="*/ 5627 w 10000"/>
                  <a:gd name="connsiteY32" fmla="*/ 5342 h 10000"/>
                  <a:gd name="connsiteX33" fmla="*/ 5536 w 10000"/>
                  <a:gd name="connsiteY33" fmla="*/ 5404 h 10000"/>
                  <a:gd name="connsiteX34" fmla="*/ 5500 w 10000"/>
                  <a:gd name="connsiteY34" fmla="*/ 5497 h 10000"/>
                  <a:gd name="connsiteX35" fmla="*/ 5010 w 10000"/>
                  <a:gd name="connsiteY35" fmla="*/ 6925 h 10000"/>
                  <a:gd name="connsiteX36" fmla="*/ 4519 w 10000"/>
                  <a:gd name="connsiteY36" fmla="*/ 5435 h 10000"/>
                  <a:gd name="connsiteX37" fmla="*/ 4483 w 10000"/>
                  <a:gd name="connsiteY37" fmla="*/ 5373 h 10000"/>
                  <a:gd name="connsiteX38" fmla="*/ 4374 w 10000"/>
                  <a:gd name="connsiteY38" fmla="*/ 5280 h 10000"/>
                  <a:gd name="connsiteX39" fmla="*/ 4101 w 10000"/>
                  <a:gd name="connsiteY39" fmla="*/ 5280 h 10000"/>
                  <a:gd name="connsiteX40" fmla="*/ 4501 w 10000"/>
                  <a:gd name="connsiteY40" fmla="*/ 4472 h 10000"/>
                  <a:gd name="connsiteX41" fmla="*/ 4065 w 10000"/>
                  <a:gd name="connsiteY41" fmla="*/ 3665 h 10000"/>
                  <a:gd name="connsiteX42" fmla="*/ 3629 w 10000"/>
                  <a:gd name="connsiteY42" fmla="*/ 4472 h 10000"/>
                  <a:gd name="connsiteX43" fmla="*/ 4047 w 10000"/>
                  <a:gd name="connsiteY43" fmla="*/ 5280 h 10000"/>
                  <a:gd name="connsiteX44" fmla="*/ 3774 w 10000"/>
                  <a:gd name="connsiteY44" fmla="*/ 5280 h 10000"/>
                  <a:gd name="connsiteX45" fmla="*/ 3647 w 10000"/>
                  <a:gd name="connsiteY45" fmla="*/ 5404 h 10000"/>
                  <a:gd name="connsiteX46" fmla="*/ 3647 w 10000"/>
                  <a:gd name="connsiteY46" fmla="*/ 5404 h 10000"/>
                  <a:gd name="connsiteX47" fmla="*/ 3320 w 10000"/>
                  <a:gd name="connsiteY47" fmla="*/ 6149 h 10000"/>
                  <a:gd name="connsiteX48" fmla="*/ 3138 w 10000"/>
                  <a:gd name="connsiteY48" fmla="*/ 5839 h 10000"/>
                  <a:gd name="connsiteX49" fmla="*/ 3138 w 10000"/>
                  <a:gd name="connsiteY49" fmla="*/ 5807 h 10000"/>
                  <a:gd name="connsiteX50" fmla="*/ 3175 w 10000"/>
                  <a:gd name="connsiteY50" fmla="*/ 5373 h 10000"/>
                  <a:gd name="connsiteX51" fmla="*/ 2321 w 10000"/>
                  <a:gd name="connsiteY51" fmla="*/ 2795 h 10000"/>
                  <a:gd name="connsiteX52" fmla="*/ 2266 w 10000"/>
                  <a:gd name="connsiteY52" fmla="*/ 2671 h 10000"/>
                  <a:gd name="connsiteX53" fmla="*/ 2085 w 10000"/>
                  <a:gd name="connsiteY53" fmla="*/ 2547 h 10000"/>
                  <a:gd name="connsiteX54" fmla="*/ 1649 w 10000"/>
                  <a:gd name="connsiteY54" fmla="*/ 2547 h 10000"/>
                  <a:gd name="connsiteX55" fmla="*/ 2303 w 10000"/>
                  <a:gd name="connsiteY55" fmla="*/ 1273 h 10000"/>
                  <a:gd name="connsiteX56" fmla="*/ 1612 w 10000"/>
                  <a:gd name="connsiteY56" fmla="*/ 0 h 10000"/>
                  <a:gd name="connsiteX57" fmla="*/ 940 w 10000"/>
                  <a:gd name="connsiteY57" fmla="*/ 1273 h 10000"/>
                  <a:gd name="connsiteX58" fmla="*/ 1576 w 10000"/>
                  <a:gd name="connsiteY58" fmla="*/ 2547 h 10000"/>
                  <a:gd name="connsiteX59" fmla="*/ 1140 w 10000"/>
                  <a:gd name="connsiteY59" fmla="*/ 2547 h 10000"/>
                  <a:gd name="connsiteX60" fmla="*/ 977 w 10000"/>
                  <a:gd name="connsiteY60" fmla="*/ 2671 h 10000"/>
                  <a:gd name="connsiteX61" fmla="*/ 904 w 10000"/>
                  <a:gd name="connsiteY61" fmla="*/ 2795 h 10000"/>
                  <a:gd name="connsiteX62" fmla="*/ 32 w 10000"/>
                  <a:gd name="connsiteY62" fmla="*/ 5373 h 10000"/>
                  <a:gd name="connsiteX63" fmla="*/ 68 w 10000"/>
                  <a:gd name="connsiteY63" fmla="*/ 5839 h 10000"/>
                  <a:gd name="connsiteX64" fmla="*/ 977 w 10000"/>
                  <a:gd name="connsiteY64" fmla="*/ 4130 h 10000"/>
                  <a:gd name="connsiteX0" fmla="*/ 8902 w 9969"/>
                  <a:gd name="connsiteY0" fmla="*/ 10000 h 10000"/>
                  <a:gd name="connsiteX1" fmla="*/ 8902 w 9969"/>
                  <a:gd name="connsiteY1" fmla="*/ 7547 h 10000"/>
                  <a:gd name="connsiteX2" fmla="*/ 9810 w 9969"/>
                  <a:gd name="connsiteY2" fmla="*/ 7547 h 10000"/>
                  <a:gd name="connsiteX3" fmla="*/ 8993 w 9969"/>
                  <a:gd name="connsiteY3" fmla="*/ 4720 h 10000"/>
                  <a:gd name="connsiteX4" fmla="*/ 8993 w 9969"/>
                  <a:gd name="connsiteY4" fmla="*/ 4224 h 10000"/>
                  <a:gd name="connsiteX5" fmla="*/ 9574 w 9969"/>
                  <a:gd name="connsiteY5" fmla="*/ 5901 h 10000"/>
                  <a:gd name="connsiteX6" fmla="*/ 9792 w 9969"/>
                  <a:gd name="connsiteY6" fmla="*/ 6056 h 10000"/>
                  <a:gd name="connsiteX7" fmla="*/ 9902 w 9969"/>
                  <a:gd name="connsiteY7" fmla="*/ 5932 h 10000"/>
                  <a:gd name="connsiteX8" fmla="*/ 9938 w 9969"/>
                  <a:gd name="connsiteY8" fmla="*/ 5466 h 10000"/>
                  <a:gd name="connsiteX9" fmla="*/ 9084 w 9969"/>
                  <a:gd name="connsiteY9" fmla="*/ 2888 h 10000"/>
                  <a:gd name="connsiteX10" fmla="*/ 8975 w 9969"/>
                  <a:gd name="connsiteY10" fmla="*/ 2733 h 10000"/>
                  <a:gd name="connsiteX11" fmla="*/ 8848 w 9969"/>
                  <a:gd name="connsiteY11" fmla="*/ 2640 h 10000"/>
                  <a:gd name="connsiteX12" fmla="*/ 8684 w 9969"/>
                  <a:gd name="connsiteY12" fmla="*/ 2640 h 10000"/>
                  <a:gd name="connsiteX13" fmla="*/ 9102 w 9969"/>
                  <a:gd name="connsiteY13" fmla="*/ 1491 h 10000"/>
                  <a:gd name="connsiteX14" fmla="*/ 8412 w 9969"/>
                  <a:gd name="connsiteY14" fmla="*/ 217 h 10000"/>
                  <a:gd name="connsiteX15" fmla="*/ 7740 w 9969"/>
                  <a:gd name="connsiteY15" fmla="*/ 1491 h 10000"/>
                  <a:gd name="connsiteX16" fmla="*/ 8158 w 9969"/>
                  <a:gd name="connsiteY16" fmla="*/ 2640 h 10000"/>
                  <a:gd name="connsiteX17" fmla="*/ 7994 w 9969"/>
                  <a:gd name="connsiteY17" fmla="*/ 2640 h 10000"/>
                  <a:gd name="connsiteX18" fmla="*/ 7848 w 9969"/>
                  <a:gd name="connsiteY18" fmla="*/ 2764 h 10000"/>
                  <a:gd name="connsiteX19" fmla="*/ 7776 w 9969"/>
                  <a:gd name="connsiteY19" fmla="*/ 2888 h 10000"/>
                  <a:gd name="connsiteX20" fmla="*/ 6904 w 9969"/>
                  <a:gd name="connsiteY20" fmla="*/ 5466 h 10000"/>
                  <a:gd name="connsiteX21" fmla="*/ 6868 w 9969"/>
                  <a:gd name="connsiteY21" fmla="*/ 5776 h 10000"/>
                  <a:gd name="connsiteX22" fmla="*/ 6832 w 9969"/>
                  <a:gd name="connsiteY22" fmla="*/ 5807 h 10000"/>
                  <a:gd name="connsiteX23" fmla="*/ 6577 w 9969"/>
                  <a:gd name="connsiteY23" fmla="*/ 6242 h 10000"/>
                  <a:gd name="connsiteX24" fmla="*/ 6232 w 9969"/>
                  <a:gd name="connsiteY24" fmla="*/ 5466 h 10000"/>
                  <a:gd name="connsiteX25" fmla="*/ 6232 w 9969"/>
                  <a:gd name="connsiteY25" fmla="*/ 5435 h 10000"/>
                  <a:gd name="connsiteX26" fmla="*/ 6141 w 9969"/>
                  <a:gd name="connsiteY26" fmla="*/ 5342 h 10000"/>
                  <a:gd name="connsiteX27" fmla="*/ 6050 w 9969"/>
                  <a:gd name="connsiteY27" fmla="*/ 5342 h 10000"/>
                  <a:gd name="connsiteX28" fmla="*/ 6305 w 9969"/>
                  <a:gd name="connsiteY28" fmla="*/ 4627 h 10000"/>
                  <a:gd name="connsiteX29" fmla="*/ 5869 w 9969"/>
                  <a:gd name="connsiteY29" fmla="*/ 3820 h 10000"/>
                  <a:gd name="connsiteX30" fmla="*/ 5433 w 9969"/>
                  <a:gd name="connsiteY30" fmla="*/ 4627 h 10000"/>
                  <a:gd name="connsiteX31" fmla="*/ 5687 w 9969"/>
                  <a:gd name="connsiteY31" fmla="*/ 5342 h 10000"/>
                  <a:gd name="connsiteX32" fmla="*/ 5596 w 9969"/>
                  <a:gd name="connsiteY32" fmla="*/ 5342 h 10000"/>
                  <a:gd name="connsiteX33" fmla="*/ 5505 w 9969"/>
                  <a:gd name="connsiteY33" fmla="*/ 5404 h 10000"/>
                  <a:gd name="connsiteX34" fmla="*/ 5469 w 9969"/>
                  <a:gd name="connsiteY34" fmla="*/ 5497 h 10000"/>
                  <a:gd name="connsiteX35" fmla="*/ 4979 w 9969"/>
                  <a:gd name="connsiteY35" fmla="*/ 6925 h 10000"/>
                  <a:gd name="connsiteX36" fmla="*/ 4488 w 9969"/>
                  <a:gd name="connsiteY36" fmla="*/ 5435 h 10000"/>
                  <a:gd name="connsiteX37" fmla="*/ 4452 w 9969"/>
                  <a:gd name="connsiteY37" fmla="*/ 5373 h 10000"/>
                  <a:gd name="connsiteX38" fmla="*/ 4343 w 9969"/>
                  <a:gd name="connsiteY38" fmla="*/ 5280 h 10000"/>
                  <a:gd name="connsiteX39" fmla="*/ 4070 w 9969"/>
                  <a:gd name="connsiteY39" fmla="*/ 5280 h 10000"/>
                  <a:gd name="connsiteX40" fmla="*/ 4470 w 9969"/>
                  <a:gd name="connsiteY40" fmla="*/ 4472 h 10000"/>
                  <a:gd name="connsiteX41" fmla="*/ 4034 w 9969"/>
                  <a:gd name="connsiteY41" fmla="*/ 3665 h 10000"/>
                  <a:gd name="connsiteX42" fmla="*/ 3598 w 9969"/>
                  <a:gd name="connsiteY42" fmla="*/ 4472 h 10000"/>
                  <a:gd name="connsiteX43" fmla="*/ 4016 w 9969"/>
                  <a:gd name="connsiteY43" fmla="*/ 5280 h 10000"/>
                  <a:gd name="connsiteX44" fmla="*/ 3743 w 9969"/>
                  <a:gd name="connsiteY44" fmla="*/ 5280 h 10000"/>
                  <a:gd name="connsiteX45" fmla="*/ 3616 w 9969"/>
                  <a:gd name="connsiteY45" fmla="*/ 5404 h 10000"/>
                  <a:gd name="connsiteX46" fmla="*/ 3616 w 9969"/>
                  <a:gd name="connsiteY46" fmla="*/ 5404 h 10000"/>
                  <a:gd name="connsiteX47" fmla="*/ 3289 w 9969"/>
                  <a:gd name="connsiteY47" fmla="*/ 6149 h 10000"/>
                  <a:gd name="connsiteX48" fmla="*/ 3107 w 9969"/>
                  <a:gd name="connsiteY48" fmla="*/ 5839 h 10000"/>
                  <a:gd name="connsiteX49" fmla="*/ 3107 w 9969"/>
                  <a:gd name="connsiteY49" fmla="*/ 5807 h 10000"/>
                  <a:gd name="connsiteX50" fmla="*/ 3144 w 9969"/>
                  <a:gd name="connsiteY50" fmla="*/ 5373 h 10000"/>
                  <a:gd name="connsiteX51" fmla="*/ 2290 w 9969"/>
                  <a:gd name="connsiteY51" fmla="*/ 2795 h 10000"/>
                  <a:gd name="connsiteX52" fmla="*/ 2235 w 9969"/>
                  <a:gd name="connsiteY52" fmla="*/ 2671 h 10000"/>
                  <a:gd name="connsiteX53" fmla="*/ 2054 w 9969"/>
                  <a:gd name="connsiteY53" fmla="*/ 2547 h 10000"/>
                  <a:gd name="connsiteX54" fmla="*/ 1618 w 9969"/>
                  <a:gd name="connsiteY54" fmla="*/ 2547 h 10000"/>
                  <a:gd name="connsiteX55" fmla="*/ 2272 w 9969"/>
                  <a:gd name="connsiteY55" fmla="*/ 1273 h 10000"/>
                  <a:gd name="connsiteX56" fmla="*/ 1581 w 9969"/>
                  <a:gd name="connsiteY56" fmla="*/ 0 h 10000"/>
                  <a:gd name="connsiteX57" fmla="*/ 909 w 9969"/>
                  <a:gd name="connsiteY57" fmla="*/ 1273 h 10000"/>
                  <a:gd name="connsiteX58" fmla="*/ 1545 w 9969"/>
                  <a:gd name="connsiteY58" fmla="*/ 2547 h 10000"/>
                  <a:gd name="connsiteX59" fmla="*/ 1109 w 9969"/>
                  <a:gd name="connsiteY59" fmla="*/ 2547 h 10000"/>
                  <a:gd name="connsiteX60" fmla="*/ 946 w 9969"/>
                  <a:gd name="connsiteY60" fmla="*/ 2671 h 10000"/>
                  <a:gd name="connsiteX61" fmla="*/ 873 w 9969"/>
                  <a:gd name="connsiteY61" fmla="*/ 2795 h 10000"/>
                  <a:gd name="connsiteX62" fmla="*/ 1 w 9969"/>
                  <a:gd name="connsiteY62" fmla="*/ 5373 h 10000"/>
                  <a:gd name="connsiteX63" fmla="*/ 946 w 9969"/>
                  <a:gd name="connsiteY63" fmla="*/ 4130 h 10000"/>
                  <a:gd name="connsiteX0" fmla="*/ 8930 w 10000"/>
                  <a:gd name="connsiteY0" fmla="*/ 10000 h 10000"/>
                  <a:gd name="connsiteX1" fmla="*/ 8930 w 10000"/>
                  <a:gd name="connsiteY1" fmla="*/ 7547 h 10000"/>
                  <a:gd name="connsiteX2" fmla="*/ 9841 w 10000"/>
                  <a:gd name="connsiteY2" fmla="*/ 7547 h 10000"/>
                  <a:gd name="connsiteX3" fmla="*/ 9021 w 10000"/>
                  <a:gd name="connsiteY3" fmla="*/ 4720 h 10000"/>
                  <a:gd name="connsiteX4" fmla="*/ 9021 w 10000"/>
                  <a:gd name="connsiteY4" fmla="*/ 4224 h 10000"/>
                  <a:gd name="connsiteX5" fmla="*/ 9604 w 10000"/>
                  <a:gd name="connsiteY5" fmla="*/ 5901 h 10000"/>
                  <a:gd name="connsiteX6" fmla="*/ 9822 w 10000"/>
                  <a:gd name="connsiteY6" fmla="*/ 6056 h 10000"/>
                  <a:gd name="connsiteX7" fmla="*/ 9933 w 10000"/>
                  <a:gd name="connsiteY7" fmla="*/ 5932 h 10000"/>
                  <a:gd name="connsiteX8" fmla="*/ 9969 w 10000"/>
                  <a:gd name="connsiteY8" fmla="*/ 5466 h 10000"/>
                  <a:gd name="connsiteX9" fmla="*/ 9112 w 10000"/>
                  <a:gd name="connsiteY9" fmla="*/ 2888 h 10000"/>
                  <a:gd name="connsiteX10" fmla="*/ 9003 w 10000"/>
                  <a:gd name="connsiteY10" fmla="*/ 2733 h 10000"/>
                  <a:gd name="connsiteX11" fmla="*/ 8876 w 10000"/>
                  <a:gd name="connsiteY11" fmla="*/ 2640 h 10000"/>
                  <a:gd name="connsiteX12" fmla="*/ 8711 w 10000"/>
                  <a:gd name="connsiteY12" fmla="*/ 2640 h 10000"/>
                  <a:gd name="connsiteX13" fmla="*/ 9130 w 10000"/>
                  <a:gd name="connsiteY13" fmla="*/ 1491 h 10000"/>
                  <a:gd name="connsiteX14" fmla="*/ 8438 w 10000"/>
                  <a:gd name="connsiteY14" fmla="*/ 217 h 10000"/>
                  <a:gd name="connsiteX15" fmla="*/ 7764 w 10000"/>
                  <a:gd name="connsiteY15" fmla="*/ 1491 h 10000"/>
                  <a:gd name="connsiteX16" fmla="*/ 8183 w 10000"/>
                  <a:gd name="connsiteY16" fmla="*/ 2640 h 10000"/>
                  <a:gd name="connsiteX17" fmla="*/ 8019 w 10000"/>
                  <a:gd name="connsiteY17" fmla="*/ 2640 h 10000"/>
                  <a:gd name="connsiteX18" fmla="*/ 7872 w 10000"/>
                  <a:gd name="connsiteY18" fmla="*/ 2764 h 10000"/>
                  <a:gd name="connsiteX19" fmla="*/ 7800 w 10000"/>
                  <a:gd name="connsiteY19" fmla="*/ 2888 h 10000"/>
                  <a:gd name="connsiteX20" fmla="*/ 6925 w 10000"/>
                  <a:gd name="connsiteY20" fmla="*/ 5466 h 10000"/>
                  <a:gd name="connsiteX21" fmla="*/ 6889 w 10000"/>
                  <a:gd name="connsiteY21" fmla="*/ 5776 h 10000"/>
                  <a:gd name="connsiteX22" fmla="*/ 6853 w 10000"/>
                  <a:gd name="connsiteY22" fmla="*/ 5807 h 10000"/>
                  <a:gd name="connsiteX23" fmla="*/ 6597 w 10000"/>
                  <a:gd name="connsiteY23" fmla="*/ 6242 h 10000"/>
                  <a:gd name="connsiteX24" fmla="*/ 6251 w 10000"/>
                  <a:gd name="connsiteY24" fmla="*/ 5466 h 10000"/>
                  <a:gd name="connsiteX25" fmla="*/ 6251 w 10000"/>
                  <a:gd name="connsiteY25" fmla="*/ 5435 h 10000"/>
                  <a:gd name="connsiteX26" fmla="*/ 6160 w 10000"/>
                  <a:gd name="connsiteY26" fmla="*/ 5342 h 10000"/>
                  <a:gd name="connsiteX27" fmla="*/ 6069 w 10000"/>
                  <a:gd name="connsiteY27" fmla="*/ 5342 h 10000"/>
                  <a:gd name="connsiteX28" fmla="*/ 6325 w 10000"/>
                  <a:gd name="connsiteY28" fmla="*/ 4627 h 10000"/>
                  <a:gd name="connsiteX29" fmla="*/ 5887 w 10000"/>
                  <a:gd name="connsiteY29" fmla="*/ 3820 h 10000"/>
                  <a:gd name="connsiteX30" fmla="*/ 5450 w 10000"/>
                  <a:gd name="connsiteY30" fmla="*/ 4627 h 10000"/>
                  <a:gd name="connsiteX31" fmla="*/ 5705 w 10000"/>
                  <a:gd name="connsiteY31" fmla="*/ 5342 h 10000"/>
                  <a:gd name="connsiteX32" fmla="*/ 5613 w 10000"/>
                  <a:gd name="connsiteY32" fmla="*/ 5342 h 10000"/>
                  <a:gd name="connsiteX33" fmla="*/ 5522 w 10000"/>
                  <a:gd name="connsiteY33" fmla="*/ 5404 h 10000"/>
                  <a:gd name="connsiteX34" fmla="*/ 5486 w 10000"/>
                  <a:gd name="connsiteY34" fmla="*/ 5497 h 10000"/>
                  <a:gd name="connsiteX35" fmla="*/ 4994 w 10000"/>
                  <a:gd name="connsiteY35" fmla="*/ 6925 h 10000"/>
                  <a:gd name="connsiteX36" fmla="*/ 4502 w 10000"/>
                  <a:gd name="connsiteY36" fmla="*/ 5435 h 10000"/>
                  <a:gd name="connsiteX37" fmla="*/ 4466 w 10000"/>
                  <a:gd name="connsiteY37" fmla="*/ 5373 h 10000"/>
                  <a:gd name="connsiteX38" fmla="*/ 4357 w 10000"/>
                  <a:gd name="connsiteY38" fmla="*/ 5280 h 10000"/>
                  <a:gd name="connsiteX39" fmla="*/ 4083 w 10000"/>
                  <a:gd name="connsiteY39" fmla="*/ 5280 h 10000"/>
                  <a:gd name="connsiteX40" fmla="*/ 4484 w 10000"/>
                  <a:gd name="connsiteY40" fmla="*/ 4472 h 10000"/>
                  <a:gd name="connsiteX41" fmla="*/ 4047 w 10000"/>
                  <a:gd name="connsiteY41" fmla="*/ 3665 h 10000"/>
                  <a:gd name="connsiteX42" fmla="*/ 3609 w 10000"/>
                  <a:gd name="connsiteY42" fmla="*/ 4472 h 10000"/>
                  <a:gd name="connsiteX43" fmla="*/ 4028 w 10000"/>
                  <a:gd name="connsiteY43" fmla="*/ 5280 h 10000"/>
                  <a:gd name="connsiteX44" fmla="*/ 3755 w 10000"/>
                  <a:gd name="connsiteY44" fmla="*/ 5280 h 10000"/>
                  <a:gd name="connsiteX45" fmla="*/ 3627 w 10000"/>
                  <a:gd name="connsiteY45" fmla="*/ 5404 h 10000"/>
                  <a:gd name="connsiteX46" fmla="*/ 3627 w 10000"/>
                  <a:gd name="connsiteY46" fmla="*/ 5404 h 10000"/>
                  <a:gd name="connsiteX47" fmla="*/ 3299 w 10000"/>
                  <a:gd name="connsiteY47" fmla="*/ 6149 h 10000"/>
                  <a:gd name="connsiteX48" fmla="*/ 3117 w 10000"/>
                  <a:gd name="connsiteY48" fmla="*/ 5839 h 10000"/>
                  <a:gd name="connsiteX49" fmla="*/ 3117 w 10000"/>
                  <a:gd name="connsiteY49" fmla="*/ 5807 h 10000"/>
                  <a:gd name="connsiteX50" fmla="*/ 3154 w 10000"/>
                  <a:gd name="connsiteY50" fmla="*/ 5373 h 10000"/>
                  <a:gd name="connsiteX51" fmla="*/ 2297 w 10000"/>
                  <a:gd name="connsiteY51" fmla="*/ 2795 h 10000"/>
                  <a:gd name="connsiteX52" fmla="*/ 2242 w 10000"/>
                  <a:gd name="connsiteY52" fmla="*/ 2671 h 10000"/>
                  <a:gd name="connsiteX53" fmla="*/ 2060 w 10000"/>
                  <a:gd name="connsiteY53" fmla="*/ 2547 h 10000"/>
                  <a:gd name="connsiteX54" fmla="*/ 1623 w 10000"/>
                  <a:gd name="connsiteY54" fmla="*/ 2547 h 10000"/>
                  <a:gd name="connsiteX55" fmla="*/ 2279 w 10000"/>
                  <a:gd name="connsiteY55" fmla="*/ 1273 h 10000"/>
                  <a:gd name="connsiteX56" fmla="*/ 1586 w 10000"/>
                  <a:gd name="connsiteY56" fmla="*/ 0 h 10000"/>
                  <a:gd name="connsiteX57" fmla="*/ 912 w 10000"/>
                  <a:gd name="connsiteY57" fmla="*/ 1273 h 10000"/>
                  <a:gd name="connsiteX58" fmla="*/ 1550 w 10000"/>
                  <a:gd name="connsiteY58" fmla="*/ 2547 h 10000"/>
                  <a:gd name="connsiteX59" fmla="*/ 1112 w 10000"/>
                  <a:gd name="connsiteY59" fmla="*/ 2547 h 10000"/>
                  <a:gd name="connsiteX60" fmla="*/ 949 w 10000"/>
                  <a:gd name="connsiteY60" fmla="*/ 2671 h 10000"/>
                  <a:gd name="connsiteX61" fmla="*/ 876 w 10000"/>
                  <a:gd name="connsiteY61" fmla="*/ 2795 h 10000"/>
                  <a:gd name="connsiteX62" fmla="*/ 1 w 10000"/>
                  <a:gd name="connsiteY62" fmla="*/ 5373 h 10000"/>
                  <a:gd name="connsiteX0" fmla="*/ 8929 w 9999"/>
                  <a:gd name="connsiteY0" fmla="*/ 10000 h 10000"/>
                  <a:gd name="connsiteX1" fmla="*/ 8929 w 9999"/>
                  <a:gd name="connsiteY1" fmla="*/ 7547 h 10000"/>
                  <a:gd name="connsiteX2" fmla="*/ 9840 w 9999"/>
                  <a:gd name="connsiteY2" fmla="*/ 7547 h 10000"/>
                  <a:gd name="connsiteX3" fmla="*/ 9020 w 9999"/>
                  <a:gd name="connsiteY3" fmla="*/ 4720 h 10000"/>
                  <a:gd name="connsiteX4" fmla="*/ 9020 w 9999"/>
                  <a:gd name="connsiteY4" fmla="*/ 4224 h 10000"/>
                  <a:gd name="connsiteX5" fmla="*/ 9603 w 9999"/>
                  <a:gd name="connsiteY5" fmla="*/ 5901 h 10000"/>
                  <a:gd name="connsiteX6" fmla="*/ 9821 w 9999"/>
                  <a:gd name="connsiteY6" fmla="*/ 6056 h 10000"/>
                  <a:gd name="connsiteX7" fmla="*/ 9932 w 9999"/>
                  <a:gd name="connsiteY7" fmla="*/ 5932 h 10000"/>
                  <a:gd name="connsiteX8" fmla="*/ 9968 w 9999"/>
                  <a:gd name="connsiteY8" fmla="*/ 5466 h 10000"/>
                  <a:gd name="connsiteX9" fmla="*/ 9111 w 9999"/>
                  <a:gd name="connsiteY9" fmla="*/ 2888 h 10000"/>
                  <a:gd name="connsiteX10" fmla="*/ 9002 w 9999"/>
                  <a:gd name="connsiteY10" fmla="*/ 2733 h 10000"/>
                  <a:gd name="connsiteX11" fmla="*/ 8875 w 9999"/>
                  <a:gd name="connsiteY11" fmla="*/ 2640 h 10000"/>
                  <a:gd name="connsiteX12" fmla="*/ 8710 w 9999"/>
                  <a:gd name="connsiteY12" fmla="*/ 2640 h 10000"/>
                  <a:gd name="connsiteX13" fmla="*/ 9129 w 9999"/>
                  <a:gd name="connsiteY13" fmla="*/ 1491 h 10000"/>
                  <a:gd name="connsiteX14" fmla="*/ 8437 w 9999"/>
                  <a:gd name="connsiteY14" fmla="*/ 217 h 10000"/>
                  <a:gd name="connsiteX15" fmla="*/ 7763 w 9999"/>
                  <a:gd name="connsiteY15" fmla="*/ 1491 h 10000"/>
                  <a:gd name="connsiteX16" fmla="*/ 8182 w 9999"/>
                  <a:gd name="connsiteY16" fmla="*/ 2640 h 10000"/>
                  <a:gd name="connsiteX17" fmla="*/ 8018 w 9999"/>
                  <a:gd name="connsiteY17" fmla="*/ 2640 h 10000"/>
                  <a:gd name="connsiteX18" fmla="*/ 7871 w 9999"/>
                  <a:gd name="connsiteY18" fmla="*/ 2764 h 10000"/>
                  <a:gd name="connsiteX19" fmla="*/ 7799 w 9999"/>
                  <a:gd name="connsiteY19" fmla="*/ 2888 h 10000"/>
                  <a:gd name="connsiteX20" fmla="*/ 6924 w 9999"/>
                  <a:gd name="connsiteY20" fmla="*/ 5466 h 10000"/>
                  <a:gd name="connsiteX21" fmla="*/ 6888 w 9999"/>
                  <a:gd name="connsiteY21" fmla="*/ 5776 h 10000"/>
                  <a:gd name="connsiteX22" fmla="*/ 6852 w 9999"/>
                  <a:gd name="connsiteY22" fmla="*/ 5807 h 10000"/>
                  <a:gd name="connsiteX23" fmla="*/ 6596 w 9999"/>
                  <a:gd name="connsiteY23" fmla="*/ 6242 h 10000"/>
                  <a:gd name="connsiteX24" fmla="*/ 6250 w 9999"/>
                  <a:gd name="connsiteY24" fmla="*/ 5466 h 10000"/>
                  <a:gd name="connsiteX25" fmla="*/ 6250 w 9999"/>
                  <a:gd name="connsiteY25" fmla="*/ 5435 h 10000"/>
                  <a:gd name="connsiteX26" fmla="*/ 6159 w 9999"/>
                  <a:gd name="connsiteY26" fmla="*/ 5342 h 10000"/>
                  <a:gd name="connsiteX27" fmla="*/ 6068 w 9999"/>
                  <a:gd name="connsiteY27" fmla="*/ 5342 h 10000"/>
                  <a:gd name="connsiteX28" fmla="*/ 6324 w 9999"/>
                  <a:gd name="connsiteY28" fmla="*/ 4627 h 10000"/>
                  <a:gd name="connsiteX29" fmla="*/ 5886 w 9999"/>
                  <a:gd name="connsiteY29" fmla="*/ 3820 h 10000"/>
                  <a:gd name="connsiteX30" fmla="*/ 5449 w 9999"/>
                  <a:gd name="connsiteY30" fmla="*/ 4627 h 10000"/>
                  <a:gd name="connsiteX31" fmla="*/ 5704 w 9999"/>
                  <a:gd name="connsiteY31" fmla="*/ 5342 h 10000"/>
                  <a:gd name="connsiteX32" fmla="*/ 5612 w 9999"/>
                  <a:gd name="connsiteY32" fmla="*/ 5342 h 10000"/>
                  <a:gd name="connsiteX33" fmla="*/ 5521 w 9999"/>
                  <a:gd name="connsiteY33" fmla="*/ 5404 h 10000"/>
                  <a:gd name="connsiteX34" fmla="*/ 5485 w 9999"/>
                  <a:gd name="connsiteY34" fmla="*/ 5497 h 10000"/>
                  <a:gd name="connsiteX35" fmla="*/ 4993 w 9999"/>
                  <a:gd name="connsiteY35" fmla="*/ 6925 h 10000"/>
                  <a:gd name="connsiteX36" fmla="*/ 4501 w 9999"/>
                  <a:gd name="connsiteY36" fmla="*/ 5435 h 10000"/>
                  <a:gd name="connsiteX37" fmla="*/ 4465 w 9999"/>
                  <a:gd name="connsiteY37" fmla="*/ 5373 h 10000"/>
                  <a:gd name="connsiteX38" fmla="*/ 4356 w 9999"/>
                  <a:gd name="connsiteY38" fmla="*/ 5280 h 10000"/>
                  <a:gd name="connsiteX39" fmla="*/ 4082 w 9999"/>
                  <a:gd name="connsiteY39" fmla="*/ 5280 h 10000"/>
                  <a:gd name="connsiteX40" fmla="*/ 4483 w 9999"/>
                  <a:gd name="connsiteY40" fmla="*/ 4472 h 10000"/>
                  <a:gd name="connsiteX41" fmla="*/ 4046 w 9999"/>
                  <a:gd name="connsiteY41" fmla="*/ 3665 h 10000"/>
                  <a:gd name="connsiteX42" fmla="*/ 3608 w 9999"/>
                  <a:gd name="connsiteY42" fmla="*/ 4472 h 10000"/>
                  <a:gd name="connsiteX43" fmla="*/ 4027 w 9999"/>
                  <a:gd name="connsiteY43" fmla="*/ 5280 h 10000"/>
                  <a:gd name="connsiteX44" fmla="*/ 3754 w 9999"/>
                  <a:gd name="connsiteY44" fmla="*/ 5280 h 10000"/>
                  <a:gd name="connsiteX45" fmla="*/ 3626 w 9999"/>
                  <a:gd name="connsiteY45" fmla="*/ 5404 h 10000"/>
                  <a:gd name="connsiteX46" fmla="*/ 3626 w 9999"/>
                  <a:gd name="connsiteY46" fmla="*/ 5404 h 10000"/>
                  <a:gd name="connsiteX47" fmla="*/ 3298 w 9999"/>
                  <a:gd name="connsiteY47" fmla="*/ 6149 h 10000"/>
                  <a:gd name="connsiteX48" fmla="*/ 3116 w 9999"/>
                  <a:gd name="connsiteY48" fmla="*/ 5839 h 10000"/>
                  <a:gd name="connsiteX49" fmla="*/ 3116 w 9999"/>
                  <a:gd name="connsiteY49" fmla="*/ 5807 h 10000"/>
                  <a:gd name="connsiteX50" fmla="*/ 3153 w 9999"/>
                  <a:gd name="connsiteY50" fmla="*/ 5373 h 10000"/>
                  <a:gd name="connsiteX51" fmla="*/ 2296 w 9999"/>
                  <a:gd name="connsiteY51" fmla="*/ 2795 h 10000"/>
                  <a:gd name="connsiteX52" fmla="*/ 2241 w 9999"/>
                  <a:gd name="connsiteY52" fmla="*/ 2671 h 10000"/>
                  <a:gd name="connsiteX53" fmla="*/ 2059 w 9999"/>
                  <a:gd name="connsiteY53" fmla="*/ 2547 h 10000"/>
                  <a:gd name="connsiteX54" fmla="*/ 1622 w 9999"/>
                  <a:gd name="connsiteY54" fmla="*/ 2547 h 10000"/>
                  <a:gd name="connsiteX55" fmla="*/ 2278 w 9999"/>
                  <a:gd name="connsiteY55" fmla="*/ 1273 h 10000"/>
                  <a:gd name="connsiteX56" fmla="*/ 1585 w 9999"/>
                  <a:gd name="connsiteY56" fmla="*/ 0 h 10000"/>
                  <a:gd name="connsiteX57" fmla="*/ 911 w 9999"/>
                  <a:gd name="connsiteY57" fmla="*/ 1273 h 10000"/>
                  <a:gd name="connsiteX58" fmla="*/ 1549 w 9999"/>
                  <a:gd name="connsiteY58" fmla="*/ 2547 h 10000"/>
                  <a:gd name="connsiteX59" fmla="*/ 1111 w 9999"/>
                  <a:gd name="connsiteY59" fmla="*/ 2547 h 10000"/>
                  <a:gd name="connsiteX60" fmla="*/ 948 w 9999"/>
                  <a:gd name="connsiteY60" fmla="*/ 2671 h 10000"/>
                  <a:gd name="connsiteX61" fmla="*/ 0 w 9999"/>
                  <a:gd name="connsiteY61" fmla="*/ 5373 h 10000"/>
                  <a:gd name="connsiteX0" fmla="*/ 8930 w 10000"/>
                  <a:gd name="connsiteY0" fmla="*/ 10000 h 10000"/>
                  <a:gd name="connsiteX1" fmla="*/ 8930 w 10000"/>
                  <a:gd name="connsiteY1" fmla="*/ 7547 h 10000"/>
                  <a:gd name="connsiteX2" fmla="*/ 9841 w 10000"/>
                  <a:gd name="connsiteY2" fmla="*/ 7547 h 10000"/>
                  <a:gd name="connsiteX3" fmla="*/ 9021 w 10000"/>
                  <a:gd name="connsiteY3" fmla="*/ 4720 h 10000"/>
                  <a:gd name="connsiteX4" fmla="*/ 9021 w 10000"/>
                  <a:gd name="connsiteY4" fmla="*/ 4224 h 10000"/>
                  <a:gd name="connsiteX5" fmla="*/ 9604 w 10000"/>
                  <a:gd name="connsiteY5" fmla="*/ 5901 h 10000"/>
                  <a:gd name="connsiteX6" fmla="*/ 9822 w 10000"/>
                  <a:gd name="connsiteY6" fmla="*/ 6056 h 10000"/>
                  <a:gd name="connsiteX7" fmla="*/ 9933 w 10000"/>
                  <a:gd name="connsiteY7" fmla="*/ 5932 h 10000"/>
                  <a:gd name="connsiteX8" fmla="*/ 9969 w 10000"/>
                  <a:gd name="connsiteY8" fmla="*/ 5466 h 10000"/>
                  <a:gd name="connsiteX9" fmla="*/ 9112 w 10000"/>
                  <a:gd name="connsiteY9" fmla="*/ 2888 h 10000"/>
                  <a:gd name="connsiteX10" fmla="*/ 9003 w 10000"/>
                  <a:gd name="connsiteY10" fmla="*/ 2733 h 10000"/>
                  <a:gd name="connsiteX11" fmla="*/ 8876 w 10000"/>
                  <a:gd name="connsiteY11" fmla="*/ 2640 h 10000"/>
                  <a:gd name="connsiteX12" fmla="*/ 8711 w 10000"/>
                  <a:gd name="connsiteY12" fmla="*/ 2640 h 10000"/>
                  <a:gd name="connsiteX13" fmla="*/ 9130 w 10000"/>
                  <a:gd name="connsiteY13" fmla="*/ 1491 h 10000"/>
                  <a:gd name="connsiteX14" fmla="*/ 8438 w 10000"/>
                  <a:gd name="connsiteY14" fmla="*/ 217 h 10000"/>
                  <a:gd name="connsiteX15" fmla="*/ 7764 w 10000"/>
                  <a:gd name="connsiteY15" fmla="*/ 1491 h 10000"/>
                  <a:gd name="connsiteX16" fmla="*/ 8183 w 10000"/>
                  <a:gd name="connsiteY16" fmla="*/ 2640 h 10000"/>
                  <a:gd name="connsiteX17" fmla="*/ 8019 w 10000"/>
                  <a:gd name="connsiteY17" fmla="*/ 2640 h 10000"/>
                  <a:gd name="connsiteX18" fmla="*/ 7872 w 10000"/>
                  <a:gd name="connsiteY18" fmla="*/ 2764 h 10000"/>
                  <a:gd name="connsiteX19" fmla="*/ 7800 w 10000"/>
                  <a:gd name="connsiteY19" fmla="*/ 2888 h 10000"/>
                  <a:gd name="connsiteX20" fmla="*/ 6925 w 10000"/>
                  <a:gd name="connsiteY20" fmla="*/ 5466 h 10000"/>
                  <a:gd name="connsiteX21" fmla="*/ 6889 w 10000"/>
                  <a:gd name="connsiteY21" fmla="*/ 5776 h 10000"/>
                  <a:gd name="connsiteX22" fmla="*/ 6853 w 10000"/>
                  <a:gd name="connsiteY22" fmla="*/ 5807 h 10000"/>
                  <a:gd name="connsiteX23" fmla="*/ 6597 w 10000"/>
                  <a:gd name="connsiteY23" fmla="*/ 6242 h 10000"/>
                  <a:gd name="connsiteX24" fmla="*/ 6251 w 10000"/>
                  <a:gd name="connsiteY24" fmla="*/ 5466 h 10000"/>
                  <a:gd name="connsiteX25" fmla="*/ 6251 w 10000"/>
                  <a:gd name="connsiteY25" fmla="*/ 5435 h 10000"/>
                  <a:gd name="connsiteX26" fmla="*/ 6160 w 10000"/>
                  <a:gd name="connsiteY26" fmla="*/ 5342 h 10000"/>
                  <a:gd name="connsiteX27" fmla="*/ 6069 w 10000"/>
                  <a:gd name="connsiteY27" fmla="*/ 5342 h 10000"/>
                  <a:gd name="connsiteX28" fmla="*/ 6325 w 10000"/>
                  <a:gd name="connsiteY28" fmla="*/ 4627 h 10000"/>
                  <a:gd name="connsiteX29" fmla="*/ 5887 w 10000"/>
                  <a:gd name="connsiteY29" fmla="*/ 3820 h 10000"/>
                  <a:gd name="connsiteX30" fmla="*/ 5450 w 10000"/>
                  <a:gd name="connsiteY30" fmla="*/ 4627 h 10000"/>
                  <a:gd name="connsiteX31" fmla="*/ 5705 w 10000"/>
                  <a:gd name="connsiteY31" fmla="*/ 5342 h 10000"/>
                  <a:gd name="connsiteX32" fmla="*/ 5613 w 10000"/>
                  <a:gd name="connsiteY32" fmla="*/ 5342 h 10000"/>
                  <a:gd name="connsiteX33" fmla="*/ 5522 w 10000"/>
                  <a:gd name="connsiteY33" fmla="*/ 5404 h 10000"/>
                  <a:gd name="connsiteX34" fmla="*/ 5486 w 10000"/>
                  <a:gd name="connsiteY34" fmla="*/ 5497 h 10000"/>
                  <a:gd name="connsiteX35" fmla="*/ 4993 w 10000"/>
                  <a:gd name="connsiteY35" fmla="*/ 6925 h 10000"/>
                  <a:gd name="connsiteX36" fmla="*/ 4501 w 10000"/>
                  <a:gd name="connsiteY36" fmla="*/ 5435 h 10000"/>
                  <a:gd name="connsiteX37" fmla="*/ 4465 w 10000"/>
                  <a:gd name="connsiteY37" fmla="*/ 5373 h 10000"/>
                  <a:gd name="connsiteX38" fmla="*/ 4356 w 10000"/>
                  <a:gd name="connsiteY38" fmla="*/ 5280 h 10000"/>
                  <a:gd name="connsiteX39" fmla="*/ 4082 w 10000"/>
                  <a:gd name="connsiteY39" fmla="*/ 5280 h 10000"/>
                  <a:gd name="connsiteX40" fmla="*/ 4483 w 10000"/>
                  <a:gd name="connsiteY40" fmla="*/ 4472 h 10000"/>
                  <a:gd name="connsiteX41" fmla="*/ 4046 w 10000"/>
                  <a:gd name="connsiteY41" fmla="*/ 3665 h 10000"/>
                  <a:gd name="connsiteX42" fmla="*/ 3608 w 10000"/>
                  <a:gd name="connsiteY42" fmla="*/ 4472 h 10000"/>
                  <a:gd name="connsiteX43" fmla="*/ 4027 w 10000"/>
                  <a:gd name="connsiteY43" fmla="*/ 5280 h 10000"/>
                  <a:gd name="connsiteX44" fmla="*/ 3754 w 10000"/>
                  <a:gd name="connsiteY44" fmla="*/ 5280 h 10000"/>
                  <a:gd name="connsiteX45" fmla="*/ 3626 w 10000"/>
                  <a:gd name="connsiteY45" fmla="*/ 5404 h 10000"/>
                  <a:gd name="connsiteX46" fmla="*/ 3626 w 10000"/>
                  <a:gd name="connsiteY46" fmla="*/ 5404 h 10000"/>
                  <a:gd name="connsiteX47" fmla="*/ 3298 w 10000"/>
                  <a:gd name="connsiteY47" fmla="*/ 6149 h 10000"/>
                  <a:gd name="connsiteX48" fmla="*/ 3116 w 10000"/>
                  <a:gd name="connsiteY48" fmla="*/ 5839 h 10000"/>
                  <a:gd name="connsiteX49" fmla="*/ 3116 w 10000"/>
                  <a:gd name="connsiteY49" fmla="*/ 5807 h 10000"/>
                  <a:gd name="connsiteX50" fmla="*/ 3153 w 10000"/>
                  <a:gd name="connsiteY50" fmla="*/ 5373 h 10000"/>
                  <a:gd name="connsiteX51" fmla="*/ 2296 w 10000"/>
                  <a:gd name="connsiteY51" fmla="*/ 2795 h 10000"/>
                  <a:gd name="connsiteX52" fmla="*/ 2241 w 10000"/>
                  <a:gd name="connsiteY52" fmla="*/ 2671 h 10000"/>
                  <a:gd name="connsiteX53" fmla="*/ 2059 w 10000"/>
                  <a:gd name="connsiteY53" fmla="*/ 2547 h 10000"/>
                  <a:gd name="connsiteX54" fmla="*/ 1622 w 10000"/>
                  <a:gd name="connsiteY54" fmla="*/ 2547 h 10000"/>
                  <a:gd name="connsiteX55" fmla="*/ 2278 w 10000"/>
                  <a:gd name="connsiteY55" fmla="*/ 1273 h 10000"/>
                  <a:gd name="connsiteX56" fmla="*/ 1585 w 10000"/>
                  <a:gd name="connsiteY56" fmla="*/ 0 h 10000"/>
                  <a:gd name="connsiteX57" fmla="*/ 911 w 10000"/>
                  <a:gd name="connsiteY57" fmla="*/ 1273 h 10000"/>
                  <a:gd name="connsiteX58" fmla="*/ 1549 w 10000"/>
                  <a:gd name="connsiteY58" fmla="*/ 2547 h 10000"/>
                  <a:gd name="connsiteX59" fmla="*/ 1111 w 10000"/>
                  <a:gd name="connsiteY59" fmla="*/ 2547 h 10000"/>
                  <a:gd name="connsiteX60" fmla="*/ 0 w 10000"/>
                  <a:gd name="connsiteY60" fmla="*/ 5373 h 10000"/>
                  <a:gd name="connsiteX0" fmla="*/ 8930 w 10000"/>
                  <a:gd name="connsiteY0" fmla="*/ 10000 h 10000"/>
                  <a:gd name="connsiteX1" fmla="*/ 8930 w 10000"/>
                  <a:gd name="connsiteY1" fmla="*/ 7547 h 10000"/>
                  <a:gd name="connsiteX2" fmla="*/ 9841 w 10000"/>
                  <a:gd name="connsiteY2" fmla="*/ 7547 h 10000"/>
                  <a:gd name="connsiteX3" fmla="*/ 9021 w 10000"/>
                  <a:gd name="connsiteY3" fmla="*/ 4720 h 10000"/>
                  <a:gd name="connsiteX4" fmla="*/ 9021 w 10000"/>
                  <a:gd name="connsiteY4" fmla="*/ 4224 h 10000"/>
                  <a:gd name="connsiteX5" fmla="*/ 9604 w 10000"/>
                  <a:gd name="connsiteY5" fmla="*/ 5901 h 10000"/>
                  <a:gd name="connsiteX6" fmla="*/ 9822 w 10000"/>
                  <a:gd name="connsiteY6" fmla="*/ 6056 h 10000"/>
                  <a:gd name="connsiteX7" fmla="*/ 9933 w 10000"/>
                  <a:gd name="connsiteY7" fmla="*/ 5932 h 10000"/>
                  <a:gd name="connsiteX8" fmla="*/ 9969 w 10000"/>
                  <a:gd name="connsiteY8" fmla="*/ 5466 h 10000"/>
                  <a:gd name="connsiteX9" fmla="*/ 9112 w 10000"/>
                  <a:gd name="connsiteY9" fmla="*/ 2888 h 10000"/>
                  <a:gd name="connsiteX10" fmla="*/ 9003 w 10000"/>
                  <a:gd name="connsiteY10" fmla="*/ 2733 h 10000"/>
                  <a:gd name="connsiteX11" fmla="*/ 8876 w 10000"/>
                  <a:gd name="connsiteY11" fmla="*/ 2640 h 10000"/>
                  <a:gd name="connsiteX12" fmla="*/ 8711 w 10000"/>
                  <a:gd name="connsiteY12" fmla="*/ 2640 h 10000"/>
                  <a:gd name="connsiteX13" fmla="*/ 9130 w 10000"/>
                  <a:gd name="connsiteY13" fmla="*/ 1491 h 10000"/>
                  <a:gd name="connsiteX14" fmla="*/ 8438 w 10000"/>
                  <a:gd name="connsiteY14" fmla="*/ 217 h 10000"/>
                  <a:gd name="connsiteX15" fmla="*/ 7764 w 10000"/>
                  <a:gd name="connsiteY15" fmla="*/ 1491 h 10000"/>
                  <a:gd name="connsiteX16" fmla="*/ 8183 w 10000"/>
                  <a:gd name="connsiteY16" fmla="*/ 2640 h 10000"/>
                  <a:gd name="connsiteX17" fmla="*/ 8019 w 10000"/>
                  <a:gd name="connsiteY17" fmla="*/ 2640 h 10000"/>
                  <a:gd name="connsiteX18" fmla="*/ 7872 w 10000"/>
                  <a:gd name="connsiteY18" fmla="*/ 2764 h 10000"/>
                  <a:gd name="connsiteX19" fmla="*/ 7800 w 10000"/>
                  <a:gd name="connsiteY19" fmla="*/ 2888 h 10000"/>
                  <a:gd name="connsiteX20" fmla="*/ 6925 w 10000"/>
                  <a:gd name="connsiteY20" fmla="*/ 5466 h 10000"/>
                  <a:gd name="connsiteX21" fmla="*/ 6889 w 10000"/>
                  <a:gd name="connsiteY21" fmla="*/ 5776 h 10000"/>
                  <a:gd name="connsiteX22" fmla="*/ 6853 w 10000"/>
                  <a:gd name="connsiteY22" fmla="*/ 5807 h 10000"/>
                  <a:gd name="connsiteX23" fmla="*/ 6597 w 10000"/>
                  <a:gd name="connsiteY23" fmla="*/ 6242 h 10000"/>
                  <a:gd name="connsiteX24" fmla="*/ 6251 w 10000"/>
                  <a:gd name="connsiteY24" fmla="*/ 5466 h 10000"/>
                  <a:gd name="connsiteX25" fmla="*/ 6251 w 10000"/>
                  <a:gd name="connsiteY25" fmla="*/ 5435 h 10000"/>
                  <a:gd name="connsiteX26" fmla="*/ 6160 w 10000"/>
                  <a:gd name="connsiteY26" fmla="*/ 5342 h 10000"/>
                  <a:gd name="connsiteX27" fmla="*/ 6069 w 10000"/>
                  <a:gd name="connsiteY27" fmla="*/ 5342 h 10000"/>
                  <a:gd name="connsiteX28" fmla="*/ 6325 w 10000"/>
                  <a:gd name="connsiteY28" fmla="*/ 4627 h 10000"/>
                  <a:gd name="connsiteX29" fmla="*/ 5887 w 10000"/>
                  <a:gd name="connsiteY29" fmla="*/ 3820 h 10000"/>
                  <a:gd name="connsiteX30" fmla="*/ 5450 w 10000"/>
                  <a:gd name="connsiteY30" fmla="*/ 4627 h 10000"/>
                  <a:gd name="connsiteX31" fmla="*/ 5705 w 10000"/>
                  <a:gd name="connsiteY31" fmla="*/ 5342 h 10000"/>
                  <a:gd name="connsiteX32" fmla="*/ 5613 w 10000"/>
                  <a:gd name="connsiteY32" fmla="*/ 5342 h 10000"/>
                  <a:gd name="connsiteX33" fmla="*/ 5522 w 10000"/>
                  <a:gd name="connsiteY33" fmla="*/ 5404 h 10000"/>
                  <a:gd name="connsiteX34" fmla="*/ 5486 w 10000"/>
                  <a:gd name="connsiteY34" fmla="*/ 5497 h 10000"/>
                  <a:gd name="connsiteX35" fmla="*/ 4993 w 10000"/>
                  <a:gd name="connsiteY35" fmla="*/ 6925 h 10000"/>
                  <a:gd name="connsiteX36" fmla="*/ 4501 w 10000"/>
                  <a:gd name="connsiteY36" fmla="*/ 5435 h 10000"/>
                  <a:gd name="connsiteX37" fmla="*/ 4465 w 10000"/>
                  <a:gd name="connsiteY37" fmla="*/ 5373 h 10000"/>
                  <a:gd name="connsiteX38" fmla="*/ 4356 w 10000"/>
                  <a:gd name="connsiteY38" fmla="*/ 5280 h 10000"/>
                  <a:gd name="connsiteX39" fmla="*/ 4082 w 10000"/>
                  <a:gd name="connsiteY39" fmla="*/ 5280 h 10000"/>
                  <a:gd name="connsiteX40" fmla="*/ 4483 w 10000"/>
                  <a:gd name="connsiteY40" fmla="*/ 4472 h 10000"/>
                  <a:gd name="connsiteX41" fmla="*/ 4046 w 10000"/>
                  <a:gd name="connsiteY41" fmla="*/ 3665 h 10000"/>
                  <a:gd name="connsiteX42" fmla="*/ 3608 w 10000"/>
                  <a:gd name="connsiteY42" fmla="*/ 4472 h 10000"/>
                  <a:gd name="connsiteX43" fmla="*/ 4027 w 10000"/>
                  <a:gd name="connsiteY43" fmla="*/ 5280 h 10000"/>
                  <a:gd name="connsiteX44" fmla="*/ 3754 w 10000"/>
                  <a:gd name="connsiteY44" fmla="*/ 5280 h 10000"/>
                  <a:gd name="connsiteX45" fmla="*/ 3626 w 10000"/>
                  <a:gd name="connsiteY45" fmla="*/ 5404 h 10000"/>
                  <a:gd name="connsiteX46" fmla="*/ 3626 w 10000"/>
                  <a:gd name="connsiteY46" fmla="*/ 5404 h 10000"/>
                  <a:gd name="connsiteX47" fmla="*/ 3298 w 10000"/>
                  <a:gd name="connsiteY47" fmla="*/ 6149 h 10000"/>
                  <a:gd name="connsiteX48" fmla="*/ 3116 w 10000"/>
                  <a:gd name="connsiteY48" fmla="*/ 5839 h 10000"/>
                  <a:gd name="connsiteX49" fmla="*/ 3116 w 10000"/>
                  <a:gd name="connsiteY49" fmla="*/ 5807 h 10000"/>
                  <a:gd name="connsiteX50" fmla="*/ 3153 w 10000"/>
                  <a:gd name="connsiteY50" fmla="*/ 5373 h 10000"/>
                  <a:gd name="connsiteX51" fmla="*/ 2296 w 10000"/>
                  <a:gd name="connsiteY51" fmla="*/ 2795 h 10000"/>
                  <a:gd name="connsiteX52" fmla="*/ 2241 w 10000"/>
                  <a:gd name="connsiteY52" fmla="*/ 2671 h 10000"/>
                  <a:gd name="connsiteX53" fmla="*/ 2059 w 10000"/>
                  <a:gd name="connsiteY53" fmla="*/ 2547 h 10000"/>
                  <a:gd name="connsiteX54" fmla="*/ 1622 w 10000"/>
                  <a:gd name="connsiteY54" fmla="*/ 2547 h 10000"/>
                  <a:gd name="connsiteX55" fmla="*/ 2278 w 10000"/>
                  <a:gd name="connsiteY55" fmla="*/ 1273 h 10000"/>
                  <a:gd name="connsiteX56" fmla="*/ 1585 w 10000"/>
                  <a:gd name="connsiteY56" fmla="*/ 0 h 10000"/>
                  <a:gd name="connsiteX57" fmla="*/ 911 w 10000"/>
                  <a:gd name="connsiteY57" fmla="*/ 1273 h 10000"/>
                  <a:gd name="connsiteX58" fmla="*/ 1549 w 10000"/>
                  <a:gd name="connsiteY58" fmla="*/ 2547 h 10000"/>
                  <a:gd name="connsiteX59" fmla="*/ 0 w 10000"/>
                  <a:gd name="connsiteY59" fmla="*/ 5373 h 10000"/>
                  <a:gd name="connsiteX0" fmla="*/ 8930 w 10000"/>
                  <a:gd name="connsiteY0" fmla="*/ 10000 h 10000"/>
                  <a:gd name="connsiteX1" fmla="*/ 8930 w 10000"/>
                  <a:gd name="connsiteY1" fmla="*/ 7547 h 10000"/>
                  <a:gd name="connsiteX2" fmla="*/ 9841 w 10000"/>
                  <a:gd name="connsiteY2" fmla="*/ 7547 h 10000"/>
                  <a:gd name="connsiteX3" fmla="*/ 9021 w 10000"/>
                  <a:gd name="connsiteY3" fmla="*/ 4720 h 10000"/>
                  <a:gd name="connsiteX4" fmla="*/ 9021 w 10000"/>
                  <a:gd name="connsiteY4" fmla="*/ 4224 h 10000"/>
                  <a:gd name="connsiteX5" fmla="*/ 9604 w 10000"/>
                  <a:gd name="connsiteY5" fmla="*/ 5901 h 10000"/>
                  <a:gd name="connsiteX6" fmla="*/ 9822 w 10000"/>
                  <a:gd name="connsiteY6" fmla="*/ 6056 h 10000"/>
                  <a:gd name="connsiteX7" fmla="*/ 9933 w 10000"/>
                  <a:gd name="connsiteY7" fmla="*/ 5932 h 10000"/>
                  <a:gd name="connsiteX8" fmla="*/ 9969 w 10000"/>
                  <a:gd name="connsiteY8" fmla="*/ 5466 h 10000"/>
                  <a:gd name="connsiteX9" fmla="*/ 9112 w 10000"/>
                  <a:gd name="connsiteY9" fmla="*/ 2888 h 10000"/>
                  <a:gd name="connsiteX10" fmla="*/ 9003 w 10000"/>
                  <a:gd name="connsiteY10" fmla="*/ 2733 h 10000"/>
                  <a:gd name="connsiteX11" fmla="*/ 8876 w 10000"/>
                  <a:gd name="connsiteY11" fmla="*/ 2640 h 10000"/>
                  <a:gd name="connsiteX12" fmla="*/ 8711 w 10000"/>
                  <a:gd name="connsiteY12" fmla="*/ 2640 h 10000"/>
                  <a:gd name="connsiteX13" fmla="*/ 9130 w 10000"/>
                  <a:gd name="connsiteY13" fmla="*/ 1491 h 10000"/>
                  <a:gd name="connsiteX14" fmla="*/ 8438 w 10000"/>
                  <a:gd name="connsiteY14" fmla="*/ 217 h 10000"/>
                  <a:gd name="connsiteX15" fmla="*/ 7764 w 10000"/>
                  <a:gd name="connsiteY15" fmla="*/ 1491 h 10000"/>
                  <a:gd name="connsiteX16" fmla="*/ 8183 w 10000"/>
                  <a:gd name="connsiteY16" fmla="*/ 2640 h 10000"/>
                  <a:gd name="connsiteX17" fmla="*/ 8019 w 10000"/>
                  <a:gd name="connsiteY17" fmla="*/ 2640 h 10000"/>
                  <a:gd name="connsiteX18" fmla="*/ 7872 w 10000"/>
                  <a:gd name="connsiteY18" fmla="*/ 2764 h 10000"/>
                  <a:gd name="connsiteX19" fmla="*/ 7800 w 10000"/>
                  <a:gd name="connsiteY19" fmla="*/ 2888 h 10000"/>
                  <a:gd name="connsiteX20" fmla="*/ 6925 w 10000"/>
                  <a:gd name="connsiteY20" fmla="*/ 5466 h 10000"/>
                  <a:gd name="connsiteX21" fmla="*/ 6889 w 10000"/>
                  <a:gd name="connsiteY21" fmla="*/ 5776 h 10000"/>
                  <a:gd name="connsiteX22" fmla="*/ 6853 w 10000"/>
                  <a:gd name="connsiteY22" fmla="*/ 5807 h 10000"/>
                  <a:gd name="connsiteX23" fmla="*/ 6597 w 10000"/>
                  <a:gd name="connsiteY23" fmla="*/ 6242 h 10000"/>
                  <a:gd name="connsiteX24" fmla="*/ 6251 w 10000"/>
                  <a:gd name="connsiteY24" fmla="*/ 5466 h 10000"/>
                  <a:gd name="connsiteX25" fmla="*/ 6251 w 10000"/>
                  <a:gd name="connsiteY25" fmla="*/ 5435 h 10000"/>
                  <a:gd name="connsiteX26" fmla="*/ 6160 w 10000"/>
                  <a:gd name="connsiteY26" fmla="*/ 5342 h 10000"/>
                  <a:gd name="connsiteX27" fmla="*/ 6069 w 10000"/>
                  <a:gd name="connsiteY27" fmla="*/ 5342 h 10000"/>
                  <a:gd name="connsiteX28" fmla="*/ 6325 w 10000"/>
                  <a:gd name="connsiteY28" fmla="*/ 4627 h 10000"/>
                  <a:gd name="connsiteX29" fmla="*/ 5887 w 10000"/>
                  <a:gd name="connsiteY29" fmla="*/ 3820 h 10000"/>
                  <a:gd name="connsiteX30" fmla="*/ 5450 w 10000"/>
                  <a:gd name="connsiteY30" fmla="*/ 4627 h 10000"/>
                  <a:gd name="connsiteX31" fmla="*/ 5705 w 10000"/>
                  <a:gd name="connsiteY31" fmla="*/ 5342 h 10000"/>
                  <a:gd name="connsiteX32" fmla="*/ 5613 w 10000"/>
                  <a:gd name="connsiteY32" fmla="*/ 5342 h 10000"/>
                  <a:gd name="connsiteX33" fmla="*/ 5522 w 10000"/>
                  <a:gd name="connsiteY33" fmla="*/ 5404 h 10000"/>
                  <a:gd name="connsiteX34" fmla="*/ 5486 w 10000"/>
                  <a:gd name="connsiteY34" fmla="*/ 5497 h 10000"/>
                  <a:gd name="connsiteX35" fmla="*/ 4993 w 10000"/>
                  <a:gd name="connsiteY35" fmla="*/ 6925 h 10000"/>
                  <a:gd name="connsiteX36" fmla="*/ 4501 w 10000"/>
                  <a:gd name="connsiteY36" fmla="*/ 5435 h 10000"/>
                  <a:gd name="connsiteX37" fmla="*/ 4465 w 10000"/>
                  <a:gd name="connsiteY37" fmla="*/ 5373 h 10000"/>
                  <a:gd name="connsiteX38" fmla="*/ 4356 w 10000"/>
                  <a:gd name="connsiteY38" fmla="*/ 5280 h 10000"/>
                  <a:gd name="connsiteX39" fmla="*/ 4082 w 10000"/>
                  <a:gd name="connsiteY39" fmla="*/ 5280 h 10000"/>
                  <a:gd name="connsiteX40" fmla="*/ 4483 w 10000"/>
                  <a:gd name="connsiteY40" fmla="*/ 4472 h 10000"/>
                  <a:gd name="connsiteX41" fmla="*/ 4046 w 10000"/>
                  <a:gd name="connsiteY41" fmla="*/ 3665 h 10000"/>
                  <a:gd name="connsiteX42" fmla="*/ 3608 w 10000"/>
                  <a:gd name="connsiteY42" fmla="*/ 4472 h 10000"/>
                  <a:gd name="connsiteX43" fmla="*/ 4027 w 10000"/>
                  <a:gd name="connsiteY43" fmla="*/ 5280 h 10000"/>
                  <a:gd name="connsiteX44" fmla="*/ 3754 w 10000"/>
                  <a:gd name="connsiteY44" fmla="*/ 5280 h 10000"/>
                  <a:gd name="connsiteX45" fmla="*/ 3626 w 10000"/>
                  <a:gd name="connsiteY45" fmla="*/ 5404 h 10000"/>
                  <a:gd name="connsiteX46" fmla="*/ 3626 w 10000"/>
                  <a:gd name="connsiteY46" fmla="*/ 5404 h 10000"/>
                  <a:gd name="connsiteX47" fmla="*/ 3298 w 10000"/>
                  <a:gd name="connsiteY47" fmla="*/ 6149 h 10000"/>
                  <a:gd name="connsiteX48" fmla="*/ 3116 w 10000"/>
                  <a:gd name="connsiteY48" fmla="*/ 5839 h 10000"/>
                  <a:gd name="connsiteX49" fmla="*/ 3116 w 10000"/>
                  <a:gd name="connsiteY49" fmla="*/ 5807 h 10000"/>
                  <a:gd name="connsiteX50" fmla="*/ 3153 w 10000"/>
                  <a:gd name="connsiteY50" fmla="*/ 5373 h 10000"/>
                  <a:gd name="connsiteX51" fmla="*/ 2296 w 10000"/>
                  <a:gd name="connsiteY51" fmla="*/ 2795 h 10000"/>
                  <a:gd name="connsiteX52" fmla="*/ 2241 w 10000"/>
                  <a:gd name="connsiteY52" fmla="*/ 2671 h 10000"/>
                  <a:gd name="connsiteX53" fmla="*/ 2059 w 10000"/>
                  <a:gd name="connsiteY53" fmla="*/ 2547 h 10000"/>
                  <a:gd name="connsiteX54" fmla="*/ 1622 w 10000"/>
                  <a:gd name="connsiteY54" fmla="*/ 2547 h 10000"/>
                  <a:gd name="connsiteX55" fmla="*/ 2278 w 10000"/>
                  <a:gd name="connsiteY55" fmla="*/ 1273 h 10000"/>
                  <a:gd name="connsiteX56" fmla="*/ 1585 w 10000"/>
                  <a:gd name="connsiteY56" fmla="*/ 0 h 10000"/>
                  <a:gd name="connsiteX57" fmla="*/ 911 w 10000"/>
                  <a:gd name="connsiteY57" fmla="*/ 1273 h 10000"/>
                  <a:gd name="connsiteX58" fmla="*/ 0 w 10000"/>
                  <a:gd name="connsiteY58" fmla="*/ 5373 h 10000"/>
                  <a:gd name="connsiteX0" fmla="*/ 8930 w 10000"/>
                  <a:gd name="connsiteY0" fmla="*/ 10000 h 10000"/>
                  <a:gd name="connsiteX1" fmla="*/ 8930 w 10000"/>
                  <a:gd name="connsiteY1" fmla="*/ 7547 h 10000"/>
                  <a:gd name="connsiteX2" fmla="*/ 9841 w 10000"/>
                  <a:gd name="connsiteY2" fmla="*/ 7547 h 10000"/>
                  <a:gd name="connsiteX3" fmla="*/ 9021 w 10000"/>
                  <a:gd name="connsiteY3" fmla="*/ 4720 h 10000"/>
                  <a:gd name="connsiteX4" fmla="*/ 9021 w 10000"/>
                  <a:gd name="connsiteY4" fmla="*/ 4224 h 10000"/>
                  <a:gd name="connsiteX5" fmla="*/ 9604 w 10000"/>
                  <a:gd name="connsiteY5" fmla="*/ 5901 h 10000"/>
                  <a:gd name="connsiteX6" fmla="*/ 9822 w 10000"/>
                  <a:gd name="connsiteY6" fmla="*/ 6056 h 10000"/>
                  <a:gd name="connsiteX7" fmla="*/ 9933 w 10000"/>
                  <a:gd name="connsiteY7" fmla="*/ 5932 h 10000"/>
                  <a:gd name="connsiteX8" fmla="*/ 9969 w 10000"/>
                  <a:gd name="connsiteY8" fmla="*/ 5466 h 10000"/>
                  <a:gd name="connsiteX9" fmla="*/ 9112 w 10000"/>
                  <a:gd name="connsiteY9" fmla="*/ 2888 h 10000"/>
                  <a:gd name="connsiteX10" fmla="*/ 9003 w 10000"/>
                  <a:gd name="connsiteY10" fmla="*/ 2733 h 10000"/>
                  <a:gd name="connsiteX11" fmla="*/ 8876 w 10000"/>
                  <a:gd name="connsiteY11" fmla="*/ 2640 h 10000"/>
                  <a:gd name="connsiteX12" fmla="*/ 8711 w 10000"/>
                  <a:gd name="connsiteY12" fmla="*/ 2640 h 10000"/>
                  <a:gd name="connsiteX13" fmla="*/ 9130 w 10000"/>
                  <a:gd name="connsiteY13" fmla="*/ 1491 h 10000"/>
                  <a:gd name="connsiteX14" fmla="*/ 8438 w 10000"/>
                  <a:gd name="connsiteY14" fmla="*/ 217 h 10000"/>
                  <a:gd name="connsiteX15" fmla="*/ 7764 w 10000"/>
                  <a:gd name="connsiteY15" fmla="*/ 1491 h 10000"/>
                  <a:gd name="connsiteX16" fmla="*/ 8183 w 10000"/>
                  <a:gd name="connsiteY16" fmla="*/ 2640 h 10000"/>
                  <a:gd name="connsiteX17" fmla="*/ 8019 w 10000"/>
                  <a:gd name="connsiteY17" fmla="*/ 2640 h 10000"/>
                  <a:gd name="connsiteX18" fmla="*/ 7872 w 10000"/>
                  <a:gd name="connsiteY18" fmla="*/ 2764 h 10000"/>
                  <a:gd name="connsiteX19" fmla="*/ 7800 w 10000"/>
                  <a:gd name="connsiteY19" fmla="*/ 2888 h 10000"/>
                  <a:gd name="connsiteX20" fmla="*/ 6925 w 10000"/>
                  <a:gd name="connsiteY20" fmla="*/ 5466 h 10000"/>
                  <a:gd name="connsiteX21" fmla="*/ 6889 w 10000"/>
                  <a:gd name="connsiteY21" fmla="*/ 5776 h 10000"/>
                  <a:gd name="connsiteX22" fmla="*/ 6853 w 10000"/>
                  <a:gd name="connsiteY22" fmla="*/ 5807 h 10000"/>
                  <a:gd name="connsiteX23" fmla="*/ 6597 w 10000"/>
                  <a:gd name="connsiteY23" fmla="*/ 6242 h 10000"/>
                  <a:gd name="connsiteX24" fmla="*/ 6251 w 10000"/>
                  <a:gd name="connsiteY24" fmla="*/ 5466 h 10000"/>
                  <a:gd name="connsiteX25" fmla="*/ 6251 w 10000"/>
                  <a:gd name="connsiteY25" fmla="*/ 5435 h 10000"/>
                  <a:gd name="connsiteX26" fmla="*/ 6160 w 10000"/>
                  <a:gd name="connsiteY26" fmla="*/ 5342 h 10000"/>
                  <a:gd name="connsiteX27" fmla="*/ 6069 w 10000"/>
                  <a:gd name="connsiteY27" fmla="*/ 5342 h 10000"/>
                  <a:gd name="connsiteX28" fmla="*/ 6325 w 10000"/>
                  <a:gd name="connsiteY28" fmla="*/ 4627 h 10000"/>
                  <a:gd name="connsiteX29" fmla="*/ 5887 w 10000"/>
                  <a:gd name="connsiteY29" fmla="*/ 3820 h 10000"/>
                  <a:gd name="connsiteX30" fmla="*/ 5450 w 10000"/>
                  <a:gd name="connsiteY30" fmla="*/ 4627 h 10000"/>
                  <a:gd name="connsiteX31" fmla="*/ 5705 w 10000"/>
                  <a:gd name="connsiteY31" fmla="*/ 5342 h 10000"/>
                  <a:gd name="connsiteX32" fmla="*/ 5613 w 10000"/>
                  <a:gd name="connsiteY32" fmla="*/ 5342 h 10000"/>
                  <a:gd name="connsiteX33" fmla="*/ 5522 w 10000"/>
                  <a:gd name="connsiteY33" fmla="*/ 5404 h 10000"/>
                  <a:gd name="connsiteX34" fmla="*/ 5486 w 10000"/>
                  <a:gd name="connsiteY34" fmla="*/ 5497 h 10000"/>
                  <a:gd name="connsiteX35" fmla="*/ 4993 w 10000"/>
                  <a:gd name="connsiteY35" fmla="*/ 6925 h 10000"/>
                  <a:gd name="connsiteX36" fmla="*/ 4501 w 10000"/>
                  <a:gd name="connsiteY36" fmla="*/ 5435 h 10000"/>
                  <a:gd name="connsiteX37" fmla="*/ 4465 w 10000"/>
                  <a:gd name="connsiteY37" fmla="*/ 5373 h 10000"/>
                  <a:gd name="connsiteX38" fmla="*/ 4356 w 10000"/>
                  <a:gd name="connsiteY38" fmla="*/ 5280 h 10000"/>
                  <a:gd name="connsiteX39" fmla="*/ 4082 w 10000"/>
                  <a:gd name="connsiteY39" fmla="*/ 5280 h 10000"/>
                  <a:gd name="connsiteX40" fmla="*/ 4483 w 10000"/>
                  <a:gd name="connsiteY40" fmla="*/ 4472 h 10000"/>
                  <a:gd name="connsiteX41" fmla="*/ 4046 w 10000"/>
                  <a:gd name="connsiteY41" fmla="*/ 3665 h 10000"/>
                  <a:gd name="connsiteX42" fmla="*/ 3608 w 10000"/>
                  <a:gd name="connsiteY42" fmla="*/ 4472 h 10000"/>
                  <a:gd name="connsiteX43" fmla="*/ 4027 w 10000"/>
                  <a:gd name="connsiteY43" fmla="*/ 5280 h 10000"/>
                  <a:gd name="connsiteX44" fmla="*/ 3754 w 10000"/>
                  <a:gd name="connsiteY44" fmla="*/ 5280 h 10000"/>
                  <a:gd name="connsiteX45" fmla="*/ 3626 w 10000"/>
                  <a:gd name="connsiteY45" fmla="*/ 5404 h 10000"/>
                  <a:gd name="connsiteX46" fmla="*/ 3626 w 10000"/>
                  <a:gd name="connsiteY46" fmla="*/ 5404 h 10000"/>
                  <a:gd name="connsiteX47" fmla="*/ 3298 w 10000"/>
                  <a:gd name="connsiteY47" fmla="*/ 6149 h 10000"/>
                  <a:gd name="connsiteX48" fmla="*/ 3116 w 10000"/>
                  <a:gd name="connsiteY48" fmla="*/ 5839 h 10000"/>
                  <a:gd name="connsiteX49" fmla="*/ 3116 w 10000"/>
                  <a:gd name="connsiteY49" fmla="*/ 5807 h 10000"/>
                  <a:gd name="connsiteX50" fmla="*/ 3153 w 10000"/>
                  <a:gd name="connsiteY50" fmla="*/ 5373 h 10000"/>
                  <a:gd name="connsiteX51" fmla="*/ 2296 w 10000"/>
                  <a:gd name="connsiteY51" fmla="*/ 2795 h 10000"/>
                  <a:gd name="connsiteX52" fmla="*/ 2241 w 10000"/>
                  <a:gd name="connsiteY52" fmla="*/ 2671 h 10000"/>
                  <a:gd name="connsiteX53" fmla="*/ 2059 w 10000"/>
                  <a:gd name="connsiteY53" fmla="*/ 2547 h 10000"/>
                  <a:gd name="connsiteX54" fmla="*/ 2278 w 10000"/>
                  <a:gd name="connsiteY54" fmla="*/ 1273 h 10000"/>
                  <a:gd name="connsiteX55" fmla="*/ 1585 w 10000"/>
                  <a:gd name="connsiteY55" fmla="*/ 0 h 10000"/>
                  <a:gd name="connsiteX56" fmla="*/ 911 w 10000"/>
                  <a:gd name="connsiteY56" fmla="*/ 1273 h 10000"/>
                  <a:gd name="connsiteX57" fmla="*/ 0 w 10000"/>
                  <a:gd name="connsiteY57" fmla="*/ 5373 h 10000"/>
                  <a:gd name="connsiteX0" fmla="*/ 8930 w 10000"/>
                  <a:gd name="connsiteY0" fmla="*/ 10000 h 10000"/>
                  <a:gd name="connsiteX1" fmla="*/ 8930 w 10000"/>
                  <a:gd name="connsiteY1" fmla="*/ 7547 h 10000"/>
                  <a:gd name="connsiteX2" fmla="*/ 9841 w 10000"/>
                  <a:gd name="connsiteY2" fmla="*/ 7547 h 10000"/>
                  <a:gd name="connsiteX3" fmla="*/ 9021 w 10000"/>
                  <a:gd name="connsiteY3" fmla="*/ 4720 h 10000"/>
                  <a:gd name="connsiteX4" fmla="*/ 9021 w 10000"/>
                  <a:gd name="connsiteY4" fmla="*/ 4224 h 10000"/>
                  <a:gd name="connsiteX5" fmla="*/ 9604 w 10000"/>
                  <a:gd name="connsiteY5" fmla="*/ 5901 h 10000"/>
                  <a:gd name="connsiteX6" fmla="*/ 9822 w 10000"/>
                  <a:gd name="connsiteY6" fmla="*/ 6056 h 10000"/>
                  <a:gd name="connsiteX7" fmla="*/ 9933 w 10000"/>
                  <a:gd name="connsiteY7" fmla="*/ 5932 h 10000"/>
                  <a:gd name="connsiteX8" fmla="*/ 9969 w 10000"/>
                  <a:gd name="connsiteY8" fmla="*/ 5466 h 10000"/>
                  <a:gd name="connsiteX9" fmla="*/ 9112 w 10000"/>
                  <a:gd name="connsiteY9" fmla="*/ 2888 h 10000"/>
                  <a:gd name="connsiteX10" fmla="*/ 9003 w 10000"/>
                  <a:gd name="connsiteY10" fmla="*/ 2733 h 10000"/>
                  <a:gd name="connsiteX11" fmla="*/ 8876 w 10000"/>
                  <a:gd name="connsiteY11" fmla="*/ 2640 h 10000"/>
                  <a:gd name="connsiteX12" fmla="*/ 8711 w 10000"/>
                  <a:gd name="connsiteY12" fmla="*/ 2640 h 10000"/>
                  <a:gd name="connsiteX13" fmla="*/ 9130 w 10000"/>
                  <a:gd name="connsiteY13" fmla="*/ 1491 h 10000"/>
                  <a:gd name="connsiteX14" fmla="*/ 8438 w 10000"/>
                  <a:gd name="connsiteY14" fmla="*/ 217 h 10000"/>
                  <a:gd name="connsiteX15" fmla="*/ 7764 w 10000"/>
                  <a:gd name="connsiteY15" fmla="*/ 1491 h 10000"/>
                  <a:gd name="connsiteX16" fmla="*/ 8183 w 10000"/>
                  <a:gd name="connsiteY16" fmla="*/ 2640 h 10000"/>
                  <a:gd name="connsiteX17" fmla="*/ 8019 w 10000"/>
                  <a:gd name="connsiteY17" fmla="*/ 2640 h 10000"/>
                  <a:gd name="connsiteX18" fmla="*/ 7872 w 10000"/>
                  <a:gd name="connsiteY18" fmla="*/ 2764 h 10000"/>
                  <a:gd name="connsiteX19" fmla="*/ 7800 w 10000"/>
                  <a:gd name="connsiteY19" fmla="*/ 2888 h 10000"/>
                  <a:gd name="connsiteX20" fmla="*/ 6925 w 10000"/>
                  <a:gd name="connsiteY20" fmla="*/ 5466 h 10000"/>
                  <a:gd name="connsiteX21" fmla="*/ 6889 w 10000"/>
                  <a:gd name="connsiteY21" fmla="*/ 5776 h 10000"/>
                  <a:gd name="connsiteX22" fmla="*/ 6853 w 10000"/>
                  <a:gd name="connsiteY22" fmla="*/ 5807 h 10000"/>
                  <a:gd name="connsiteX23" fmla="*/ 6597 w 10000"/>
                  <a:gd name="connsiteY23" fmla="*/ 6242 h 10000"/>
                  <a:gd name="connsiteX24" fmla="*/ 6251 w 10000"/>
                  <a:gd name="connsiteY24" fmla="*/ 5466 h 10000"/>
                  <a:gd name="connsiteX25" fmla="*/ 6251 w 10000"/>
                  <a:gd name="connsiteY25" fmla="*/ 5435 h 10000"/>
                  <a:gd name="connsiteX26" fmla="*/ 6160 w 10000"/>
                  <a:gd name="connsiteY26" fmla="*/ 5342 h 10000"/>
                  <a:gd name="connsiteX27" fmla="*/ 6069 w 10000"/>
                  <a:gd name="connsiteY27" fmla="*/ 5342 h 10000"/>
                  <a:gd name="connsiteX28" fmla="*/ 6325 w 10000"/>
                  <a:gd name="connsiteY28" fmla="*/ 4627 h 10000"/>
                  <a:gd name="connsiteX29" fmla="*/ 5887 w 10000"/>
                  <a:gd name="connsiteY29" fmla="*/ 3820 h 10000"/>
                  <a:gd name="connsiteX30" fmla="*/ 5450 w 10000"/>
                  <a:gd name="connsiteY30" fmla="*/ 4627 h 10000"/>
                  <a:gd name="connsiteX31" fmla="*/ 5705 w 10000"/>
                  <a:gd name="connsiteY31" fmla="*/ 5342 h 10000"/>
                  <a:gd name="connsiteX32" fmla="*/ 5613 w 10000"/>
                  <a:gd name="connsiteY32" fmla="*/ 5342 h 10000"/>
                  <a:gd name="connsiteX33" fmla="*/ 5522 w 10000"/>
                  <a:gd name="connsiteY33" fmla="*/ 5404 h 10000"/>
                  <a:gd name="connsiteX34" fmla="*/ 5486 w 10000"/>
                  <a:gd name="connsiteY34" fmla="*/ 5497 h 10000"/>
                  <a:gd name="connsiteX35" fmla="*/ 4993 w 10000"/>
                  <a:gd name="connsiteY35" fmla="*/ 6925 h 10000"/>
                  <a:gd name="connsiteX36" fmla="*/ 4501 w 10000"/>
                  <a:gd name="connsiteY36" fmla="*/ 5435 h 10000"/>
                  <a:gd name="connsiteX37" fmla="*/ 4465 w 10000"/>
                  <a:gd name="connsiteY37" fmla="*/ 5373 h 10000"/>
                  <a:gd name="connsiteX38" fmla="*/ 4356 w 10000"/>
                  <a:gd name="connsiteY38" fmla="*/ 5280 h 10000"/>
                  <a:gd name="connsiteX39" fmla="*/ 4082 w 10000"/>
                  <a:gd name="connsiteY39" fmla="*/ 5280 h 10000"/>
                  <a:gd name="connsiteX40" fmla="*/ 4483 w 10000"/>
                  <a:gd name="connsiteY40" fmla="*/ 4472 h 10000"/>
                  <a:gd name="connsiteX41" fmla="*/ 4046 w 10000"/>
                  <a:gd name="connsiteY41" fmla="*/ 3665 h 10000"/>
                  <a:gd name="connsiteX42" fmla="*/ 3608 w 10000"/>
                  <a:gd name="connsiteY42" fmla="*/ 4472 h 10000"/>
                  <a:gd name="connsiteX43" fmla="*/ 4027 w 10000"/>
                  <a:gd name="connsiteY43" fmla="*/ 5280 h 10000"/>
                  <a:gd name="connsiteX44" fmla="*/ 3754 w 10000"/>
                  <a:gd name="connsiteY44" fmla="*/ 5280 h 10000"/>
                  <a:gd name="connsiteX45" fmla="*/ 3626 w 10000"/>
                  <a:gd name="connsiteY45" fmla="*/ 5404 h 10000"/>
                  <a:gd name="connsiteX46" fmla="*/ 3626 w 10000"/>
                  <a:gd name="connsiteY46" fmla="*/ 5404 h 10000"/>
                  <a:gd name="connsiteX47" fmla="*/ 3298 w 10000"/>
                  <a:gd name="connsiteY47" fmla="*/ 6149 h 10000"/>
                  <a:gd name="connsiteX48" fmla="*/ 3116 w 10000"/>
                  <a:gd name="connsiteY48" fmla="*/ 5839 h 10000"/>
                  <a:gd name="connsiteX49" fmla="*/ 3116 w 10000"/>
                  <a:gd name="connsiteY49" fmla="*/ 5807 h 10000"/>
                  <a:gd name="connsiteX50" fmla="*/ 3153 w 10000"/>
                  <a:gd name="connsiteY50" fmla="*/ 5373 h 10000"/>
                  <a:gd name="connsiteX51" fmla="*/ 2296 w 10000"/>
                  <a:gd name="connsiteY51" fmla="*/ 2795 h 10000"/>
                  <a:gd name="connsiteX52" fmla="*/ 2241 w 10000"/>
                  <a:gd name="connsiteY52" fmla="*/ 2671 h 10000"/>
                  <a:gd name="connsiteX53" fmla="*/ 2278 w 10000"/>
                  <a:gd name="connsiteY53" fmla="*/ 1273 h 10000"/>
                  <a:gd name="connsiteX54" fmla="*/ 1585 w 10000"/>
                  <a:gd name="connsiteY54" fmla="*/ 0 h 10000"/>
                  <a:gd name="connsiteX55" fmla="*/ 911 w 10000"/>
                  <a:gd name="connsiteY55" fmla="*/ 1273 h 10000"/>
                  <a:gd name="connsiteX56" fmla="*/ 0 w 10000"/>
                  <a:gd name="connsiteY56" fmla="*/ 5373 h 10000"/>
                  <a:gd name="connsiteX0" fmla="*/ 8930 w 10000"/>
                  <a:gd name="connsiteY0" fmla="*/ 10000 h 10000"/>
                  <a:gd name="connsiteX1" fmla="*/ 8930 w 10000"/>
                  <a:gd name="connsiteY1" fmla="*/ 7547 h 10000"/>
                  <a:gd name="connsiteX2" fmla="*/ 9841 w 10000"/>
                  <a:gd name="connsiteY2" fmla="*/ 7547 h 10000"/>
                  <a:gd name="connsiteX3" fmla="*/ 9021 w 10000"/>
                  <a:gd name="connsiteY3" fmla="*/ 4720 h 10000"/>
                  <a:gd name="connsiteX4" fmla="*/ 9021 w 10000"/>
                  <a:gd name="connsiteY4" fmla="*/ 4224 h 10000"/>
                  <a:gd name="connsiteX5" fmla="*/ 9604 w 10000"/>
                  <a:gd name="connsiteY5" fmla="*/ 5901 h 10000"/>
                  <a:gd name="connsiteX6" fmla="*/ 9822 w 10000"/>
                  <a:gd name="connsiteY6" fmla="*/ 6056 h 10000"/>
                  <a:gd name="connsiteX7" fmla="*/ 9933 w 10000"/>
                  <a:gd name="connsiteY7" fmla="*/ 5932 h 10000"/>
                  <a:gd name="connsiteX8" fmla="*/ 9969 w 10000"/>
                  <a:gd name="connsiteY8" fmla="*/ 5466 h 10000"/>
                  <a:gd name="connsiteX9" fmla="*/ 9112 w 10000"/>
                  <a:gd name="connsiteY9" fmla="*/ 2888 h 10000"/>
                  <a:gd name="connsiteX10" fmla="*/ 9003 w 10000"/>
                  <a:gd name="connsiteY10" fmla="*/ 2733 h 10000"/>
                  <a:gd name="connsiteX11" fmla="*/ 8876 w 10000"/>
                  <a:gd name="connsiteY11" fmla="*/ 2640 h 10000"/>
                  <a:gd name="connsiteX12" fmla="*/ 8711 w 10000"/>
                  <a:gd name="connsiteY12" fmla="*/ 2640 h 10000"/>
                  <a:gd name="connsiteX13" fmla="*/ 9130 w 10000"/>
                  <a:gd name="connsiteY13" fmla="*/ 1491 h 10000"/>
                  <a:gd name="connsiteX14" fmla="*/ 8438 w 10000"/>
                  <a:gd name="connsiteY14" fmla="*/ 217 h 10000"/>
                  <a:gd name="connsiteX15" fmla="*/ 7764 w 10000"/>
                  <a:gd name="connsiteY15" fmla="*/ 1491 h 10000"/>
                  <a:gd name="connsiteX16" fmla="*/ 8183 w 10000"/>
                  <a:gd name="connsiteY16" fmla="*/ 2640 h 10000"/>
                  <a:gd name="connsiteX17" fmla="*/ 8019 w 10000"/>
                  <a:gd name="connsiteY17" fmla="*/ 2640 h 10000"/>
                  <a:gd name="connsiteX18" fmla="*/ 7872 w 10000"/>
                  <a:gd name="connsiteY18" fmla="*/ 2764 h 10000"/>
                  <a:gd name="connsiteX19" fmla="*/ 7800 w 10000"/>
                  <a:gd name="connsiteY19" fmla="*/ 2888 h 10000"/>
                  <a:gd name="connsiteX20" fmla="*/ 6925 w 10000"/>
                  <a:gd name="connsiteY20" fmla="*/ 5466 h 10000"/>
                  <a:gd name="connsiteX21" fmla="*/ 6889 w 10000"/>
                  <a:gd name="connsiteY21" fmla="*/ 5776 h 10000"/>
                  <a:gd name="connsiteX22" fmla="*/ 6853 w 10000"/>
                  <a:gd name="connsiteY22" fmla="*/ 5807 h 10000"/>
                  <a:gd name="connsiteX23" fmla="*/ 6597 w 10000"/>
                  <a:gd name="connsiteY23" fmla="*/ 6242 h 10000"/>
                  <a:gd name="connsiteX24" fmla="*/ 6251 w 10000"/>
                  <a:gd name="connsiteY24" fmla="*/ 5466 h 10000"/>
                  <a:gd name="connsiteX25" fmla="*/ 6251 w 10000"/>
                  <a:gd name="connsiteY25" fmla="*/ 5435 h 10000"/>
                  <a:gd name="connsiteX26" fmla="*/ 6160 w 10000"/>
                  <a:gd name="connsiteY26" fmla="*/ 5342 h 10000"/>
                  <a:gd name="connsiteX27" fmla="*/ 6069 w 10000"/>
                  <a:gd name="connsiteY27" fmla="*/ 5342 h 10000"/>
                  <a:gd name="connsiteX28" fmla="*/ 6325 w 10000"/>
                  <a:gd name="connsiteY28" fmla="*/ 4627 h 10000"/>
                  <a:gd name="connsiteX29" fmla="*/ 5887 w 10000"/>
                  <a:gd name="connsiteY29" fmla="*/ 3820 h 10000"/>
                  <a:gd name="connsiteX30" fmla="*/ 5450 w 10000"/>
                  <a:gd name="connsiteY30" fmla="*/ 4627 h 10000"/>
                  <a:gd name="connsiteX31" fmla="*/ 5705 w 10000"/>
                  <a:gd name="connsiteY31" fmla="*/ 5342 h 10000"/>
                  <a:gd name="connsiteX32" fmla="*/ 5613 w 10000"/>
                  <a:gd name="connsiteY32" fmla="*/ 5342 h 10000"/>
                  <a:gd name="connsiteX33" fmla="*/ 5522 w 10000"/>
                  <a:gd name="connsiteY33" fmla="*/ 5404 h 10000"/>
                  <a:gd name="connsiteX34" fmla="*/ 5486 w 10000"/>
                  <a:gd name="connsiteY34" fmla="*/ 5497 h 10000"/>
                  <a:gd name="connsiteX35" fmla="*/ 4993 w 10000"/>
                  <a:gd name="connsiteY35" fmla="*/ 6925 h 10000"/>
                  <a:gd name="connsiteX36" fmla="*/ 4501 w 10000"/>
                  <a:gd name="connsiteY36" fmla="*/ 5435 h 10000"/>
                  <a:gd name="connsiteX37" fmla="*/ 4465 w 10000"/>
                  <a:gd name="connsiteY37" fmla="*/ 5373 h 10000"/>
                  <a:gd name="connsiteX38" fmla="*/ 4356 w 10000"/>
                  <a:gd name="connsiteY38" fmla="*/ 5280 h 10000"/>
                  <a:gd name="connsiteX39" fmla="*/ 4082 w 10000"/>
                  <a:gd name="connsiteY39" fmla="*/ 5280 h 10000"/>
                  <a:gd name="connsiteX40" fmla="*/ 4483 w 10000"/>
                  <a:gd name="connsiteY40" fmla="*/ 4472 h 10000"/>
                  <a:gd name="connsiteX41" fmla="*/ 4046 w 10000"/>
                  <a:gd name="connsiteY41" fmla="*/ 3665 h 10000"/>
                  <a:gd name="connsiteX42" fmla="*/ 3608 w 10000"/>
                  <a:gd name="connsiteY42" fmla="*/ 4472 h 10000"/>
                  <a:gd name="connsiteX43" fmla="*/ 4027 w 10000"/>
                  <a:gd name="connsiteY43" fmla="*/ 5280 h 10000"/>
                  <a:gd name="connsiteX44" fmla="*/ 3754 w 10000"/>
                  <a:gd name="connsiteY44" fmla="*/ 5280 h 10000"/>
                  <a:gd name="connsiteX45" fmla="*/ 3626 w 10000"/>
                  <a:gd name="connsiteY45" fmla="*/ 5404 h 10000"/>
                  <a:gd name="connsiteX46" fmla="*/ 3626 w 10000"/>
                  <a:gd name="connsiteY46" fmla="*/ 5404 h 10000"/>
                  <a:gd name="connsiteX47" fmla="*/ 3298 w 10000"/>
                  <a:gd name="connsiteY47" fmla="*/ 6149 h 10000"/>
                  <a:gd name="connsiteX48" fmla="*/ 3116 w 10000"/>
                  <a:gd name="connsiteY48" fmla="*/ 5839 h 10000"/>
                  <a:gd name="connsiteX49" fmla="*/ 3116 w 10000"/>
                  <a:gd name="connsiteY49" fmla="*/ 5807 h 10000"/>
                  <a:gd name="connsiteX50" fmla="*/ 3153 w 10000"/>
                  <a:gd name="connsiteY50" fmla="*/ 5373 h 10000"/>
                  <a:gd name="connsiteX51" fmla="*/ 2296 w 10000"/>
                  <a:gd name="connsiteY51" fmla="*/ 2795 h 10000"/>
                  <a:gd name="connsiteX52" fmla="*/ 2241 w 10000"/>
                  <a:gd name="connsiteY52" fmla="*/ 2671 h 10000"/>
                  <a:gd name="connsiteX53" fmla="*/ 1585 w 10000"/>
                  <a:gd name="connsiteY53" fmla="*/ 0 h 10000"/>
                  <a:gd name="connsiteX54" fmla="*/ 911 w 10000"/>
                  <a:gd name="connsiteY54" fmla="*/ 1273 h 10000"/>
                  <a:gd name="connsiteX55" fmla="*/ 0 w 10000"/>
                  <a:gd name="connsiteY55" fmla="*/ 5373 h 10000"/>
                  <a:gd name="connsiteX0" fmla="*/ 8930 w 10000"/>
                  <a:gd name="connsiteY0" fmla="*/ 9783 h 9783"/>
                  <a:gd name="connsiteX1" fmla="*/ 8930 w 10000"/>
                  <a:gd name="connsiteY1" fmla="*/ 7330 h 9783"/>
                  <a:gd name="connsiteX2" fmla="*/ 9841 w 10000"/>
                  <a:gd name="connsiteY2" fmla="*/ 7330 h 9783"/>
                  <a:gd name="connsiteX3" fmla="*/ 9021 w 10000"/>
                  <a:gd name="connsiteY3" fmla="*/ 4503 h 9783"/>
                  <a:gd name="connsiteX4" fmla="*/ 9021 w 10000"/>
                  <a:gd name="connsiteY4" fmla="*/ 4007 h 9783"/>
                  <a:gd name="connsiteX5" fmla="*/ 9604 w 10000"/>
                  <a:gd name="connsiteY5" fmla="*/ 5684 h 9783"/>
                  <a:gd name="connsiteX6" fmla="*/ 9822 w 10000"/>
                  <a:gd name="connsiteY6" fmla="*/ 5839 h 9783"/>
                  <a:gd name="connsiteX7" fmla="*/ 9933 w 10000"/>
                  <a:gd name="connsiteY7" fmla="*/ 5715 h 9783"/>
                  <a:gd name="connsiteX8" fmla="*/ 9969 w 10000"/>
                  <a:gd name="connsiteY8" fmla="*/ 5249 h 9783"/>
                  <a:gd name="connsiteX9" fmla="*/ 9112 w 10000"/>
                  <a:gd name="connsiteY9" fmla="*/ 2671 h 9783"/>
                  <a:gd name="connsiteX10" fmla="*/ 9003 w 10000"/>
                  <a:gd name="connsiteY10" fmla="*/ 2516 h 9783"/>
                  <a:gd name="connsiteX11" fmla="*/ 8876 w 10000"/>
                  <a:gd name="connsiteY11" fmla="*/ 2423 h 9783"/>
                  <a:gd name="connsiteX12" fmla="*/ 8711 w 10000"/>
                  <a:gd name="connsiteY12" fmla="*/ 2423 h 9783"/>
                  <a:gd name="connsiteX13" fmla="*/ 9130 w 10000"/>
                  <a:gd name="connsiteY13" fmla="*/ 1274 h 9783"/>
                  <a:gd name="connsiteX14" fmla="*/ 8438 w 10000"/>
                  <a:gd name="connsiteY14" fmla="*/ 0 h 9783"/>
                  <a:gd name="connsiteX15" fmla="*/ 7764 w 10000"/>
                  <a:gd name="connsiteY15" fmla="*/ 1274 h 9783"/>
                  <a:gd name="connsiteX16" fmla="*/ 8183 w 10000"/>
                  <a:gd name="connsiteY16" fmla="*/ 2423 h 9783"/>
                  <a:gd name="connsiteX17" fmla="*/ 8019 w 10000"/>
                  <a:gd name="connsiteY17" fmla="*/ 2423 h 9783"/>
                  <a:gd name="connsiteX18" fmla="*/ 7872 w 10000"/>
                  <a:gd name="connsiteY18" fmla="*/ 2547 h 9783"/>
                  <a:gd name="connsiteX19" fmla="*/ 7800 w 10000"/>
                  <a:gd name="connsiteY19" fmla="*/ 2671 h 9783"/>
                  <a:gd name="connsiteX20" fmla="*/ 6925 w 10000"/>
                  <a:gd name="connsiteY20" fmla="*/ 5249 h 9783"/>
                  <a:gd name="connsiteX21" fmla="*/ 6889 w 10000"/>
                  <a:gd name="connsiteY21" fmla="*/ 5559 h 9783"/>
                  <a:gd name="connsiteX22" fmla="*/ 6853 w 10000"/>
                  <a:gd name="connsiteY22" fmla="*/ 5590 h 9783"/>
                  <a:gd name="connsiteX23" fmla="*/ 6597 w 10000"/>
                  <a:gd name="connsiteY23" fmla="*/ 6025 h 9783"/>
                  <a:gd name="connsiteX24" fmla="*/ 6251 w 10000"/>
                  <a:gd name="connsiteY24" fmla="*/ 5249 h 9783"/>
                  <a:gd name="connsiteX25" fmla="*/ 6251 w 10000"/>
                  <a:gd name="connsiteY25" fmla="*/ 5218 h 9783"/>
                  <a:gd name="connsiteX26" fmla="*/ 6160 w 10000"/>
                  <a:gd name="connsiteY26" fmla="*/ 5125 h 9783"/>
                  <a:gd name="connsiteX27" fmla="*/ 6069 w 10000"/>
                  <a:gd name="connsiteY27" fmla="*/ 5125 h 9783"/>
                  <a:gd name="connsiteX28" fmla="*/ 6325 w 10000"/>
                  <a:gd name="connsiteY28" fmla="*/ 4410 h 9783"/>
                  <a:gd name="connsiteX29" fmla="*/ 5887 w 10000"/>
                  <a:gd name="connsiteY29" fmla="*/ 3603 h 9783"/>
                  <a:gd name="connsiteX30" fmla="*/ 5450 w 10000"/>
                  <a:gd name="connsiteY30" fmla="*/ 4410 h 9783"/>
                  <a:gd name="connsiteX31" fmla="*/ 5705 w 10000"/>
                  <a:gd name="connsiteY31" fmla="*/ 5125 h 9783"/>
                  <a:gd name="connsiteX32" fmla="*/ 5613 w 10000"/>
                  <a:gd name="connsiteY32" fmla="*/ 5125 h 9783"/>
                  <a:gd name="connsiteX33" fmla="*/ 5522 w 10000"/>
                  <a:gd name="connsiteY33" fmla="*/ 5187 h 9783"/>
                  <a:gd name="connsiteX34" fmla="*/ 5486 w 10000"/>
                  <a:gd name="connsiteY34" fmla="*/ 5280 h 9783"/>
                  <a:gd name="connsiteX35" fmla="*/ 4993 w 10000"/>
                  <a:gd name="connsiteY35" fmla="*/ 6708 h 9783"/>
                  <a:gd name="connsiteX36" fmla="*/ 4501 w 10000"/>
                  <a:gd name="connsiteY36" fmla="*/ 5218 h 9783"/>
                  <a:gd name="connsiteX37" fmla="*/ 4465 w 10000"/>
                  <a:gd name="connsiteY37" fmla="*/ 5156 h 9783"/>
                  <a:gd name="connsiteX38" fmla="*/ 4356 w 10000"/>
                  <a:gd name="connsiteY38" fmla="*/ 5063 h 9783"/>
                  <a:gd name="connsiteX39" fmla="*/ 4082 w 10000"/>
                  <a:gd name="connsiteY39" fmla="*/ 5063 h 9783"/>
                  <a:gd name="connsiteX40" fmla="*/ 4483 w 10000"/>
                  <a:gd name="connsiteY40" fmla="*/ 4255 h 9783"/>
                  <a:gd name="connsiteX41" fmla="*/ 4046 w 10000"/>
                  <a:gd name="connsiteY41" fmla="*/ 3448 h 9783"/>
                  <a:gd name="connsiteX42" fmla="*/ 3608 w 10000"/>
                  <a:gd name="connsiteY42" fmla="*/ 4255 h 9783"/>
                  <a:gd name="connsiteX43" fmla="*/ 4027 w 10000"/>
                  <a:gd name="connsiteY43" fmla="*/ 5063 h 9783"/>
                  <a:gd name="connsiteX44" fmla="*/ 3754 w 10000"/>
                  <a:gd name="connsiteY44" fmla="*/ 5063 h 9783"/>
                  <a:gd name="connsiteX45" fmla="*/ 3626 w 10000"/>
                  <a:gd name="connsiteY45" fmla="*/ 5187 h 9783"/>
                  <a:gd name="connsiteX46" fmla="*/ 3626 w 10000"/>
                  <a:gd name="connsiteY46" fmla="*/ 5187 h 9783"/>
                  <a:gd name="connsiteX47" fmla="*/ 3298 w 10000"/>
                  <a:gd name="connsiteY47" fmla="*/ 5932 h 9783"/>
                  <a:gd name="connsiteX48" fmla="*/ 3116 w 10000"/>
                  <a:gd name="connsiteY48" fmla="*/ 5622 h 9783"/>
                  <a:gd name="connsiteX49" fmla="*/ 3116 w 10000"/>
                  <a:gd name="connsiteY49" fmla="*/ 5590 h 9783"/>
                  <a:gd name="connsiteX50" fmla="*/ 3153 w 10000"/>
                  <a:gd name="connsiteY50" fmla="*/ 5156 h 9783"/>
                  <a:gd name="connsiteX51" fmla="*/ 2296 w 10000"/>
                  <a:gd name="connsiteY51" fmla="*/ 2578 h 9783"/>
                  <a:gd name="connsiteX52" fmla="*/ 2241 w 10000"/>
                  <a:gd name="connsiteY52" fmla="*/ 2454 h 9783"/>
                  <a:gd name="connsiteX53" fmla="*/ 911 w 10000"/>
                  <a:gd name="connsiteY53" fmla="*/ 1056 h 9783"/>
                  <a:gd name="connsiteX54" fmla="*/ 0 w 10000"/>
                  <a:gd name="connsiteY54" fmla="*/ 5156 h 9783"/>
                  <a:gd name="connsiteX0" fmla="*/ 8930 w 10000"/>
                  <a:gd name="connsiteY0" fmla="*/ 10000 h 10000"/>
                  <a:gd name="connsiteX1" fmla="*/ 8930 w 10000"/>
                  <a:gd name="connsiteY1" fmla="*/ 7493 h 10000"/>
                  <a:gd name="connsiteX2" fmla="*/ 9841 w 10000"/>
                  <a:gd name="connsiteY2" fmla="*/ 7493 h 10000"/>
                  <a:gd name="connsiteX3" fmla="*/ 9021 w 10000"/>
                  <a:gd name="connsiteY3" fmla="*/ 4603 h 10000"/>
                  <a:gd name="connsiteX4" fmla="*/ 9021 w 10000"/>
                  <a:gd name="connsiteY4" fmla="*/ 4096 h 10000"/>
                  <a:gd name="connsiteX5" fmla="*/ 9604 w 10000"/>
                  <a:gd name="connsiteY5" fmla="*/ 5810 h 10000"/>
                  <a:gd name="connsiteX6" fmla="*/ 9822 w 10000"/>
                  <a:gd name="connsiteY6" fmla="*/ 5969 h 10000"/>
                  <a:gd name="connsiteX7" fmla="*/ 9933 w 10000"/>
                  <a:gd name="connsiteY7" fmla="*/ 5842 h 10000"/>
                  <a:gd name="connsiteX8" fmla="*/ 9969 w 10000"/>
                  <a:gd name="connsiteY8" fmla="*/ 5365 h 10000"/>
                  <a:gd name="connsiteX9" fmla="*/ 9112 w 10000"/>
                  <a:gd name="connsiteY9" fmla="*/ 2730 h 10000"/>
                  <a:gd name="connsiteX10" fmla="*/ 9003 w 10000"/>
                  <a:gd name="connsiteY10" fmla="*/ 2572 h 10000"/>
                  <a:gd name="connsiteX11" fmla="*/ 8876 w 10000"/>
                  <a:gd name="connsiteY11" fmla="*/ 2477 h 10000"/>
                  <a:gd name="connsiteX12" fmla="*/ 8711 w 10000"/>
                  <a:gd name="connsiteY12" fmla="*/ 2477 h 10000"/>
                  <a:gd name="connsiteX13" fmla="*/ 9130 w 10000"/>
                  <a:gd name="connsiteY13" fmla="*/ 1302 h 10000"/>
                  <a:gd name="connsiteX14" fmla="*/ 8438 w 10000"/>
                  <a:gd name="connsiteY14" fmla="*/ 0 h 10000"/>
                  <a:gd name="connsiteX15" fmla="*/ 7764 w 10000"/>
                  <a:gd name="connsiteY15" fmla="*/ 1302 h 10000"/>
                  <a:gd name="connsiteX16" fmla="*/ 8183 w 10000"/>
                  <a:gd name="connsiteY16" fmla="*/ 2477 h 10000"/>
                  <a:gd name="connsiteX17" fmla="*/ 8019 w 10000"/>
                  <a:gd name="connsiteY17" fmla="*/ 2477 h 10000"/>
                  <a:gd name="connsiteX18" fmla="*/ 7872 w 10000"/>
                  <a:gd name="connsiteY18" fmla="*/ 2603 h 10000"/>
                  <a:gd name="connsiteX19" fmla="*/ 7800 w 10000"/>
                  <a:gd name="connsiteY19" fmla="*/ 2730 h 10000"/>
                  <a:gd name="connsiteX20" fmla="*/ 6925 w 10000"/>
                  <a:gd name="connsiteY20" fmla="*/ 5365 h 10000"/>
                  <a:gd name="connsiteX21" fmla="*/ 6889 w 10000"/>
                  <a:gd name="connsiteY21" fmla="*/ 5682 h 10000"/>
                  <a:gd name="connsiteX22" fmla="*/ 6853 w 10000"/>
                  <a:gd name="connsiteY22" fmla="*/ 5714 h 10000"/>
                  <a:gd name="connsiteX23" fmla="*/ 6597 w 10000"/>
                  <a:gd name="connsiteY23" fmla="*/ 6159 h 10000"/>
                  <a:gd name="connsiteX24" fmla="*/ 6251 w 10000"/>
                  <a:gd name="connsiteY24" fmla="*/ 5365 h 10000"/>
                  <a:gd name="connsiteX25" fmla="*/ 6251 w 10000"/>
                  <a:gd name="connsiteY25" fmla="*/ 5334 h 10000"/>
                  <a:gd name="connsiteX26" fmla="*/ 6160 w 10000"/>
                  <a:gd name="connsiteY26" fmla="*/ 5239 h 10000"/>
                  <a:gd name="connsiteX27" fmla="*/ 6069 w 10000"/>
                  <a:gd name="connsiteY27" fmla="*/ 5239 h 10000"/>
                  <a:gd name="connsiteX28" fmla="*/ 6325 w 10000"/>
                  <a:gd name="connsiteY28" fmla="*/ 4508 h 10000"/>
                  <a:gd name="connsiteX29" fmla="*/ 5887 w 10000"/>
                  <a:gd name="connsiteY29" fmla="*/ 3683 h 10000"/>
                  <a:gd name="connsiteX30" fmla="*/ 5450 w 10000"/>
                  <a:gd name="connsiteY30" fmla="*/ 4508 h 10000"/>
                  <a:gd name="connsiteX31" fmla="*/ 5705 w 10000"/>
                  <a:gd name="connsiteY31" fmla="*/ 5239 h 10000"/>
                  <a:gd name="connsiteX32" fmla="*/ 5613 w 10000"/>
                  <a:gd name="connsiteY32" fmla="*/ 5239 h 10000"/>
                  <a:gd name="connsiteX33" fmla="*/ 5522 w 10000"/>
                  <a:gd name="connsiteY33" fmla="*/ 5302 h 10000"/>
                  <a:gd name="connsiteX34" fmla="*/ 5486 w 10000"/>
                  <a:gd name="connsiteY34" fmla="*/ 5397 h 10000"/>
                  <a:gd name="connsiteX35" fmla="*/ 4993 w 10000"/>
                  <a:gd name="connsiteY35" fmla="*/ 6857 h 10000"/>
                  <a:gd name="connsiteX36" fmla="*/ 4501 w 10000"/>
                  <a:gd name="connsiteY36" fmla="*/ 5334 h 10000"/>
                  <a:gd name="connsiteX37" fmla="*/ 4465 w 10000"/>
                  <a:gd name="connsiteY37" fmla="*/ 5270 h 10000"/>
                  <a:gd name="connsiteX38" fmla="*/ 4356 w 10000"/>
                  <a:gd name="connsiteY38" fmla="*/ 5175 h 10000"/>
                  <a:gd name="connsiteX39" fmla="*/ 4082 w 10000"/>
                  <a:gd name="connsiteY39" fmla="*/ 5175 h 10000"/>
                  <a:gd name="connsiteX40" fmla="*/ 4483 w 10000"/>
                  <a:gd name="connsiteY40" fmla="*/ 4349 h 10000"/>
                  <a:gd name="connsiteX41" fmla="*/ 4046 w 10000"/>
                  <a:gd name="connsiteY41" fmla="*/ 3524 h 10000"/>
                  <a:gd name="connsiteX42" fmla="*/ 3608 w 10000"/>
                  <a:gd name="connsiteY42" fmla="*/ 4349 h 10000"/>
                  <a:gd name="connsiteX43" fmla="*/ 4027 w 10000"/>
                  <a:gd name="connsiteY43" fmla="*/ 5175 h 10000"/>
                  <a:gd name="connsiteX44" fmla="*/ 3754 w 10000"/>
                  <a:gd name="connsiteY44" fmla="*/ 5175 h 10000"/>
                  <a:gd name="connsiteX45" fmla="*/ 3626 w 10000"/>
                  <a:gd name="connsiteY45" fmla="*/ 5302 h 10000"/>
                  <a:gd name="connsiteX46" fmla="*/ 3626 w 10000"/>
                  <a:gd name="connsiteY46" fmla="*/ 5302 h 10000"/>
                  <a:gd name="connsiteX47" fmla="*/ 3298 w 10000"/>
                  <a:gd name="connsiteY47" fmla="*/ 6064 h 10000"/>
                  <a:gd name="connsiteX48" fmla="*/ 3116 w 10000"/>
                  <a:gd name="connsiteY48" fmla="*/ 5747 h 10000"/>
                  <a:gd name="connsiteX49" fmla="*/ 3116 w 10000"/>
                  <a:gd name="connsiteY49" fmla="*/ 5714 h 10000"/>
                  <a:gd name="connsiteX50" fmla="*/ 3153 w 10000"/>
                  <a:gd name="connsiteY50" fmla="*/ 5270 h 10000"/>
                  <a:gd name="connsiteX51" fmla="*/ 2296 w 10000"/>
                  <a:gd name="connsiteY51" fmla="*/ 2635 h 10000"/>
                  <a:gd name="connsiteX52" fmla="*/ 2241 w 10000"/>
                  <a:gd name="connsiteY52" fmla="*/ 2508 h 10000"/>
                  <a:gd name="connsiteX53" fmla="*/ 0 w 10000"/>
                  <a:gd name="connsiteY53" fmla="*/ 5270 h 10000"/>
                  <a:gd name="connsiteX0" fmla="*/ 6689 w 7759"/>
                  <a:gd name="connsiteY0" fmla="*/ 10000 h 10000"/>
                  <a:gd name="connsiteX1" fmla="*/ 6689 w 7759"/>
                  <a:gd name="connsiteY1" fmla="*/ 7493 h 10000"/>
                  <a:gd name="connsiteX2" fmla="*/ 7600 w 7759"/>
                  <a:gd name="connsiteY2" fmla="*/ 7493 h 10000"/>
                  <a:gd name="connsiteX3" fmla="*/ 6780 w 7759"/>
                  <a:gd name="connsiteY3" fmla="*/ 4603 h 10000"/>
                  <a:gd name="connsiteX4" fmla="*/ 6780 w 7759"/>
                  <a:gd name="connsiteY4" fmla="*/ 4096 h 10000"/>
                  <a:gd name="connsiteX5" fmla="*/ 7363 w 7759"/>
                  <a:gd name="connsiteY5" fmla="*/ 5810 h 10000"/>
                  <a:gd name="connsiteX6" fmla="*/ 7581 w 7759"/>
                  <a:gd name="connsiteY6" fmla="*/ 5969 h 10000"/>
                  <a:gd name="connsiteX7" fmla="*/ 7692 w 7759"/>
                  <a:gd name="connsiteY7" fmla="*/ 5842 h 10000"/>
                  <a:gd name="connsiteX8" fmla="*/ 7728 w 7759"/>
                  <a:gd name="connsiteY8" fmla="*/ 5365 h 10000"/>
                  <a:gd name="connsiteX9" fmla="*/ 6871 w 7759"/>
                  <a:gd name="connsiteY9" fmla="*/ 2730 h 10000"/>
                  <a:gd name="connsiteX10" fmla="*/ 6762 w 7759"/>
                  <a:gd name="connsiteY10" fmla="*/ 2572 h 10000"/>
                  <a:gd name="connsiteX11" fmla="*/ 6635 w 7759"/>
                  <a:gd name="connsiteY11" fmla="*/ 2477 h 10000"/>
                  <a:gd name="connsiteX12" fmla="*/ 6470 w 7759"/>
                  <a:gd name="connsiteY12" fmla="*/ 2477 h 10000"/>
                  <a:gd name="connsiteX13" fmla="*/ 6889 w 7759"/>
                  <a:gd name="connsiteY13" fmla="*/ 1302 h 10000"/>
                  <a:gd name="connsiteX14" fmla="*/ 6197 w 7759"/>
                  <a:gd name="connsiteY14" fmla="*/ 0 h 10000"/>
                  <a:gd name="connsiteX15" fmla="*/ 5523 w 7759"/>
                  <a:gd name="connsiteY15" fmla="*/ 1302 h 10000"/>
                  <a:gd name="connsiteX16" fmla="*/ 5942 w 7759"/>
                  <a:gd name="connsiteY16" fmla="*/ 2477 h 10000"/>
                  <a:gd name="connsiteX17" fmla="*/ 5778 w 7759"/>
                  <a:gd name="connsiteY17" fmla="*/ 2477 h 10000"/>
                  <a:gd name="connsiteX18" fmla="*/ 5631 w 7759"/>
                  <a:gd name="connsiteY18" fmla="*/ 2603 h 10000"/>
                  <a:gd name="connsiteX19" fmla="*/ 5559 w 7759"/>
                  <a:gd name="connsiteY19" fmla="*/ 2730 h 10000"/>
                  <a:gd name="connsiteX20" fmla="*/ 4684 w 7759"/>
                  <a:gd name="connsiteY20" fmla="*/ 5365 h 10000"/>
                  <a:gd name="connsiteX21" fmla="*/ 4648 w 7759"/>
                  <a:gd name="connsiteY21" fmla="*/ 5682 h 10000"/>
                  <a:gd name="connsiteX22" fmla="*/ 4612 w 7759"/>
                  <a:gd name="connsiteY22" fmla="*/ 5714 h 10000"/>
                  <a:gd name="connsiteX23" fmla="*/ 4356 w 7759"/>
                  <a:gd name="connsiteY23" fmla="*/ 6159 h 10000"/>
                  <a:gd name="connsiteX24" fmla="*/ 4010 w 7759"/>
                  <a:gd name="connsiteY24" fmla="*/ 5365 h 10000"/>
                  <a:gd name="connsiteX25" fmla="*/ 4010 w 7759"/>
                  <a:gd name="connsiteY25" fmla="*/ 5334 h 10000"/>
                  <a:gd name="connsiteX26" fmla="*/ 3919 w 7759"/>
                  <a:gd name="connsiteY26" fmla="*/ 5239 h 10000"/>
                  <a:gd name="connsiteX27" fmla="*/ 3828 w 7759"/>
                  <a:gd name="connsiteY27" fmla="*/ 5239 h 10000"/>
                  <a:gd name="connsiteX28" fmla="*/ 4084 w 7759"/>
                  <a:gd name="connsiteY28" fmla="*/ 4508 h 10000"/>
                  <a:gd name="connsiteX29" fmla="*/ 3646 w 7759"/>
                  <a:gd name="connsiteY29" fmla="*/ 3683 h 10000"/>
                  <a:gd name="connsiteX30" fmla="*/ 3209 w 7759"/>
                  <a:gd name="connsiteY30" fmla="*/ 4508 h 10000"/>
                  <a:gd name="connsiteX31" fmla="*/ 3464 w 7759"/>
                  <a:gd name="connsiteY31" fmla="*/ 5239 h 10000"/>
                  <a:gd name="connsiteX32" fmla="*/ 3372 w 7759"/>
                  <a:gd name="connsiteY32" fmla="*/ 5239 h 10000"/>
                  <a:gd name="connsiteX33" fmla="*/ 3281 w 7759"/>
                  <a:gd name="connsiteY33" fmla="*/ 5302 h 10000"/>
                  <a:gd name="connsiteX34" fmla="*/ 3245 w 7759"/>
                  <a:gd name="connsiteY34" fmla="*/ 5397 h 10000"/>
                  <a:gd name="connsiteX35" fmla="*/ 2752 w 7759"/>
                  <a:gd name="connsiteY35" fmla="*/ 6857 h 10000"/>
                  <a:gd name="connsiteX36" fmla="*/ 2260 w 7759"/>
                  <a:gd name="connsiteY36" fmla="*/ 5334 h 10000"/>
                  <a:gd name="connsiteX37" fmla="*/ 2224 w 7759"/>
                  <a:gd name="connsiteY37" fmla="*/ 5270 h 10000"/>
                  <a:gd name="connsiteX38" fmla="*/ 2115 w 7759"/>
                  <a:gd name="connsiteY38" fmla="*/ 5175 h 10000"/>
                  <a:gd name="connsiteX39" fmla="*/ 1841 w 7759"/>
                  <a:gd name="connsiteY39" fmla="*/ 5175 h 10000"/>
                  <a:gd name="connsiteX40" fmla="*/ 2242 w 7759"/>
                  <a:gd name="connsiteY40" fmla="*/ 4349 h 10000"/>
                  <a:gd name="connsiteX41" fmla="*/ 1805 w 7759"/>
                  <a:gd name="connsiteY41" fmla="*/ 3524 h 10000"/>
                  <a:gd name="connsiteX42" fmla="*/ 1367 w 7759"/>
                  <a:gd name="connsiteY42" fmla="*/ 4349 h 10000"/>
                  <a:gd name="connsiteX43" fmla="*/ 1786 w 7759"/>
                  <a:gd name="connsiteY43" fmla="*/ 5175 h 10000"/>
                  <a:gd name="connsiteX44" fmla="*/ 1513 w 7759"/>
                  <a:gd name="connsiteY44" fmla="*/ 5175 h 10000"/>
                  <a:gd name="connsiteX45" fmla="*/ 1385 w 7759"/>
                  <a:gd name="connsiteY45" fmla="*/ 5302 h 10000"/>
                  <a:gd name="connsiteX46" fmla="*/ 1385 w 7759"/>
                  <a:gd name="connsiteY46" fmla="*/ 5302 h 10000"/>
                  <a:gd name="connsiteX47" fmla="*/ 1057 w 7759"/>
                  <a:gd name="connsiteY47" fmla="*/ 6064 h 10000"/>
                  <a:gd name="connsiteX48" fmla="*/ 875 w 7759"/>
                  <a:gd name="connsiteY48" fmla="*/ 5747 h 10000"/>
                  <a:gd name="connsiteX49" fmla="*/ 875 w 7759"/>
                  <a:gd name="connsiteY49" fmla="*/ 5714 h 10000"/>
                  <a:gd name="connsiteX50" fmla="*/ 912 w 7759"/>
                  <a:gd name="connsiteY50" fmla="*/ 5270 h 10000"/>
                  <a:gd name="connsiteX51" fmla="*/ 55 w 7759"/>
                  <a:gd name="connsiteY51" fmla="*/ 2635 h 10000"/>
                  <a:gd name="connsiteX52" fmla="*/ 0 w 7759"/>
                  <a:gd name="connsiteY52" fmla="*/ 2508 h 10000"/>
                  <a:gd name="connsiteX0" fmla="*/ 8550 w 9929"/>
                  <a:gd name="connsiteY0" fmla="*/ 10000 h 10000"/>
                  <a:gd name="connsiteX1" fmla="*/ 8550 w 9929"/>
                  <a:gd name="connsiteY1" fmla="*/ 7493 h 10000"/>
                  <a:gd name="connsiteX2" fmla="*/ 9724 w 9929"/>
                  <a:gd name="connsiteY2" fmla="*/ 7493 h 10000"/>
                  <a:gd name="connsiteX3" fmla="*/ 8667 w 9929"/>
                  <a:gd name="connsiteY3" fmla="*/ 4603 h 10000"/>
                  <a:gd name="connsiteX4" fmla="*/ 8667 w 9929"/>
                  <a:gd name="connsiteY4" fmla="*/ 4096 h 10000"/>
                  <a:gd name="connsiteX5" fmla="*/ 9419 w 9929"/>
                  <a:gd name="connsiteY5" fmla="*/ 5810 h 10000"/>
                  <a:gd name="connsiteX6" fmla="*/ 9700 w 9929"/>
                  <a:gd name="connsiteY6" fmla="*/ 5969 h 10000"/>
                  <a:gd name="connsiteX7" fmla="*/ 9843 w 9929"/>
                  <a:gd name="connsiteY7" fmla="*/ 5842 h 10000"/>
                  <a:gd name="connsiteX8" fmla="*/ 9889 w 9929"/>
                  <a:gd name="connsiteY8" fmla="*/ 5365 h 10000"/>
                  <a:gd name="connsiteX9" fmla="*/ 8785 w 9929"/>
                  <a:gd name="connsiteY9" fmla="*/ 2730 h 10000"/>
                  <a:gd name="connsiteX10" fmla="*/ 8644 w 9929"/>
                  <a:gd name="connsiteY10" fmla="*/ 2572 h 10000"/>
                  <a:gd name="connsiteX11" fmla="*/ 8480 w 9929"/>
                  <a:gd name="connsiteY11" fmla="*/ 2477 h 10000"/>
                  <a:gd name="connsiteX12" fmla="*/ 8268 w 9929"/>
                  <a:gd name="connsiteY12" fmla="*/ 2477 h 10000"/>
                  <a:gd name="connsiteX13" fmla="*/ 8808 w 9929"/>
                  <a:gd name="connsiteY13" fmla="*/ 1302 h 10000"/>
                  <a:gd name="connsiteX14" fmla="*/ 7916 w 9929"/>
                  <a:gd name="connsiteY14" fmla="*/ 0 h 10000"/>
                  <a:gd name="connsiteX15" fmla="*/ 7047 w 9929"/>
                  <a:gd name="connsiteY15" fmla="*/ 1302 h 10000"/>
                  <a:gd name="connsiteX16" fmla="*/ 7587 w 9929"/>
                  <a:gd name="connsiteY16" fmla="*/ 2477 h 10000"/>
                  <a:gd name="connsiteX17" fmla="*/ 7376 w 9929"/>
                  <a:gd name="connsiteY17" fmla="*/ 2477 h 10000"/>
                  <a:gd name="connsiteX18" fmla="*/ 7186 w 9929"/>
                  <a:gd name="connsiteY18" fmla="*/ 2603 h 10000"/>
                  <a:gd name="connsiteX19" fmla="*/ 7094 w 9929"/>
                  <a:gd name="connsiteY19" fmla="*/ 2730 h 10000"/>
                  <a:gd name="connsiteX20" fmla="*/ 5966 w 9929"/>
                  <a:gd name="connsiteY20" fmla="*/ 5365 h 10000"/>
                  <a:gd name="connsiteX21" fmla="*/ 5919 w 9929"/>
                  <a:gd name="connsiteY21" fmla="*/ 5682 h 10000"/>
                  <a:gd name="connsiteX22" fmla="*/ 5873 w 9929"/>
                  <a:gd name="connsiteY22" fmla="*/ 5714 h 10000"/>
                  <a:gd name="connsiteX23" fmla="*/ 5543 w 9929"/>
                  <a:gd name="connsiteY23" fmla="*/ 6159 h 10000"/>
                  <a:gd name="connsiteX24" fmla="*/ 5097 w 9929"/>
                  <a:gd name="connsiteY24" fmla="*/ 5365 h 10000"/>
                  <a:gd name="connsiteX25" fmla="*/ 5097 w 9929"/>
                  <a:gd name="connsiteY25" fmla="*/ 5334 h 10000"/>
                  <a:gd name="connsiteX26" fmla="*/ 4980 w 9929"/>
                  <a:gd name="connsiteY26" fmla="*/ 5239 h 10000"/>
                  <a:gd name="connsiteX27" fmla="*/ 4863 w 9929"/>
                  <a:gd name="connsiteY27" fmla="*/ 5239 h 10000"/>
                  <a:gd name="connsiteX28" fmla="*/ 5193 w 9929"/>
                  <a:gd name="connsiteY28" fmla="*/ 4508 h 10000"/>
                  <a:gd name="connsiteX29" fmla="*/ 4628 w 9929"/>
                  <a:gd name="connsiteY29" fmla="*/ 3683 h 10000"/>
                  <a:gd name="connsiteX30" fmla="*/ 4065 w 9929"/>
                  <a:gd name="connsiteY30" fmla="*/ 4508 h 10000"/>
                  <a:gd name="connsiteX31" fmla="*/ 4393 w 9929"/>
                  <a:gd name="connsiteY31" fmla="*/ 5239 h 10000"/>
                  <a:gd name="connsiteX32" fmla="*/ 4275 w 9929"/>
                  <a:gd name="connsiteY32" fmla="*/ 5239 h 10000"/>
                  <a:gd name="connsiteX33" fmla="*/ 4158 w 9929"/>
                  <a:gd name="connsiteY33" fmla="*/ 5302 h 10000"/>
                  <a:gd name="connsiteX34" fmla="*/ 4111 w 9929"/>
                  <a:gd name="connsiteY34" fmla="*/ 5397 h 10000"/>
                  <a:gd name="connsiteX35" fmla="*/ 3476 w 9929"/>
                  <a:gd name="connsiteY35" fmla="*/ 6857 h 10000"/>
                  <a:gd name="connsiteX36" fmla="*/ 2842 w 9929"/>
                  <a:gd name="connsiteY36" fmla="*/ 5334 h 10000"/>
                  <a:gd name="connsiteX37" fmla="*/ 2795 w 9929"/>
                  <a:gd name="connsiteY37" fmla="*/ 5270 h 10000"/>
                  <a:gd name="connsiteX38" fmla="*/ 2655 w 9929"/>
                  <a:gd name="connsiteY38" fmla="*/ 5175 h 10000"/>
                  <a:gd name="connsiteX39" fmla="*/ 2302 w 9929"/>
                  <a:gd name="connsiteY39" fmla="*/ 5175 h 10000"/>
                  <a:gd name="connsiteX40" fmla="*/ 2819 w 9929"/>
                  <a:gd name="connsiteY40" fmla="*/ 4349 h 10000"/>
                  <a:gd name="connsiteX41" fmla="*/ 2255 w 9929"/>
                  <a:gd name="connsiteY41" fmla="*/ 3524 h 10000"/>
                  <a:gd name="connsiteX42" fmla="*/ 1691 w 9929"/>
                  <a:gd name="connsiteY42" fmla="*/ 4349 h 10000"/>
                  <a:gd name="connsiteX43" fmla="*/ 2231 w 9929"/>
                  <a:gd name="connsiteY43" fmla="*/ 5175 h 10000"/>
                  <a:gd name="connsiteX44" fmla="*/ 1879 w 9929"/>
                  <a:gd name="connsiteY44" fmla="*/ 5175 h 10000"/>
                  <a:gd name="connsiteX45" fmla="*/ 1714 w 9929"/>
                  <a:gd name="connsiteY45" fmla="*/ 5302 h 10000"/>
                  <a:gd name="connsiteX46" fmla="*/ 1714 w 9929"/>
                  <a:gd name="connsiteY46" fmla="*/ 5302 h 10000"/>
                  <a:gd name="connsiteX47" fmla="*/ 1291 w 9929"/>
                  <a:gd name="connsiteY47" fmla="*/ 6064 h 10000"/>
                  <a:gd name="connsiteX48" fmla="*/ 1057 w 9929"/>
                  <a:gd name="connsiteY48" fmla="*/ 5747 h 10000"/>
                  <a:gd name="connsiteX49" fmla="*/ 1057 w 9929"/>
                  <a:gd name="connsiteY49" fmla="*/ 5714 h 10000"/>
                  <a:gd name="connsiteX50" fmla="*/ 1104 w 9929"/>
                  <a:gd name="connsiteY50" fmla="*/ 5270 h 10000"/>
                  <a:gd name="connsiteX51" fmla="*/ 0 w 9929"/>
                  <a:gd name="connsiteY51" fmla="*/ 2635 h 10000"/>
                  <a:gd name="connsiteX0" fmla="*/ 7546 w 8935"/>
                  <a:gd name="connsiteY0" fmla="*/ 10000 h 10000"/>
                  <a:gd name="connsiteX1" fmla="*/ 7546 w 8935"/>
                  <a:gd name="connsiteY1" fmla="*/ 7493 h 10000"/>
                  <a:gd name="connsiteX2" fmla="*/ 8729 w 8935"/>
                  <a:gd name="connsiteY2" fmla="*/ 7493 h 10000"/>
                  <a:gd name="connsiteX3" fmla="*/ 7664 w 8935"/>
                  <a:gd name="connsiteY3" fmla="*/ 4603 h 10000"/>
                  <a:gd name="connsiteX4" fmla="*/ 7664 w 8935"/>
                  <a:gd name="connsiteY4" fmla="*/ 4096 h 10000"/>
                  <a:gd name="connsiteX5" fmla="*/ 8421 w 8935"/>
                  <a:gd name="connsiteY5" fmla="*/ 5810 h 10000"/>
                  <a:gd name="connsiteX6" fmla="*/ 8704 w 8935"/>
                  <a:gd name="connsiteY6" fmla="*/ 5969 h 10000"/>
                  <a:gd name="connsiteX7" fmla="*/ 8848 w 8935"/>
                  <a:gd name="connsiteY7" fmla="*/ 5842 h 10000"/>
                  <a:gd name="connsiteX8" fmla="*/ 8895 w 8935"/>
                  <a:gd name="connsiteY8" fmla="*/ 5365 h 10000"/>
                  <a:gd name="connsiteX9" fmla="*/ 7783 w 8935"/>
                  <a:gd name="connsiteY9" fmla="*/ 2730 h 10000"/>
                  <a:gd name="connsiteX10" fmla="*/ 7641 w 8935"/>
                  <a:gd name="connsiteY10" fmla="*/ 2572 h 10000"/>
                  <a:gd name="connsiteX11" fmla="*/ 7476 w 8935"/>
                  <a:gd name="connsiteY11" fmla="*/ 2477 h 10000"/>
                  <a:gd name="connsiteX12" fmla="*/ 7262 w 8935"/>
                  <a:gd name="connsiteY12" fmla="*/ 2477 h 10000"/>
                  <a:gd name="connsiteX13" fmla="*/ 7806 w 8935"/>
                  <a:gd name="connsiteY13" fmla="*/ 1302 h 10000"/>
                  <a:gd name="connsiteX14" fmla="*/ 6908 w 8935"/>
                  <a:gd name="connsiteY14" fmla="*/ 0 h 10000"/>
                  <a:gd name="connsiteX15" fmla="*/ 6032 w 8935"/>
                  <a:gd name="connsiteY15" fmla="*/ 1302 h 10000"/>
                  <a:gd name="connsiteX16" fmla="*/ 6576 w 8935"/>
                  <a:gd name="connsiteY16" fmla="*/ 2477 h 10000"/>
                  <a:gd name="connsiteX17" fmla="*/ 6364 w 8935"/>
                  <a:gd name="connsiteY17" fmla="*/ 2477 h 10000"/>
                  <a:gd name="connsiteX18" fmla="*/ 6172 w 8935"/>
                  <a:gd name="connsiteY18" fmla="*/ 2603 h 10000"/>
                  <a:gd name="connsiteX19" fmla="*/ 6080 w 8935"/>
                  <a:gd name="connsiteY19" fmla="*/ 2730 h 10000"/>
                  <a:gd name="connsiteX20" fmla="*/ 4944 w 8935"/>
                  <a:gd name="connsiteY20" fmla="*/ 5365 h 10000"/>
                  <a:gd name="connsiteX21" fmla="*/ 4896 w 8935"/>
                  <a:gd name="connsiteY21" fmla="*/ 5682 h 10000"/>
                  <a:gd name="connsiteX22" fmla="*/ 4850 w 8935"/>
                  <a:gd name="connsiteY22" fmla="*/ 5714 h 10000"/>
                  <a:gd name="connsiteX23" fmla="*/ 4518 w 8935"/>
                  <a:gd name="connsiteY23" fmla="*/ 6159 h 10000"/>
                  <a:gd name="connsiteX24" fmla="*/ 4068 w 8935"/>
                  <a:gd name="connsiteY24" fmla="*/ 5365 h 10000"/>
                  <a:gd name="connsiteX25" fmla="*/ 4068 w 8935"/>
                  <a:gd name="connsiteY25" fmla="*/ 5334 h 10000"/>
                  <a:gd name="connsiteX26" fmla="*/ 3951 w 8935"/>
                  <a:gd name="connsiteY26" fmla="*/ 5239 h 10000"/>
                  <a:gd name="connsiteX27" fmla="*/ 3833 w 8935"/>
                  <a:gd name="connsiteY27" fmla="*/ 5239 h 10000"/>
                  <a:gd name="connsiteX28" fmla="*/ 4165 w 8935"/>
                  <a:gd name="connsiteY28" fmla="*/ 4508 h 10000"/>
                  <a:gd name="connsiteX29" fmla="*/ 3596 w 8935"/>
                  <a:gd name="connsiteY29" fmla="*/ 3683 h 10000"/>
                  <a:gd name="connsiteX30" fmla="*/ 3029 w 8935"/>
                  <a:gd name="connsiteY30" fmla="*/ 4508 h 10000"/>
                  <a:gd name="connsiteX31" fmla="*/ 3359 w 8935"/>
                  <a:gd name="connsiteY31" fmla="*/ 5239 h 10000"/>
                  <a:gd name="connsiteX32" fmla="*/ 3241 w 8935"/>
                  <a:gd name="connsiteY32" fmla="*/ 5239 h 10000"/>
                  <a:gd name="connsiteX33" fmla="*/ 3123 w 8935"/>
                  <a:gd name="connsiteY33" fmla="*/ 5302 h 10000"/>
                  <a:gd name="connsiteX34" fmla="*/ 3075 w 8935"/>
                  <a:gd name="connsiteY34" fmla="*/ 5397 h 10000"/>
                  <a:gd name="connsiteX35" fmla="*/ 2436 w 8935"/>
                  <a:gd name="connsiteY35" fmla="*/ 6857 h 10000"/>
                  <a:gd name="connsiteX36" fmla="*/ 1797 w 8935"/>
                  <a:gd name="connsiteY36" fmla="*/ 5334 h 10000"/>
                  <a:gd name="connsiteX37" fmla="*/ 1750 w 8935"/>
                  <a:gd name="connsiteY37" fmla="*/ 5270 h 10000"/>
                  <a:gd name="connsiteX38" fmla="*/ 1609 w 8935"/>
                  <a:gd name="connsiteY38" fmla="*/ 5175 h 10000"/>
                  <a:gd name="connsiteX39" fmla="*/ 1253 w 8935"/>
                  <a:gd name="connsiteY39" fmla="*/ 5175 h 10000"/>
                  <a:gd name="connsiteX40" fmla="*/ 1774 w 8935"/>
                  <a:gd name="connsiteY40" fmla="*/ 4349 h 10000"/>
                  <a:gd name="connsiteX41" fmla="*/ 1206 w 8935"/>
                  <a:gd name="connsiteY41" fmla="*/ 3524 h 10000"/>
                  <a:gd name="connsiteX42" fmla="*/ 638 w 8935"/>
                  <a:gd name="connsiteY42" fmla="*/ 4349 h 10000"/>
                  <a:gd name="connsiteX43" fmla="*/ 1182 w 8935"/>
                  <a:gd name="connsiteY43" fmla="*/ 5175 h 10000"/>
                  <a:gd name="connsiteX44" fmla="*/ 827 w 8935"/>
                  <a:gd name="connsiteY44" fmla="*/ 5175 h 10000"/>
                  <a:gd name="connsiteX45" fmla="*/ 661 w 8935"/>
                  <a:gd name="connsiteY45" fmla="*/ 5302 h 10000"/>
                  <a:gd name="connsiteX46" fmla="*/ 661 w 8935"/>
                  <a:gd name="connsiteY46" fmla="*/ 5302 h 10000"/>
                  <a:gd name="connsiteX47" fmla="*/ 235 w 8935"/>
                  <a:gd name="connsiteY47" fmla="*/ 6064 h 10000"/>
                  <a:gd name="connsiteX48" fmla="*/ 0 w 8935"/>
                  <a:gd name="connsiteY48" fmla="*/ 5747 h 10000"/>
                  <a:gd name="connsiteX49" fmla="*/ 0 w 8935"/>
                  <a:gd name="connsiteY49" fmla="*/ 5714 h 10000"/>
                  <a:gd name="connsiteX50" fmla="*/ 47 w 8935"/>
                  <a:gd name="connsiteY50" fmla="*/ 5270 h 10000"/>
                  <a:gd name="connsiteX0" fmla="*/ 8445 w 10000"/>
                  <a:gd name="connsiteY0" fmla="*/ 10000 h 10000"/>
                  <a:gd name="connsiteX1" fmla="*/ 8445 w 10000"/>
                  <a:gd name="connsiteY1" fmla="*/ 7493 h 10000"/>
                  <a:gd name="connsiteX2" fmla="*/ 9769 w 10000"/>
                  <a:gd name="connsiteY2" fmla="*/ 7493 h 10000"/>
                  <a:gd name="connsiteX3" fmla="*/ 8578 w 10000"/>
                  <a:gd name="connsiteY3" fmla="*/ 4603 h 10000"/>
                  <a:gd name="connsiteX4" fmla="*/ 8578 w 10000"/>
                  <a:gd name="connsiteY4" fmla="*/ 4096 h 10000"/>
                  <a:gd name="connsiteX5" fmla="*/ 9425 w 10000"/>
                  <a:gd name="connsiteY5" fmla="*/ 5810 h 10000"/>
                  <a:gd name="connsiteX6" fmla="*/ 9741 w 10000"/>
                  <a:gd name="connsiteY6" fmla="*/ 5969 h 10000"/>
                  <a:gd name="connsiteX7" fmla="*/ 9903 w 10000"/>
                  <a:gd name="connsiteY7" fmla="*/ 5842 h 10000"/>
                  <a:gd name="connsiteX8" fmla="*/ 9955 w 10000"/>
                  <a:gd name="connsiteY8" fmla="*/ 5365 h 10000"/>
                  <a:gd name="connsiteX9" fmla="*/ 8711 w 10000"/>
                  <a:gd name="connsiteY9" fmla="*/ 2730 h 10000"/>
                  <a:gd name="connsiteX10" fmla="*/ 8552 w 10000"/>
                  <a:gd name="connsiteY10" fmla="*/ 2572 h 10000"/>
                  <a:gd name="connsiteX11" fmla="*/ 8367 w 10000"/>
                  <a:gd name="connsiteY11" fmla="*/ 2477 h 10000"/>
                  <a:gd name="connsiteX12" fmla="*/ 8128 w 10000"/>
                  <a:gd name="connsiteY12" fmla="*/ 2477 h 10000"/>
                  <a:gd name="connsiteX13" fmla="*/ 8736 w 10000"/>
                  <a:gd name="connsiteY13" fmla="*/ 1302 h 10000"/>
                  <a:gd name="connsiteX14" fmla="*/ 7731 w 10000"/>
                  <a:gd name="connsiteY14" fmla="*/ 0 h 10000"/>
                  <a:gd name="connsiteX15" fmla="*/ 6751 w 10000"/>
                  <a:gd name="connsiteY15" fmla="*/ 1302 h 10000"/>
                  <a:gd name="connsiteX16" fmla="*/ 7360 w 10000"/>
                  <a:gd name="connsiteY16" fmla="*/ 2477 h 10000"/>
                  <a:gd name="connsiteX17" fmla="*/ 7123 w 10000"/>
                  <a:gd name="connsiteY17" fmla="*/ 2477 h 10000"/>
                  <a:gd name="connsiteX18" fmla="*/ 6908 w 10000"/>
                  <a:gd name="connsiteY18" fmla="*/ 2603 h 10000"/>
                  <a:gd name="connsiteX19" fmla="*/ 6805 w 10000"/>
                  <a:gd name="connsiteY19" fmla="*/ 2730 h 10000"/>
                  <a:gd name="connsiteX20" fmla="*/ 5533 w 10000"/>
                  <a:gd name="connsiteY20" fmla="*/ 5365 h 10000"/>
                  <a:gd name="connsiteX21" fmla="*/ 5480 w 10000"/>
                  <a:gd name="connsiteY21" fmla="*/ 5682 h 10000"/>
                  <a:gd name="connsiteX22" fmla="*/ 5428 w 10000"/>
                  <a:gd name="connsiteY22" fmla="*/ 5714 h 10000"/>
                  <a:gd name="connsiteX23" fmla="*/ 5057 w 10000"/>
                  <a:gd name="connsiteY23" fmla="*/ 6159 h 10000"/>
                  <a:gd name="connsiteX24" fmla="*/ 4553 w 10000"/>
                  <a:gd name="connsiteY24" fmla="*/ 5365 h 10000"/>
                  <a:gd name="connsiteX25" fmla="*/ 4553 w 10000"/>
                  <a:gd name="connsiteY25" fmla="*/ 5334 h 10000"/>
                  <a:gd name="connsiteX26" fmla="*/ 4422 w 10000"/>
                  <a:gd name="connsiteY26" fmla="*/ 5239 h 10000"/>
                  <a:gd name="connsiteX27" fmla="*/ 4290 w 10000"/>
                  <a:gd name="connsiteY27" fmla="*/ 5239 h 10000"/>
                  <a:gd name="connsiteX28" fmla="*/ 4661 w 10000"/>
                  <a:gd name="connsiteY28" fmla="*/ 4508 h 10000"/>
                  <a:gd name="connsiteX29" fmla="*/ 4025 w 10000"/>
                  <a:gd name="connsiteY29" fmla="*/ 3683 h 10000"/>
                  <a:gd name="connsiteX30" fmla="*/ 3390 w 10000"/>
                  <a:gd name="connsiteY30" fmla="*/ 4508 h 10000"/>
                  <a:gd name="connsiteX31" fmla="*/ 3759 w 10000"/>
                  <a:gd name="connsiteY31" fmla="*/ 5239 h 10000"/>
                  <a:gd name="connsiteX32" fmla="*/ 3627 w 10000"/>
                  <a:gd name="connsiteY32" fmla="*/ 5239 h 10000"/>
                  <a:gd name="connsiteX33" fmla="*/ 3495 w 10000"/>
                  <a:gd name="connsiteY33" fmla="*/ 5302 h 10000"/>
                  <a:gd name="connsiteX34" fmla="*/ 3442 w 10000"/>
                  <a:gd name="connsiteY34" fmla="*/ 5397 h 10000"/>
                  <a:gd name="connsiteX35" fmla="*/ 2726 w 10000"/>
                  <a:gd name="connsiteY35" fmla="*/ 6857 h 10000"/>
                  <a:gd name="connsiteX36" fmla="*/ 2011 w 10000"/>
                  <a:gd name="connsiteY36" fmla="*/ 5334 h 10000"/>
                  <a:gd name="connsiteX37" fmla="*/ 1959 w 10000"/>
                  <a:gd name="connsiteY37" fmla="*/ 5270 h 10000"/>
                  <a:gd name="connsiteX38" fmla="*/ 1801 w 10000"/>
                  <a:gd name="connsiteY38" fmla="*/ 5175 h 10000"/>
                  <a:gd name="connsiteX39" fmla="*/ 1402 w 10000"/>
                  <a:gd name="connsiteY39" fmla="*/ 5175 h 10000"/>
                  <a:gd name="connsiteX40" fmla="*/ 1985 w 10000"/>
                  <a:gd name="connsiteY40" fmla="*/ 4349 h 10000"/>
                  <a:gd name="connsiteX41" fmla="*/ 1350 w 10000"/>
                  <a:gd name="connsiteY41" fmla="*/ 3524 h 10000"/>
                  <a:gd name="connsiteX42" fmla="*/ 714 w 10000"/>
                  <a:gd name="connsiteY42" fmla="*/ 4349 h 10000"/>
                  <a:gd name="connsiteX43" fmla="*/ 1323 w 10000"/>
                  <a:gd name="connsiteY43" fmla="*/ 5175 h 10000"/>
                  <a:gd name="connsiteX44" fmla="*/ 926 w 10000"/>
                  <a:gd name="connsiteY44" fmla="*/ 5175 h 10000"/>
                  <a:gd name="connsiteX45" fmla="*/ 740 w 10000"/>
                  <a:gd name="connsiteY45" fmla="*/ 5302 h 10000"/>
                  <a:gd name="connsiteX46" fmla="*/ 740 w 10000"/>
                  <a:gd name="connsiteY46" fmla="*/ 5302 h 10000"/>
                  <a:gd name="connsiteX47" fmla="*/ 263 w 10000"/>
                  <a:gd name="connsiteY47" fmla="*/ 6064 h 10000"/>
                  <a:gd name="connsiteX48" fmla="*/ 0 w 10000"/>
                  <a:gd name="connsiteY48" fmla="*/ 5747 h 10000"/>
                  <a:gd name="connsiteX49" fmla="*/ 0 w 10000"/>
                  <a:gd name="connsiteY49" fmla="*/ 5714 h 10000"/>
                  <a:gd name="connsiteX0" fmla="*/ 8445 w 10000"/>
                  <a:gd name="connsiteY0" fmla="*/ 10000 h 10000"/>
                  <a:gd name="connsiteX1" fmla="*/ 8445 w 10000"/>
                  <a:gd name="connsiteY1" fmla="*/ 7493 h 10000"/>
                  <a:gd name="connsiteX2" fmla="*/ 9769 w 10000"/>
                  <a:gd name="connsiteY2" fmla="*/ 7493 h 10000"/>
                  <a:gd name="connsiteX3" fmla="*/ 8578 w 10000"/>
                  <a:gd name="connsiteY3" fmla="*/ 4603 h 10000"/>
                  <a:gd name="connsiteX4" fmla="*/ 8578 w 10000"/>
                  <a:gd name="connsiteY4" fmla="*/ 4096 h 10000"/>
                  <a:gd name="connsiteX5" fmla="*/ 9425 w 10000"/>
                  <a:gd name="connsiteY5" fmla="*/ 5810 h 10000"/>
                  <a:gd name="connsiteX6" fmla="*/ 9741 w 10000"/>
                  <a:gd name="connsiteY6" fmla="*/ 5969 h 10000"/>
                  <a:gd name="connsiteX7" fmla="*/ 9903 w 10000"/>
                  <a:gd name="connsiteY7" fmla="*/ 5842 h 10000"/>
                  <a:gd name="connsiteX8" fmla="*/ 9955 w 10000"/>
                  <a:gd name="connsiteY8" fmla="*/ 5365 h 10000"/>
                  <a:gd name="connsiteX9" fmla="*/ 8711 w 10000"/>
                  <a:gd name="connsiteY9" fmla="*/ 2730 h 10000"/>
                  <a:gd name="connsiteX10" fmla="*/ 8552 w 10000"/>
                  <a:gd name="connsiteY10" fmla="*/ 2572 h 10000"/>
                  <a:gd name="connsiteX11" fmla="*/ 8367 w 10000"/>
                  <a:gd name="connsiteY11" fmla="*/ 2477 h 10000"/>
                  <a:gd name="connsiteX12" fmla="*/ 8128 w 10000"/>
                  <a:gd name="connsiteY12" fmla="*/ 2477 h 10000"/>
                  <a:gd name="connsiteX13" fmla="*/ 8736 w 10000"/>
                  <a:gd name="connsiteY13" fmla="*/ 1302 h 10000"/>
                  <a:gd name="connsiteX14" fmla="*/ 7731 w 10000"/>
                  <a:gd name="connsiteY14" fmla="*/ 0 h 10000"/>
                  <a:gd name="connsiteX15" fmla="*/ 6751 w 10000"/>
                  <a:gd name="connsiteY15" fmla="*/ 1302 h 10000"/>
                  <a:gd name="connsiteX16" fmla="*/ 7360 w 10000"/>
                  <a:gd name="connsiteY16" fmla="*/ 2477 h 10000"/>
                  <a:gd name="connsiteX17" fmla="*/ 7123 w 10000"/>
                  <a:gd name="connsiteY17" fmla="*/ 2477 h 10000"/>
                  <a:gd name="connsiteX18" fmla="*/ 6908 w 10000"/>
                  <a:gd name="connsiteY18" fmla="*/ 2603 h 10000"/>
                  <a:gd name="connsiteX19" fmla="*/ 6805 w 10000"/>
                  <a:gd name="connsiteY19" fmla="*/ 2730 h 10000"/>
                  <a:gd name="connsiteX20" fmla="*/ 5533 w 10000"/>
                  <a:gd name="connsiteY20" fmla="*/ 5365 h 10000"/>
                  <a:gd name="connsiteX21" fmla="*/ 5480 w 10000"/>
                  <a:gd name="connsiteY21" fmla="*/ 5682 h 10000"/>
                  <a:gd name="connsiteX22" fmla="*/ 5428 w 10000"/>
                  <a:gd name="connsiteY22" fmla="*/ 5714 h 10000"/>
                  <a:gd name="connsiteX23" fmla="*/ 5057 w 10000"/>
                  <a:gd name="connsiteY23" fmla="*/ 6159 h 10000"/>
                  <a:gd name="connsiteX24" fmla="*/ 4553 w 10000"/>
                  <a:gd name="connsiteY24" fmla="*/ 5365 h 10000"/>
                  <a:gd name="connsiteX25" fmla="*/ 4553 w 10000"/>
                  <a:gd name="connsiteY25" fmla="*/ 5334 h 10000"/>
                  <a:gd name="connsiteX26" fmla="*/ 4422 w 10000"/>
                  <a:gd name="connsiteY26" fmla="*/ 5239 h 10000"/>
                  <a:gd name="connsiteX27" fmla="*/ 4290 w 10000"/>
                  <a:gd name="connsiteY27" fmla="*/ 5239 h 10000"/>
                  <a:gd name="connsiteX28" fmla="*/ 4661 w 10000"/>
                  <a:gd name="connsiteY28" fmla="*/ 4508 h 10000"/>
                  <a:gd name="connsiteX29" fmla="*/ 4025 w 10000"/>
                  <a:gd name="connsiteY29" fmla="*/ 3683 h 10000"/>
                  <a:gd name="connsiteX30" fmla="*/ 3390 w 10000"/>
                  <a:gd name="connsiteY30" fmla="*/ 4508 h 10000"/>
                  <a:gd name="connsiteX31" fmla="*/ 3759 w 10000"/>
                  <a:gd name="connsiteY31" fmla="*/ 5239 h 10000"/>
                  <a:gd name="connsiteX32" fmla="*/ 3627 w 10000"/>
                  <a:gd name="connsiteY32" fmla="*/ 5239 h 10000"/>
                  <a:gd name="connsiteX33" fmla="*/ 3495 w 10000"/>
                  <a:gd name="connsiteY33" fmla="*/ 5302 h 10000"/>
                  <a:gd name="connsiteX34" fmla="*/ 3442 w 10000"/>
                  <a:gd name="connsiteY34" fmla="*/ 5397 h 10000"/>
                  <a:gd name="connsiteX35" fmla="*/ 2726 w 10000"/>
                  <a:gd name="connsiteY35" fmla="*/ 6857 h 10000"/>
                  <a:gd name="connsiteX36" fmla="*/ 2011 w 10000"/>
                  <a:gd name="connsiteY36" fmla="*/ 5334 h 10000"/>
                  <a:gd name="connsiteX37" fmla="*/ 1959 w 10000"/>
                  <a:gd name="connsiteY37" fmla="*/ 5270 h 10000"/>
                  <a:gd name="connsiteX38" fmla="*/ 1801 w 10000"/>
                  <a:gd name="connsiteY38" fmla="*/ 5175 h 10000"/>
                  <a:gd name="connsiteX39" fmla="*/ 1402 w 10000"/>
                  <a:gd name="connsiteY39" fmla="*/ 5175 h 10000"/>
                  <a:gd name="connsiteX40" fmla="*/ 1985 w 10000"/>
                  <a:gd name="connsiteY40" fmla="*/ 4349 h 10000"/>
                  <a:gd name="connsiteX41" fmla="*/ 1350 w 10000"/>
                  <a:gd name="connsiteY41" fmla="*/ 3524 h 10000"/>
                  <a:gd name="connsiteX42" fmla="*/ 714 w 10000"/>
                  <a:gd name="connsiteY42" fmla="*/ 4349 h 10000"/>
                  <a:gd name="connsiteX43" fmla="*/ 1323 w 10000"/>
                  <a:gd name="connsiteY43" fmla="*/ 5175 h 10000"/>
                  <a:gd name="connsiteX44" fmla="*/ 926 w 10000"/>
                  <a:gd name="connsiteY44" fmla="*/ 5175 h 10000"/>
                  <a:gd name="connsiteX45" fmla="*/ 740 w 10000"/>
                  <a:gd name="connsiteY45" fmla="*/ 5302 h 10000"/>
                  <a:gd name="connsiteX46" fmla="*/ 740 w 10000"/>
                  <a:gd name="connsiteY46" fmla="*/ 5302 h 10000"/>
                  <a:gd name="connsiteX47" fmla="*/ 263 w 10000"/>
                  <a:gd name="connsiteY47" fmla="*/ 6064 h 10000"/>
                  <a:gd name="connsiteX48" fmla="*/ 0 w 10000"/>
                  <a:gd name="connsiteY48" fmla="*/ 5747 h 10000"/>
                  <a:gd name="connsiteX0" fmla="*/ 8445 w 10000"/>
                  <a:gd name="connsiteY0" fmla="*/ 10000 h 10000"/>
                  <a:gd name="connsiteX1" fmla="*/ 8445 w 10000"/>
                  <a:gd name="connsiteY1" fmla="*/ 7493 h 10000"/>
                  <a:gd name="connsiteX2" fmla="*/ 9769 w 10000"/>
                  <a:gd name="connsiteY2" fmla="*/ 7493 h 10000"/>
                  <a:gd name="connsiteX3" fmla="*/ 8578 w 10000"/>
                  <a:gd name="connsiteY3" fmla="*/ 4603 h 10000"/>
                  <a:gd name="connsiteX4" fmla="*/ 8578 w 10000"/>
                  <a:gd name="connsiteY4" fmla="*/ 4096 h 10000"/>
                  <a:gd name="connsiteX5" fmla="*/ 9425 w 10000"/>
                  <a:gd name="connsiteY5" fmla="*/ 5810 h 10000"/>
                  <a:gd name="connsiteX6" fmla="*/ 9741 w 10000"/>
                  <a:gd name="connsiteY6" fmla="*/ 5969 h 10000"/>
                  <a:gd name="connsiteX7" fmla="*/ 9903 w 10000"/>
                  <a:gd name="connsiteY7" fmla="*/ 5842 h 10000"/>
                  <a:gd name="connsiteX8" fmla="*/ 9955 w 10000"/>
                  <a:gd name="connsiteY8" fmla="*/ 5365 h 10000"/>
                  <a:gd name="connsiteX9" fmla="*/ 8711 w 10000"/>
                  <a:gd name="connsiteY9" fmla="*/ 2730 h 10000"/>
                  <a:gd name="connsiteX10" fmla="*/ 8552 w 10000"/>
                  <a:gd name="connsiteY10" fmla="*/ 2572 h 10000"/>
                  <a:gd name="connsiteX11" fmla="*/ 8367 w 10000"/>
                  <a:gd name="connsiteY11" fmla="*/ 2477 h 10000"/>
                  <a:gd name="connsiteX12" fmla="*/ 8128 w 10000"/>
                  <a:gd name="connsiteY12" fmla="*/ 2477 h 10000"/>
                  <a:gd name="connsiteX13" fmla="*/ 8736 w 10000"/>
                  <a:gd name="connsiteY13" fmla="*/ 1302 h 10000"/>
                  <a:gd name="connsiteX14" fmla="*/ 7731 w 10000"/>
                  <a:gd name="connsiteY14" fmla="*/ 0 h 10000"/>
                  <a:gd name="connsiteX15" fmla="*/ 6751 w 10000"/>
                  <a:gd name="connsiteY15" fmla="*/ 1302 h 10000"/>
                  <a:gd name="connsiteX16" fmla="*/ 7360 w 10000"/>
                  <a:gd name="connsiteY16" fmla="*/ 2477 h 10000"/>
                  <a:gd name="connsiteX17" fmla="*/ 7123 w 10000"/>
                  <a:gd name="connsiteY17" fmla="*/ 2477 h 10000"/>
                  <a:gd name="connsiteX18" fmla="*/ 6908 w 10000"/>
                  <a:gd name="connsiteY18" fmla="*/ 2603 h 10000"/>
                  <a:gd name="connsiteX19" fmla="*/ 6805 w 10000"/>
                  <a:gd name="connsiteY19" fmla="*/ 2730 h 10000"/>
                  <a:gd name="connsiteX20" fmla="*/ 5533 w 10000"/>
                  <a:gd name="connsiteY20" fmla="*/ 5365 h 10000"/>
                  <a:gd name="connsiteX21" fmla="*/ 5480 w 10000"/>
                  <a:gd name="connsiteY21" fmla="*/ 5682 h 10000"/>
                  <a:gd name="connsiteX22" fmla="*/ 5428 w 10000"/>
                  <a:gd name="connsiteY22" fmla="*/ 5714 h 10000"/>
                  <a:gd name="connsiteX23" fmla="*/ 5057 w 10000"/>
                  <a:gd name="connsiteY23" fmla="*/ 6159 h 10000"/>
                  <a:gd name="connsiteX24" fmla="*/ 4553 w 10000"/>
                  <a:gd name="connsiteY24" fmla="*/ 5365 h 10000"/>
                  <a:gd name="connsiteX25" fmla="*/ 4553 w 10000"/>
                  <a:gd name="connsiteY25" fmla="*/ 5334 h 10000"/>
                  <a:gd name="connsiteX26" fmla="*/ 4422 w 10000"/>
                  <a:gd name="connsiteY26" fmla="*/ 5239 h 10000"/>
                  <a:gd name="connsiteX27" fmla="*/ 4290 w 10000"/>
                  <a:gd name="connsiteY27" fmla="*/ 5239 h 10000"/>
                  <a:gd name="connsiteX28" fmla="*/ 4661 w 10000"/>
                  <a:gd name="connsiteY28" fmla="*/ 4508 h 10000"/>
                  <a:gd name="connsiteX29" fmla="*/ 4025 w 10000"/>
                  <a:gd name="connsiteY29" fmla="*/ 3683 h 10000"/>
                  <a:gd name="connsiteX30" fmla="*/ 3390 w 10000"/>
                  <a:gd name="connsiteY30" fmla="*/ 4508 h 10000"/>
                  <a:gd name="connsiteX31" fmla="*/ 3759 w 10000"/>
                  <a:gd name="connsiteY31" fmla="*/ 5239 h 10000"/>
                  <a:gd name="connsiteX32" fmla="*/ 3627 w 10000"/>
                  <a:gd name="connsiteY32" fmla="*/ 5239 h 10000"/>
                  <a:gd name="connsiteX33" fmla="*/ 3495 w 10000"/>
                  <a:gd name="connsiteY33" fmla="*/ 5302 h 10000"/>
                  <a:gd name="connsiteX34" fmla="*/ 3442 w 10000"/>
                  <a:gd name="connsiteY34" fmla="*/ 5397 h 10000"/>
                  <a:gd name="connsiteX35" fmla="*/ 2726 w 10000"/>
                  <a:gd name="connsiteY35" fmla="*/ 6857 h 10000"/>
                  <a:gd name="connsiteX36" fmla="*/ 2011 w 10000"/>
                  <a:gd name="connsiteY36" fmla="*/ 5334 h 10000"/>
                  <a:gd name="connsiteX37" fmla="*/ 1959 w 10000"/>
                  <a:gd name="connsiteY37" fmla="*/ 5270 h 10000"/>
                  <a:gd name="connsiteX38" fmla="*/ 1801 w 10000"/>
                  <a:gd name="connsiteY38" fmla="*/ 5175 h 10000"/>
                  <a:gd name="connsiteX39" fmla="*/ 1402 w 10000"/>
                  <a:gd name="connsiteY39" fmla="*/ 5175 h 10000"/>
                  <a:gd name="connsiteX40" fmla="*/ 1985 w 10000"/>
                  <a:gd name="connsiteY40" fmla="*/ 4349 h 10000"/>
                  <a:gd name="connsiteX41" fmla="*/ 1350 w 10000"/>
                  <a:gd name="connsiteY41" fmla="*/ 3524 h 10000"/>
                  <a:gd name="connsiteX42" fmla="*/ 714 w 10000"/>
                  <a:gd name="connsiteY42" fmla="*/ 4349 h 10000"/>
                  <a:gd name="connsiteX43" fmla="*/ 1323 w 10000"/>
                  <a:gd name="connsiteY43" fmla="*/ 5175 h 10000"/>
                  <a:gd name="connsiteX44" fmla="*/ 926 w 10000"/>
                  <a:gd name="connsiteY44" fmla="*/ 5175 h 10000"/>
                  <a:gd name="connsiteX45" fmla="*/ 740 w 10000"/>
                  <a:gd name="connsiteY45" fmla="*/ 5302 h 10000"/>
                  <a:gd name="connsiteX46" fmla="*/ 740 w 10000"/>
                  <a:gd name="connsiteY46" fmla="*/ 5302 h 10000"/>
                  <a:gd name="connsiteX47" fmla="*/ 0 w 10000"/>
                  <a:gd name="connsiteY47" fmla="*/ 5747 h 10000"/>
                  <a:gd name="connsiteX0" fmla="*/ 7731 w 9286"/>
                  <a:gd name="connsiteY0" fmla="*/ 10000 h 10000"/>
                  <a:gd name="connsiteX1" fmla="*/ 7731 w 9286"/>
                  <a:gd name="connsiteY1" fmla="*/ 7493 h 10000"/>
                  <a:gd name="connsiteX2" fmla="*/ 9055 w 9286"/>
                  <a:gd name="connsiteY2" fmla="*/ 7493 h 10000"/>
                  <a:gd name="connsiteX3" fmla="*/ 7864 w 9286"/>
                  <a:gd name="connsiteY3" fmla="*/ 4603 h 10000"/>
                  <a:gd name="connsiteX4" fmla="*/ 7864 w 9286"/>
                  <a:gd name="connsiteY4" fmla="*/ 4096 h 10000"/>
                  <a:gd name="connsiteX5" fmla="*/ 8711 w 9286"/>
                  <a:gd name="connsiteY5" fmla="*/ 5810 h 10000"/>
                  <a:gd name="connsiteX6" fmla="*/ 9027 w 9286"/>
                  <a:gd name="connsiteY6" fmla="*/ 5969 h 10000"/>
                  <a:gd name="connsiteX7" fmla="*/ 9189 w 9286"/>
                  <a:gd name="connsiteY7" fmla="*/ 5842 h 10000"/>
                  <a:gd name="connsiteX8" fmla="*/ 9241 w 9286"/>
                  <a:gd name="connsiteY8" fmla="*/ 5365 h 10000"/>
                  <a:gd name="connsiteX9" fmla="*/ 7997 w 9286"/>
                  <a:gd name="connsiteY9" fmla="*/ 2730 h 10000"/>
                  <a:gd name="connsiteX10" fmla="*/ 7838 w 9286"/>
                  <a:gd name="connsiteY10" fmla="*/ 2572 h 10000"/>
                  <a:gd name="connsiteX11" fmla="*/ 7653 w 9286"/>
                  <a:gd name="connsiteY11" fmla="*/ 2477 h 10000"/>
                  <a:gd name="connsiteX12" fmla="*/ 7414 w 9286"/>
                  <a:gd name="connsiteY12" fmla="*/ 2477 h 10000"/>
                  <a:gd name="connsiteX13" fmla="*/ 8022 w 9286"/>
                  <a:gd name="connsiteY13" fmla="*/ 1302 h 10000"/>
                  <a:gd name="connsiteX14" fmla="*/ 7017 w 9286"/>
                  <a:gd name="connsiteY14" fmla="*/ 0 h 10000"/>
                  <a:gd name="connsiteX15" fmla="*/ 6037 w 9286"/>
                  <a:gd name="connsiteY15" fmla="*/ 1302 h 10000"/>
                  <a:gd name="connsiteX16" fmla="*/ 6646 w 9286"/>
                  <a:gd name="connsiteY16" fmla="*/ 2477 h 10000"/>
                  <a:gd name="connsiteX17" fmla="*/ 6409 w 9286"/>
                  <a:gd name="connsiteY17" fmla="*/ 2477 h 10000"/>
                  <a:gd name="connsiteX18" fmla="*/ 6194 w 9286"/>
                  <a:gd name="connsiteY18" fmla="*/ 2603 h 10000"/>
                  <a:gd name="connsiteX19" fmla="*/ 6091 w 9286"/>
                  <a:gd name="connsiteY19" fmla="*/ 2730 h 10000"/>
                  <a:gd name="connsiteX20" fmla="*/ 4819 w 9286"/>
                  <a:gd name="connsiteY20" fmla="*/ 5365 h 10000"/>
                  <a:gd name="connsiteX21" fmla="*/ 4766 w 9286"/>
                  <a:gd name="connsiteY21" fmla="*/ 5682 h 10000"/>
                  <a:gd name="connsiteX22" fmla="*/ 4714 w 9286"/>
                  <a:gd name="connsiteY22" fmla="*/ 5714 h 10000"/>
                  <a:gd name="connsiteX23" fmla="*/ 4343 w 9286"/>
                  <a:gd name="connsiteY23" fmla="*/ 6159 h 10000"/>
                  <a:gd name="connsiteX24" fmla="*/ 3839 w 9286"/>
                  <a:gd name="connsiteY24" fmla="*/ 5365 h 10000"/>
                  <a:gd name="connsiteX25" fmla="*/ 3839 w 9286"/>
                  <a:gd name="connsiteY25" fmla="*/ 5334 h 10000"/>
                  <a:gd name="connsiteX26" fmla="*/ 3708 w 9286"/>
                  <a:gd name="connsiteY26" fmla="*/ 5239 h 10000"/>
                  <a:gd name="connsiteX27" fmla="*/ 3576 w 9286"/>
                  <a:gd name="connsiteY27" fmla="*/ 5239 h 10000"/>
                  <a:gd name="connsiteX28" fmla="*/ 3947 w 9286"/>
                  <a:gd name="connsiteY28" fmla="*/ 4508 h 10000"/>
                  <a:gd name="connsiteX29" fmla="*/ 3311 w 9286"/>
                  <a:gd name="connsiteY29" fmla="*/ 3683 h 10000"/>
                  <a:gd name="connsiteX30" fmla="*/ 2676 w 9286"/>
                  <a:gd name="connsiteY30" fmla="*/ 4508 h 10000"/>
                  <a:gd name="connsiteX31" fmla="*/ 3045 w 9286"/>
                  <a:gd name="connsiteY31" fmla="*/ 5239 h 10000"/>
                  <a:gd name="connsiteX32" fmla="*/ 2913 w 9286"/>
                  <a:gd name="connsiteY32" fmla="*/ 5239 h 10000"/>
                  <a:gd name="connsiteX33" fmla="*/ 2781 w 9286"/>
                  <a:gd name="connsiteY33" fmla="*/ 5302 h 10000"/>
                  <a:gd name="connsiteX34" fmla="*/ 2728 w 9286"/>
                  <a:gd name="connsiteY34" fmla="*/ 5397 h 10000"/>
                  <a:gd name="connsiteX35" fmla="*/ 2012 w 9286"/>
                  <a:gd name="connsiteY35" fmla="*/ 6857 h 10000"/>
                  <a:gd name="connsiteX36" fmla="*/ 1297 w 9286"/>
                  <a:gd name="connsiteY36" fmla="*/ 5334 h 10000"/>
                  <a:gd name="connsiteX37" fmla="*/ 1245 w 9286"/>
                  <a:gd name="connsiteY37" fmla="*/ 5270 h 10000"/>
                  <a:gd name="connsiteX38" fmla="*/ 1087 w 9286"/>
                  <a:gd name="connsiteY38" fmla="*/ 5175 h 10000"/>
                  <a:gd name="connsiteX39" fmla="*/ 688 w 9286"/>
                  <a:gd name="connsiteY39" fmla="*/ 5175 h 10000"/>
                  <a:gd name="connsiteX40" fmla="*/ 1271 w 9286"/>
                  <a:gd name="connsiteY40" fmla="*/ 4349 h 10000"/>
                  <a:gd name="connsiteX41" fmla="*/ 636 w 9286"/>
                  <a:gd name="connsiteY41" fmla="*/ 3524 h 10000"/>
                  <a:gd name="connsiteX42" fmla="*/ 0 w 9286"/>
                  <a:gd name="connsiteY42" fmla="*/ 4349 h 10000"/>
                  <a:gd name="connsiteX43" fmla="*/ 609 w 9286"/>
                  <a:gd name="connsiteY43" fmla="*/ 5175 h 10000"/>
                  <a:gd name="connsiteX44" fmla="*/ 212 w 9286"/>
                  <a:gd name="connsiteY44" fmla="*/ 5175 h 10000"/>
                  <a:gd name="connsiteX45" fmla="*/ 26 w 9286"/>
                  <a:gd name="connsiteY45" fmla="*/ 5302 h 10000"/>
                  <a:gd name="connsiteX46" fmla="*/ 26 w 9286"/>
                  <a:gd name="connsiteY46" fmla="*/ 5302 h 10000"/>
                  <a:gd name="connsiteX0" fmla="*/ 8325 w 10001"/>
                  <a:gd name="connsiteY0" fmla="*/ 10000 h 10000"/>
                  <a:gd name="connsiteX1" fmla="*/ 8325 w 10001"/>
                  <a:gd name="connsiteY1" fmla="*/ 7493 h 10000"/>
                  <a:gd name="connsiteX2" fmla="*/ 9751 w 10001"/>
                  <a:gd name="connsiteY2" fmla="*/ 7493 h 10000"/>
                  <a:gd name="connsiteX3" fmla="*/ 8469 w 10001"/>
                  <a:gd name="connsiteY3" fmla="*/ 4603 h 10000"/>
                  <a:gd name="connsiteX4" fmla="*/ 8469 w 10001"/>
                  <a:gd name="connsiteY4" fmla="*/ 4096 h 10000"/>
                  <a:gd name="connsiteX5" fmla="*/ 9381 w 10001"/>
                  <a:gd name="connsiteY5" fmla="*/ 5810 h 10000"/>
                  <a:gd name="connsiteX6" fmla="*/ 9721 w 10001"/>
                  <a:gd name="connsiteY6" fmla="*/ 5969 h 10000"/>
                  <a:gd name="connsiteX7" fmla="*/ 9896 w 10001"/>
                  <a:gd name="connsiteY7" fmla="*/ 5842 h 10000"/>
                  <a:gd name="connsiteX8" fmla="*/ 9952 w 10001"/>
                  <a:gd name="connsiteY8" fmla="*/ 5365 h 10000"/>
                  <a:gd name="connsiteX9" fmla="*/ 8612 w 10001"/>
                  <a:gd name="connsiteY9" fmla="*/ 2730 h 10000"/>
                  <a:gd name="connsiteX10" fmla="*/ 8441 w 10001"/>
                  <a:gd name="connsiteY10" fmla="*/ 2572 h 10000"/>
                  <a:gd name="connsiteX11" fmla="*/ 8241 w 10001"/>
                  <a:gd name="connsiteY11" fmla="*/ 2477 h 10000"/>
                  <a:gd name="connsiteX12" fmla="*/ 7984 w 10001"/>
                  <a:gd name="connsiteY12" fmla="*/ 2477 h 10000"/>
                  <a:gd name="connsiteX13" fmla="*/ 8639 w 10001"/>
                  <a:gd name="connsiteY13" fmla="*/ 1302 h 10000"/>
                  <a:gd name="connsiteX14" fmla="*/ 7557 w 10001"/>
                  <a:gd name="connsiteY14" fmla="*/ 0 h 10000"/>
                  <a:gd name="connsiteX15" fmla="*/ 6501 w 10001"/>
                  <a:gd name="connsiteY15" fmla="*/ 1302 h 10000"/>
                  <a:gd name="connsiteX16" fmla="*/ 7157 w 10001"/>
                  <a:gd name="connsiteY16" fmla="*/ 2477 h 10000"/>
                  <a:gd name="connsiteX17" fmla="*/ 6902 w 10001"/>
                  <a:gd name="connsiteY17" fmla="*/ 2477 h 10000"/>
                  <a:gd name="connsiteX18" fmla="*/ 6670 w 10001"/>
                  <a:gd name="connsiteY18" fmla="*/ 2603 h 10000"/>
                  <a:gd name="connsiteX19" fmla="*/ 6559 w 10001"/>
                  <a:gd name="connsiteY19" fmla="*/ 2730 h 10000"/>
                  <a:gd name="connsiteX20" fmla="*/ 5190 w 10001"/>
                  <a:gd name="connsiteY20" fmla="*/ 5365 h 10000"/>
                  <a:gd name="connsiteX21" fmla="*/ 5132 w 10001"/>
                  <a:gd name="connsiteY21" fmla="*/ 5682 h 10000"/>
                  <a:gd name="connsiteX22" fmla="*/ 5076 w 10001"/>
                  <a:gd name="connsiteY22" fmla="*/ 5714 h 10000"/>
                  <a:gd name="connsiteX23" fmla="*/ 4677 w 10001"/>
                  <a:gd name="connsiteY23" fmla="*/ 6159 h 10000"/>
                  <a:gd name="connsiteX24" fmla="*/ 4134 w 10001"/>
                  <a:gd name="connsiteY24" fmla="*/ 5365 h 10000"/>
                  <a:gd name="connsiteX25" fmla="*/ 4134 w 10001"/>
                  <a:gd name="connsiteY25" fmla="*/ 5334 h 10000"/>
                  <a:gd name="connsiteX26" fmla="*/ 3993 w 10001"/>
                  <a:gd name="connsiteY26" fmla="*/ 5239 h 10000"/>
                  <a:gd name="connsiteX27" fmla="*/ 3851 w 10001"/>
                  <a:gd name="connsiteY27" fmla="*/ 5239 h 10000"/>
                  <a:gd name="connsiteX28" fmla="*/ 4250 w 10001"/>
                  <a:gd name="connsiteY28" fmla="*/ 4508 h 10000"/>
                  <a:gd name="connsiteX29" fmla="*/ 3566 w 10001"/>
                  <a:gd name="connsiteY29" fmla="*/ 3683 h 10000"/>
                  <a:gd name="connsiteX30" fmla="*/ 2882 w 10001"/>
                  <a:gd name="connsiteY30" fmla="*/ 4508 h 10000"/>
                  <a:gd name="connsiteX31" fmla="*/ 3279 w 10001"/>
                  <a:gd name="connsiteY31" fmla="*/ 5239 h 10000"/>
                  <a:gd name="connsiteX32" fmla="*/ 3137 w 10001"/>
                  <a:gd name="connsiteY32" fmla="*/ 5239 h 10000"/>
                  <a:gd name="connsiteX33" fmla="*/ 2995 w 10001"/>
                  <a:gd name="connsiteY33" fmla="*/ 5302 h 10000"/>
                  <a:gd name="connsiteX34" fmla="*/ 2938 w 10001"/>
                  <a:gd name="connsiteY34" fmla="*/ 5397 h 10000"/>
                  <a:gd name="connsiteX35" fmla="*/ 2167 w 10001"/>
                  <a:gd name="connsiteY35" fmla="*/ 6857 h 10000"/>
                  <a:gd name="connsiteX36" fmla="*/ 1397 w 10001"/>
                  <a:gd name="connsiteY36" fmla="*/ 5334 h 10000"/>
                  <a:gd name="connsiteX37" fmla="*/ 1341 w 10001"/>
                  <a:gd name="connsiteY37" fmla="*/ 5270 h 10000"/>
                  <a:gd name="connsiteX38" fmla="*/ 1171 w 10001"/>
                  <a:gd name="connsiteY38" fmla="*/ 5175 h 10000"/>
                  <a:gd name="connsiteX39" fmla="*/ 741 w 10001"/>
                  <a:gd name="connsiteY39" fmla="*/ 5175 h 10000"/>
                  <a:gd name="connsiteX40" fmla="*/ 1369 w 10001"/>
                  <a:gd name="connsiteY40" fmla="*/ 4349 h 10000"/>
                  <a:gd name="connsiteX41" fmla="*/ 685 w 10001"/>
                  <a:gd name="connsiteY41" fmla="*/ 3524 h 10000"/>
                  <a:gd name="connsiteX42" fmla="*/ 0 w 10001"/>
                  <a:gd name="connsiteY42" fmla="*/ 4349 h 10000"/>
                  <a:gd name="connsiteX43" fmla="*/ 656 w 10001"/>
                  <a:gd name="connsiteY43" fmla="*/ 5175 h 10000"/>
                  <a:gd name="connsiteX44" fmla="*/ 228 w 10001"/>
                  <a:gd name="connsiteY44" fmla="*/ 5175 h 10000"/>
                  <a:gd name="connsiteX45" fmla="*/ 28 w 10001"/>
                  <a:gd name="connsiteY45" fmla="*/ 5302 h 10000"/>
                  <a:gd name="connsiteX0" fmla="*/ 8325 w 10001"/>
                  <a:gd name="connsiteY0" fmla="*/ 10000 h 10000"/>
                  <a:gd name="connsiteX1" fmla="*/ 8325 w 10001"/>
                  <a:gd name="connsiteY1" fmla="*/ 7493 h 10000"/>
                  <a:gd name="connsiteX2" fmla="*/ 9751 w 10001"/>
                  <a:gd name="connsiteY2" fmla="*/ 7493 h 10000"/>
                  <a:gd name="connsiteX3" fmla="*/ 8469 w 10001"/>
                  <a:gd name="connsiteY3" fmla="*/ 4603 h 10000"/>
                  <a:gd name="connsiteX4" fmla="*/ 8469 w 10001"/>
                  <a:gd name="connsiteY4" fmla="*/ 4096 h 10000"/>
                  <a:gd name="connsiteX5" fmla="*/ 9381 w 10001"/>
                  <a:gd name="connsiteY5" fmla="*/ 5810 h 10000"/>
                  <a:gd name="connsiteX6" fmla="*/ 9721 w 10001"/>
                  <a:gd name="connsiteY6" fmla="*/ 5969 h 10000"/>
                  <a:gd name="connsiteX7" fmla="*/ 9896 w 10001"/>
                  <a:gd name="connsiteY7" fmla="*/ 5842 h 10000"/>
                  <a:gd name="connsiteX8" fmla="*/ 9952 w 10001"/>
                  <a:gd name="connsiteY8" fmla="*/ 5365 h 10000"/>
                  <a:gd name="connsiteX9" fmla="*/ 8612 w 10001"/>
                  <a:gd name="connsiteY9" fmla="*/ 2730 h 10000"/>
                  <a:gd name="connsiteX10" fmla="*/ 8441 w 10001"/>
                  <a:gd name="connsiteY10" fmla="*/ 2572 h 10000"/>
                  <a:gd name="connsiteX11" fmla="*/ 8241 w 10001"/>
                  <a:gd name="connsiteY11" fmla="*/ 2477 h 10000"/>
                  <a:gd name="connsiteX12" fmla="*/ 7984 w 10001"/>
                  <a:gd name="connsiteY12" fmla="*/ 2477 h 10000"/>
                  <a:gd name="connsiteX13" fmla="*/ 8639 w 10001"/>
                  <a:gd name="connsiteY13" fmla="*/ 1302 h 10000"/>
                  <a:gd name="connsiteX14" fmla="*/ 7557 w 10001"/>
                  <a:gd name="connsiteY14" fmla="*/ 0 h 10000"/>
                  <a:gd name="connsiteX15" fmla="*/ 6501 w 10001"/>
                  <a:gd name="connsiteY15" fmla="*/ 1302 h 10000"/>
                  <a:gd name="connsiteX16" fmla="*/ 7157 w 10001"/>
                  <a:gd name="connsiteY16" fmla="*/ 2477 h 10000"/>
                  <a:gd name="connsiteX17" fmla="*/ 6902 w 10001"/>
                  <a:gd name="connsiteY17" fmla="*/ 2477 h 10000"/>
                  <a:gd name="connsiteX18" fmla="*/ 6670 w 10001"/>
                  <a:gd name="connsiteY18" fmla="*/ 2603 h 10000"/>
                  <a:gd name="connsiteX19" fmla="*/ 6559 w 10001"/>
                  <a:gd name="connsiteY19" fmla="*/ 2730 h 10000"/>
                  <a:gd name="connsiteX20" fmla="*/ 5190 w 10001"/>
                  <a:gd name="connsiteY20" fmla="*/ 5365 h 10000"/>
                  <a:gd name="connsiteX21" fmla="*/ 5132 w 10001"/>
                  <a:gd name="connsiteY21" fmla="*/ 5682 h 10000"/>
                  <a:gd name="connsiteX22" fmla="*/ 5076 w 10001"/>
                  <a:gd name="connsiteY22" fmla="*/ 5714 h 10000"/>
                  <a:gd name="connsiteX23" fmla="*/ 4677 w 10001"/>
                  <a:gd name="connsiteY23" fmla="*/ 6159 h 10000"/>
                  <a:gd name="connsiteX24" fmla="*/ 4134 w 10001"/>
                  <a:gd name="connsiteY24" fmla="*/ 5365 h 10000"/>
                  <a:gd name="connsiteX25" fmla="*/ 4134 w 10001"/>
                  <a:gd name="connsiteY25" fmla="*/ 5334 h 10000"/>
                  <a:gd name="connsiteX26" fmla="*/ 3993 w 10001"/>
                  <a:gd name="connsiteY26" fmla="*/ 5239 h 10000"/>
                  <a:gd name="connsiteX27" fmla="*/ 3851 w 10001"/>
                  <a:gd name="connsiteY27" fmla="*/ 5239 h 10000"/>
                  <a:gd name="connsiteX28" fmla="*/ 4250 w 10001"/>
                  <a:gd name="connsiteY28" fmla="*/ 4508 h 10000"/>
                  <a:gd name="connsiteX29" fmla="*/ 3566 w 10001"/>
                  <a:gd name="connsiteY29" fmla="*/ 3683 h 10000"/>
                  <a:gd name="connsiteX30" fmla="*/ 2882 w 10001"/>
                  <a:gd name="connsiteY30" fmla="*/ 4508 h 10000"/>
                  <a:gd name="connsiteX31" fmla="*/ 3279 w 10001"/>
                  <a:gd name="connsiteY31" fmla="*/ 5239 h 10000"/>
                  <a:gd name="connsiteX32" fmla="*/ 3137 w 10001"/>
                  <a:gd name="connsiteY32" fmla="*/ 5239 h 10000"/>
                  <a:gd name="connsiteX33" fmla="*/ 2995 w 10001"/>
                  <a:gd name="connsiteY33" fmla="*/ 5302 h 10000"/>
                  <a:gd name="connsiteX34" fmla="*/ 2938 w 10001"/>
                  <a:gd name="connsiteY34" fmla="*/ 5397 h 10000"/>
                  <a:gd name="connsiteX35" fmla="*/ 2167 w 10001"/>
                  <a:gd name="connsiteY35" fmla="*/ 6857 h 10000"/>
                  <a:gd name="connsiteX36" fmla="*/ 1397 w 10001"/>
                  <a:gd name="connsiteY36" fmla="*/ 5334 h 10000"/>
                  <a:gd name="connsiteX37" fmla="*/ 1341 w 10001"/>
                  <a:gd name="connsiteY37" fmla="*/ 5270 h 10000"/>
                  <a:gd name="connsiteX38" fmla="*/ 1171 w 10001"/>
                  <a:gd name="connsiteY38" fmla="*/ 5175 h 10000"/>
                  <a:gd name="connsiteX39" fmla="*/ 741 w 10001"/>
                  <a:gd name="connsiteY39" fmla="*/ 5175 h 10000"/>
                  <a:gd name="connsiteX40" fmla="*/ 1369 w 10001"/>
                  <a:gd name="connsiteY40" fmla="*/ 4349 h 10000"/>
                  <a:gd name="connsiteX41" fmla="*/ 685 w 10001"/>
                  <a:gd name="connsiteY41" fmla="*/ 3524 h 10000"/>
                  <a:gd name="connsiteX42" fmla="*/ 0 w 10001"/>
                  <a:gd name="connsiteY42" fmla="*/ 4349 h 10000"/>
                  <a:gd name="connsiteX43" fmla="*/ 656 w 10001"/>
                  <a:gd name="connsiteY43" fmla="*/ 5175 h 10000"/>
                  <a:gd name="connsiteX44" fmla="*/ 28 w 10001"/>
                  <a:gd name="connsiteY44" fmla="*/ 5302 h 10000"/>
                  <a:gd name="connsiteX0" fmla="*/ 8325 w 10001"/>
                  <a:gd name="connsiteY0" fmla="*/ 10000 h 10000"/>
                  <a:gd name="connsiteX1" fmla="*/ 8325 w 10001"/>
                  <a:gd name="connsiteY1" fmla="*/ 7493 h 10000"/>
                  <a:gd name="connsiteX2" fmla="*/ 9751 w 10001"/>
                  <a:gd name="connsiteY2" fmla="*/ 7493 h 10000"/>
                  <a:gd name="connsiteX3" fmla="*/ 8469 w 10001"/>
                  <a:gd name="connsiteY3" fmla="*/ 4603 h 10000"/>
                  <a:gd name="connsiteX4" fmla="*/ 8469 w 10001"/>
                  <a:gd name="connsiteY4" fmla="*/ 4096 h 10000"/>
                  <a:gd name="connsiteX5" fmla="*/ 9381 w 10001"/>
                  <a:gd name="connsiteY5" fmla="*/ 5810 h 10000"/>
                  <a:gd name="connsiteX6" fmla="*/ 9721 w 10001"/>
                  <a:gd name="connsiteY6" fmla="*/ 5969 h 10000"/>
                  <a:gd name="connsiteX7" fmla="*/ 9896 w 10001"/>
                  <a:gd name="connsiteY7" fmla="*/ 5842 h 10000"/>
                  <a:gd name="connsiteX8" fmla="*/ 9952 w 10001"/>
                  <a:gd name="connsiteY8" fmla="*/ 5365 h 10000"/>
                  <a:gd name="connsiteX9" fmla="*/ 8612 w 10001"/>
                  <a:gd name="connsiteY9" fmla="*/ 2730 h 10000"/>
                  <a:gd name="connsiteX10" fmla="*/ 8441 w 10001"/>
                  <a:gd name="connsiteY10" fmla="*/ 2572 h 10000"/>
                  <a:gd name="connsiteX11" fmla="*/ 8241 w 10001"/>
                  <a:gd name="connsiteY11" fmla="*/ 2477 h 10000"/>
                  <a:gd name="connsiteX12" fmla="*/ 7984 w 10001"/>
                  <a:gd name="connsiteY12" fmla="*/ 2477 h 10000"/>
                  <a:gd name="connsiteX13" fmla="*/ 8639 w 10001"/>
                  <a:gd name="connsiteY13" fmla="*/ 1302 h 10000"/>
                  <a:gd name="connsiteX14" fmla="*/ 7557 w 10001"/>
                  <a:gd name="connsiteY14" fmla="*/ 0 h 10000"/>
                  <a:gd name="connsiteX15" fmla="*/ 6501 w 10001"/>
                  <a:gd name="connsiteY15" fmla="*/ 1302 h 10000"/>
                  <a:gd name="connsiteX16" fmla="*/ 7157 w 10001"/>
                  <a:gd name="connsiteY16" fmla="*/ 2477 h 10000"/>
                  <a:gd name="connsiteX17" fmla="*/ 6902 w 10001"/>
                  <a:gd name="connsiteY17" fmla="*/ 2477 h 10000"/>
                  <a:gd name="connsiteX18" fmla="*/ 6670 w 10001"/>
                  <a:gd name="connsiteY18" fmla="*/ 2603 h 10000"/>
                  <a:gd name="connsiteX19" fmla="*/ 6559 w 10001"/>
                  <a:gd name="connsiteY19" fmla="*/ 2730 h 10000"/>
                  <a:gd name="connsiteX20" fmla="*/ 5190 w 10001"/>
                  <a:gd name="connsiteY20" fmla="*/ 5365 h 10000"/>
                  <a:gd name="connsiteX21" fmla="*/ 5132 w 10001"/>
                  <a:gd name="connsiteY21" fmla="*/ 5682 h 10000"/>
                  <a:gd name="connsiteX22" fmla="*/ 5076 w 10001"/>
                  <a:gd name="connsiteY22" fmla="*/ 5714 h 10000"/>
                  <a:gd name="connsiteX23" fmla="*/ 4677 w 10001"/>
                  <a:gd name="connsiteY23" fmla="*/ 6159 h 10000"/>
                  <a:gd name="connsiteX24" fmla="*/ 4134 w 10001"/>
                  <a:gd name="connsiteY24" fmla="*/ 5365 h 10000"/>
                  <a:gd name="connsiteX25" fmla="*/ 4134 w 10001"/>
                  <a:gd name="connsiteY25" fmla="*/ 5334 h 10000"/>
                  <a:gd name="connsiteX26" fmla="*/ 3993 w 10001"/>
                  <a:gd name="connsiteY26" fmla="*/ 5239 h 10000"/>
                  <a:gd name="connsiteX27" fmla="*/ 3851 w 10001"/>
                  <a:gd name="connsiteY27" fmla="*/ 5239 h 10000"/>
                  <a:gd name="connsiteX28" fmla="*/ 4250 w 10001"/>
                  <a:gd name="connsiteY28" fmla="*/ 4508 h 10000"/>
                  <a:gd name="connsiteX29" fmla="*/ 3566 w 10001"/>
                  <a:gd name="connsiteY29" fmla="*/ 3683 h 10000"/>
                  <a:gd name="connsiteX30" fmla="*/ 2882 w 10001"/>
                  <a:gd name="connsiteY30" fmla="*/ 4508 h 10000"/>
                  <a:gd name="connsiteX31" fmla="*/ 3279 w 10001"/>
                  <a:gd name="connsiteY31" fmla="*/ 5239 h 10000"/>
                  <a:gd name="connsiteX32" fmla="*/ 3137 w 10001"/>
                  <a:gd name="connsiteY32" fmla="*/ 5239 h 10000"/>
                  <a:gd name="connsiteX33" fmla="*/ 2995 w 10001"/>
                  <a:gd name="connsiteY33" fmla="*/ 5302 h 10000"/>
                  <a:gd name="connsiteX34" fmla="*/ 2938 w 10001"/>
                  <a:gd name="connsiteY34" fmla="*/ 5397 h 10000"/>
                  <a:gd name="connsiteX35" fmla="*/ 2167 w 10001"/>
                  <a:gd name="connsiteY35" fmla="*/ 6857 h 10000"/>
                  <a:gd name="connsiteX36" fmla="*/ 1397 w 10001"/>
                  <a:gd name="connsiteY36" fmla="*/ 5334 h 10000"/>
                  <a:gd name="connsiteX37" fmla="*/ 1341 w 10001"/>
                  <a:gd name="connsiteY37" fmla="*/ 5270 h 10000"/>
                  <a:gd name="connsiteX38" fmla="*/ 1171 w 10001"/>
                  <a:gd name="connsiteY38" fmla="*/ 5175 h 10000"/>
                  <a:gd name="connsiteX39" fmla="*/ 741 w 10001"/>
                  <a:gd name="connsiteY39" fmla="*/ 5175 h 10000"/>
                  <a:gd name="connsiteX40" fmla="*/ 1369 w 10001"/>
                  <a:gd name="connsiteY40" fmla="*/ 4349 h 10000"/>
                  <a:gd name="connsiteX41" fmla="*/ 685 w 10001"/>
                  <a:gd name="connsiteY41" fmla="*/ 3524 h 10000"/>
                  <a:gd name="connsiteX42" fmla="*/ 0 w 10001"/>
                  <a:gd name="connsiteY42" fmla="*/ 4349 h 10000"/>
                  <a:gd name="connsiteX43" fmla="*/ 656 w 10001"/>
                  <a:gd name="connsiteY43" fmla="*/ 5175 h 10000"/>
                  <a:gd name="connsiteX0" fmla="*/ 8325 w 10001"/>
                  <a:gd name="connsiteY0" fmla="*/ 10000 h 10000"/>
                  <a:gd name="connsiteX1" fmla="*/ 8325 w 10001"/>
                  <a:gd name="connsiteY1" fmla="*/ 7493 h 10000"/>
                  <a:gd name="connsiteX2" fmla="*/ 9751 w 10001"/>
                  <a:gd name="connsiteY2" fmla="*/ 7493 h 10000"/>
                  <a:gd name="connsiteX3" fmla="*/ 8469 w 10001"/>
                  <a:gd name="connsiteY3" fmla="*/ 4603 h 10000"/>
                  <a:gd name="connsiteX4" fmla="*/ 8469 w 10001"/>
                  <a:gd name="connsiteY4" fmla="*/ 4096 h 10000"/>
                  <a:gd name="connsiteX5" fmla="*/ 9381 w 10001"/>
                  <a:gd name="connsiteY5" fmla="*/ 5810 h 10000"/>
                  <a:gd name="connsiteX6" fmla="*/ 9721 w 10001"/>
                  <a:gd name="connsiteY6" fmla="*/ 5969 h 10000"/>
                  <a:gd name="connsiteX7" fmla="*/ 9896 w 10001"/>
                  <a:gd name="connsiteY7" fmla="*/ 5842 h 10000"/>
                  <a:gd name="connsiteX8" fmla="*/ 9952 w 10001"/>
                  <a:gd name="connsiteY8" fmla="*/ 5365 h 10000"/>
                  <a:gd name="connsiteX9" fmla="*/ 8612 w 10001"/>
                  <a:gd name="connsiteY9" fmla="*/ 2730 h 10000"/>
                  <a:gd name="connsiteX10" fmla="*/ 8441 w 10001"/>
                  <a:gd name="connsiteY10" fmla="*/ 2572 h 10000"/>
                  <a:gd name="connsiteX11" fmla="*/ 8241 w 10001"/>
                  <a:gd name="connsiteY11" fmla="*/ 2477 h 10000"/>
                  <a:gd name="connsiteX12" fmla="*/ 7984 w 10001"/>
                  <a:gd name="connsiteY12" fmla="*/ 2477 h 10000"/>
                  <a:gd name="connsiteX13" fmla="*/ 8639 w 10001"/>
                  <a:gd name="connsiteY13" fmla="*/ 1302 h 10000"/>
                  <a:gd name="connsiteX14" fmla="*/ 7557 w 10001"/>
                  <a:gd name="connsiteY14" fmla="*/ 0 h 10000"/>
                  <a:gd name="connsiteX15" fmla="*/ 6501 w 10001"/>
                  <a:gd name="connsiteY15" fmla="*/ 1302 h 10000"/>
                  <a:gd name="connsiteX16" fmla="*/ 7157 w 10001"/>
                  <a:gd name="connsiteY16" fmla="*/ 2477 h 10000"/>
                  <a:gd name="connsiteX17" fmla="*/ 6902 w 10001"/>
                  <a:gd name="connsiteY17" fmla="*/ 2477 h 10000"/>
                  <a:gd name="connsiteX18" fmla="*/ 6670 w 10001"/>
                  <a:gd name="connsiteY18" fmla="*/ 2603 h 10000"/>
                  <a:gd name="connsiteX19" fmla="*/ 6559 w 10001"/>
                  <a:gd name="connsiteY19" fmla="*/ 2730 h 10000"/>
                  <a:gd name="connsiteX20" fmla="*/ 5190 w 10001"/>
                  <a:gd name="connsiteY20" fmla="*/ 5365 h 10000"/>
                  <a:gd name="connsiteX21" fmla="*/ 5132 w 10001"/>
                  <a:gd name="connsiteY21" fmla="*/ 5682 h 10000"/>
                  <a:gd name="connsiteX22" fmla="*/ 5076 w 10001"/>
                  <a:gd name="connsiteY22" fmla="*/ 5714 h 10000"/>
                  <a:gd name="connsiteX23" fmla="*/ 4677 w 10001"/>
                  <a:gd name="connsiteY23" fmla="*/ 6159 h 10000"/>
                  <a:gd name="connsiteX24" fmla="*/ 4134 w 10001"/>
                  <a:gd name="connsiteY24" fmla="*/ 5365 h 10000"/>
                  <a:gd name="connsiteX25" fmla="*/ 4134 w 10001"/>
                  <a:gd name="connsiteY25" fmla="*/ 5334 h 10000"/>
                  <a:gd name="connsiteX26" fmla="*/ 3993 w 10001"/>
                  <a:gd name="connsiteY26" fmla="*/ 5239 h 10000"/>
                  <a:gd name="connsiteX27" fmla="*/ 3851 w 10001"/>
                  <a:gd name="connsiteY27" fmla="*/ 5239 h 10000"/>
                  <a:gd name="connsiteX28" fmla="*/ 4250 w 10001"/>
                  <a:gd name="connsiteY28" fmla="*/ 4508 h 10000"/>
                  <a:gd name="connsiteX29" fmla="*/ 3566 w 10001"/>
                  <a:gd name="connsiteY29" fmla="*/ 3683 h 10000"/>
                  <a:gd name="connsiteX30" fmla="*/ 2882 w 10001"/>
                  <a:gd name="connsiteY30" fmla="*/ 4508 h 10000"/>
                  <a:gd name="connsiteX31" fmla="*/ 3279 w 10001"/>
                  <a:gd name="connsiteY31" fmla="*/ 5239 h 10000"/>
                  <a:gd name="connsiteX32" fmla="*/ 3137 w 10001"/>
                  <a:gd name="connsiteY32" fmla="*/ 5239 h 10000"/>
                  <a:gd name="connsiteX33" fmla="*/ 2995 w 10001"/>
                  <a:gd name="connsiteY33" fmla="*/ 5302 h 10000"/>
                  <a:gd name="connsiteX34" fmla="*/ 2938 w 10001"/>
                  <a:gd name="connsiteY34" fmla="*/ 5397 h 10000"/>
                  <a:gd name="connsiteX35" fmla="*/ 2167 w 10001"/>
                  <a:gd name="connsiteY35" fmla="*/ 6857 h 10000"/>
                  <a:gd name="connsiteX36" fmla="*/ 1397 w 10001"/>
                  <a:gd name="connsiteY36" fmla="*/ 5334 h 10000"/>
                  <a:gd name="connsiteX37" fmla="*/ 1341 w 10001"/>
                  <a:gd name="connsiteY37" fmla="*/ 5270 h 10000"/>
                  <a:gd name="connsiteX38" fmla="*/ 1171 w 10001"/>
                  <a:gd name="connsiteY38" fmla="*/ 5175 h 10000"/>
                  <a:gd name="connsiteX39" fmla="*/ 741 w 10001"/>
                  <a:gd name="connsiteY39" fmla="*/ 5175 h 10000"/>
                  <a:gd name="connsiteX40" fmla="*/ 1369 w 10001"/>
                  <a:gd name="connsiteY40" fmla="*/ 4349 h 10000"/>
                  <a:gd name="connsiteX41" fmla="*/ 685 w 10001"/>
                  <a:gd name="connsiteY41" fmla="*/ 3524 h 10000"/>
                  <a:gd name="connsiteX42" fmla="*/ 0 w 10001"/>
                  <a:gd name="connsiteY42" fmla="*/ 4349 h 10000"/>
                  <a:gd name="connsiteX0" fmla="*/ 7640 w 9316"/>
                  <a:gd name="connsiteY0" fmla="*/ 10000 h 10000"/>
                  <a:gd name="connsiteX1" fmla="*/ 7640 w 9316"/>
                  <a:gd name="connsiteY1" fmla="*/ 7493 h 10000"/>
                  <a:gd name="connsiteX2" fmla="*/ 9066 w 9316"/>
                  <a:gd name="connsiteY2" fmla="*/ 7493 h 10000"/>
                  <a:gd name="connsiteX3" fmla="*/ 7784 w 9316"/>
                  <a:gd name="connsiteY3" fmla="*/ 4603 h 10000"/>
                  <a:gd name="connsiteX4" fmla="*/ 7784 w 9316"/>
                  <a:gd name="connsiteY4" fmla="*/ 4096 h 10000"/>
                  <a:gd name="connsiteX5" fmla="*/ 8696 w 9316"/>
                  <a:gd name="connsiteY5" fmla="*/ 5810 h 10000"/>
                  <a:gd name="connsiteX6" fmla="*/ 9036 w 9316"/>
                  <a:gd name="connsiteY6" fmla="*/ 5969 h 10000"/>
                  <a:gd name="connsiteX7" fmla="*/ 9211 w 9316"/>
                  <a:gd name="connsiteY7" fmla="*/ 5842 h 10000"/>
                  <a:gd name="connsiteX8" fmla="*/ 9267 w 9316"/>
                  <a:gd name="connsiteY8" fmla="*/ 5365 h 10000"/>
                  <a:gd name="connsiteX9" fmla="*/ 7927 w 9316"/>
                  <a:gd name="connsiteY9" fmla="*/ 2730 h 10000"/>
                  <a:gd name="connsiteX10" fmla="*/ 7756 w 9316"/>
                  <a:gd name="connsiteY10" fmla="*/ 2572 h 10000"/>
                  <a:gd name="connsiteX11" fmla="*/ 7556 w 9316"/>
                  <a:gd name="connsiteY11" fmla="*/ 2477 h 10000"/>
                  <a:gd name="connsiteX12" fmla="*/ 7299 w 9316"/>
                  <a:gd name="connsiteY12" fmla="*/ 2477 h 10000"/>
                  <a:gd name="connsiteX13" fmla="*/ 7954 w 9316"/>
                  <a:gd name="connsiteY13" fmla="*/ 1302 h 10000"/>
                  <a:gd name="connsiteX14" fmla="*/ 6872 w 9316"/>
                  <a:gd name="connsiteY14" fmla="*/ 0 h 10000"/>
                  <a:gd name="connsiteX15" fmla="*/ 5816 w 9316"/>
                  <a:gd name="connsiteY15" fmla="*/ 1302 h 10000"/>
                  <a:gd name="connsiteX16" fmla="*/ 6472 w 9316"/>
                  <a:gd name="connsiteY16" fmla="*/ 2477 h 10000"/>
                  <a:gd name="connsiteX17" fmla="*/ 6217 w 9316"/>
                  <a:gd name="connsiteY17" fmla="*/ 2477 h 10000"/>
                  <a:gd name="connsiteX18" fmla="*/ 5985 w 9316"/>
                  <a:gd name="connsiteY18" fmla="*/ 2603 h 10000"/>
                  <a:gd name="connsiteX19" fmla="*/ 5874 w 9316"/>
                  <a:gd name="connsiteY19" fmla="*/ 2730 h 10000"/>
                  <a:gd name="connsiteX20" fmla="*/ 4505 w 9316"/>
                  <a:gd name="connsiteY20" fmla="*/ 5365 h 10000"/>
                  <a:gd name="connsiteX21" fmla="*/ 4447 w 9316"/>
                  <a:gd name="connsiteY21" fmla="*/ 5682 h 10000"/>
                  <a:gd name="connsiteX22" fmla="*/ 4391 w 9316"/>
                  <a:gd name="connsiteY22" fmla="*/ 5714 h 10000"/>
                  <a:gd name="connsiteX23" fmla="*/ 3992 w 9316"/>
                  <a:gd name="connsiteY23" fmla="*/ 6159 h 10000"/>
                  <a:gd name="connsiteX24" fmla="*/ 3449 w 9316"/>
                  <a:gd name="connsiteY24" fmla="*/ 5365 h 10000"/>
                  <a:gd name="connsiteX25" fmla="*/ 3449 w 9316"/>
                  <a:gd name="connsiteY25" fmla="*/ 5334 h 10000"/>
                  <a:gd name="connsiteX26" fmla="*/ 3308 w 9316"/>
                  <a:gd name="connsiteY26" fmla="*/ 5239 h 10000"/>
                  <a:gd name="connsiteX27" fmla="*/ 3166 w 9316"/>
                  <a:gd name="connsiteY27" fmla="*/ 5239 h 10000"/>
                  <a:gd name="connsiteX28" fmla="*/ 3565 w 9316"/>
                  <a:gd name="connsiteY28" fmla="*/ 4508 h 10000"/>
                  <a:gd name="connsiteX29" fmla="*/ 2881 w 9316"/>
                  <a:gd name="connsiteY29" fmla="*/ 3683 h 10000"/>
                  <a:gd name="connsiteX30" fmla="*/ 2197 w 9316"/>
                  <a:gd name="connsiteY30" fmla="*/ 4508 h 10000"/>
                  <a:gd name="connsiteX31" fmla="*/ 2594 w 9316"/>
                  <a:gd name="connsiteY31" fmla="*/ 5239 h 10000"/>
                  <a:gd name="connsiteX32" fmla="*/ 2452 w 9316"/>
                  <a:gd name="connsiteY32" fmla="*/ 5239 h 10000"/>
                  <a:gd name="connsiteX33" fmla="*/ 2310 w 9316"/>
                  <a:gd name="connsiteY33" fmla="*/ 5302 h 10000"/>
                  <a:gd name="connsiteX34" fmla="*/ 2253 w 9316"/>
                  <a:gd name="connsiteY34" fmla="*/ 5397 h 10000"/>
                  <a:gd name="connsiteX35" fmla="*/ 1482 w 9316"/>
                  <a:gd name="connsiteY35" fmla="*/ 6857 h 10000"/>
                  <a:gd name="connsiteX36" fmla="*/ 712 w 9316"/>
                  <a:gd name="connsiteY36" fmla="*/ 5334 h 10000"/>
                  <a:gd name="connsiteX37" fmla="*/ 656 w 9316"/>
                  <a:gd name="connsiteY37" fmla="*/ 5270 h 10000"/>
                  <a:gd name="connsiteX38" fmla="*/ 486 w 9316"/>
                  <a:gd name="connsiteY38" fmla="*/ 5175 h 10000"/>
                  <a:gd name="connsiteX39" fmla="*/ 56 w 9316"/>
                  <a:gd name="connsiteY39" fmla="*/ 5175 h 10000"/>
                  <a:gd name="connsiteX40" fmla="*/ 684 w 9316"/>
                  <a:gd name="connsiteY40" fmla="*/ 4349 h 10000"/>
                  <a:gd name="connsiteX41" fmla="*/ 0 w 9316"/>
                  <a:gd name="connsiteY41" fmla="*/ 3524 h 10000"/>
                  <a:gd name="connsiteX0" fmla="*/ 8141 w 9940"/>
                  <a:gd name="connsiteY0" fmla="*/ 10000 h 10000"/>
                  <a:gd name="connsiteX1" fmla="*/ 8141 w 9940"/>
                  <a:gd name="connsiteY1" fmla="*/ 7493 h 10000"/>
                  <a:gd name="connsiteX2" fmla="*/ 9672 w 9940"/>
                  <a:gd name="connsiteY2" fmla="*/ 7493 h 10000"/>
                  <a:gd name="connsiteX3" fmla="*/ 8296 w 9940"/>
                  <a:gd name="connsiteY3" fmla="*/ 4603 h 10000"/>
                  <a:gd name="connsiteX4" fmla="*/ 8296 w 9940"/>
                  <a:gd name="connsiteY4" fmla="*/ 4096 h 10000"/>
                  <a:gd name="connsiteX5" fmla="*/ 9274 w 9940"/>
                  <a:gd name="connsiteY5" fmla="*/ 5810 h 10000"/>
                  <a:gd name="connsiteX6" fmla="*/ 9639 w 9940"/>
                  <a:gd name="connsiteY6" fmla="*/ 5969 h 10000"/>
                  <a:gd name="connsiteX7" fmla="*/ 9827 w 9940"/>
                  <a:gd name="connsiteY7" fmla="*/ 5842 h 10000"/>
                  <a:gd name="connsiteX8" fmla="*/ 9887 w 9940"/>
                  <a:gd name="connsiteY8" fmla="*/ 5365 h 10000"/>
                  <a:gd name="connsiteX9" fmla="*/ 8449 w 9940"/>
                  <a:gd name="connsiteY9" fmla="*/ 2730 h 10000"/>
                  <a:gd name="connsiteX10" fmla="*/ 8265 w 9940"/>
                  <a:gd name="connsiteY10" fmla="*/ 2572 h 10000"/>
                  <a:gd name="connsiteX11" fmla="*/ 8051 w 9940"/>
                  <a:gd name="connsiteY11" fmla="*/ 2477 h 10000"/>
                  <a:gd name="connsiteX12" fmla="*/ 7775 w 9940"/>
                  <a:gd name="connsiteY12" fmla="*/ 2477 h 10000"/>
                  <a:gd name="connsiteX13" fmla="*/ 8478 w 9940"/>
                  <a:gd name="connsiteY13" fmla="*/ 1302 h 10000"/>
                  <a:gd name="connsiteX14" fmla="*/ 7317 w 9940"/>
                  <a:gd name="connsiteY14" fmla="*/ 0 h 10000"/>
                  <a:gd name="connsiteX15" fmla="*/ 6183 w 9940"/>
                  <a:gd name="connsiteY15" fmla="*/ 1302 h 10000"/>
                  <a:gd name="connsiteX16" fmla="*/ 6887 w 9940"/>
                  <a:gd name="connsiteY16" fmla="*/ 2477 h 10000"/>
                  <a:gd name="connsiteX17" fmla="*/ 6613 w 9940"/>
                  <a:gd name="connsiteY17" fmla="*/ 2477 h 10000"/>
                  <a:gd name="connsiteX18" fmla="*/ 6364 w 9940"/>
                  <a:gd name="connsiteY18" fmla="*/ 2603 h 10000"/>
                  <a:gd name="connsiteX19" fmla="*/ 6245 w 9940"/>
                  <a:gd name="connsiteY19" fmla="*/ 2730 h 10000"/>
                  <a:gd name="connsiteX20" fmla="*/ 4776 w 9940"/>
                  <a:gd name="connsiteY20" fmla="*/ 5365 h 10000"/>
                  <a:gd name="connsiteX21" fmla="*/ 4714 w 9940"/>
                  <a:gd name="connsiteY21" fmla="*/ 5682 h 10000"/>
                  <a:gd name="connsiteX22" fmla="*/ 4653 w 9940"/>
                  <a:gd name="connsiteY22" fmla="*/ 5714 h 10000"/>
                  <a:gd name="connsiteX23" fmla="*/ 4225 w 9940"/>
                  <a:gd name="connsiteY23" fmla="*/ 6159 h 10000"/>
                  <a:gd name="connsiteX24" fmla="*/ 3642 w 9940"/>
                  <a:gd name="connsiteY24" fmla="*/ 5365 h 10000"/>
                  <a:gd name="connsiteX25" fmla="*/ 3642 w 9940"/>
                  <a:gd name="connsiteY25" fmla="*/ 5334 h 10000"/>
                  <a:gd name="connsiteX26" fmla="*/ 3491 w 9940"/>
                  <a:gd name="connsiteY26" fmla="*/ 5239 h 10000"/>
                  <a:gd name="connsiteX27" fmla="*/ 3338 w 9940"/>
                  <a:gd name="connsiteY27" fmla="*/ 5239 h 10000"/>
                  <a:gd name="connsiteX28" fmla="*/ 3767 w 9940"/>
                  <a:gd name="connsiteY28" fmla="*/ 4508 h 10000"/>
                  <a:gd name="connsiteX29" fmla="*/ 3033 w 9940"/>
                  <a:gd name="connsiteY29" fmla="*/ 3683 h 10000"/>
                  <a:gd name="connsiteX30" fmla="*/ 2298 w 9940"/>
                  <a:gd name="connsiteY30" fmla="*/ 4508 h 10000"/>
                  <a:gd name="connsiteX31" fmla="*/ 2724 w 9940"/>
                  <a:gd name="connsiteY31" fmla="*/ 5239 h 10000"/>
                  <a:gd name="connsiteX32" fmla="*/ 2572 w 9940"/>
                  <a:gd name="connsiteY32" fmla="*/ 5239 h 10000"/>
                  <a:gd name="connsiteX33" fmla="*/ 2420 w 9940"/>
                  <a:gd name="connsiteY33" fmla="*/ 5302 h 10000"/>
                  <a:gd name="connsiteX34" fmla="*/ 2358 w 9940"/>
                  <a:gd name="connsiteY34" fmla="*/ 5397 h 10000"/>
                  <a:gd name="connsiteX35" fmla="*/ 1531 w 9940"/>
                  <a:gd name="connsiteY35" fmla="*/ 6857 h 10000"/>
                  <a:gd name="connsiteX36" fmla="*/ 704 w 9940"/>
                  <a:gd name="connsiteY36" fmla="*/ 5334 h 10000"/>
                  <a:gd name="connsiteX37" fmla="*/ 644 w 9940"/>
                  <a:gd name="connsiteY37" fmla="*/ 5270 h 10000"/>
                  <a:gd name="connsiteX38" fmla="*/ 462 w 9940"/>
                  <a:gd name="connsiteY38" fmla="*/ 5175 h 10000"/>
                  <a:gd name="connsiteX39" fmla="*/ 0 w 9940"/>
                  <a:gd name="connsiteY39" fmla="*/ 5175 h 10000"/>
                  <a:gd name="connsiteX40" fmla="*/ 674 w 9940"/>
                  <a:gd name="connsiteY40" fmla="*/ 4349 h 10000"/>
                  <a:gd name="connsiteX0" fmla="*/ 8190 w 10000"/>
                  <a:gd name="connsiteY0" fmla="*/ 10000 h 10000"/>
                  <a:gd name="connsiteX1" fmla="*/ 8190 w 10000"/>
                  <a:gd name="connsiteY1" fmla="*/ 7493 h 10000"/>
                  <a:gd name="connsiteX2" fmla="*/ 9730 w 10000"/>
                  <a:gd name="connsiteY2" fmla="*/ 7493 h 10000"/>
                  <a:gd name="connsiteX3" fmla="*/ 8346 w 10000"/>
                  <a:gd name="connsiteY3" fmla="*/ 4603 h 10000"/>
                  <a:gd name="connsiteX4" fmla="*/ 8346 w 10000"/>
                  <a:gd name="connsiteY4" fmla="*/ 4096 h 10000"/>
                  <a:gd name="connsiteX5" fmla="*/ 9330 w 10000"/>
                  <a:gd name="connsiteY5" fmla="*/ 5810 h 10000"/>
                  <a:gd name="connsiteX6" fmla="*/ 9697 w 10000"/>
                  <a:gd name="connsiteY6" fmla="*/ 5969 h 10000"/>
                  <a:gd name="connsiteX7" fmla="*/ 9886 w 10000"/>
                  <a:gd name="connsiteY7" fmla="*/ 5842 h 10000"/>
                  <a:gd name="connsiteX8" fmla="*/ 9947 w 10000"/>
                  <a:gd name="connsiteY8" fmla="*/ 5365 h 10000"/>
                  <a:gd name="connsiteX9" fmla="*/ 8500 w 10000"/>
                  <a:gd name="connsiteY9" fmla="*/ 2730 h 10000"/>
                  <a:gd name="connsiteX10" fmla="*/ 8315 w 10000"/>
                  <a:gd name="connsiteY10" fmla="*/ 2572 h 10000"/>
                  <a:gd name="connsiteX11" fmla="*/ 8100 w 10000"/>
                  <a:gd name="connsiteY11" fmla="*/ 2477 h 10000"/>
                  <a:gd name="connsiteX12" fmla="*/ 7822 w 10000"/>
                  <a:gd name="connsiteY12" fmla="*/ 2477 h 10000"/>
                  <a:gd name="connsiteX13" fmla="*/ 8529 w 10000"/>
                  <a:gd name="connsiteY13" fmla="*/ 1302 h 10000"/>
                  <a:gd name="connsiteX14" fmla="*/ 7361 w 10000"/>
                  <a:gd name="connsiteY14" fmla="*/ 0 h 10000"/>
                  <a:gd name="connsiteX15" fmla="*/ 6220 w 10000"/>
                  <a:gd name="connsiteY15" fmla="*/ 1302 h 10000"/>
                  <a:gd name="connsiteX16" fmla="*/ 6929 w 10000"/>
                  <a:gd name="connsiteY16" fmla="*/ 2477 h 10000"/>
                  <a:gd name="connsiteX17" fmla="*/ 6653 w 10000"/>
                  <a:gd name="connsiteY17" fmla="*/ 2477 h 10000"/>
                  <a:gd name="connsiteX18" fmla="*/ 6402 w 10000"/>
                  <a:gd name="connsiteY18" fmla="*/ 2603 h 10000"/>
                  <a:gd name="connsiteX19" fmla="*/ 6283 w 10000"/>
                  <a:gd name="connsiteY19" fmla="*/ 2730 h 10000"/>
                  <a:gd name="connsiteX20" fmla="*/ 4805 w 10000"/>
                  <a:gd name="connsiteY20" fmla="*/ 5365 h 10000"/>
                  <a:gd name="connsiteX21" fmla="*/ 4742 w 10000"/>
                  <a:gd name="connsiteY21" fmla="*/ 5682 h 10000"/>
                  <a:gd name="connsiteX22" fmla="*/ 4681 w 10000"/>
                  <a:gd name="connsiteY22" fmla="*/ 5714 h 10000"/>
                  <a:gd name="connsiteX23" fmla="*/ 4251 w 10000"/>
                  <a:gd name="connsiteY23" fmla="*/ 6159 h 10000"/>
                  <a:gd name="connsiteX24" fmla="*/ 3664 w 10000"/>
                  <a:gd name="connsiteY24" fmla="*/ 5365 h 10000"/>
                  <a:gd name="connsiteX25" fmla="*/ 3664 w 10000"/>
                  <a:gd name="connsiteY25" fmla="*/ 5334 h 10000"/>
                  <a:gd name="connsiteX26" fmla="*/ 3512 w 10000"/>
                  <a:gd name="connsiteY26" fmla="*/ 5239 h 10000"/>
                  <a:gd name="connsiteX27" fmla="*/ 3358 w 10000"/>
                  <a:gd name="connsiteY27" fmla="*/ 5239 h 10000"/>
                  <a:gd name="connsiteX28" fmla="*/ 3790 w 10000"/>
                  <a:gd name="connsiteY28" fmla="*/ 4508 h 10000"/>
                  <a:gd name="connsiteX29" fmla="*/ 3051 w 10000"/>
                  <a:gd name="connsiteY29" fmla="*/ 3683 h 10000"/>
                  <a:gd name="connsiteX30" fmla="*/ 2312 w 10000"/>
                  <a:gd name="connsiteY30" fmla="*/ 4508 h 10000"/>
                  <a:gd name="connsiteX31" fmla="*/ 2740 w 10000"/>
                  <a:gd name="connsiteY31" fmla="*/ 5239 h 10000"/>
                  <a:gd name="connsiteX32" fmla="*/ 2588 w 10000"/>
                  <a:gd name="connsiteY32" fmla="*/ 5239 h 10000"/>
                  <a:gd name="connsiteX33" fmla="*/ 2435 w 10000"/>
                  <a:gd name="connsiteY33" fmla="*/ 5302 h 10000"/>
                  <a:gd name="connsiteX34" fmla="*/ 2372 w 10000"/>
                  <a:gd name="connsiteY34" fmla="*/ 5397 h 10000"/>
                  <a:gd name="connsiteX35" fmla="*/ 1540 w 10000"/>
                  <a:gd name="connsiteY35" fmla="*/ 6857 h 10000"/>
                  <a:gd name="connsiteX36" fmla="*/ 708 w 10000"/>
                  <a:gd name="connsiteY36" fmla="*/ 5334 h 10000"/>
                  <a:gd name="connsiteX37" fmla="*/ 648 w 10000"/>
                  <a:gd name="connsiteY37" fmla="*/ 5270 h 10000"/>
                  <a:gd name="connsiteX38" fmla="*/ 465 w 10000"/>
                  <a:gd name="connsiteY38" fmla="*/ 5175 h 10000"/>
                  <a:gd name="connsiteX39" fmla="*/ 0 w 10000"/>
                  <a:gd name="connsiteY39" fmla="*/ 5175 h 10000"/>
                  <a:gd name="connsiteX0" fmla="*/ 7725 w 9535"/>
                  <a:gd name="connsiteY0" fmla="*/ 10000 h 10000"/>
                  <a:gd name="connsiteX1" fmla="*/ 7725 w 9535"/>
                  <a:gd name="connsiteY1" fmla="*/ 7493 h 10000"/>
                  <a:gd name="connsiteX2" fmla="*/ 9265 w 9535"/>
                  <a:gd name="connsiteY2" fmla="*/ 7493 h 10000"/>
                  <a:gd name="connsiteX3" fmla="*/ 7881 w 9535"/>
                  <a:gd name="connsiteY3" fmla="*/ 4603 h 10000"/>
                  <a:gd name="connsiteX4" fmla="*/ 7881 w 9535"/>
                  <a:gd name="connsiteY4" fmla="*/ 4096 h 10000"/>
                  <a:gd name="connsiteX5" fmla="*/ 8865 w 9535"/>
                  <a:gd name="connsiteY5" fmla="*/ 5810 h 10000"/>
                  <a:gd name="connsiteX6" fmla="*/ 9232 w 9535"/>
                  <a:gd name="connsiteY6" fmla="*/ 5969 h 10000"/>
                  <a:gd name="connsiteX7" fmla="*/ 9421 w 9535"/>
                  <a:gd name="connsiteY7" fmla="*/ 5842 h 10000"/>
                  <a:gd name="connsiteX8" fmla="*/ 9482 w 9535"/>
                  <a:gd name="connsiteY8" fmla="*/ 5365 h 10000"/>
                  <a:gd name="connsiteX9" fmla="*/ 8035 w 9535"/>
                  <a:gd name="connsiteY9" fmla="*/ 2730 h 10000"/>
                  <a:gd name="connsiteX10" fmla="*/ 7850 w 9535"/>
                  <a:gd name="connsiteY10" fmla="*/ 2572 h 10000"/>
                  <a:gd name="connsiteX11" fmla="*/ 7635 w 9535"/>
                  <a:gd name="connsiteY11" fmla="*/ 2477 h 10000"/>
                  <a:gd name="connsiteX12" fmla="*/ 7357 w 9535"/>
                  <a:gd name="connsiteY12" fmla="*/ 2477 h 10000"/>
                  <a:gd name="connsiteX13" fmla="*/ 8064 w 9535"/>
                  <a:gd name="connsiteY13" fmla="*/ 1302 h 10000"/>
                  <a:gd name="connsiteX14" fmla="*/ 6896 w 9535"/>
                  <a:gd name="connsiteY14" fmla="*/ 0 h 10000"/>
                  <a:gd name="connsiteX15" fmla="*/ 5755 w 9535"/>
                  <a:gd name="connsiteY15" fmla="*/ 1302 h 10000"/>
                  <a:gd name="connsiteX16" fmla="*/ 6464 w 9535"/>
                  <a:gd name="connsiteY16" fmla="*/ 2477 h 10000"/>
                  <a:gd name="connsiteX17" fmla="*/ 6188 w 9535"/>
                  <a:gd name="connsiteY17" fmla="*/ 2477 h 10000"/>
                  <a:gd name="connsiteX18" fmla="*/ 5937 w 9535"/>
                  <a:gd name="connsiteY18" fmla="*/ 2603 h 10000"/>
                  <a:gd name="connsiteX19" fmla="*/ 5818 w 9535"/>
                  <a:gd name="connsiteY19" fmla="*/ 2730 h 10000"/>
                  <a:gd name="connsiteX20" fmla="*/ 4340 w 9535"/>
                  <a:gd name="connsiteY20" fmla="*/ 5365 h 10000"/>
                  <a:gd name="connsiteX21" fmla="*/ 4277 w 9535"/>
                  <a:gd name="connsiteY21" fmla="*/ 5682 h 10000"/>
                  <a:gd name="connsiteX22" fmla="*/ 4216 w 9535"/>
                  <a:gd name="connsiteY22" fmla="*/ 5714 h 10000"/>
                  <a:gd name="connsiteX23" fmla="*/ 3786 w 9535"/>
                  <a:gd name="connsiteY23" fmla="*/ 6159 h 10000"/>
                  <a:gd name="connsiteX24" fmla="*/ 3199 w 9535"/>
                  <a:gd name="connsiteY24" fmla="*/ 5365 h 10000"/>
                  <a:gd name="connsiteX25" fmla="*/ 3199 w 9535"/>
                  <a:gd name="connsiteY25" fmla="*/ 5334 h 10000"/>
                  <a:gd name="connsiteX26" fmla="*/ 3047 w 9535"/>
                  <a:gd name="connsiteY26" fmla="*/ 5239 h 10000"/>
                  <a:gd name="connsiteX27" fmla="*/ 2893 w 9535"/>
                  <a:gd name="connsiteY27" fmla="*/ 5239 h 10000"/>
                  <a:gd name="connsiteX28" fmla="*/ 3325 w 9535"/>
                  <a:gd name="connsiteY28" fmla="*/ 4508 h 10000"/>
                  <a:gd name="connsiteX29" fmla="*/ 2586 w 9535"/>
                  <a:gd name="connsiteY29" fmla="*/ 3683 h 10000"/>
                  <a:gd name="connsiteX30" fmla="*/ 1847 w 9535"/>
                  <a:gd name="connsiteY30" fmla="*/ 4508 h 10000"/>
                  <a:gd name="connsiteX31" fmla="*/ 2275 w 9535"/>
                  <a:gd name="connsiteY31" fmla="*/ 5239 h 10000"/>
                  <a:gd name="connsiteX32" fmla="*/ 2123 w 9535"/>
                  <a:gd name="connsiteY32" fmla="*/ 5239 h 10000"/>
                  <a:gd name="connsiteX33" fmla="*/ 1970 w 9535"/>
                  <a:gd name="connsiteY33" fmla="*/ 5302 h 10000"/>
                  <a:gd name="connsiteX34" fmla="*/ 1907 w 9535"/>
                  <a:gd name="connsiteY34" fmla="*/ 5397 h 10000"/>
                  <a:gd name="connsiteX35" fmla="*/ 1075 w 9535"/>
                  <a:gd name="connsiteY35" fmla="*/ 6857 h 10000"/>
                  <a:gd name="connsiteX36" fmla="*/ 243 w 9535"/>
                  <a:gd name="connsiteY36" fmla="*/ 5334 h 10000"/>
                  <a:gd name="connsiteX37" fmla="*/ 183 w 9535"/>
                  <a:gd name="connsiteY37" fmla="*/ 5270 h 10000"/>
                  <a:gd name="connsiteX38" fmla="*/ 0 w 9535"/>
                  <a:gd name="connsiteY38" fmla="*/ 5175 h 10000"/>
                  <a:gd name="connsiteX0" fmla="*/ 7910 w 9808"/>
                  <a:gd name="connsiteY0" fmla="*/ 10000 h 10000"/>
                  <a:gd name="connsiteX1" fmla="*/ 7910 w 9808"/>
                  <a:gd name="connsiteY1" fmla="*/ 7493 h 10000"/>
                  <a:gd name="connsiteX2" fmla="*/ 9525 w 9808"/>
                  <a:gd name="connsiteY2" fmla="*/ 7493 h 10000"/>
                  <a:gd name="connsiteX3" fmla="*/ 8073 w 9808"/>
                  <a:gd name="connsiteY3" fmla="*/ 4603 h 10000"/>
                  <a:gd name="connsiteX4" fmla="*/ 8073 w 9808"/>
                  <a:gd name="connsiteY4" fmla="*/ 4096 h 10000"/>
                  <a:gd name="connsiteX5" fmla="*/ 9105 w 9808"/>
                  <a:gd name="connsiteY5" fmla="*/ 5810 h 10000"/>
                  <a:gd name="connsiteX6" fmla="*/ 9490 w 9808"/>
                  <a:gd name="connsiteY6" fmla="*/ 5969 h 10000"/>
                  <a:gd name="connsiteX7" fmla="*/ 9688 w 9808"/>
                  <a:gd name="connsiteY7" fmla="*/ 5842 h 10000"/>
                  <a:gd name="connsiteX8" fmla="*/ 9752 w 9808"/>
                  <a:gd name="connsiteY8" fmla="*/ 5365 h 10000"/>
                  <a:gd name="connsiteX9" fmla="*/ 8235 w 9808"/>
                  <a:gd name="connsiteY9" fmla="*/ 2730 h 10000"/>
                  <a:gd name="connsiteX10" fmla="*/ 8041 w 9808"/>
                  <a:gd name="connsiteY10" fmla="*/ 2572 h 10000"/>
                  <a:gd name="connsiteX11" fmla="*/ 7815 w 9808"/>
                  <a:gd name="connsiteY11" fmla="*/ 2477 h 10000"/>
                  <a:gd name="connsiteX12" fmla="*/ 7524 w 9808"/>
                  <a:gd name="connsiteY12" fmla="*/ 2477 h 10000"/>
                  <a:gd name="connsiteX13" fmla="*/ 8265 w 9808"/>
                  <a:gd name="connsiteY13" fmla="*/ 1302 h 10000"/>
                  <a:gd name="connsiteX14" fmla="*/ 7040 w 9808"/>
                  <a:gd name="connsiteY14" fmla="*/ 0 h 10000"/>
                  <a:gd name="connsiteX15" fmla="*/ 5844 w 9808"/>
                  <a:gd name="connsiteY15" fmla="*/ 1302 h 10000"/>
                  <a:gd name="connsiteX16" fmla="*/ 6587 w 9808"/>
                  <a:gd name="connsiteY16" fmla="*/ 2477 h 10000"/>
                  <a:gd name="connsiteX17" fmla="*/ 6298 w 9808"/>
                  <a:gd name="connsiteY17" fmla="*/ 2477 h 10000"/>
                  <a:gd name="connsiteX18" fmla="*/ 6035 w 9808"/>
                  <a:gd name="connsiteY18" fmla="*/ 2603 h 10000"/>
                  <a:gd name="connsiteX19" fmla="*/ 5910 w 9808"/>
                  <a:gd name="connsiteY19" fmla="*/ 2730 h 10000"/>
                  <a:gd name="connsiteX20" fmla="*/ 4360 w 9808"/>
                  <a:gd name="connsiteY20" fmla="*/ 5365 h 10000"/>
                  <a:gd name="connsiteX21" fmla="*/ 4294 w 9808"/>
                  <a:gd name="connsiteY21" fmla="*/ 5682 h 10000"/>
                  <a:gd name="connsiteX22" fmla="*/ 4230 w 9808"/>
                  <a:gd name="connsiteY22" fmla="*/ 5714 h 10000"/>
                  <a:gd name="connsiteX23" fmla="*/ 3779 w 9808"/>
                  <a:gd name="connsiteY23" fmla="*/ 6159 h 10000"/>
                  <a:gd name="connsiteX24" fmla="*/ 3163 w 9808"/>
                  <a:gd name="connsiteY24" fmla="*/ 5365 h 10000"/>
                  <a:gd name="connsiteX25" fmla="*/ 3163 w 9808"/>
                  <a:gd name="connsiteY25" fmla="*/ 5334 h 10000"/>
                  <a:gd name="connsiteX26" fmla="*/ 3004 w 9808"/>
                  <a:gd name="connsiteY26" fmla="*/ 5239 h 10000"/>
                  <a:gd name="connsiteX27" fmla="*/ 2842 w 9808"/>
                  <a:gd name="connsiteY27" fmla="*/ 5239 h 10000"/>
                  <a:gd name="connsiteX28" fmla="*/ 3295 w 9808"/>
                  <a:gd name="connsiteY28" fmla="*/ 4508 h 10000"/>
                  <a:gd name="connsiteX29" fmla="*/ 2520 w 9808"/>
                  <a:gd name="connsiteY29" fmla="*/ 3683 h 10000"/>
                  <a:gd name="connsiteX30" fmla="*/ 1745 w 9808"/>
                  <a:gd name="connsiteY30" fmla="*/ 4508 h 10000"/>
                  <a:gd name="connsiteX31" fmla="*/ 2194 w 9808"/>
                  <a:gd name="connsiteY31" fmla="*/ 5239 h 10000"/>
                  <a:gd name="connsiteX32" fmla="*/ 2035 w 9808"/>
                  <a:gd name="connsiteY32" fmla="*/ 5239 h 10000"/>
                  <a:gd name="connsiteX33" fmla="*/ 1874 w 9808"/>
                  <a:gd name="connsiteY33" fmla="*/ 5302 h 10000"/>
                  <a:gd name="connsiteX34" fmla="*/ 1808 w 9808"/>
                  <a:gd name="connsiteY34" fmla="*/ 5397 h 10000"/>
                  <a:gd name="connsiteX35" fmla="*/ 935 w 9808"/>
                  <a:gd name="connsiteY35" fmla="*/ 6857 h 10000"/>
                  <a:gd name="connsiteX36" fmla="*/ 63 w 9808"/>
                  <a:gd name="connsiteY36" fmla="*/ 5334 h 10000"/>
                  <a:gd name="connsiteX37" fmla="*/ 0 w 9808"/>
                  <a:gd name="connsiteY37" fmla="*/ 5270 h 10000"/>
                  <a:gd name="connsiteX0" fmla="*/ 8001 w 9936"/>
                  <a:gd name="connsiteY0" fmla="*/ 10000 h 10000"/>
                  <a:gd name="connsiteX1" fmla="*/ 8001 w 9936"/>
                  <a:gd name="connsiteY1" fmla="*/ 7493 h 10000"/>
                  <a:gd name="connsiteX2" fmla="*/ 9647 w 9936"/>
                  <a:gd name="connsiteY2" fmla="*/ 7493 h 10000"/>
                  <a:gd name="connsiteX3" fmla="*/ 8167 w 9936"/>
                  <a:gd name="connsiteY3" fmla="*/ 4603 h 10000"/>
                  <a:gd name="connsiteX4" fmla="*/ 8167 w 9936"/>
                  <a:gd name="connsiteY4" fmla="*/ 4096 h 10000"/>
                  <a:gd name="connsiteX5" fmla="*/ 9219 w 9936"/>
                  <a:gd name="connsiteY5" fmla="*/ 5810 h 10000"/>
                  <a:gd name="connsiteX6" fmla="*/ 9612 w 9936"/>
                  <a:gd name="connsiteY6" fmla="*/ 5969 h 10000"/>
                  <a:gd name="connsiteX7" fmla="*/ 9814 w 9936"/>
                  <a:gd name="connsiteY7" fmla="*/ 5842 h 10000"/>
                  <a:gd name="connsiteX8" fmla="*/ 9879 w 9936"/>
                  <a:gd name="connsiteY8" fmla="*/ 5365 h 10000"/>
                  <a:gd name="connsiteX9" fmla="*/ 8332 w 9936"/>
                  <a:gd name="connsiteY9" fmla="*/ 2730 h 10000"/>
                  <a:gd name="connsiteX10" fmla="*/ 8134 w 9936"/>
                  <a:gd name="connsiteY10" fmla="*/ 2572 h 10000"/>
                  <a:gd name="connsiteX11" fmla="*/ 7904 w 9936"/>
                  <a:gd name="connsiteY11" fmla="*/ 2477 h 10000"/>
                  <a:gd name="connsiteX12" fmla="*/ 7607 w 9936"/>
                  <a:gd name="connsiteY12" fmla="*/ 2477 h 10000"/>
                  <a:gd name="connsiteX13" fmla="*/ 8363 w 9936"/>
                  <a:gd name="connsiteY13" fmla="*/ 1302 h 10000"/>
                  <a:gd name="connsiteX14" fmla="*/ 7114 w 9936"/>
                  <a:gd name="connsiteY14" fmla="*/ 0 h 10000"/>
                  <a:gd name="connsiteX15" fmla="*/ 5894 w 9936"/>
                  <a:gd name="connsiteY15" fmla="*/ 1302 h 10000"/>
                  <a:gd name="connsiteX16" fmla="*/ 6652 w 9936"/>
                  <a:gd name="connsiteY16" fmla="*/ 2477 h 10000"/>
                  <a:gd name="connsiteX17" fmla="*/ 6357 w 9936"/>
                  <a:gd name="connsiteY17" fmla="*/ 2477 h 10000"/>
                  <a:gd name="connsiteX18" fmla="*/ 6089 w 9936"/>
                  <a:gd name="connsiteY18" fmla="*/ 2603 h 10000"/>
                  <a:gd name="connsiteX19" fmla="*/ 5962 w 9936"/>
                  <a:gd name="connsiteY19" fmla="*/ 2730 h 10000"/>
                  <a:gd name="connsiteX20" fmla="*/ 4381 w 9936"/>
                  <a:gd name="connsiteY20" fmla="*/ 5365 h 10000"/>
                  <a:gd name="connsiteX21" fmla="*/ 4314 w 9936"/>
                  <a:gd name="connsiteY21" fmla="*/ 5682 h 10000"/>
                  <a:gd name="connsiteX22" fmla="*/ 4249 w 9936"/>
                  <a:gd name="connsiteY22" fmla="*/ 5714 h 10000"/>
                  <a:gd name="connsiteX23" fmla="*/ 3789 w 9936"/>
                  <a:gd name="connsiteY23" fmla="*/ 6159 h 10000"/>
                  <a:gd name="connsiteX24" fmla="*/ 3161 w 9936"/>
                  <a:gd name="connsiteY24" fmla="*/ 5365 h 10000"/>
                  <a:gd name="connsiteX25" fmla="*/ 3161 w 9936"/>
                  <a:gd name="connsiteY25" fmla="*/ 5334 h 10000"/>
                  <a:gd name="connsiteX26" fmla="*/ 2999 w 9936"/>
                  <a:gd name="connsiteY26" fmla="*/ 5239 h 10000"/>
                  <a:gd name="connsiteX27" fmla="*/ 2834 w 9936"/>
                  <a:gd name="connsiteY27" fmla="*/ 5239 h 10000"/>
                  <a:gd name="connsiteX28" fmla="*/ 3296 w 9936"/>
                  <a:gd name="connsiteY28" fmla="*/ 4508 h 10000"/>
                  <a:gd name="connsiteX29" fmla="*/ 2505 w 9936"/>
                  <a:gd name="connsiteY29" fmla="*/ 3683 h 10000"/>
                  <a:gd name="connsiteX30" fmla="*/ 1715 w 9936"/>
                  <a:gd name="connsiteY30" fmla="*/ 4508 h 10000"/>
                  <a:gd name="connsiteX31" fmla="*/ 2173 w 9936"/>
                  <a:gd name="connsiteY31" fmla="*/ 5239 h 10000"/>
                  <a:gd name="connsiteX32" fmla="*/ 2011 w 9936"/>
                  <a:gd name="connsiteY32" fmla="*/ 5239 h 10000"/>
                  <a:gd name="connsiteX33" fmla="*/ 1847 w 9936"/>
                  <a:gd name="connsiteY33" fmla="*/ 5302 h 10000"/>
                  <a:gd name="connsiteX34" fmla="*/ 1779 w 9936"/>
                  <a:gd name="connsiteY34" fmla="*/ 5397 h 10000"/>
                  <a:gd name="connsiteX35" fmla="*/ 889 w 9936"/>
                  <a:gd name="connsiteY35" fmla="*/ 6857 h 10000"/>
                  <a:gd name="connsiteX36" fmla="*/ 0 w 9936"/>
                  <a:gd name="connsiteY36" fmla="*/ 5334 h 10000"/>
                  <a:gd name="connsiteX0" fmla="*/ 7158 w 9105"/>
                  <a:gd name="connsiteY0" fmla="*/ 10000 h 10000"/>
                  <a:gd name="connsiteX1" fmla="*/ 7158 w 9105"/>
                  <a:gd name="connsiteY1" fmla="*/ 7493 h 10000"/>
                  <a:gd name="connsiteX2" fmla="*/ 8814 w 9105"/>
                  <a:gd name="connsiteY2" fmla="*/ 7493 h 10000"/>
                  <a:gd name="connsiteX3" fmla="*/ 7325 w 9105"/>
                  <a:gd name="connsiteY3" fmla="*/ 4603 h 10000"/>
                  <a:gd name="connsiteX4" fmla="*/ 7325 w 9105"/>
                  <a:gd name="connsiteY4" fmla="*/ 4096 h 10000"/>
                  <a:gd name="connsiteX5" fmla="*/ 8383 w 9105"/>
                  <a:gd name="connsiteY5" fmla="*/ 5810 h 10000"/>
                  <a:gd name="connsiteX6" fmla="*/ 8779 w 9105"/>
                  <a:gd name="connsiteY6" fmla="*/ 5969 h 10000"/>
                  <a:gd name="connsiteX7" fmla="*/ 8982 w 9105"/>
                  <a:gd name="connsiteY7" fmla="*/ 5842 h 10000"/>
                  <a:gd name="connsiteX8" fmla="*/ 9048 w 9105"/>
                  <a:gd name="connsiteY8" fmla="*/ 5365 h 10000"/>
                  <a:gd name="connsiteX9" fmla="*/ 7491 w 9105"/>
                  <a:gd name="connsiteY9" fmla="*/ 2730 h 10000"/>
                  <a:gd name="connsiteX10" fmla="*/ 7291 w 9105"/>
                  <a:gd name="connsiteY10" fmla="*/ 2572 h 10000"/>
                  <a:gd name="connsiteX11" fmla="*/ 7060 w 9105"/>
                  <a:gd name="connsiteY11" fmla="*/ 2477 h 10000"/>
                  <a:gd name="connsiteX12" fmla="*/ 6761 w 9105"/>
                  <a:gd name="connsiteY12" fmla="*/ 2477 h 10000"/>
                  <a:gd name="connsiteX13" fmla="*/ 7522 w 9105"/>
                  <a:gd name="connsiteY13" fmla="*/ 1302 h 10000"/>
                  <a:gd name="connsiteX14" fmla="*/ 6265 w 9105"/>
                  <a:gd name="connsiteY14" fmla="*/ 0 h 10000"/>
                  <a:gd name="connsiteX15" fmla="*/ 5037 w 9105"/>
                  <a:gd name="connsiteY15" fmla="*/ 1302 h 10000"/>
                  <a:gd name="connsiteX16" fmla="*/ 5800 w 9105"/>
                  <a:gd name="connsiteY16" fmla="*/ 2477 h 10000"/>
                  <a:gd name="connsiteX17" fmla="*/ 5503 w 9105"/>
                  <a:gd name="connsiteY17" fmla="*/ 2477 h 10000"/>
                  <a:gd name="connsiteX18" fmla="*/ 5233 w 9105"/>
                  <a:gd name="connsiteY18" fmla="*/ 2603 h 10000"/>
                  <a:gd name="connsiteX19" fmla="*/ 5105 w 9105"/>
                  <a:gd name="connsiteY19" fmla="*/ 2730 h 10000"/>
                  <a:gd name="connsiteX20" fmla="*/ 3514 w 9105"/>
                  <a:gd name="connsiteY20" fmla="*/ 5365 h 10000"/>
                  <a:gd name="connsiteX21" fmla="*/ 3447 w 9105"/>
                  <a:gd name="connsiteY21" fmla="*/ 5682 h 10000"/>
                  <a:gd name="connsiteX22" fmla="*/ 3381 w 9105"/>
                  <a:gd name="connsiteY22" fmla="*/ 5714 h 10000"/>
                  <a:gd name="connsiteX23" fmla="*/ 2918 w 9105"/>
                  <a:gd name="connsiteY23" fmla="*/ 6159 h 10000"/>
                  <a:gd name="connsiteX24" fmla="*/ 2286 w 9105"/>
                  <a:gd name="connsiteY24" fmla="*/ 5365 h 10000"/>
                  <a:gd name="connsiteX25" fmla="*/ 2286 w 9105"/>
                  <a:gd name="connsiteY25" fmla="*/ 5334 h 10000"/>
                  <a:gd name="connsiteX26" fmla="*/ 2123 w 9105"/>
                  <a:gd name="connsiteY26" fmla="*/ 5239 h 10000"/>
                  <a:gd name="connsiteX27" fmla="*/ 1957 w 9105"/>
                  <a:gd name="connsiteY27" fmla="*/ 5239 h 10000"/>
                  <a:gd name="connsiteX28" fmla="*/ 2422 w 9105"/>
                  <a:gd name="connsiteY28" fmla="*/ 4508 h 10000"/>
                  <a:gd name="connsiteX29" fmla="*/ 1626 w 9105"/>
                  <a:gd name="connsiteY29" fmla="*/ 3683 h 10000"/>
                  <a:gd name="connsiteX30" fmla="*/ 831 w 9105"/>
                  <a:gd name="connsiteY30" fmla="*/ 4508 h 10000"/>
                  <a:gd name="connsiteX31" fmla="*/ 1292 w 9105"/>
                  <a:gd name="connsiteY31" fmla="*/ 5239 h 10000"/>
                  <a:gd name="connsiteX32" fmla="*/ 1129 w 9105"/>
                  <a:gd name="connsiteY32" fmla="*/ 5239 h 10000"/>
                  <a:gd name="connsiteX33" fmla="*/ 964 w 9105"/>
                  <a:gd name="connsiteY33" fmla="*/ 5302 h 10000"/>
                  <a:gd name="connsiteX34" fmla="*/ 895 w 9105"/>
                  <a:gd name="connsiteY34" fmla="*/ 5397 h 10000"/>
                  <a:gd name="connsiteX35" fmla="*/ 0 w 9105"/>
                  <a:gd name="connsiteY35" fmla="*/ 6857 h 10000"/>
                  <a:gd name="connsiteX0" fmla="*/ 6949 w 9087"/>
                  <a:gd name="connsiteY0" fmla="*/ 10000 h 10000"/>
                  <a:gd name="connsiteX1" fmla="*/ 6949 w 9087"/>
                  <a:gd name="connsiteY1" fmla="*/ 7493 h 10000"/>
                  <a:gd name="connsiteX2" fmla="*/ 8767 w 9087"/>
                  <a:gd name="connsiteY2" fmla="*/ 7493 h 10000"/>
                  <a:gd name="connsiteX3" fmla="*/ 7132 w 9087"/>
                  <a:gd name="connsiteY3" fmla="*/ 4603 h 10000"/>
                  <a:gd name="connsiteX4" fmla="*/ 7132 w 9087"/>
                  <a:gd name="connsiteY4" fmla="*/ 4096 h 10000"/>
                  <a:gd name="connsiteX5" fmla="*/ 8294 w 9087"/>
                  <a:gd name="connsiteY5" fmla="*/ 5810 h 10000"/>
                  <a:gd name="connsiteX6" fmla="*/ 8729 w 9087"/>
                  <a:gd name="connsiteY6" fmla="*/ 5969 h 10000"/>
                  <a:gd name="connsiteX7" fmla="*/ 8952 w 9087"/>
                  <a:gd name="connsiteY7" fmla="*/ 5842 h 10000"/>
                  <a:gd name="connsiteX8" fmla="*/ 9024 w 9087"/>
                  <a:gd name="connsiteY8" fmla="*/ 5365 h 10000"/>
                  <a:gd name="connsiteX9" fmla="*/ 7314 w 9087"/>
                  <a:gd name="connsiteY9" fmla="*/ 2730 h 10000"/>
                  <a:gd name="connsiteX10" fmla="*/ 7095 w 9087"/>
                  <a:gd name="connsiteY10" fmla="*/ 2572 h 10000"/>
                  <a:gd name="connsiteX11" fmla="*/ 6841 w 9087"/>
                  <a:gd name="connsiteY11" fmla="*/ 2477 h 10000"/>
                  <a:gd name="connsiteX12" fmla="*/ 6513 w 9087"/>
                  <a:gd name="connsiteY12" fmla="*/ 2477 h 10000"/>
                  <a:gd name="connsiteX13" fmla="*/ 7348 w 9087"/>
                  <a:gd name="connsiteY13" fmla="*/ 1302 h 10000"/>
                  <a:gd name="connsiteX14" fmla="*/ 5968 w 9087"/>
                  <a:gd name="connsiteY14" fmla="*/ 0 h 10000"/>
                  <a:gd name="connsiteX15" fmla="*/ 4619 w 9087"/>
                  <a:gd name="connsiteY15" fmla="*/ 1302 h 10000"/>
                  <a:gd name="connsiteX16" fmla="*/ 5457 w 9087"/>
                  <a:gd name="connsiteY16" fmla="*/ 2477 h 10000"/>
                  <a:gd name="connsiteX17" fmla="*/ 5131 w 9087"/>
                  <a:gd name="connsiteY17" fmla="*/ 2477 h 10000"/>
                  <a:gd name="connsiteX18" fmla="*/ 4834 w 9087"/>
                  <a:gd name="connsiteY18" fmla="*/ 2603 h 10000"/>
                  <a:gd name="connsiteX19" fmla="*/ 4694 w 9087"/>
                  <a:gd name="connsiteY19" fmla="*/ 2730 h 10000"/>
                  <a:gd name="connsiteX20" fmla="*/ 2946 w 9087"/>
                  <a:gd name="connsiteY20" fmla="*/ 5365 h 10000"/>
                  <a:gd name="connsiteX21" fmla="*/ 2873 w 9087"/>
                  <a:gd name="connsiteY21" fmla="*/ 5682 h 10000"/>
                  <a:gd name="connsiteX22" fmla="*/ 2800 w 9087"/>
                  <a:gd name="connsiteY22" fmla="*/ 5714 h 10000"/>
                  <a:gd name="connsiteX23" fmla="*/ 2292 w 9087"/>
                  <a:gd name="connsiteY23" fmla="*/ 6159 h 10000"/>
                  <a:gd name="connsiteX24" fmla="*/ 1598 w 9087"/>
                  <a:gd name="connsiteY24" fmla="*/ 5365 h 10000"/>
                  <a:gd name="connsiteX25" fmla="*/ 1598 w 9087"/>
                  <a:gd name="connsiteY25" fmla="*/ 5334 h 10000"/>
                  <a:gd name="connsiteX26" fmla="*/ 1419 w 9087"/>
                  <a:gd name="connsiteY26" fmla="*/ 5239 h 10000"/>
                  <a:gd name="connsiteX27" fmla="*/ 1236 w 9087"/>
                  <a:gd name="connsiteY27" fmla="*/ 5239 h 10000"/>
                  <a:gd name="connsiteX28" fmla="*/ 1747 w 9087"/>
                  <a:gd name="connsiteY28" fmla="*/ 4508 h 10000"/>
                  <a:gd name="connsiteX29" fmla="*/ 873 w 9087"/>
                  <a:gd name="connsiteY29" fmla="*/ 3683 h 10000"/>
                  <a:gd name="connsiteX30" fmla="*/ 0 w 9087"/>
                  <a:gd name="connsiteY30" fmla="*/ 4508 h 10000"/>
                  <a:gd name="connsiteX31" fmla="*/ 506 w 9087"/>
                  <a:gd name="connsiteY31" fmla="*/ 5239 h 10000"/>
                  <a:gd name="connsiteX32" fmla="*/ 327 w 9087"/>
                  <a:gd name="connsiteY32" fmla="*/ 5239 h 10000"/>
                  <a:gd name="connsiteX33" fmla="*/ 146 w 9087"/>
                  <a:gd name="connsiteY33" fmla="*/ 5302 h 10000"/>
                  <a:gd name="connsiteX34" fmla="*/ 70 w 9087"/>
                  <a:gd name="connsiteY34" fmla="*/ 5397 h 10000"/>
                  <a:gd name="connsiteX0" fmla="*/ 7647 w 10000"/>
                  <a:gd name="connsiteY0" fmla="*/ 10000 h 10000"/>
                  <a:gd name="connsiteX1" fmla="*/ 7647 w 10000"/>
                  <a:gd name="connsiteY1" fmla="*/ 7493 h 10000"/>
                  <a:gd name="connsiteX2" fmla="*/ 9648 w 10000"/>
                  <a:gd name="connsiteY2" fmla="*/ 7493 h 10000"/>
                  <a:gd name="connsiteX3" fmla="*/ 7849 w 10000"/>
                  <a:gd name="connsiteY3" fmla="*/ 4603 h 10000"/>
                  <a:gd name="connsiteX4" fmla="*/ 7849 w 10000"/>
                  <a:gd name="connsiteY4" fmla="*/ 4096 h 10000"/>
                  <a:gd name="connsiteX5" fmla="*/ 9127 w 10000"/>
                  <a:gd name="connsiteY5" fmla="*/ 5810 h 10000"/>
                  <a:gd name="connsiteX6" fmla="*/ 9606 w 10000"/>
                  <a:gd name="connsiteY6" fmla="*/ 5969 h 10000"/>
                  <a:gd name="connsiteX7" fmla="*/ 9851 w 10000"/>
                  <a:gd name="connsiteY7" fmla="*/ 5842 h 10000"/>
                  <a:gd name="connsiteX8" fmla="*/ 9931 w 10000"/>
                  <a:gd name="connsiteY8" fmla="*/ 5365 h 10000"/>
                  <a:gd name="connsiteX9" fmla="*/ 8049 w 10000"/>
                  <a:gd name="connsiteY9" fmla="*/ 2730 h 10000"/>
                  <a:gd name="connsiteX10" fmla="*/ 7808 w 10000"/>
                  <a:gd name="connsiteY10" fmla="*/ 2572 h 10000"/>
                  <a:gd name="connsiteX11" fmla="*/ 7528 w 10000"/>
                  <a:gd name="connsiteY11" fmla="*/ 2477 h 10000"/>
                  <a:gd name="connsiteX12" fmla="*/ 7167 w 10000"/>
                  <a:gd name="connsiteY12" fmla="*/ 2477 h 10000"/>
                  <a:gd name="connsiteX13" fmla="*/ 8086 w 10000"/>
                  <a:gd name="connsiteY13" fmla="*/ 1302 h 10000"/>
                  <a:gd name="connsiteX14" fmla="*/ 6568 w 10000"/>
                  <a:gd name="connsiteY14" fmla="*/ 0 h 10000"/>
                  <a:gd name="connsiteX15" fmla="*/ 5083 w 10000"/>
                  <a:gd name="connsiteY15" fmla="*/ 1302 h 10000"/>
                  <a:gd name="connsiteX16" fmla="*/ 6005 w 10000"/>
                  <a:gd name="connsiteY16" fmla="*/ 2477 h 10000"/>
                  <a:gd name="connsiteX17" fmla="*/ 5647 w 10000"/>
                  <a:gd name="connsiteY17" fmla="*/ 2477 h 10000"/>
                  <a:gd name="connsiteX18" fmla="*/ 5320 w 10000"/>
                  <a:gd name="connsiteY18" fmla="*/ 2603 h 10000"/>
                  <a:gd name="connsiteX19" fmla="*/ 5166 w 10000"/>
                  <a:gd name="connsiteY19" fmla="*/ 2730 h 10000"/>
                  <a:gd name="connsiteX20" fmla="*/ 3242 w 10000"/>
                  <a:gd name="connsiteY20" fmla="*/ 5365 h 10000"/>
                  <a:gd name="connsiteX21" fmla="*/ 3162 w 10000"/>
                  <a:gd name="connsiteY21" fmla="*/ 5682 h 10000"/>
                  <a:gd name="connsiteX22" fmla="*/ 3081 w 10000"/>
                  <a:gd name="connsiteY22" fmla="*/ 5714 h 10000"/>
                  <a:gd name="connsiteX23" fmla="*/ 2522 w 10000"/>
                  <a:gd name="connsiteY23" fmla="*/ 6159 h 10000"/>
                  <a:gd name="connsiteX24" fmla="*/ 1759 w 10000"/>
                  <a:gd name="connsiteY24" fmla="*/ 5365 h 10000"/>
                  <a:gd name="connsiteX25" fmla="*/ 1759 w 10000"/>
                  <a:gd name="connsiteY25" fmla="*/ 5334 h 10000"/>
                  <a:gd name="connsiteX26" fmla="*/ 1562 w 10000"/>
                  <a:gd name="connsiteY26" fmla="*/ 5239 h 10000"/>
                  <a:gd name="connsiteX27" fmla="*/ 1360 w 10000"/>
                  <a:gd name="connsiteY27" fmla="*/ 5239 h 10000"/>
                  <a:gd name="connsiteX28" fmla="*/ 1923 w 10000"/>
                  <a:gd name="connsiteY28" fmla="*/ 4508 h 10000"/>
                  <a:gd name="connsiteX29" fmla="*/ 961 w 10000"/>
                  <a:gd name="connsiteY29" fmla="*/ 3683 h 10000"/>
                  <a:gd name="connsiteX30" fmla="*/ 0 w 10000"/>
                  <a:gd name="connsiteY30" fmla="*/ 4508 h 10000"/>
                  <a:gd name="connsiteX31" fmla="*/ 557 w 10000"/>
                  <a:gd name="connsiteY31" fmla="*/ 5239 h 10000"/>
                  <a:gd name="connsiteX32" fmla="*/ 360 w 10000"/>
                  <a:gd name="connsiteY32" fmla="*/ 5239 h 10000"/>
                  <a:gd name="connsiteX33" fmla="*/ 161 w 10000"/>
                  <a:gd name="connsiteY33" fmla="*/ 5302 h 10000"/>
                  <a:gd name="connsiteX0" fmla="*/ 7647 w 10000"/>
                  <a:gd name="connsiteY0" fmla="*/ 10000 h 10000"/>
                  <a:gd name="connsiteX1" fmla="*/ 7647 w 10000"/>
                  <a:gd name="connsiteY1" fmla="*/ 7493 h 10000"/>
                  <a:gd name="connsiteX2" fmla="*/ 9648 w 10000"/>
                  <a:gd name="connsiteY2" fmla="*/ 7493 h 10000"/>
                  <a:gd name="connsiteX3" fmla="*/ 7849 w 10000"/>
                  <a:gd name="connsiteY3" fmla="*/ 4603 h 10000"/>
                  <a:gd name="connsiteX4" fmla="*/ 7849 w 10000"/>
                  <a:gd name="connsiteY4" fmla="*/ 4096 h 10000"/>
                  <a:gd name="connsiteX5" fmla="*/ 9127 w 10000"/>
                  <a:gd name="connsiteY5" fmla="*/ 5810 h 10000"/>
                  <a:gd name="connsiteX6" fmla="*/ 9606 w 10000"/>
                  <a:gd name="connsiteY6" fmla="*/ 5969 h 10000"/>
                  <a:gd name="connsiteX7" fmla="*/ 9851 w 10000"/>
                  <a:gd name="connsiteY7" fmla="*/ 5842 h 10000"/>
                  <a:gd name="connsiteX8" fmla="*/ 9931 w 10000"/>
                  <a:gd name="connsiteY8" fmla="*/ 5365 h 10000"/>
                  <a:gd name="connsiteX9" fmla="*/ 8049 w 10000"/>
                  <a:gd name="connsiteY9" fmla="*/ 2730 h 10000"/>
                  <a:gd name="connsiteX10" fmla="*/ 7808 w 10000"/>
                  <a:gd name="connsiteY10" fmla="*/ 2572 h 10000"/>
                  <a:gd name="connsiteX11" fmla="*/ 7528 w 10000"/>
                  <a:gd name="connsiteY11" fmla="*/ 2477 h 10000"/>
                  <a:gd name="connsiteX12" fmla="*/ 7167 w 10000"/>
                  <a:gd name="connsiteY12" fmla="*/ 2477 h 10000"/>
                  <a:gd name="connsiteX13" fmla="*/ 8086 w 10000"/>
                  <a:gd name="connsiteY13" fmla="*/ 1302 h 10000"/>
                  <a:gd name="connsiteX14" fmla="*/ 6568 w 10000"/>
                  <a:gd name="connsiteY14" fmla="*/ 0 h 10000"/>
                  <a:gd name="connsiteX15" fmla="*/ 5083 w 10000"/>
                  <a:gd name="connsiteY15" fmla="*/ 1302 h 10000"/>
                  <a:gd name="connsiteX16" fmla="*/ 6005 w 10000"/>
                  <a:gd name="connsiteY16" fmla="*/ 2477 h 10000"/>
                  <a:gd name="connsiteX17" fmla="*/ 5647 w 10000"/>
                  <a:gd name="connsiteY17" fmla="*/ 2477 h 10000"/>
                  <a:gd name="connsiteX18" fmla="*/ 5320 w 10000"/>
                  <a:gd name="connsiteY18" fmla="*/ 2603 h 10000"/>
                  <a:gd name="connsiteX19" fmla="*/ 5166 w 10000"/>
                  <a:gd name="connsiteY19" fmla="*/ 2730 h 10000"/>
                  <a:gd name="connsiteX20" fmla="*/ 3242 w 10000"/>
                  <a:gd name="connsiteY20" fmla="*/ 5365 h 10000"/>
                  <a:gd name="connsiteX21" fmla="*/ 3162 w 10000"/>
                  <a:gd name="connsiteY21" fmla="*/ 5682 h 10000"/>
                  <a:gd name="connsiteX22" fmla="*/ 3081 w 10000"/>
                  <a:gd name="connsiteY22" fmla="*/ 5714 h 10000"/>
                  <a:gd name="connsiteX23" fmla="*/ 2522 w 10000"/>
                  <a:gd name="connsiteY23" fmla="*/ 6159 h 10000"/>
                  <a:gd name="connsiteX24" fmla="*/ 1759 w 10000"/>
                  <a:gd name="connsiteY24" fmla="*/ 5365 h 10000"/>
                  <a:gd name="connsiteX25" fmla="*/ 1759 w 10000"/>
                  <a:gd name="connsiteY25" fmla="*/ 5334 h 10000"/>
                  <a:gd name="connsiteX26" fmla="*/ 1562 w 10000"/>
                  <a:gd name="connsiteY26" fmla="*/ 5239 h 10000"/>
                  <a:gd name="connsiteX27" fmla="*/ 1360 w 10000"/>
                  <a:gd name="connsiteY27" fmla="*/ 5239 h 10000"/>
                  <a:gd name="connsiteX28" fmla="*/ 1923 w 10000"/>
                  <a:gd name="connsiteY28" fmla="*/ 4508 h 10000"/>
                  <a:gd name="connsiteX29" fmla="*/ 961 w 10000"/>
                  <a:gd name="connsiteY29" fmla="*/ 3683 h 10000"/>
                  <a:gd name="connsiteX30" fmla="*/ 0 w 10000"/>
                  <a:gd name="connsiteY30" fmla="*/ 4508 h 10000"/>
                  <a:gd name="connsiteX31" fmla="*/ 557 w 10000"/>
                  <a:gd name="connsiteY31" fmla="*/ 5239 h 10000"/>
                  <a:gd name="connsiteX32" fmla="*/ 360 w 10000"/>
                  <a:gd name="connsiteY32" fmla="*/ 5239 h 10000"/>
                  <a:gd name="connsiteX0" fmla="*/ 7647 w 10000"/>
                  <a:gd name="connsiteY0" fmla="*/ 10000 h 10000"/>
                  <a:gd name="connsiteX1" fmla="*/ 7647 w 10000"/>
                  <a:gd name="connsiteY1" fmla="*/ 7493 h 10000"/>
                  <a:gd name="connsiteX2" fmla="*/ 9648 w 10000"/>
                  <a:gd name="connsiteY2" fmla="*/ 7493 h 10000"/>
                  <a:gd name="connsiteX3" fmla="*/ 7849 w 10000"/>
                  <a:gd name="connsiteY3" fmla="*/ 4603 h 10000"/>
                  <a:gd name="connsiteX4" fmla="*/ 7849 w 10000"/>
                  <a:gd name="connsiteY4" fmla="*/ 4096 h 10000"/>
                  <a:gd name="connsiteX5" fmla="*/ 9127 w 10000"/>
                  <a:gd name="connsiteY5" fmla="*/ 5810 h 10000"/>
                  <a:gd name="connsiteX6" fmla="*/ 9606 w 10000"/>
                  <a:gd name="connsiteY6" fmla="*/ 5969 h 10000"/>
                  <a:gd name="connsiteX7" fmla="*/ 9851 w 10000"/>
                  <a:gd name="connsiteY7" fmla="*/ 5842 h 10000"/>
                  <a:gd name="connsiteX8" fmla="*/ 9931 w 10000"/>
                  <a:gd name="connsiteY8" fmla="*/ 5365 h 10000"/>
                  <a:gd name="connsiteX9" fmla="*/ 8049 w 10000"/>
                  <a:gd name="connsiteY9" fmla="*/ 2730 h 10000"/>
                  <a:gd name="connsiteX10" fmla="*/ 7808 w 10000"/>
                  <a:gd name="connsiteY10" fmla="*/ 2572 h 10000"/>
                  <a:gd name="connsiteX11" fmla="*/ 7528 w 10000"/>
                  <a:gd name="connsiteY11" fmla="*/ 2477 h 10000"/>
                  <a:gd name="connsiteX12" fmla="*/ 7167 w 10000"/>
                  <a:gd name="connsiteY12" fmla="*/ 2477 h 10000"/>
                  <a:gd name="connsiteX13" fmla="*/ 8086 w 10000"/>
                  <a:gd name="connsiteY13" fmla="*/ 1302 h 10000"/>
                  <a:gd name="connsiteX14" fmla="*/ 6568 w 10000"/>
                  <a:gd name="connsiteY14" fmla="*/ 0 h 10000"/>
                  <a:gd name="connsiteX15" fmla="*/ 5083 w 10000"/>
                  <a:gd name="connsiteY15" fmla="*/ 1302 h 10000"/>
                  <a:gd name="connsiteX16" fmla="*/ 6005 w 10000"/>
                  <a:gd name="connsiteY16" fmla="*/ 2477 h 10000"/>
                  <a:gd name="connsiteX17" fmla="*/ 5647 w 10000"/>
                  <a:gd name="connsiteY17" fmla="*/ 2477 h 10000"/>
                  <a:gd name="connsiteX18" fmla="*/ 5320 w 10000"/>
                  <a:gd name="connsiteY18" fmla="*/ 2603 h 10000"/>
                  <a:gd name="connsiteX19" fmla="*/ 5166 w 10000"/>
                  <a:gd name="connsiteY19" fmla="*/ 2730 h 10000"/>
                  <a:gd name="connsiteX20" fmla="*/ 3242 w 10000"/>
                  <a:gd name="connsiteY20" fmla="*/ 5365 h 10000"/>
                  <a:gd name="connsiteX21" fmla="*/ 3162 w 10000"/>
                  <a:gd name="connsiteY21" fmla="*/ 5682 h 10000"/>
                  <a:gd name="connsiteX22" fmla="*/ 3081 w 10000"/>
                  <a:gd name="connsiteY22" fmla="*/ 5714 h 10000"/>
                  <a:gd name="connsiteX23" fmla="*/ 2522 w 10000"/>
                  <a:gd name="connsiteY23" fmla="*/ 6159 h 10000"/>
                  <a:gd name="connsiteX24" fmla="*/ 1759 w 10000"/>
                  <a:gd name="connsiteY24" fmla="*/ 5365 h 10000"/>
                  <a:gd name="connsiteX25" fmla="*/ 1759 w 10000"/>
                  <a:gd name="connsiteY25" fmla="*/ 5334 h 10000"/>
                  <a:gd name="connsiteX26" fmla="*/ 1562 w 10000"/>
                  <a:gd name="connsiteY26" fmla="*/ 5239 h 10000"/>
                  <a:gd name="connsiteX27" fmla="*/ 1360 w 10000"/>
                  <a:gd name="connsiteY27" fmla="*/ 5239 h 10000"/>
                  <a:gd name="connsiteX28" fmla="*/ 1923 w 10000"/>
                  <a:gd name="connsiteY28" fmla="*/ 4508 h 10000"/>
                  <a:gd name="connsiteX29" fmla="*/ 961 w 10000"/>
                  <a:gd name="connsiteY29" fmla="*/ 3683 h 10000"/>
                  <a:gd name="connsiteX30" fmla="*/ 0 w 10000"/>
                  <a:gd name="connsiteY30" fmla="*/ 4508 h 10000"/>
                  <a:gd name="connsiteX31" fmla="*/ 557 w 10000"/>
                  <a:gd name="connsiteY31" fmla="*/ 5239 h 10000"/>
                  <a:gd name="connsiteX0" fmla="*/ 7647 w 10000"/>
                  <a:gd name="connsiteY0" fmla="*/ 10000 h 10000"/>
                  <a:gd name="connsiteX1" fmla="*/ 7647 w 10000"/>
                  <a:gd name="connsiteY1" fmla="*/ 7493 h 10000"/>
                  <a:gd name="connsiteX2" fmla="*/ 9648 w 10000"/>
                  <a:gd name="connsiteY2" fmla="*/ 7493 h 10000"/>
                  <a:gd name="connsiteX3" fmla="*/ 7849 w 10000"/>
                  <a:gd name="connsiteY3" fmla="*/ 4603 h 10000"/>
                  <a:gd name="connsiteX4" fmla="*/ 7849 w 10000"/>
                  <a:gd name="connsiteY4" fmla="*/ 4096 h 10000"/>
                  <a:gd name="connsiteX5" fmla="*/ 9127 w 10000"/>
                  <a:gd name="connsiteY5" fmla="*/ 5810 h 10000"/>
                  <a:gd name="connsiteX6" fmla="*/ 9606 w 10000"/>
                  <a:gd name="connsiteY6" fmla="*/ 5969 h 10000"/>
                  <a:gd name="connsiteX7" fmla="*/ 9851 w 10000"/>
                  <a:gd name="connsiteY7" fmla="*/ 5842 h 10000"/>
                  <a:gd name="connsiteX8" fmla="*/ 9931 w 10000"/>
                  <a:gd name="connsiteY8" fmla="*/ 5365 h 10000"/>
                  <a:gd name="connsiteX9" fmla="*/ 8049 w 10000"/>
                  <a:gd name="connsiteY9" fmla="*/ 2730 h 10000"/>
                  <a:gd name="connsiteX10" fmla="*/ 7808 w 10000"/>
                  <a:gd name="connsiteY10" fmla="*/ 2572 h 10000"/>
                  <a:gd name="connsiteX11" fmla="*/ 7528 w 10000"/>
                  <a:gd name="connsiteY11" fmla="*/ 2477 h 10000"/>
                  <a:gd name="connsiteX12" fmla="*/ 7167 w 10000"/>
                  <a:gd name="connsiteY12" fmla="*/ 2477 h 10000"/>
                  <a:gd name="connsiteX13" fmla="*/ 8086 w 10000"/>
                  <a:gd name="connsiteY13" fmla="*/ 1302 h 10000"/>
                  <a:gd name="connsiteX14" fmla="*/ 6568 w 10000"/>
                  <a:gd name="connsiteY14" fmla="*/ 0 h 10000"/>
                  <a:gd name="connsiteX15" fmla="*/ 5083 w 10000"/>
                  <a:gd name="connsiteY15" fmla="*/ 1302 h 10000"/>
                  <a:gd name="connsiteX16" fmla="*/ 6005 w 10000"/>
                  <a:gd name="connsiteY16" fmla="*/ 2477 h 10000"/>
                  <a:gd name="connsiteX17" fmla="*/ 5647 w 10000"/>
                  <a:gd name="connsiteY17" fmla="*/ 2477 h 10000"/>
                  <a:gd name="connsiteX18" fmla="*/ 5320 w 10000"/>
                  <a:gd name="connsiteY18" fmla="*/ 2603 h 10000"/>
                  <a:gd name="connsiteX19" fmla="*/ 5166 w 10000"/>
                  <a:gd name="connsiteY19" fmla="*/ 2730 h 10000"/>
                  <a:gd name="connsiteX20" fmla="*/ 3242 w 10000"/>
                  <a:gd name="connsiteY20" fmla="*/ 5365 h 10000"/>
                  <a:gd name="connsiteX21" fmla="*/ 3162 w 10000"/>
                  <a:gd name="connsiteY21" fmla="*/ 5682 h 10000"/>
                  <a:gd name="connsiteX22" fmla="*/ 3081 w 10000"/>
                  <a:gd name="connsiteY22" fmla="*/ 5714 h 10000"/>
                  <a:gd name="connsiteX23" fmla="*/ 2522 w 10000"/>
                  <a:gd name="connsiteY23" fmla="*/ 6159 h 10000"/>
                  <a:gd name="connsiteX24" fmla="*/ 1759 w 10000"/>
                  <a:gd name="connsiteY24" fmla="*/ 5365 h 10000"/>
                  <a:gd name="connsiteX25" fmla="*/ 1759 w 10000"/>
                  <a:gd name="connsiteY25" fmla="*/ 5334 h 10000"/>
                  <a:gd name="connsiteX26" fmla="*/ 1562 w 10000"/>
                  <a:gd name="connsiteY26" fmla="*/ 5239 h 10000"/>
                  <a:gd name="connsiteX27" fmla="*/ 1360 w 10000"/>
                  <a:gd name="connsiteY27" fmla="*/ 5239 h 10000"/>
                  <a:gd name="connsiteX28" fmla="*/ 1923 w 10000"/>
                  <a:gd name="connsiteY28" fmla="*/ 4508 h 10000"/>
                  <a:gd name="connsiteX29" fmla="*/ 961 w 10000"/>
                  <a:gd name="connsiteY29" fmla="*/ 3683 h 10000"/>
                  <a:gd name="connsiteX30" fmla="*/ 0 w 10000"/>
                  <a:gd name="connsiteY30" fmla="*/ 4508 h 10000"/>
                  <a:gd name="connsiteX0" fmla="*/ 6686 w 9039"/>
                  <a:gd name="connsiteY0" fmla="*/ 10000 h 10000"/>
                  <a:gd name="connsiteX1" fmla="*/ 6686 w 9039"/>
                  <a:gd name="connsiteY1" fmla="*/ 7493 h 10000"/>
                  <a:gd name="connsiteX2" fmla="*/ 8687 w 9039"/>
                  <a:gd name="connsiteY2" fmla="*/ 7493 h 10000"/>
                  <a:gd name="connsiteX3" fmla="*/ 6888 w 9039"/>
                  <a:gd name="connsiteY3" fmla="*/ 4603 h 10000"/>
                  <a:gd name="connsiteX4" fmla="*/ 6888 w 9039"/>
                  <a:gd name="connsiteY4" fmla="*/ 4096 h 10000"/>
                  <a:gd name="connsiteX5" fmla="*/ 8166 w 9039"/>
                  <a:gd name="connsiteY5" fmla="*/ 5810 h 10000"/>
                  <a:gd name="connsiteX6" fmla="*/ 8645 w 9039"/>
                  <a:gd name="connsiteY6" fmla="*/ 5969 h 10000"/>
                  <a:gd name="connsiteX7" fmla="*/ 8890 w 9039"/>
                  <a:gd name="connsiteY7" fmla="*/ 5842 h 10000"/>
                  <a:gd name="connsiteX8" fmla="*/ 8970 w 9039"/>
                  <a:gd name="connsiteY8" fmla="*/ 5365 h 10000"/>
                  <a:gd name="connsiteX9" fmla="*/ 7088 w 9039"/>
                  <a:gd name="connsiteY9" fmla="*/ 2730 h 10000"/>
                  <a:gd name="connsiteX10" fmla="*/ 6847 w 9039"/>
                  <a:gd name="connsiteY10" fmla="*/ 2572 h 10000"/>
                  <a:gd name="connsiteX11" fmla="*/ 6567 w 9039"/>
                  <a:gd name="connsiteY11" fmla="*/ 2477 h 10000"/>
                  <a:gd name="connsiteX12" fmla="*/ 6206 w 9039"/>
                  <a:gd name="connsiteY12" fmla="*/ 2477 h 10000"/>
                  <a:gd name="connsiteX13" fmla="*/ 7125 w 9039"/>
                  <a:gd name="connsiteY13" fmla="*/ 1302 h 10000"/>
                  <a:gd name="connsiteX14" fmla="*/ 5607 w 9039"/>
                  <a:gd name="connsiteY14" fmla="*/ 0 h 10000"/>
                  <a:gd name="connsiteX15" fmla="*/ 4122 w 9039"/>
                  <a:gd name="connsiteY15" fmla="*/ 1302 h 10000"/>
                  <a:gd name="connsiteX16" fmla="*/ 5044 w 9039"/>
                  <a:gd name="connsiteY16" fmla="*/ 2477 h 10000"/>
                  <a:gd name="connsiteX17" fmla="*/ 4686 w 9039"/>
                  <a:gd name="connsiteY17" fmla="*/ 2477 h 10000"/>
                  <a:gd name="connsiteX18" fmla="*/ 4359 w 9039"/>
                  <a:gd name="connsiteY18" fmla="*/ 2603 h 10000"/>
                  <a:gd name="connsiteX19" fmla="*/ 4205 w 9039"/>
                  <a:gd name="connsiteY19" fmla="*/ 2730 h 10000"/>
                  <a:gd name="connsiteX20" fmla="*/ 2281 w 9039"/>
                  <a:gd name="connsiteY20" fmla="*/ 5365 h 10000"/>
                  <a:gd name="connsiteX21" fmla="*/ 2201 w 9039"/>
                  <a:gd name="connsiteY21" fmla="*/ 5682 h 10000"/>
                  <a:gd name="connsiteX22" fmla="*/ 2120 w 9039"/>
                  <a:gd name="connsiteY22" fmla="*/ 5714 h 10000"/>
                  <a:gd name="connsiteX23" fmla="*/ 1561 w 9039"/>
                  <a:gd name="connsiteY23" fmla="*/ 6159 h 10000"/>
                  <a:gd name="connsiteX24" fmla="*/ 798 w 9039"/>
                  <a:gd name="connsiteY24" fmla="*/ 5365 h 10000"/>
                  <a:gd name="connsiteX25" fmla="*/ 798 w 9039"/>
                  <a:gd name="connsiteY25" fmla="*/ 5334 h 10000"/>
                  <a:gd name="connsiteX26" fmla="*/ 601 w 9039"/>
                  <a:gd name="connsiteY26" fmla="*/ 5239 h 10000"/>
                  <a:gd name="connsiteX27" fmla="*/ 399 w 9039"/>
                  <a:gd name="connsiteY27" fmla="*/ 5239 h 10000"/>
                  <a:gd name="connsiteX28" fmla="*/ 962 w 9039"/>
                  <a:gd name="connsiteY28" fmla="*/ 4508 h 10000"/>
                  <a:gd name="connsiteX29" fmla="*/ 0 w 9039"/>
                  <a:gd name="connsiteY29" fmla="*/ 3683 h 10000"/>
                  <a:gd name="connsiteX0" fmla="*/ 6956 w 9559"/>
                  <a:gd name="connsiteY0" fmla="*/ 10000 h 10000"/>
                  <a:gd name="connsiteX1" fmla="*/ 6956 w 9559"/>
                  <a:gd name="connsiteY1" fmla="*/ 7493 h 10000"/>
                  <a:gd name="connsiteX2" fmla="*/ 9170 w 9559"/>
                  <a:gd name="connsiteY2" fmla="*/ 7493 h 10000"/>
                  <a:gd name="connsiteX3" fmla="*/ 7179 w 9559"/>
                  <a:gd name="connsiteY3" fmla="*/ 4603 h 10000"/>
                  <a:gd name="connsiteX4" fmla="*/ 7179 w 9559"/>
                  <a:gd name="connsiteY4" fmla="*/ 4096 h 10000"/>
                  <a:gd name="connsiteX5" fmla="*/ 8593 w 9559"/>
                  <a:gd name="connsiteY5" fmla="*/ 5810 h 10000"/>
                  <a:gd name="connsiteX6" fmla="*/ 9123 w 9559"/>
                  <a:gd name="connsiteY6" fmla="*/ 5969 h 10000"/>
                  <a:gd name="connsiteX7" fmla="*/ 9394 w 9559"/>
                  <a:gd name="connsiteY7" fmla="*/ 5842 h 10000"/>
                  <a:gd name="connsiteX8" fmla="*/ 9483 w 9559"/>
                  <a:gd name="connsiteY8" fmla="*/ 5365 h 10000"/>
                  <a:gd name="connsiteX9" fmla="*/ 7401 w 9559"/>
                  <a:gd name="connsiteY9" fmla="*/ 2730 h 10000"/>
                  <a:gd name="connsiteX10" fmla="*/ 7134 w 9559"/>
                  <a:gd name="connsiteY10" fmla="*/ 2572 h 10000"/>
                  <a:gd name="connsiteX11" fmla="*/ 6824 w 9559"/>
                  <a:gd name="connsiteY11" fmla="*/ 2477 h 10000"/>
                  <a:gd name="connsiteX12" fmla="*/ 6425 w 9559"/>
                  <a:gd name="connsiteY12" fmla="*/ 2477 h 10000"/>
                  <a:gd name="connsiteX13" fmla="*/ 7442 w 9559"/>
                  <a:gd name="connsiteY13" fmla="*/ 1302 h 10000"/>
                  <a:gd name="connsiteX14" fmla="*/ 5762 w 9559"/>
                  <a:gd name="connsiteY14" fmla="*/ 0 h 10000"/>
                  <a:gd name="connsiteX15" fmla="*/ 4119 w 9559"/>
                  <a:gd name="connsiteY15" fmla="*/ 1302 h 10000"/>
                  <a:gd name="connsiteX16" fmla="*/ 5139 w 9559"/>
                  <a:gd name="connsiteY16" fmla="*/ 2477 h 10000"/>
                  <a:gd name="connsiteX17" fmla="*/ 4743 w 9559"/>
                  <a:gd name="connsiteY17" fmla="*/ 2477 h 10000"/>
                  <a:gd name="connsiteX18" fmla="*/ 4381 w 9559"/>
                  <a:gd name="connsiteY18" fmla="*/ 2603 h 10000"/>
                  <a:gd name="connsiteX19" fmla="*/ 4211 w 9559"/>
                  <a:gd name="connsiteY19" fmla="*/ 2730 h 10000"/>
                  <a:gd name="connsiteX20" fmla="*/ 2083 w 9559"/>
                  <a:gd name="connsiteY20" fmla="*/ 5365 h 10000"/>
                  <a:gd name="connsiteX21" fmla="*/ 1994 w 9559"/>
                  <a:gd name="connsiteY21" fmla="*/ 5682 h 10000"/>
                  <a:gd name="connsiteX22" fmla="*/ 1904 w 9559"/>
                  <a:gd name="connsiteY22" fmla="*/ 5714 h 10000"/>
                  <a:gd name="connsiteX23" fmla="*/ 1286 w 9559"/>
                  <a:gd name="connsiteY23" fmla="*/ 6159 h 10000"/>
                  <a:gd name="connsiteX24" fmla="*/ 442 w 9559"/>
                  <a:gd name="connsiteY24" fmla="*/ 5365 h 10000"/>
                  <a:gd name="connsiteX25" fmla="*/ 442 w 9559"/>
                  <a:gd name="connsiteY25" fmla="*/ 5334 h 10000"/>
                  <a:gd name="connsiteX26" fmla="*/ 224 w 9559"/>
                  <a:gd name="connsiteY26" fmla="*/ 5239 h 10000"/>
                  <a:gd name="connsiteX27" fmla="*/ 0 w 9559"/>
                  <a:gd name="connsiteY27" fmla="*/ 5239 h 10000"/>
                  <a:gd name="connsiteX28" fmla="*/ 623 w 9559"/>
                  <a:gd name="connsiteY28" fmla="*/ 4508 h 10000"/>
                  <a:gd name="connsiteX0" fmla="*/ 7277 w 10000"/>
                  <a:gd name="connsiteY0" fmla="*/ 10000 h 10000"/>
                  <a:gd name="connsiteX1" fmla="*/ 7277 w 10000"/>
                  <a:gd name="connsiteY1" fmla="*/ 7493 h 10000"/>
                  <a:gd name="connsiteX2" fmla="*/ 9593 w 10000"/>
                  <a:gd name="connsiteY2" fmla="*/ 7493 h 10000"/>
                  <a:gd name="connsiteX3" fmla="*/ 7510 w 10000"/>
                  <a:gd name="connsiteY3" fmla="*/ 4603 h 10000"/>
                  <a:gd name="connsiteX4" fmla="*/ 7510 w 10000"/>
                  <a:gd name="connsiteY4" fmla="*/ 4096 h 10000"/>
                  <a:gd name="connsiteX5" fmla="*/ 8989 w 10000"/>
                  <a:gd name="connsiteY5" fmla="*/ 5810 h 10000"/>
                  <a:gd name="connsiteX6" fmla="*/ 9544 w 10000"/>
                  <a:gd name="connsiteY6" fmla="*/ 5969 h 10000"/>
                  <a:gd name="connsiteX7" fmla="*/ 9827 w 10000"/>
                  <a:gd name="connsiteY7" fmla="*/ 5842 h 10000"/>
                  <a:gd name="connsiteX8" fmla="*/ 9920 w 10000"/>
                  <a:gd name="connsiteY8" fmla="*/ 5365 h 10000"/>
                  <a:gd name="connsiteX9" fmla="*/ 7742 w 10000"/>
                  <a:gd name="connsiteY9" fmla="*/ 2730 h 10000"/>
                  <a:gd name="connsiteX10" fmla="*/ 7463 w 10000"/>
                  <a:gd name="connsiteY10" fmla="*/ 2572 h 10000"/>
                  <a:gd name="connsiteX11" fmla="*/ 7139 w 10000"/>
                  <a:gd name="connsiteY11" fmla="*/ 2477 h 10000"/>
                  <a:gd name="connsiteX12" fmla="*/ 6721 w 10000"/>
                  <a:gd name="connsiteY12" fmla="*/ 2477 h 10000"/>
                  <a:gd name="connsiteX13" fmla="*/ 7785 w 10000"/>
                  <a:gd name="connsiteY13" fmla="*/ 1302 h 10000"/>
                  <a:gd name="connsiteX14" fmla="*/ 6028 w 10000"/>
                  <a:gd name="connsiteY14" fmla="*/ 0 h 10000"/>
                  <a:gd name="connsiteX15" fmla="*/ 4309 w 10000"/>
                  <a:gd name="connsiteY15" fmla="*/ 1302 h 10000"/>
                  <a:gd name="connsiteX16" fmla="*/ 5376 w 10000"/>
                  <a:gd name="connsiteY16" fmla="*/ 2477 h 10000"/>
                  <a:gd name="connsiteX17" fmla="*/ 4962 w 10000"/>
                  <a:gd name="connsiteY17" fmla="*/ 2477 h 10000"/>
                  <a:gd name="connsiteX18" fmla="*/ 4583 w 10000"/>
                  <a:gd name="connsiteY18" fmla="*/ 2603 h 10000"/>
                  <a:gd name="connsiteX19" fmla="*/ 4405 w 10000"/>
                  <a:gd name="connsiteY19" fmla="*/ 2730 h 10000"/>
                  <a:gd name="connsiteX20" fmla="*/ 2179 w 10000"/>
                  <a:gd name="connsiteY20" fmla="*/ 5365 h 10000"/>
                  <a:gd name="connsiteX21" fmla="*/ 2086 w 10000"/>
                  <a:gd name="connsiteY21" fmla="*/ 5682 h 10000"/>
                  <a:gd name="connsiteX22" fmla="*/ 1992 w 10000"/>
                  <a:gd name="connsiteY22" fmla="*/ 5714 h 10000"/>
                  <a:gd name="connsiteX23" fmla="*/ 1345 w 10000"/>
                  <a:gd name="connsiteY23" fmla="*/ 6159 h 10000"/>
                  <a:gd name="connsiteX24" fmla="*/ 462 w 10000"/>
                  <a:gd name="connsiteY24" fmla="*/ 5365 h 10000"/>
                  <a:gd name="connsiteX25" fmla="*/ 462 w 10000"/>
                  <a:gd name="connsiteY25" fmla="*/ 5334 h 10000"/>
                  <a:gd name="connsiteX26" fmla="*/ 234 w 10000"/>
                  <a:gd name="connsiteY26" fmla="*/ 5239 h 10000"/>
                  <a:gd name="connsiteX27" fmla="*/ 0 w 10000"/>
                  <a:gd name="connsiteY27" fmla="*/ 5239 h 10000"/>
                  <a:gd name="connsiteX0" fmla="*/ 7043 w 9766"/>
                  <a:gd name="connsiteY0" fmla="*/ 10000 h 10000"/>
                  <a:gd name="connsiteX1" fmla="*/ 7043 w 9766"/>
                  <a:gd name="connsiteY1" fmla="*/ 7493 h 10000"/>
                  <a:gd name="connsiteX2" fmla="*/ 9359 w 9766"/>
                  <a:gd name="connsiteY2" fmla="*/ 7493 h 10000"/>
                  <a:gd name="connsiteX3" fmla="*/ 7276 w 9766"/>
                  <a:gd name="connsiteY3" fmla="*/ 4603 h 10000"/>
                  <a:gd name="connsiteX4" fmla="*/ 7276 w 9766"/>
                  <a:gd name="connsiteY4" fmla="*/ 4096 h 10000"/>
                  <a:gd name="connsiteX5" fmla="*/ 8755 w 9766"/>
                  <a:gd name="connsiteY5" fmla="*/ 5810 h 10000"/>
                  <a:gd name="connsiteX6" fmla="*/ 9310 w 9766"/>
                  <a:gd name="connsiteY6" fmla="*/ 5969 h 10000"/>
                  <a:gd name="connsiteX7" fmla="*/ 9593 w 9766"/>
                  <a:gd name="connsiteY7" fmla="*/ 5842 h 10000"/>
                  <a:gd name="connsiteX8" fmla="*/ 9686 w 9766"/>
                  <a:gd name="connsiteY8" fmla="*/ 5365 h 10000"/>
                  <a:gd name="connsiteX9" fmla="*/ 7508 w 9766"/>
                  <a:gd name="connsiteY9" fmla="*/ 2730 h 10000"/>
                  <a:gd name="connsiteX10" fmla="*/ 7229 w 9766"/>
                  <a:gd name="connsiteY10" fmla="*/ 2572 h 10000"/>
                  <a:gd name="connsiteX11" fmla="*/ 6905 w 9766"/>
                  <a:gd name="connsiteY11" fmla="*/ 2477 h 10000"/>
                  <a:gd name="connsiteX12" fmla="*/ 6487 w 9766"/>
                  <a:gd name="connsiteY12" fmla="*/ 2477 h 10000"/>
                  <a:gd name="connsiteX13" fmla="*/ 7551 w 9766"/>
                  <a:gd name="connsiteY13" fmla="*/ 1302 h 10000"/>
                  <a:gd name="connsiteX14" fmla="*/ 5794 w 9766"/>
                  <a:gd name="connsiteY14" fmla="*/ 0 h 10000"/>
                  <a:gd name="connsiteX15" fmla="*/ 4075 w 9766"/>
                  <a:gd name="connsiteY15" fmla="*/ 1302 h 10000"/>
                  <a:gd name="connsiteX16" fmla="*/ 5142 w 9766"/>
                  <a:gd name="connsiteY16" fmla="*/ 2477 h 10000"/>
                  <a:gd name="connsiteX17" fmla="*/ 4728 w 9766"/>
                  <a:gd name="connsiteY17" fmla="*/ 2477 h 10000"/>
                  <a:gd name="connsiteX18" fmla="*/ 4349 w 9766"/>
                  <a:gd name="connsiteY18" fmla="*/ 2603 h 10000"/>
                  <a:gd name="connsiteX19" fmla="*/ 4171 w 9766"/>
                  <a:gd name="connsiteY19" fmla="*/ 2730 h 10000"/>
                  <a:gd name="connsiteX20" fmla="*/ 1945 w 9766"/>
                  <a:gd name="connsiteY20" fmla="*/ 5365 h 10000"/>
                  <a:gd name="connsiteX21" fmla="*/ 1852 w 9766"/>
                  <a:gd name="connsiteY21" fmla="*/ 5682 h 10000"/>
                  <a:gd name="connsiteX22" fmla="*/ 1758 w 9766"/>
                  <a:gd name="connsiteY22" fmla="*/ 5714 h 10000"/>
                  <a:gd name="connsiteX23" fmla="*/ 1111 w 9766"/>
                  <a:gd name="connsiteY23" fmla="*/ 6159 h 10000"/>
                  <a:gd name="connsiteX24" fmla="*/ 228 w 9766"/>
                  <a:gd name="connsiteY24" fmla="*/ 5365 h 10000"/>
                  <a:gd name="connsiteX25" fmla="*/ 228 w 9766"/>
                  <a:gd name="connsiteY25" fmla="*/ 5334 h 10000"/>
                  <a:gd name="connsiteX26" fmla="*/ 0 w 9766"/>
                  <a:gd name="connsiteY26" fmla="*/ 5239 h 10000"/>
                  <a:gd name="connsiteX0" fmla="*/ 6979 w 9767"/>
                  <a:gd name="connsiteY0" fmla="*/ 10000 h 10000"/>
                  <a:gd name="connsiteX1" fmla="*/ 6979 w 9767"/>
                  <a:gd name="connsiteY1" fmla="*/ 7493 h 10000"/>
                  <a:gd name="connsiteX2" fmla="*/ 9350 w 9767"/>
                  <a:gd name="connsiteY2" fmla="*/ 7493 h 10000"/>
                  <a:gd name="connsiteX3" fmla="*/ 7217 w 9767"/>
                  <a:gd name="connsiteY3" fmla="*/ 4603 h 10000"/>
                  <a:gd name="connsiteX4" fmla="*/ 7217 w 9767"/>
                  <a:gd name="connsiteY4" fmla="*/ 4096 h 10000"/>
                  <a:gd name="connsiteX5" fmla="*/ 8732 w 9767"/>
                  <a:gd name="connsiteY5" fmla="*/ 5810 h 10000"/>
                  <a:gd name="connsiteX6" fmla="*/ 9300 w 9767"/>
                  <a:gd name="connsiteY6" fmla="*/ 5969 h 10000"/>
                  <a:gd name="connsiteX7" fmla="*/ 9590 w 9767"/>
                  <a:gd name="connsiteY7" fmla="*/ 5842 h 10000"/>
                  <a:gd name="connsiteX8" fmla="*/ 9685 w 9767"/>
                  <a:gd name="connsiteY8" fmla="*/ 5365 h 10000"/>
                  <a:gd name="connsiteX9" fmla="*/ 7455 w 9767"/>
                  <a:gd name="connsiteY9" fmla="*/ 2730 h 10000"/>
                  <a:gd name="connsiteX10" fmla="*/ 7169 w 9767"/>
                  <a:gd name="connsiteY10" fmla="*/ 2572 h 10000"/>
                  <a:gd name="connsiteX11" fmla="*/ 6837 w 9767"/>
                  <a:gd name="connsiteY11" fmla="*/ 2477 h 10000"/>
                  <a:gd name="connsiteX12" fmla="*/ 6409 w 9767"/>
                  <a:gd name="connsiteY12" fmla="*/ 2477 h 10000"/>
                  <a:gd name="connsiteX13" fmla="*/ 7499 w 9767"/>
                  <a:gd name="connsiteY13" fmla="*/ 1302 h 10000"/>
                  <a:gd name="connsiteX14" fmla="*/ 5700 w 9767"/>
                  <a:gd name="connsiteY14" fmla="*/ 0 h 10000"/>
                  <a:gd name="connsiteX15" fmla="*/ 3940 w 9767"/>
                  <a:gd name="connsiteY15" fmla="*/ 1302 h 10000"/>
                  <a:gd name="connsiteX16" fmla="*/ 5032 w 9767"/>
                  <a:gd name="connsiteY16" fmla="*/ 2477 h 10000"/>
                  <a:gd name="connsiteX17" fmla="*/ 4608 w 9767"/>
                  <a:gd name="connsiteY17" fmla="*/ 2477 h 10000"/>
                  <a:gd name="connsiteX18" fmla="*/ 4220 w 9767"/>
                  <a:gd name="connsiteY18" fmla="*/ 2603 h 10000"/>
                  <a:gd name="connsiteX19" fmla="*/ 4038 w 9767"/>
                  <a:gd name="connsiteY19" fmla="*/ 2730 h 10000"/>
                  <a:gd name="connsiteX20" fmla="*/ 1759 w 9767"/>
                  <a:gd name="connsiteY20" fmla="*/ 5365 h 10000"/>
                  <a:gd name="connsiteX21" fmla="*/ 1663 w 9767"/>
                  <a:gd name="connsiteY21" fmla="*/ 5682 h 10000"/>
                  <a:gd name="connsiteX22" fmla="*/ 1567 w 9767"/>
                  <a:gd name="connsiteY22" fmla="*/ 5714 h 10000"/>
                  <a:gd name="connsiteX23" fmla="*/ 905 w 9767"/>
                  <a:gd name="connsiteY23" fmla="*/ 6159 h 10000"/>
                  <a:gd name="connsiteX24" fmla="*/ 0 w 9767"/>
                  <a:gd name="connsiteY24" fmla="*/ 5365 h 10000"/>
                  <a:gd name="connsiteX25" fmla="*/ 0 w 9767"/>
                  <a:gd name="connsiteY25" fmla="*/ 5334 h 10000"/>
                  <a:gd name="connsiteX0" fmla="*/ 7145 w 10000"/>
                  <a:gd name="connsiteY0" fmla="*/ 10000 h 10000"/>
                  <a:gd name="connsiteX1" fmla="*/ 7145 w 10000"/>
                  <a:gd name="connsiteY1" fmla="*/ 7493 h 10000"/>
                  <a:gd name="connsiteX2" fmla="*/ 9573 w 10000"/>
                  <a:gd name="connsiteY2" fmla="*/ 7493 h 10000"/>
                  <a:gd name="connsiteX3" fmla="*/ 7389 w 10000"/>
                  <a:gd name="connsiteY3" fmla="*/ 4603 h 10000"/>
                  <a:gd name="connsiteX4" fmla="*/ 7389 w 10000"/>
                  <a:gd name="connsiteY4" fmla="*/ 4096 h 10000"/>
                  <a:gd name="connsiteX5" fmla="*/ 8940 w 10000"/>
                  <a:gd name="connsiteY5" fmla="*/ 5810 h 10000"/>
                  <a:gd name="connsiteX6" fmla="*/ 9522 w 10000"/>
                  <a:gd name="connsiteY6" fmla="*/ 5969 h 10000"/>
                  <a:gd name="connsiteX7" fmla="*/ 9819 w 10000"/>
                  <a:gd name="connsiteY7" fmla="*/ 5842 h 10000"/>
                  <a:gd name="connsiteX8" fmla="*/ 9916 w 10000"/>
                  <a:gd name="connsiteY8" fmla="*/ 5365 h 10000"/>
                  <a:gd name="connsiteX9" fmla="*/ 7633 w 10000"/>
                  <a:gd name="connsiteY9" fmla="*/ 2730 h 10000"/>
                  <a:gd name="connsiteX10" fmla="*/ 7340 w 10000"/>
                  <a:gd name="connsiteY10" fmla="*/ 2572 h 10000"/>
                  <a:gd name="connsiteX11" fmla="*/ 7000 w 10000"/>
                  <a:gd name="connsiteY11" fmla="*/ 2477 h 10000"/>
                  <a:gd name="connsiteX12" fmla="*/ 6562 w 10000"/>
                  <a:gd name="connsiteY12" fmla="*/ 2477 h 10000"/>
                  <a:gd name="connsiteX13" fmla="*/ 7678 w 10000"/>
                  <a:gd name="connsiteY13" fmla="*/ 1302 h 10000"/>
                  <a:gd name="connsiteX14" fmla="*/ 5836 w 10000"/>
                  <a:gd name="connsiteY14" fmla="*/ 0 h 10000"/>
                  <a:gd name="connsiteX15" fmla="*/ 4034 w 10000"/>
                  <a:gd name="connsiteY15" fmla="*/ 1302 h 10000"/>
                  <a:gd name="connsiteX16" fmla="*/ 5152 w 10000"/>
                  <a:gd name="connsiteY16" fmla="*/ 2477 h 10000"/>
                  <a:gd name="connsiteX17" fmla="*/ 4718 w 10000"/>
                  <a:gd name="connsiteY17" fmla="*/ 2477 h 10000"/>
                  <a:gd name="connsiteX18" fmla="*/ 4321 w 10000"/>
                  <a:gd name="connsiteY18" fmla="*/ 2603 h 10000"/>
                  <a:gd name="connsiteX19" fmla="*/ 4134 w 10000"/>
                  <a:gd name="connsiteY19" fmla="*/ 2730 h 10000"/>
                  <a:gd name="connsiteX20" fmla="*/ 1801 w 10000"/>
                  <a:gd name="connsiteY20" fmla="*/ 5365 h 10000"/>
                  <a:gd name="connsiteX21" fmla="*/ 1703 w 10000"/>
                  <a:gd name="connsiteY21" fmla="*/ 5682 h 10000"/>
                  <a:gd name="connsiteX22" fmla="*/ 1604 w 10000"/>
                  <a:gd name="connsiteY22" fmla="*/ 5714 h 10000"/>
                  <a:gd name="connsiteX23" fmla="*/ 927 w 10000"/>
                  <a:gd name="connsiteY23" fmla="*/ 6159 h 10000"/>
                  <a:gd name="connsiteX24" fmla="*/ 0 w 10000"/>
                  <a:gd name="connsiteY24" fmla="*/ 5334 h 10000"/>
                  <a:gd name="connsiteX0" fmla="*/ 6218 w 9073"/>
                  <a:gd name="connsiteY0" fmla="*/ 10000 h 10000"/>
                  <a:gd name="connsiteX1" fmla="*/ 6218 w 9073"/>
                  <a:gd name="connsiteY1" fmla="*/ 7493 h 10000"/>
                  <a:gd name="connsiteX2" fmla="*/ 8646 w 9073"/>
                  <a:gd name="connsiteY2" fmla="*/ 7493 h 10000"/>
                  <a:gd name="connsiteX3" fmla="*/ 6462 w 9073"/>
                  <a:gd name="connsiteY3" fmla="*/ 4603 h 10000"/>
                  <a:gd name="connsiteX4" fmla="*/ 6462 w 9073"/>
                  <a:gd name="connsiteY4" fmla="*/ 4096 h 10000"/>
                  <a:gd name="connsiteX5" fmla="*/ 8013 w 9073"/>
                  <a:gd name="connsiteY5" fmla="*/ 5810 h 10000"/>
                  <a:gd name="connsiteX6" fmla="*/ 8595 w 9073"/>
                  <a:gd name="connsiteY6" fmla="*/ 5969 h 10000"/>
                  <a:gd name="connsiteX7" fmla="*/ 8892 w 9073"/>
                  <a:gd name="connsiteY7" fmla="*/ 5842 h 10000"/>
                  <a:gd name="connsiteX8" fmla="*/ 8989 w 9073"/>
                  <a:gd name="connsiteY8" fmla="*/ 5365 h 10000"/>
                  <a:gd name="connsiteX9" fmla="*/ 6706 w 9073"/>
                  <a:gd name="connsiteY9" fmla="*/ 2730 h 10000"/>
                  <a:gd name="connsiteX10" fmla="*/ 6413 w 9073"/>
                  <a:gd name="connsiteY10" fmla="*/ 2572 h 10000"/>
                  <a:gd name="connsiteX11" fmla="*/ 6073 w 9073"/>
                  <a:gd name="connsiteY11" fmla="*/ 2477 h 10000"/>
                  <a:gd name="connsiteX12" fmla="*/ 5635 w 9073"/>
                  <a:gd name="connsiteY12" fmla="*/ 2477 h 10000"/>
                  <a:gd name="connsiteX13" fmla="*/ 6751 w 9073"/>
                  <a:gd name="connsiteY13" fmla="*/ 1302 h 10000"/>
                  <a:gd name="connsiteX14" fmla="*/ 4909 w 9073"/>
                  <a:gd name="connsiteY14" fmla="*/ 0 h 10000"/>
                  <a:gd name="connsiteX15" fmla="*/ 3107 w 9073"/>
                  <a:gd name="connsiteY15" fmla="*/ 1302 h 10000"/>
                  <a:gd name="connsiteX16" fmla="*/ 4225 w 9073"/>
                  <a:gd name="connsiteY16" fmla="*/ 2477 h 10000"/>
                  <a:gd name="connsiteX17" fmla="*/ 3791 w 9073"/>
                  <a:gd name="connsiteY17" fmla="*/ 2477 h 10000"/>
                  <a:gd name="connsiteX18" fmla="*/ 3394 w 9073"/>
                  <a:gd name="connsiteY18" fmla="*/ 2603 h 10000"/>
                  <a:gd name="connsiteX19" fmla="*/ 3207 w 9073"/>
                  <a:gd name="connsiteY19" fmla="*/ 2730 h 10000"/>
                  <a:gd name="connsiteX20" fmla="*/ 874 w 9073"/>
                  <a:gd name="connsiteY20" fmla="*/ 5365 h 10000"/>
                  <a:gd name="connsiteX21" fmla="*/ 776 w 9073"/>
                  <a:gd name="connsiteY21" fmla="*/ 5682 h 10000"/>
                  <a:gd name="connsiteX22" fmla="*/ 677 w 9073"/>
                  <a:gd name="connsiteY22" fmla="*/ 5714 h 10000"/>
                  <a:gd name="connsiteX23" fmla="*/ 0 w 9073"/>
                  <a:gd name="connsiteY23" fmla="*/ 6159 h 10000"/>
                  <a:gd name="connsiteX0" fmla="*/ 6107 w 9253"/>
                  <a:gd name="connsiteY0" fmla="*/ 10000 h 10000"/>
                  <a:gd name="connsiteX1" fmla="*/ 6107 w 9253"/>
                  <a:gd name="connsiteY1" fmla="*/ 7493 h 10000"/>
                  <a:gd name="connsiteX2" fmla="*/ 8783 w 9253"/>
                  <a:gd name="connsiteY2" fmla="*/ 7493 h 10000"/>
                  <a:gd name="connsiteX3" fmla="*/ 6376 w 9253"/>
                  <a:gd name="connsiteY3" fmla="*/ 4603 h 10000"/>
                  <a:gd name="connsiteX4" fmla="*/ 6376 w 9253"/>
                  <a:gd name="connsiteY4" fmla="*/ 4096 h 10000"/>
                  <a:gd name="connsiteX5" fmla="*/ 8086 w 9253"/>
                  <a:gd name="connsiteY5" fmla="*/ 5810 h 10000"/>
                  <a:gd name="connsiteX6" fmla="*/ 8727 w 9253"/>
                  <a:gd name="connsiteY6" fmla="*/ 5969 h 10000"/>
                  <a:gd name="connsiteX7" fmla="*/ 9055 w 9253"/>
                  <a:gd name="connsiteY7" fmla="*/ 5842 h 10000"/>
                  <a:gd name="connsiteX8" fmla="*/ 9161 w 9253"/>
                  <a:gd name="connsiteY8" fmla="*/ 5365 h 10000"/>
                  <a:gd name="connsiteX9" fmla="*/ 6645 w 9253"/>
                  <a:gd name="connsiteY9" fmla="*/ 2730 h 10000"/>
                  <a:gd name="connsiteX10" fmla="*/ 6322 w 9253"/>
                  <a:gd name="connsiteY10" fmla="*/ 2572 h 10000"/>
                  <a:gd name="connsiteX11" fmla="*/ 5947 w 9253"/>
                  <a:gd name="connsiteY11" fmla="*/ 2477 h 10000"/>
                  <a:gd name="connsiteX12" fmla="*/ 5465 w 9253"/>
                  <a:gd name="connsiteY12" fmla="*/ 2477 h 10000"/>
                  <a:gd name="connsiteX13" fmla="*/ 6695 w 9253"/>
                  <a:gd name="connsiteY13" fmla="*/ 1302 h 10000"/>
                  <a:gd name="connsiteX14" fmla="*/ 4665 w 9253"/>
                  <a:gd name="connsiteY14" fmla="*/ 0 h 10000"/>
                  <a:gd name="connsiteX15" fmla="*/ 2678 w 9253"/>
                  <a:gd name="connsiteY15" fmla="*/ 1302 h 10000"/>
                  <a:gd name="connsiteX16" fmla="*/ 3911 w 9253"/>
                  <a:gd name="connsiteY16" fmla="*/ 2477 h 10000"/>
                  <a:gd name="connsiteX17" fmla="*/ 3432 w 9253"/>
                  <a:gd name="connsiteY17" fmla="*/ 2477 h 10000"/>
                  <a:gd name="connsiteX18" fmla="*/ 2995 w 9253"/>
                  <a:gd name="connsiteY18" fmla="*/ 2603 h 10000"/>
                  <a:gd name="connsiteX19" fmla="*/ 2789 w 9253"/>
                  <a:gd name="connsiteY19" fmla="*/ 2730 h 10000"/>
                  <a:gd name="connsiteX20" fmla="*/ 217 w 9253"/>
                  <a:gd name="connsiteY20" fmla="*/ 5365 h 10000"/>
                  <a:gd name="connsiteX21" fmla="*/ 109 w 9253"/>
                  <a:gd name="connsiteY21" fmla="*/ 5682 h 10000"/>
                  <a:gd name="connsiteX22" fmla="*/ 0 w 9253"/>
                  <a:gd name="connsiteY22" fmla="*/ 5714 h 10000"/>
                  <a:gd name="connsiteX0" fmla="*/ 6506 w 9906"/>
                  <a:gd name="connsiteY0" fmla="*/ 10000 h 10000"/>
                  <a:gd name="connsiteX1" fmla="*/ 6506 w 9906"/>
                  <a:gd name="connsiteY1" fmla="*/ 7493 h 10000"/>
                  <a:gd name="connsiteX2" fmla="*/ 9398 w 9906"/>
                  <a:gd name="connsiteY2" fmla="*/ 7493 h 10000"/>
                  <a:gd name="connsiteX3" fmla="*/ 6797 w 9906"/>
                  <a:gd name="connsiteY3" fmla="*/ 4603 h 10000"/>
                  <a:gd name="connsiteX4" fmla="*/ 6797 w 9906"/>
                  <a:gd name="connsiteY4" fmla="*/ 4096 h 10000"/>
                  <a:gd name="connsiteX5" fmla="*/ 8645 w 9906"/>
                  <a:gd name="connsiteY5" fmla="*/ 5810 h 10000"/>
                  <a:gd name="connsiteX6" fmla="*/ 9338 w 9906"/>
                  <a:gd name="connsiteY6" fmla="*/ 5969 h 10000"/>
                  <a:gd name="connsiteX7" fmla="*/ 9692 w 9906"/>
                  <a:gd name="connsiteY7" fmla="*/ 5842 h 10000"/>
                  <a:gd name="connsiteX8" fmla="*/ 9807 w 9906"/>
                  <a:gd name="connsiteY8" fmla="*/ 5365 h 10000"/>
                  <a:gd name="connsiteX9" fmla="*/ 7087 w 9906"/>
                  <a:gd name="connsiteY9" fmla="*/ 2730 h 10000"/>
                  <a:gd name="connsiteX10" fmla="*/ 6738 w 9906"/>
                  <a:gd name="connsiteY10" fmla="*/ 2572 h 10000"/>
                  <a:gd name="connsiteX11" fmla="*/ 6333 w 9906"/>
                  <a:gd name="connsiteY11" fmla="*/ 2477 h 10000"/>
                  <a:gd name="connsiteX12" fmla="*/ 5812 w 9906"/>
                  <a:gd name="connsiteY12" fmla="*/ 2477 h 10000"/>
                  <a:gd name="connsiteX13" fmla="*/ 7141 w 9906"/>
                  <a:gd name="connsiteY13" fmla="*/ 1302 h 10000"/>
                  <a:gd name="connsiteX14" fmla="*/ 4948 w 9906"/>
                  <a:gd name="connsiteY14" fmla="*/ 0 h 10000"/>
                  <a:gd name="connsiteX15" fmla="*/ 2800 w 9906"/>
                  <a:gd name="connsiteY15" fmla="*/ 1302 h 10000"/>
                  <a:gd name="connsiteX16" fmla="*/ 4133 w 9906"/>
                  <a:gd name="connsiteY16" fmla="*/ 2477 h 10000"/>
                  <a:gd name="connsiteX17" fmla="*/ 3615 w 9906"/>
                  <a:gd name="connsiteY17" fmla="*/ 2477 h 10000"/>
                  <a:gd name="connsiteX18" fmla="*/ 3143 w 9906"/>
                  <a:gd name="connsiteY18" fmla="*/ 2603 h 10000"/>
                  <a:gd name="connsiteX19" fmla="*/ 2920 w 9906"/>
                  <a:gd name="connsiteY19" fmla="*/ 2730 h 10000"/>
                  <a:gd name="connsiteX20" fmla="*/ 141 w 9906"/>
                  <a:gd name="connsiteY20" fmla="*/ 5365 h 10000"/>
                  <a:gd name="connsiteX21" fmla="*/ 24 w 9906"/>
                  <a:gd name="connsiteY21" fmla="*/ 5682 h 10000"/>
                  <a:gd name="connsiteX22" fmla="*/ 296 w 9906"/>
                  <a:gd name="connsiteY22" fmla="*/ 595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06" h="10000">
                    <a:moveTo>
                      <a:pt x="6506" y="10000"/>
                    </a:moveTo>
                    <a:lnTo>
                      <a:pt x="6506" y="7493"/>
                    </a:lnTo>
                    <a:lnTo>
                      <a:pt x="9398" y="7493"/>
                    </a:lnTo>
                    <a:lnTo>
                      <a:pt x="6797" y="4603"/>
                    </a:lnTo>
                    <a:lnTo>
                      <a:pt x="6797" y="4096"/>
                    </a:lnTo>
                    <a:lnTo>
                      <a:pt x="8645" y="5810"/>
                    </a:lnTo>
                    <a:cubicBezTo>
                      <a:pt x="8764" y="6000"/>
                      <a:pt x="9110" y="6064"/>
                      <a:pt x="9338" y="5969"/>
                    </a:cubicBezTo>
                    <a:cubicBezTo>
                      <a:pt x="9460" y="5927"/>
                      <a:pt x="9572" y="5884"/>
                      <a:pt x="9692" y="5842"/>
                    </a:cubicBezTo>
                    <a:cubicBezTo>
                      <a:pt x="9921" y="5747"/>
                      <a:pt x="9979" y="5556"/>
                      <a:pt x="9807" y="5365"/>
                    </a:cubicBezTo>
                    <a:lnTo>
                      <a:pt x="7087" y="2730"/>
                    </a:lnTo>
                    <a:cubicBezTo>
                      <a:pt x="6972" y="2667"/>
                      <a:pt x="6855" y="2603"/>
                      <a:pt x="6738" y="2572"/>
                    </a:cubicBezTo>
                    <a:cubicBezTo>
                      <a:pt x="6619" y="2540"/>
                      <a:pt x="6506" y="2477"/>
                      <a:pt x="6333" y="2477"/>
                    </a:cubicBezTo>
                    <a:lnTo>
                      <a:pt x="5812" y="2477"/>
                    </a:lnTo>
                    <a:cubicBezTo>
                      <a:pt x="6562" y="2286"/>
                      <a:pt x="7141" y="1842"/>
                      <a:pt x="7141" y="1302"/>
                    </a:cubicBezTo>
                    <a:cubicBezTo>
                      <a:pt x="7141" y="571"/>
                      <a:pt x="6158" y="0"/>
                      <a:pt x="4948" y="0"/>
                    </a:cubicBezTo>
                    <a:cubicBezTo>
                      <a:pt x="3727" y="0"/>
                      <a:pt x="2800" y="571"/>
                      <a:pt x="2800" y="1302"/>
                    </a:cubicBezTo>
                    <a:cubicBezTo>
                      <a:pt x="2800" y="1842"/>
                      <a:pt x="3327" y="2286"/>
                      <a:pt x="4133" y="2477"/>
                    </a:cubicBezTo>
                    <a:lnTo>
                      <a:pt x="3615" y="2477"/>
                    </a:lnTo>
                    <a:cubicBezTo>
                      <a:pt x="3385" y="2477"/>
                      <a:pt x="3207" y="2540"/>
                      <a:pt x="3143" y="2603"/>
                    </a:cubicBezTo>
                    <a:cubicBezTo>
                      <a:pt x="3031" y="2635"/>
                      <a:pt x="2973" y="2667"/>
                      <a:pt x="2920" y="2730"/>
                    </a:cubicBezTo>
                    <a:lnTo>
                      <a:pt x="141" y="5365"/>
                    </a:lnTo>
                    <a:cubicBezTo>
                      <a:pt x="24" y="5492"/>
                      <a:pt x="-36" y="5587"/>
                      <a:pt x="24" y="5682"/>
                    </a:cubicBezTo>
                    <a:cubicBezTo>
                      <a:pt x="-94" y="5682"/>
                      <a:pt x="296" y="5920"/>
                      <a:pt x="296" y="5952"/>
                    </a:cubicBezTo>
                  </a:path>
                </a:pathLst>
              </a:custGeom>
              <a:grpFill/>
              <a:ln w="12700" cap="rnd">
                <a:solidFill>
                  <a:schemeClr val="accent5"/>
                </a:solidFill>
                <a:prstDash val="solid"/>
                <a:round/>
                <a:headEnd/>
                <a:tailEnd/>
              </a:ln>
              <a:extLst/>
            </p:spPr>
            <p:txBody>
              <a:bodyPr/>
              <a:lstStyle/>
              <a:p>
                <a:endParaRPr lang="en-GB" dirty="0">
                  <a:solidFill>
                    <a:srgbClr val="00264A"/>
                  </a:solidFill>
                </a:endParaRPr>
              </a:p>
            </p:txBody>
          </p:sp>
          <p:sp>
            <p:nvSpPr>
              <p:cNvPr id="80" name="Freeform 20"/>
              <p:cNvSpPr>
                <a:spLocks/>
              </p:cNvSpPr>
              <p:nvPr/>
            </p:nvSpPr>
            <p:spPr bwMode="auto">
              <a:xfrm>
                <a:off x="6919565" y="5757879"/>
                <a:ext cx="298807" cy="630222"/>
              </a:xfrm>
              <a:custGeom>
                <a:avLst/>
                <a:gdLst>
                  <a:gd name="T0" fmla="*/ 409 w 416"/>
                  <a:gd name="T1" fmla="*/ 200 h 200"/>
                  <a:gd name="T2" fmla="*/ 400 w 416"/>
                  <a:gd name="T3" fmla="*/ 108 h 200"/>
                  <a:gd name="T4" fmla="*/ 396 w 416"/>
                  <a:gd name="T5" fmla="*/ 191 h 200"/>
                  <a:gd name="T6" fmla="*/ 379 w 416"/>
                  <a:gd name="T7" fmla="*/ 200 h 200"/>
                  <a:gd name="T8" fmla="*/ 371 w 416"/>
                  <a:gd name="T9" fmla="*/ 108 h 200"/>
                  <a:gd name="T10" fmla="*/ 366 w 416"/>
                  <a:gd name="T11" fmla="*/ 17 h 200"/>
                  <a:gd name="T12" fmla="*/ 336 w 416"/>
                  <a:gd name="T13" fmla="*/ 55 h 200"/>
                  <a:gd name="T14" fmla="*/ 322 w 416"/>
                  <a:gd name="T15" fmla="*/ 60 h 200"/>
                  <a:gd name="T16" fmla="*/ 300 w 416"/>
                  <a:gd name="T17" fmla="*/ 84 h 200"/>
                  <a:gd name="T18" fmla="*/ 292 w 416"/>
                  <a:gd name="T19" fmla="*/ 83 h 200"/>
                  <a:gd name="T20" fmla="*/ 278 w 416"/>
                  <a:gd name="T21" fmla="*/ 78 h 200"/>
                  <a:gd name="T22" fmla="*/ 275 w 416"/>
                  <a:gd name="T23" fmla="*/ 136 h 200"/>
                  <a:gd name="T24" fmla="*/ 269 w 416"/>
                  <a:gd name="T25" fmla="*/ 193 h 200"/>
                  <a:gd name="T26" fmla="*/ 259 w 416"/>
                  <a:gd name="T27" fmla="*/ 188 h 200"/>
                  <a:gd name="T28" fmla="*/ 256 w 416"/>
                  <a:gd name="T29" fmla="*/ 136 h 200"/>
                  <a:gd name="T30" fmla="*/ 251 w 416"/>
                  <a:gd name="T31" fmla="*/ 193 h 200"/>
                  <a:gd name="T32" fmla="*/ 241 w 416"/>
                  <a:gd name="T33" fmla="*/ 188 h 200"/>
                  <a:gd name="T34" fmla="*/ 210 w 416"/>
                  <a:gd name="T35" fmla="*/ 136 h 200"/>
                  <a:gd name="T36" fmla="*/ 238 w 416"/>
                  <a:gd name="T37" fmla="*/ 70 h 200"/>
                  <a:gd name="T38" fmla="*/ 211 w 416"/>
                  <a:gd name="T39" fmla="*/ 105 h 200"/>
                  <a:gd name="T40" fmla="*/ 207 w 416"/>
                  <a:gd name="T41" fmla="*/ 105 h 200"/>
                  <a:gd name="T42" fmla="*/ 180 w 416"/>
                  <a:gd name="T43" fmla="*/ 69 h 200"/>
                  <a:gd name="T44" fmla="*/ 179 w 416"/>
                  <a:gd name="T45" fmla="*/ 116 h 200"/>
                  <a:gd name="T46" fmla="*/ 172 w 416"/>
                  <a:gd name="T47" fmla="*/ 195 h 200"/>
                  <a:gd name="T48" fmla="*/ 158 w 416"/>
                  <a:gd name="T49" fmla="*/ 189 h 200"/>
                  <a:gd name="T50" fmla="*/ 156 w 416"/>
                  <a:gd name="T51" fmla="*/ 118 h 200"/>
                  <a:gd name="T52" fmla="*/ 149 w 416"/>
                  <a:gd name="T53" fmla="*/ 195 h 200"/>
                  <a:gd name="T54" fmla="*/ 136 w 416"/>
                  <a:gd name="T55" fmla="*/ 189 h 200"/>
                  <a:gd name="T56" fmla="*/ 134 w 416"/>
                  <a:gd name="T57" fmla="*/ 114 h 200"/>
                  <a:gd name="T58" fmla="*/ 122 w 416"/>
                  <a:gd name="T59" fmla="*/ 81 h 200"/>
                  <a:gd name="T60" fmla="*/ 113 w 416"/>
                  <a:gd name="T61" fmla="*/ 82 h 200"/>
                  <a:gd name="T62" fmla="*/ 92 w 416"/>
                  <a:gd name="T63" fmla="*/ 56 h 200"/>
                  <a:gd name="T64" fmla="*/ 58 w 416"/>
                  <a:gd name="T65" fmla="*/ 0 h 200"/>
                  <a:gd name="T66" fmla="*/ 56 w 416"/>
                  <a:gd name="T67" fmla="*/ 74 h 200"/>
                  <a:gd name="T68" fmla="*/ 45 w 416"/>
                  <a:gd name="T69" fmla="*/ 197 h 200"/>
                  <a:gd name="T70" fmla="*/ 24 w 416"/>
                  <a:gd name="T71" fmla="*/ 187 h 200"/>
                  <a:gd name="T72" fmla="*/ 20 w 416"/>
                  <a:gd name="T73" fmla="*/ 76 h 200"/>
                  <a:gd name="T74" fmla="*/ 9 w 416"/>
                  <a:gd name="T75" fmla="*/ 197 h 200"/>
                  <a:gd name="connsiteX0" fmla="*/ 9784 w 9784"/>
                  <a:gd name="connsiteY0" fmla="*/ 10000 h 10000"/>
                  <a:gd name="connsiteX1" fmla="*/ 9616 w 9784"/>
                  <a:gd name="connsiteY1" fmla="*/ 10000 h 10000"/>
                  <a:gd name="connsiteX2" fmla="*/ 9399 w 9784"/>
                  <a:gd name="connsiteY2" fmla="*/ 9550 h 10000"/>
                  <a:gd name="connsiteX3" fmla="*/ 9399 w 9784"/>
                  <a:gd name="connsiteY3" fmla="*/ 5400 h 10000"/>
                  <a:gd name="connsiteX4" fmla="*/ 9303 w 9784"/>
                  <a:gd name="connsiteY4" fmla="*/ 5400 h 10000"/>
                  <a:gd name="connsiteX5" fmla="*/ 9303 w 9784"/>
                  <a:gd name="connsiteY5" fmla="*/ 9550 h 10000"/>
                  <a:gd name="connsiteX6" fmla="*/ 9087 w 9784"/>
                  <a:gd name="connsiteY6" fmla="*/ 10000 h 10000"/>
                  <a:gd name="connsiteX7" fmla="*/ 8895 w 9784"/>
                  <a:gd name="connsiteY7" fmla="*/ 10000 h 10000"/>
                  <a:gd name="connsiteX8" fmla="*/ 8702 w 9784"/>
                  <a:gd name="connsiteY8" fmla="*/ 9550 h 10000"/>
                  <a:gd name="connsiteX9" fmla="*/ 8702 w 9784"/>
                  <a:gd name="connsiteY9" fmla="*/ 5400 h 10000"/>
                  <a:gd name="connsiteX10" fmla="*/ 7524 w 9784"/>
                  <a:gd name="connsiteY10" fmla="*/ 5400 h 10000"/>
                  <a:gd name="connsiteX11" fmla="*/ 8582 w 9784"/>
                  <a:gd name="connsiteY11" fmla="*/ 850 h 10000"/>
                  <a:gd name="connsiteX12" fmla="*/ 8582 w 9784"/>
                  <a:gd name="connsiteY12" fmla="*/ 100 h 10000"/>
                  <a:gd name="connsiteX13" fmla="*/ 7861 w 9784"/>
                  <a:gd name="connsiteY13" fmla="*/ 2750 h 10000"/>
                  <a:gd name="connsiteX14" fmla="*/ 7548 w 9784"/>
                  <a:gd name="connsiteY14" fmla="*/ 3000 h 10000"/>
                  <a:gd name="connsiteX15" fmla="*/ 7524 w 9784"/>
                  <a:gd name="connsiteY15" fmla="*/ 3000 h 10000"/>
                  <a:gd name="connsiteX16" fmla="*/ 7500 w 9784"/>
                  <a:gd name="connsiteY16" fmla="*/ 3150 h 10000"/>
                  <a:gd name="connsiteX17" fmla="*/ 6996 w 9784"/>
                  <a:gd name="connsiteY17" fmla="*/ 4200 h 10000"/>
                  <a:gd name="connsiteX18" fmla="*/ 6923 w 9784"/>
                  <a:gd name="connsiteY18" fmla="*/ 4250 h 10000"/>
                  <a:gd name="connsiteX19" fmla="*/ 6803 w 9784"/>
                  <a:gd name="connsiteY19" fmla="*/ 4150 h 10000"/>
                  <a:gd name="connsiteX20" fmla="*/ 6467 w 9784"/>
                  <a:gd name="connsiteY20" fmla="*/ 3250 h 10000"/>
                  <a:gd name="connsiteX21" fmla="*/ 6467 w 9784"/>
                  <a:gd name="connsiteY21" fmla="*/ 3900 h 10000"/>
                  <a:gd name="connsiteX22" fmla="*/ 7140 w 9784"/>
                  <a:gd name="connsiteY22" fmla="*/ 6800 h 10000"/>
                  <a:gd name="connsiteX23" fmla="*/ 6395 w 9784"/>
                  <a:gd name="connsiteY23" fmla="*/ 6800 h 10000"/>
                  <a:gd name="connsiteX24" fmla="*/ 6395 w 9784"/>
                  <a:gd name="connsiteY24" fmla="*/ 9400 h 10000"/>
                  <a:gd name="connsiteX25" fmla="*/ 6250 w 9784"/>
                  <a:gd name="connsiteY25" fmla="*/ 9650 h 10000"/>
                  <a:gd name="connsiteX26" fmla="*/ 6154 w 9784"/>
                  <a:gd name="connsiteY26" fmla="*/ 9650 h 10000"/>
                  <a:gd name="connsiteX27" fmla="*/ 6010 w 9784"/>
                  <a:gd name="connsiteY27" fmla="*/ 9400 h 10000"/>
                  <a:gd name="connsiteX28" fmla="*/ 6010 w 9784"/>
                  <a:gd name="connsiteY28" fmla="*/ 6800 h 10000"/>
                  <a:gd name="connsiteX29" fmla="*/ 5938 w 9784"/>
                  <a:gd name="connsiteY29" fmla="*/ 6800 h 10000"/>
                  <a:gd name="connsiteX30" fmla="*/ 5938 w 9784"/>
                  <a:gd name="connsiteY30" fmla="*/ 9400 h 10000"/>
                  <a:gd name="connsiteX31" fmla="*/ 5818 w 9784"/>
                  <a:gd name="connsiteY31" fmla="*/ 9650 h 10000"/>
                  <a:gd name="connsiteX32" fmla="*/ 5697 w 9784"/>
                  <a:gd name="connsiteY32" fmla="*/ 9650 h 10000"/>
                  <a:gd name="connsiteX33" fmla="*/ 5577 w 9784"/>
                  <a:gd name="connsiteY33" fmla="*/ 9400 h 10000"/>
                  <a:gd name="connsiteX34" fmla="*/ 5577 w 9784"/>
                  <a:gd name="connsiteY34" fmla="*/ 6800 h 10000"/>
                  <a:gd name="connsiteX35" fmla="*/ 4832 w 9784"/>
                  <a:gd name="connsiteY35" fmla="*/ 6800 h 10000"/>
                  <a:gd name="connsiteX36" fmla="*/ 5505 w 9784"/>
                  <a:gd name="connsiteY36" fmla="*/ 3900 h 10000"/>
                  <a:gd name="connsiteX37" fmla="*/ 5505 w 9784"/>
                  <a:gd name="connsiteY37" fmla="*/ 3500 h 10000"/>
                  <a:gd name="connsiteX38" fmla="*/ 5048 w 9784"/>
                  <a:gd name="connsiteY38" fmla="*/ 5150 h 10000"/>
                  <a:gd name="connsiteX39" fmla="*/ 4856 w 9784"/>
                  <a:gd name="connsiteY39" fmla="*/ 5250 h 10000"/>
                  <a:gd name="connsiteX40" fmla="*/ 4808 w 9784"/>
                  <a:gd name="connsiteY40" fmla="*/ 5200 h 10000"/>
                  <a:gd name="connsiteX41" fmla="*/ 4760 w 9784"/>
                  <a:gd name="connsiteY41" fmla="*/ 5250 h 10000"/>
                  <a:gd name="connsiteX42" fmla="*/ 4568 w 9784"/>
                  <a:gd name="connsiteY42" fmla="*/ 5100 h 10000"/>
                  <a:gd name="connsiteX43" fmla="*/ 4111 w 9784"/>
                  <a:gd name="connsiteY43" fmla="*/ 3450 h 10000"/>
                  <a:gd name="connsiteX44" fmla="*/ 4111 w 9784"/>
                  <a:gd name="connsiteY44" fmla="*/ 5700 h 10000"/>
                  <a:gd name="connsiteX45" fmla="*/ 4087 w 9784"/>
                  <a:gd name="connsiteY45" fmla="*/ 5800 h 10000"/>
                  <a:gd name="connsiteX46" fmla="*/ 4087 w 9784"/>
                  <a:gd name="connsiteY46" fmla="*/ 9450 h 10000"/>
                  <a:gd name="connsiteX47" fmla="*/ 3919 w 9784"/>
                  <a:gd name="connsiteY47" fmla="*/ 9750 h 10000"/>
                  <a:gd name="connsiteX48" fmla="*/ 3750 w 9784"/>
                  <a:gd name="connsiteY48" fmla="*/ 9750 h 10000"/>
                  <a:gd name="connsiteX49" fmla="*/ 3582 w 9784"/>
                  <a:gd name="connsiteY49" fmla="*/ 9450 h 10000"/>
                  <a:gd name="connsiteX50" fmla="*/ 3582 w 9784"/>
                  <a:gd name="connsiteY50" fmla="*/ 5900 h 10000"/>
                  <a:gd name="connsiteX51" fmla="*/ 3534 w 9784"/>
                  <a:gd name="connsiteY51" fmla="*/ 5900 h 10000"/>
                  <a:gd name="connsiteX52" fmla="*/ 3534 w 9784"/>
                  <a:gd name="connsiteY52" fmla="*/ 9450 h 10000"/>
                  <a:gd name="connsiteX53" fmla="*/ 3366 w 9784"/>
                  <a:gd name="connsiteY53" fmla="*/ 9750 h 10000"/>
                  <a:gd name="connsiteX54" fmla="*/ 3222 w 9784"/>
                  <a:gd name="connsiteY54" fmla="*/ 9750 h 10000"/>
                  <a:gd name="connsiteX55" fmla="*/ 3053 w 9784"/>
                  <a:gd name="connsiteY55" fmla="*/ 9450 h 10000"/>
                  <a:gd name="connsiteX56" fmla="*/ 3053 w 9784"/>
                  <a:gd name="connsiteY56" fmla="*/ 5800 h 10000"/>
                  <a:gd name="connsiteX57" fmla="*/ 3005 w 9784"/>
                  <a:gd name="connsiteY57" fmla="*/ 5700 h 10000"/>
                  <a:gd name="connsiteX58" fmla="*/ 3005 w 9784"/>
                  <a:gd name="connsiteY58" fmla="*/ 3200 h 10000"/>
                  <a:gd name="connsiteX59" fmla="*/ 2717 w 9784"/>
                  <a:gd name="connsiteY59" fmla="*/ 4050 h 10000"/>
                  <a:gd name="connsiteX60" fmla="*/ 2597 w 9784"/>
                  <a:gd name="connsiteY60" fmla="*/ 4150 h 10000"/>
                  <a:gd name="connsiteX61" fmla="*/ 2500 w 9784"/>
                  <a:gd name="connsiteY61" fmla="*/ 4100 h 10000"/>
                  <a:gd name="connsiteX62" fmla="*/ 2020 w 9784"/>
                  <a:gd name="connsiteY62" fmla="*/ 3050 h 10000"/>
                  <a:gd name="connsiteX63" fmla="*/ 1996 w 9784"/>
                  <a:gd name="connsiteY63" fmla="*/ 2800 h 10000"/>
                  <a:gd name="connsiteX64" fmla="*/ 1899 w 9784"/>
                  <a:gd name="connsiteY64" fmla="*/ 2600 h 10000"/>
                  <a:gd name="connsiteX65" fmla="*/ 1178 w 9784"/>
                  <a:gd name="connsiteY65" fmla="*/ 0 h 10000"/>
                  <a:gd name="connsiteX66" fmla="*/ 1178 w 9784"/>
                  <a:gd name="connsiteY66" fmla="*/ 3500 h 10000"/>
                  <a:gd name="connsiteX67" fmla="*/ 1130 w 9784"/>
                  <a:gd name="connsiteY67" fmla="*/ 3700 h 10000"/>
                  <a:gd name="connsiteX68" fmla="*/ 1130 w 9784"/>
                  <a:gd name="connsiteY68" fmla="*/ 9350 h 10000"/>
                  <a:gd name="connsiteX69" fmla="*/ 866 w 9784"/>
                  <a:gd name="connsiteY69" fmla="*/ 9850 h 10000"/>
                  <a:gd name="connsiteX70" fmla="*/ 625 w 9784"/>
                  <a:gd name="connsiteY70" fmla="*/ 9850 h 10000"/>
                  <a:gd name="connsiteX71" fmla="*/ 361 w 9784"/>
                  <a:gd name="connsiteY71" fmla="*/ 9350 h 10000"/>
                  <a:gd name="connsiteX72" fmla="*/ 361 w 9784"/>
                  <a:gd name="connsiteY72" fmla="*/ 3800 h 10000"/>
                  <a:gd name="connsiteX73" fmla="*/ 265 w 9784"/>
                  <a:gd name="connsiteY73" fmla="*/ 3800 h 10000"/>
                  <a:gd name="connsiteX74" fmla="*/ 265 w 9784"/>
                  <a:gd name="connsiteY74" fmla="*/ 9350 h 10000"/>
                  <a:gd name="connsiteX75" fmla="*/ 0 w 9784"/>
                  <a:gd name="connsiteY75" fmla="*/ 9850 h 10000"/>
                  <a:gd name="connsiteX0" fmla="*/ 9729 w 9729"/>
                  <a:gd name="connsiteY0" fmla="*/ 10000 h 10000"/>
                  <a:gd name="connsiteX1" fmla="*/ 9557 w 9729"/>
                  <a:gd name="connsiteY1" fmla="*/ 10000 h 10000"/>
                  <a:gd name="connsiteX2" fmla="*/ 9336 w 9729"/>
                  <a:gd name="connsiteY2" fmla="*/ 9550 h 10000"/>
                  <a:gd name="connsiteX3" fmla="*/ 9336 w 9729"/>
                  <a:gd name="connsiteY3" fmla="*/ 5400 h 10000"/>
                  <a:gd name="connsiteX4" fmla="*/ 9237 w 9729"/>
                  <a:gd name="connsiteY4" fmla="*/ 5400 h 10000"/>
                  <a:gd name="connsiteX5" fmla="*/ 9237 w 9729"/>
                  <a:gd name="connsiteY5" fmla="*/ 9550 h 10000"/>
                  <a:gd name="connsiteX6" fmla="*/ 9017 w 9729"/>
                  <a:gd name="connsiteY6" fmla="*/ 10000 h 10000"/>
                  <a:gd name="connsiteX7" fmla="*/ 8820 w 9729"/>
                  <a:gd name="connsiteY7" fmla="*/ 10000 h 10000"/>
                  <a:gd name="connsiteX8" fmla="*/ 8623 w 9729"/>
                  <a:gd name="connsiteY8" fmla="*/ 9550 h 10000"/>
                  <a:gd name="connsiteX9" fmla="*/ 8623 w 9729"/>
                  <a:gd name="connsiteY9" fmla="*/ 5400 h 10000"/>
                  <a:gd name="connsiteX10" fmla="*/ 7419 w 9729"/>
                  <a:gd name="connsiteY10" fmla="*/ 5400 h 10000"/>
                  <a:gd name="connsiteX11" fmla="*/ 8500 w 9729"/>
                  <a:gd name="connsiteY11" fmla="*/ 850 h 10000"/>
                  <a:gd name="connsiteX12" fmla="*/ 8500 w 9729"/>
                  <a:gd name="connsiteY12" fmla="*/ 100 h 10000"/>
                  <a:gd name="connsiteX13" fmla="*/ 7764 w 9729"/>
                  <a:gd name="connsiteY13" fmla="*/ 2750 h 10000"/>
                  <a:gd name="connsiteX14" fmla="*/ 7444 w 9729"/>
                  <a:gd name="connsiteY14" fmla="*/ 3000 h 10000"/>
                  <a:gd name="connsiteX15" fmla="*/ 7419 w 9729"/>
                  <a:gd name="connsiteY15" fmla="*/ 3000 h 10000"/>
                  <a:gd name="connsiteX16" fmla="*/ 7395 w 9729"/>
                  <a:gd name="connsiteY16" fmla="*/ 3150 h 10000"/>
                  <a:gd name="connsiteX17" fmla="*/ 6879 w 9729"/>
                  <a:gd name="connsiteY17" fmla="*/ 4200 h 10000"/>
                  <a:gd name="connsiteX18" fmla="*/ 6805 w 9729"/>
                  <a:gd name="connsiteY18" fmla="*/ 4250 h 10000"/>
                  <a:gd name="connsiteX19" fmla="*/ 6682 w 9729"/>
                  <a:gd name="connsiteY19" fmla="*/ 4150 h 10000"/>
                  <a:gd name="connsiteX20" fmla="*/ 6339 w 9729"/>
                  <a:gd name="connsiteY20" fmla="*/ 3250 h 10000"/>
                  <a:gd name="connsiteX21" fmla="*/ 6339 w 9729"/>
                  <a:gd name="connsiteY21" fmla="*/ 3900 h 10000"/>
                  <a:gd name="connsiteX22" fmla="*/ 7027 w 9729"/>
                  <a:gd name="connsiteY22" fmla="*/ 6800 h 10000"/>
                  <a:gd name="connsiteX23" fmla="*/ 6265 w 9729"/>
                  <a:gd name="connsiteY23" fmla="*/ 6800 h 10000"/>
                  <a:gd name="connsiteX24" fmla="*/ 6265 w 9729"/>
                  <a:gd name="connsiteY24" fmla="*/ 9400 h 10000"/>
                  <a:gd name="connsiteX25" fmla="*/ 6117 w 9729"/>
                  <a:gd name="connsiteY25" fmla="*/ 9650 h 10000"/>
                  <a:gd name="connsiteX26" fmla="*/ 6019 w 9729"/>
                  <a:gd name="connsiteY26" fmla="*/ 9650 h 10000"/>
                  <a:gd name="connsiteX27" fmla="*/ 5872 w 9729"/>
                  <a:gd name="connsiteY27" fmla="*/ 9400 h 10000"/>
                  <a:gd name="connsiteX28" fmla="*/ 5872 w 9729"/>
                  <a:gd name="connsiteY28" fmla="*/ 6800 h 10000"/>
                  <a:gd name="connsiteX29" fmla="*/ 5798 w 9729"/>
                  <a:gd name="connsiteY29" fmla="*/ 6800 h 10000"/>
                  <a:gd name="connsiteX30" fmla="*/ 5798 w 9729"/>
                  <a:gd name="connsiteY30" fmla="*/ 9400 h 10000"/>
                  <a:gd name="connsiteX31" fmla="*/ 5675 w 9729"/>
                  <a:gd name="connsiteY31" fmla="*/ 9650 h 10000"/>
                  <a:gd name="connsiteX32" fmla="*/ 5552 w 9729"/>
                  <a:gd name="connsiteY32" fmla="*/ 9650 h 10000"/>
                  <a:gd name="connsiteX33" fmla="*/ 5429 w 9729"/>
                  <a:gd name="connsiteY33" fmla="*/ 9400 h 10000"/>
                  <a:gd name="connsiteX34" fmla="*/ 5429 w 9729"/>
                  <a:gd name="connsiteY34" fmla="*/ 6800 h 10000"/>
                  <a:gd name="connsiteX35" fmla="*/ 4668 w 9729"/>
                  <a:gd name="connsiteY35" fmla="*/ 6800 h 10000"/>
                  <a:gd name="connsiteX36" fmla="*/ 5356 w 9729"/>
                  <a:gd name="connsiteY36" fmla="*/ 3900 h 10000"/>
                  <a:gd name="connsiteX37" fmla="*/ 5356 w 9729"/>
                  <a:gd name="connsiteY37" fmla="*/ 3500 h 10000"/>
                  <a:gd name="connsiteX38" fmla="*/ 4888 w 9729"/>
                  <a:gd name="connsiteY38" fmla="*/ 5150 h 10000"/>
                  <a:gd name="connsiteX39" fmla="*/ 4692 w 9729"/>
                  <a:gd name="connsiteY39" fmla="*/ 5250 h 10000"/>
                  <a:gd name="connsiteX40" fmla="*/ 4643 w 9729"/>
                  <a:gd name="connsiteY40" fmla="*/ 5200 h 10000"/>
                  <a:gd name="connsiteX41" fmla="*/ 4594 w 9729"/>
                  <a:gd name="connsiteY41" fmla="*/ 5250 h 10000"/>
                  <a:gd name="connsiteX42" fmla="*/ 4398 w 9729"/>
                  <a:gd name="connsiteY42" fmla="*/ 5100 h 10000"/>
                  <a:gd name="connsiteX43" fmla="*/ 3931 w 9729"/>
                  <a:gd name="connsiteY43" fmla="*/ 3450 h 10000"/>
                  <a:gd name="connsiteX44" fmla="*/ 3931 w 9729"/>
                  <a:gd name="connsiteY44" fmla="*/ 5700 h 10000"/>
                  <a:gd name="connsiteX45" fmla="*/ 3906 w 9729"/>
                  <a:gd name="connsiteY45" fmla="*/ 5800 h 10000"/>
                  <a:gd name="connsiteX46" fmla="*/ 3906 w 9729"/>
                  <a:gd name="connsiteY46" fmla="*/ 9450 h 10000"/>
                  <a:gd name="connsiteX47" fmla="*/ 3735 w 9729"/>
                  <a:gd name="connsiteY47" fmla="*/ 9750 h 10000"/>
                  <a:gd name="connsiteX48" fmla="*/ 3562 w 9729"/>
                  <a:gd name="connsiteY48" fmla="*/ 9750 h 10000"/>
                  <a:gd name="connsiteX49" fmla="*/ 3390 w 9729"/>
                  <a:gd name="connsiteY49" fmla="*/ 9450 h 10000"/>
                  <a:gd name="connsiteX50" fmla="*/ 3390 w 9729"/>
                  <a:gd name="connsiteY50" fmla="*/ 5900 h 10000"/>
                  <a:gd name="connsiteX51" fmla="*/ 3341 w 9729"/>
                  <a:gd name="connsiteY51" fmla="*/ 5900 h 10000"/>
                  <a:gd name="connsiteX52" fmla="*/ 3341 w 9729"/>
                  <a:gd name="connsiteY52" fmla="*/ 9450 h 10000"/>
                  <a:gd name="connsiteX53" fmla="*/ 3169 w 9729"/>
                  <a:gd name="connsiteY53" fmla="*/ 9750 h 10000"/>
                  <a:gd name="connsiteX54" fmla="*/ 3022 w 9729"/>
                  <a:gd name="connsiteY54" fmla="*/ 9750 h 10000"/>
                  <a:gd name="connsiteX55" fmla="*/ 2849 w 9729"/>
                  <a:gd name="connsiteY55" fmla="*/ 9450 h 10000"/>
                  <a:gd name="connsiteX56" fmla="*/ 2849 w 9729"/>
                  <a:gd name="connsiteY56" fmla="*/ 5800 h 10000"/>
                  <a:gd name="connsiteX57" fmla="*/ 2800 w 9729"/>
                  <a:gd name="connsiteY57" fmla="*/ 5700 h 10000"/>
                  <a:gd name="connsiteX58" fmla="*/ 2800 w 9729"/>
                  <a:gd name="connsiteY58" fmla="*/ 3200 h 10000"/>
                  <a:gd name="connsiteX59" fmla="*/ 2506 w 9729"/>
                  <a:gd name="connsiteY59" fmla="*/ 4050 h 10000"/>
                  <a:gd name="connsiteX60" fmla="*/ 2383 w 9729"/>
                  <a:gd name="connsiteY60" fmla="*/ 4150 h 10000"/>
                  <a:gd name="connsiteX61" fmla="*/ 2284 w 9729"/>
                  <a:gd name="connsiteY61" fmla="*/ 4100 h 10000"/>
                  <a:gd name="connsiteX62" fmla="*/ 1794 w 9729"/>
                  <a:gd name="connsiteY62" fmla="*/ 3050 h 10000"/>
                  <a:gd name="connsiteX63" fmla="*/ 1769 w 9729"/>
                  <a:gd name="connsiteY63" fmla="*/ 2800 h 10000"/>
                  <a:gd name="connsiteX64" fmla="*/ 1670 w 9729"/>
                  <a:gd name="connsiteY64" fmla="*/ 2600 h 10000"/>
                  <a:gd name="connsiteX65" fmla="*/ 933 w 9729"/>
                  <a:gd name="connsiteY65" fmla="*/ 0 h 10000"/>
                  <a:gd name="connsiteX66" fmla="*/ 933 w 9729"/>
                  <a:gd name="connsiteY66" fmla="*/ 3500 h 10000"/>
                  <a:gd name="connsiteX67" fmla="*/ 884 w 9729"/>
                  <a:gd name="connsiteY67" fmla="*/ 3700 h 10000"/>
                  <a:gd name="connsiteX68" fmla="*/ 884 w 9729"/>
                  <a:gd name="connsiteY68" fmla="*/ 9350 h 10000"/>
                  <a:gd name="connsiteX69" fmla="*/ 614 w 9729"/>
                  <a:gd name="connsiteY69" fmla="*/ 9850 h 10000"/>
                  <a:gd name="connsiteX70" fmla="*/ 368 w 9729"/>
                  <a:gd name="connsiteY70" fmla="*/ 9850 h 10000"/>
                  <a:gd name="connsiteX71" fmla="*/ 98 w 9729"/>
                  <a:gd name="connsiteY71" fmla="*/ 9350 h 10000"/>
                  <a:gd name="connsiteX72" fmla="*/ 98 w 9729"/>
                  <a:gd name="connsiteY72" fmla="*/ 3800 h 10000"/>
                  <a:gd name="connsiteX73" fmla="*/ 0 w 9729"/>
                  <a:gd name="connsiteY73" fmla="*/ 3800 h 10000"/>
                  <a:gd name="connsiteX74" fmla="*/ 0 w 9729"/>
                  <a:gd name="connsiteY74" fmla="*/ 9350 h 10000"/>
                  <a:gd name="connsiteX0" fmla="*/ 10000 w 10000"/>
                  <a:gd name="connsiteY0" fmla="*/ 10000 h 10298"/>
                  <a:gd name="connsiteX1" fmla="*/ 9823 w 10000"/>
                  <a:gd name="connsiteY1" fmla="*/ 10000 h 10298"/>
                  <a:gd name="connsiteX2" fmla="*/ 9596 w 10000"/>
                  <a:gd name="connsiteY2" fmla="*/ 9550 h 10298"/>
                  <a:gd name="connsiteX3" fmla="*/ 9596 w 10000"/>
                  <a:gd name="connsiteY3" fmla="*/ 5400 h 10298"/>
                  <a:gd name="connsiteX4" fmla="*/ 9494 w 10000"/>
                  <a:gd name="connsiteY4" fmla="*/ 5400 h 10298"/>
                  <a:gd name="connsiteX5" fmla="*/ 9494 w 10000"/>
                  <a:gd name="connsiteY5" fmla="*/ 9550 h 10298"/>
                  <a:gd name="connsiteX6" fmla="*/ 9268 w 10000"/>
                  <a:gd name="connsiteY6" fmla="*/ 10000 h 10298"/>
                  <a:gd name="connsiteX7" fmla="*/ 9066 w 10000"/>
                  <a:gd name="connsiteY7" fmla="*/ 10000 h 10298"/>
                  <a:gd name="connsiteX8" fmla="*/ 8863 w 10000"/>
                  <a:gd name="connsiteY8" fmla="*/ 9550 h 10298"/>
                  <a:gd name="connsiteX9" fmla="*/ 8863 w 10000"/>
                  <a:gd name="connsiteY9" fmla="*/ 5400 h 10298"/>
                  <a:gd name="connsiteX10" fmla="*/ 7626 w 10000"/>
                  <a:gd name="connsiteY10" fmla="*/ 5400 h 10298"/>
                  <a:gd name="connsiteX11" fmla="*/ 8737 w 10000"/>
                  <a:gd name="connsiteY11" fmla="*/ 850 h 10298"/>
                  <a:gd name="connsiteX12" fmla="*/ 8737 w 10000"/>
                  <a:gd name="connsiteY12" fmla="*/ 100 h 10298"/>
                  <a:gd name="connsiteX13" fmla="*/ 7980 w 10000"/>
                  <a:gd name="connsiteY13" fmla="*/ 2750 h 10298"/>
                  <a:gd name="connsiteX14" fmla="*/ 7651 w 10000"/>
                  <a:gd name="connsiteY14" fmla="*/ 3000 h 10298"/>
                  <a:gd name="connsiteX15" fmla="*/ 7626 w 10000"/>
                  <a:gd name="connsiteY15" fmla="*/ 3000 h 10298"/>
                  <a:gd name="connsiteX16" fmla="*/ 7601 w 10000"/>
                  <a:gd name="connsiteY16" fmla="*/ 3150 h 10298"/>
                  <a:gd name="connsiteX17" fmla="*/ 7071 w 10000"/>
                  <a:gd name="connsiteY17" fmla="*/ 4200 h 10298"/>
                  <a:gd name="connsiteX18" fmla="*/ 6995 w 10000"/>
                  <a:gd name="connsiteY18" fmla="*/ 4250 h 10298"/>
                  <a:gd name="connsiteX19" fmla="*/ 6868 w 10000"/>
                  <a:gd name="connsiteY19" fmla="*/ 4150 h 10298"/>
                  <a:gd name="connsiteX20" fmla="*/ 6516 w 10000"/>
                  <a:gd name="connsiteY20" fmla="*/ 3250 h 10298"/>
                  <a:gd name="connsiteX21" fmla="*/ 6516 w 10000"/>
                  <a:gd name="connsiteY21" fmla="*/ 3900 h 10298"/>
                  <a:gd name="connsiteX22" fmla="*/ 7223 w 10000"/>
                  <a:gd name="connsiteY22" fmla="*/ 6800 h 10298"/>
                  <a:gd name="connsiteX23" fmla="*/ 6440 w 10000"/>
                  <a:gd name="connsiteY23" fmla="*/ 6800 h 10298"/>
                  <a:gd name="connsiteX24" fmla="*/ 6440 w 10000"/>
                  <a:gd name="connsiteY24" fmla="*/ 9400 h 10298"/>
                  <a:gd name="connsiteX25" fmla="*/ 6287 w 10000"/>
                  <a:gd name="connsiteY25" fmla="*/ 9650 h 10298"/>
                  <a:gd name="connsiteX26" fmla="*/ 6187 w 10000"/>
                  <a:gd name="connsiteY26" fmla="*/ 9650 h 10298"/>
                  <a:gd name="connsiteX27" fmla="*/ 6036 w 10000"/>
                  <a:gd name="connsiteY27" fmla="*/ 9400 h 10298"/>
                  <a:gd name="connsiteX28" fmla="*/ 6036 w 10000"/>
                  <a:gd name="connsiteY28" fmla="*/ 6800 h 10298"/>
                  <a:gd name="connsiteX29" fmla="*/ 5960 w 10000"/>
                  <a:gd name="connsiteY29" fmla="*/ 6800 h 10298"/>
                  <a:gd name="connsiteX30" fmla="*/ 5960 w 10000"/>
                  <a:gd name="connsiteY30" fmla="*/ 9400 h 10298"/>
                  <a:gd name="connsiteX31" fmla="*/ 5833 w 10000"/>
                  <a:gd name="connsiteY31" fmla="*/ 9650 h 10298"/>
                  <a:gd name="connsiteX32" fmla="*/ 5707 w 10000"/>
                  <a:gd name="connsiteY32" fmla="*/ 9650 h 10298"/>
                  <a:gd name="connsiteX33" fmla="*/ 5580 w 10000"/>
                  <a:gd name="connsiteY33" fmla="*/ 9400 h 10298"/>
                  <a:gd name="connsiteX34" fmla="*/ 5580 w 10000"/>
                  <a:gd name="connsiteY34" fmla="*/ 6800 h 10298"/>
                  <a:gd name="connsiteX35" fmla="*/ 4798 w 10000"/>
                  <a:gd name="connsiteY35" fmla="*/ 6800 h 10298"/>
                  <a:gd name="connsiteX36" fmla="*/ 5505 w 10000"/>
                  <a:gd name="connsiteY36" fmla="*/ 3900 h 10298"/>
                  <a:gd name="connsiteX37" fmla="*/ 5505 w 10000"/>
                  <a:gd name="connsiteY37" fmla="*/ 3500 h 10298"/>
                  <a:gd name="connsiteX38" fmla="*/ 5024 w 10000"/>
                  <a:gd name="connsiteY38" fmla="*/ 5150 h 10298"/>
                  <a:gd name="connsiteX39" fmla="*/ 4823 w 10000"/>
                  <a:gd name="connsiteY39" fmla="*/ 5250 h 10298"/>
                  <a:gd name="connsiteX40" fmla="*/ 4772 w 10000"/>
                  <a:gd name="connsiteY40" fmla="*/ 5200 h 10298"/>
                  <a:gd name="connsiteX41" fmla="*/ 4722 w 10000"/>
                  <a:gd name="connsiteY41" fmla="*/ 5250 h 10298"/>
                  <a:gd name="connsiteX42" fmla="*/ 4521 w 10000"/>
                  <a:gd name="connsiteY42" fmla="*/ 5100 h 10298"/>
                  <a:gd name="connsiteX43" fmla="*/ 4040 w 10000"/>
                  <a:gd name="connsiteY43" fmla="*/ 3450 h 10298"/>
                  <a:gd name="connsiteX44" fmla="*/ 4040 w 10000"/>
                  <a:gd name="connsiteY44" fmla="*/ 5700 h 10298"/>
                  <a:gd name="connsiteX45" fmla="*/ 4015 w 10000"/>
                  <a:gd name="connsiteY45" fmla="*/ 5800 h 10298"/>
                  <a:gd name="connsiteX46" fmla="*/ 4015 w 10000"/>
                  <a:gd name="connsiteY46" fmla="*/ 9450 h 10298"/>
                  <a:gd name="connsiteX47" fmla="*/ 3839 w 10000"/>
                  <a:gd name="connsiteY47" fmla="*/ 9750 h 10298"/>
                  <a:gd name="connsiteX48" fmla="*/ 3661 w 10000"/>
                  <a:gd name="connsiteY48" fmla="*/ 9750 h 10298"/>
                  <a:gd name="connsiteX49" fmla="*/ 3484 w 10000"/>
                  <a:gd name="connsiteY49" fmla="*/ 9450 h 10298"/>
                  <a:gd name="connsiteX50" fmla="*/ 3484 w 10000"/>
                  <a:gd name="connsiteY50" fmla="*/ 5900 h 10298"/>
                  <a:gd name="connsiteX51" fmla="*/ 3434 w 10000"/>
                  <a:gd name="connsiteY51" fmla="*/ 5900 h 10298"/>
                  <a:gd name="connsiteX52" fmla="*/ 3434 w 10000"/>
                  <a:gd name="connsiteY52" fmla="*/ 9450 h 10298"/>
                  <a:gd name="connsiteX53" fmla="*/ 3257 w 10000"/>
                  <a:gd name="connsiteY53" fmla="*/ 9750 h 10298"/>
                  <a:gd name="connsiteX54" fmla="*/ 3106 w 10000"/>
                  <a:gd name="connsiteY54" fmla="*/ 9750 h 10298"/>
                  <a:gd name="connsiteX55" fmla="*/ 2928 w 10000"/>
                  <a:gd name="connsiteY55" fmla="*/ 9450 h 10298"/>
                  <a:gd name="connsiteX56" fmla="*/ 2928 w 10000"/>
                  <a:gd name="connsiteY56" fmla="*/ 5800 h 10298"/>
                  <a:gd name="connsiteX57" fmla="*/ 2878 w 10000"/>
                  <a:gd name="connsiteY57" fmla="*/ 5700 h 10298"/>
                  <a:gd name="connsiteX58" fmla="*/ 2878 w 10000"/>
                  <a:gd name="connsiteY58" fmla="*/ 3200 h 10298"/>
                  <a:gd name="connsiteX59" fmla="*/ 2576 w 10000"/>
                  <a:gd name="connsiteY59" fmla="*/ 4050 h 10298"/>
                  <a:gd name="connsiteX60" fmla="*/ 2449 w 10000"/>
                  <a:gd name="connsiteY60" fmla="*/ 4150 h 10298"/>
                  <a:gd name="connsiteX61" fmla="*/ 2348 w 10000"/>
                  <a:gd name="connsiteY61" fmla="*/ 4100 h 10298"/>
                  <a:gd name="connsiteX62" fmla="*/ 1844 w 10000"/>
                  <a:gd name="connsiteY62" fmla="*/ 3050 h 10298"/>
                  <a:gd name="connsiteX63" fmla="*/ 1818 w 10000"/>
                  <a:gd name="connsiteY63" fmla="*/ 2800 h 10298"/>
                  <a:gd name="connsiteX64" fmla="*/ 1717 w 10000"/>
                  <a:gd name="connsiteY64" fmla="*/ 2600 h 10298"/>
                  <a:gd name="connsiteX65" fmla="*/ 959 w 10000"/>
                  <a:gd name="connsiteY65" fmla="*/ 0 h 10298"/>
                  <a:gd name="connsiteX66" fmla="*/ 959 w 10000"/>
                  <a:gd name="connsiteY66" fmla="*/ 3500 h 10298"/>
                  <a:gd name="connsiteX67" fmla="*/ 909 w 10000"/>
                  <a:gd name="connsiteY67" fmla="*/ 3700 h 10298"/>
                  <a:gd name="connsiteX68" fmla="*/ 909 w 10000"/>
                  <a:gd name="connsiteY68" fmla="*/ 9350 h 10298"/>
                  <a:gd name="connsiteX69" fmla="*/ 631 w 10000"/>
                  <a:gd name="connsiteY69" fmla="*/ 9850 h 10298"/>
                  <a:gd name="connsiteX70" fmla="*/ 378 w 10000"/>
                  <a:gd name="connsiteY70" fmla="*/ 9850 h 10298"/>
                  <a:gd name="connsiteX71" fmla="*/ 101 w 10000"/>
                  <a:gd name="connsiteY71" fmla="*/ 3800 h 10298"/>
                  <a:gd name="connsiteX72" fmla="*/ 0 w 10000"/>
                  <a:gd name="connsiteY72" fmla="*/ 3800 h 10298"/>
                  <a:gd name="connsiteX73" fmla="*/ 0 w 10000"/>
                  <a:gd name="connsiteY73" fmla="*/ 9350 h 10298"/>
                  <a:gd name="connsiteX0" fmla="*/ 10000 w 10000"/>
                  <a:gd name="connsiteY0" fmla="*/ 10000 h 10298"/>
                  <a:gd name="connsiteX1" fmla="*/ 9823 w 10000"/>
                  <a:gd name="connsiteY1" fmla="*/ 10000 h 10298"/>
                  <a:gd name="connsiteX2" fmla="*/ 9596 w 10000"/>
                  <a:gd name="connsiteY2" fmla="*/ 9550 h 10298"/>
                  <a:gd name="connsiteX3" fmla="*/ 9596 w 10000"/>
                  <a:gd name="connsiteY3" fmla="*/ 5400 h 10298"/>
                  <a:gd name="connsiteX4" fmla="*/ 9494 w 10000"/>
                  <a:gd name="connsiteY4" fmla="*/ 5400 h 10298"/>
                  <a:gd name="connsiteX5" fmla="*/ 9494 w 10000"/>
                  <a:gd name="connsiteY5" fmla="*/ 9550 h 10298"/>
                  <a:gd name="connsiteX6" fmla="*/ 9268 w 10000"/>
                  <a:gd name="connsiteY6" fmla="*/ 10000 h 10298"/>
                  <a:gd name="connsiteX7" fmla="*/ 9066 w 10000"/>
                  <a:gd name="connsiteY7" fmla="*/ 10000 h 10298"/>
                  <a:gd name="connsiteX8" fmla="*/ 8863 w 10000"/>
                  <a:gd name="connsiteY8" fmla="*/ 9550 h 10298"/>
                  <a:gd name="connsiteX9" fmla="*/ 8863 w 10000"/>
                  <a:gd name="connsiteY9" fmla="*/ 5400 h 10298"/>
                  <a:gd name="connsiteX10" fmla="*/ 7626 w 10000"/>
                  <a:gd name="connsiteY10" fmla="*/ 5400 h 10298"/>
                  <a:gd name="connsiteX11" fmla="*/ 8737 w 10000"/>
                  <a:gd name="connsiteY11" fmla="*/ 850 h 10298"/>
                  <a:gd name="connsiteX12" fmla="*/ 8737 w 10000"/>
                  <a:gd name="connsiteY12" fmla="*/ 100 h 10298"/>
                  <a:gd name="connsiteX13" fmla="*/ 7980 w 10000"/>
                  <a:gd name="connsiteY13" fmla="*/ 2750 h 10298"/>
                  <a:gd name="connsiteX14" fmla="*/ 7651 w 10000"/>
                  <a:gd name="connsiteY14" fmla="*/ 3000 h 10298"/>
                  <a:gd name="connsiteX15" fmla="*/ 7626 w 10000"/>
                  <a:gd name="connsiteY15" fmla="*/ 3000 h 10298"/>
                  <a:gd name="connsiteX16" fmla="*/ 7601 w 10000"/>
                  <a:gd name="connsiteY16" fmla="*/ 3150 h 10298"/>
                  <a:gd name="connsiteX17" fmla="*/ 7071 w 10000"/>
                  <a:gd name="connsiteY17" fmla="*/ 4200 h 10298"/>
                  <a:gd name="connsiteX18" fmla="*/ 6995 w 10000"/>
                  <a:gd name="connsiteY18" fmla="*/ 4250 h 10298"/>
                  <a:gd name="connsiteX19" fmla="*/ 6868 w 10000"/>
                  <a:gd name="connsiteY19" fmla="*/ 4150 h 10298"/>
                  <a:gd name="connsiteX20" fmla="*/ 6516 w 10000"/>
                  <a:gd name="connsiteY20" fmla="*/ 3250 h 10298"/>
                  <a:gd name="connsiteX21" fmla="*/ 6516 w 10000"/>
                  <a:gd name="connsiteY21" fmla="*/ 3900 h 10298"/>
                  <a:gd name="connsiteX22" fmla="*/ 7223 w 10000"/>
                  <a:gd name="connsiteY22" fmla="*/ 6800 h 10298"/>
                  <a:gd name="connsiteX23" fmla="*/ 6440 w 10000"/>
                  <a:gd name="connsiteY23" fmla="*/ 6800 h 10298"/>
                  <a:gd name="connsiteX24" fmla="*/ 6440 w 10000"/>
                  <a:gd name="connsiteY24" fmla="*/ 9400 h 10298"/>
                  <a:gd name="connsiteX25" fmla="*/ 6287 w 10000"/>
                  <a:gd name="connsiteY25" fmla="*/ 9650 h 10298"/>
                  <a:gd name="connsiteX26" fmla="*/ 6187 w 10000"/>
                  <a:gd name="connsiteY26" fmla="*/ 9650 h 10298"/>
                  <a:gd name="connsiteX27" fmla="*/ 6036 w 10000"/>
                  <a:gd name="connsiteY27" fmla="*/ 9400 h 10298"/>
                  <a:gd name="connsiteX28" fmla="*/ 6036 w 10000"/>
                  <a:gd name="connsiteY28" fmla="*/ 6800 h 10298"/>
                  <a:gd name="connsiteX29" fmla="*/ 5960 w 10000"/>
                  <a:gd name="connsiteY29" fmla="*/ 6800 h 10298"/>
                  <a:gd name="connsiteX30" fmla="*/ 5960 w 10000"/>
                  <a:gd name="connsiteY30" fmla="*/ 9400 h 10298"/>
                  <a:gd name="connsiteX31" fmla="*/ 5833 w 10000"/>
                  <a:gd name="connsiteY31" fmla="*/ 9650 h 10298"/>
                  <a:gd name="connsiteX32" fmla="*/ 5707 w 10000"/>
                  <a:gd name="connsiteY32" fmla="*/ 9650 h 10298"/>
                  <a:gd name="connsiteX33" fmla="*/ 5580 w 10000"/>
                  <a:gd name="connsiteY33" fmla="*/ 9400 h 10298"/>
                  <a:gd name="connsiteX34" fmla="*/ 5580 w 10000"/>
                  <a:gd name="connsiteY34" fmla="*/ 6800 h 10298"/>
                  <a:gd name="connsiteX35" fmla="*/ 4798 w 10000"/>
                  <a:gd name="connsiteY35" fmla="*/ 6800 h 10298"/>
                  <a:gd name="connsiteX36" fmla="*/ 5505 w 10000"/>
                  <a:gd name="connsiteY36" fmla="*/ 3900 h 10298"/>
                  <a:gd name="connsiteX37" fmla="*/ 5505 w 10000"/>
                  <a:gd name="connsiteY37" fmla="*/ 3500 h 10298"/>
                  <a:gd name="connsiteX38" fmla="*/ 5024 w 10000"/>
                  <a:gd name="connsiteY38" fmla="*/ 5150 h 10298"/>
                  <a:gd name="connsiteX39" fmla="*/ 4823 w 10000"/>
                  <a:gd name="connsiteY39" fmla="*/ 5250 h 10298"/>
                  <a:gd name="connsiteX40" fmla="*/ 4772 w 10000"/>
                  <a:gd name="connsiteY40" fmla="*/ 5200 h 10298"/>
                  <a:gd name="connsiteX41" fmla="*/ 4722 w 10000"/>
                  <a:gd name="connsiteY41" fmla="*/ 5250 h 10298"/>
                  <a:gd name="connsiteX42" fmla="*/ 4521 w 10000"/>
                  <a:gd name="connsiteY42" fmla="*/ 5100 h 10298"/>
                  <a:gd name="connsiteX43" fmla="*/ 4040 w 10000"/>
                  <a:gd name="connsiteY43" fmla="*/ 3450 h 10298"/>
                  <a:gd name="connsiteX44" fmla="*/ 4040 w 10000"/>
                  <a:gd name="connsiteY44" fmla="*/ 5700 h 10298"/>
                  <a:gd name="connsiteX45" fmla="*/ 4015 w 10000"/>
                  <a:gd name="connsiteY45" fmla="*/ 5800 h 10298"/>
                  <a:gd name="connsiteX46" fmla="*/ 4015 w 10000"/>
                  <a:gd name="connsiteY46" fmla="*/ 9450 h 10298"/>
                  <a:gd name="connsiteX47" fmla="*/ 3839 w 10000"/>
                  <a:gd name="connsiteY47" fmla="*/ 9750 h 10298"/>
                  <a:gd name="connsiteX48" fmla="*/ 3661 w 10000"/>
                  <a:gd name="connsiteY48" fmla="*/ 9750 h 10298"/>
                  <a:gd name="connsiteX49" fmla="*/ 3484 w 10000"/>
                  <a:gd name="connsiteY49" fmla="*/ 9450 h 10298"/>
                  <a:gd name="connsiteX50" fmla="*/ 3484 w 10000"/>
                  <a:gd name="connsiteY50" fmla="*/ 5900 h 10298"/>
                  <a:gd name="connsiteX51" fmla="*/ 3434 w 10000"/>
                  <a:gd name="connsiteY51" fmla="*/ 5900 h 10298"/>
                  <a:gd name="connsiteX52" fmla="*/ 3434 w 10000"/>
                  <a:gd name="connsiteY52" fmla="*/ 9450 h 10298"/>
                  <a:gd name="connsiteX53" fmla="*/ 3257 w 10000"/>
                  <a:gd name="connsiteY53" fmla="*/ 9750 h 10298"/>
                  <a:gd name="connsiteX54" fmla="*/ 3106 w 10000"/>
                  <a:gd name="connsiteY54" fmla="*/ 9750 h 10298"/>
                  <a:gd name="connsiteX55" fmla="*/ 2928 w 10000"/>
                  <a:gd name="connsiteY55" fmla="*/ 9450 h 10298"/>
                  <a:gd name="connsiteX56" fmla="*/ 2928 w 10000"/>
                  <a:gd name="connsiteY56" fmla="*/ 5800 h 10298"/>
                  <a:gd name="connsiteX57" fmla="*/ 2878 w 10000"/>
                  <a:gd name="connsiteY57" fmla="*/ 5700 h 10298"/>
                  <a:gd name="connsiteX58" fmla="*/ 2878 w 10000"/>
                  <a:gd name="connsiteY58" fmla="*/ 3200 h 10298"/>
                  <a:gd name="connsiteX59" fmla="*/ 2576 w 10000"/>
                  <a:gd name="connsiteY59" fmla="*/ 4050 h 10298"/>
                  <a:gd name="connsiteX60" fmla="*/ 2449 w 10000"/>
                  <a:gd name="connsiteY60" fmla="*/ 4150 h 10298"/>
                  <a:gd name="connsiteX61" fmla="*/ 2348 w 10000"/>
                  <a:gd name="connsiteY61" fmla="*/ 4100 h 10298"/>
                  <a:gd name="connsiteX62" fmla="*/ 1844 w 10000"/>
                  <a:gd name="connsiteY62" fmla="*/ 3050 h 10298"/>
                  <a:gd name="connsiteX63" fmla="*/ 1818 w 10000"/>
                  <a:gd name="connsiteY63" fmla="*/ 2800 h 10298"/>
                  <a:gd name="connsiteX64" fmla="*/ 1717 w 10000"/>
                  <a:gd name="connsiteY64" fmla="*/ 2600 h 10298"/>
                  <a:gd name="connsiteX65" fmla="*/ 959 w 10000"/>
                  <a:gd name="connsiteY65" fmla="*/ 0 h 10298"/>
                  <a:gd name="connsiteX66" fmla="*/ 959 w 10000"/>
                  <a:gd name="connsiteY66" fmla="*/ 3500 h 10298"/>
                  <a:gd name="connsiteX67" fmla="*/ 909 w 10000"/>
                  <a:gd name="connsiteY67" fmla="*/ 3700 h 10298"/>
                  <a:gd name="connsiteX68" fmla="*/ 909 w 10000"/>
                  <a:gd name="connsiteY68" fmla="*/ 9350 h 10298"/>
                  <a:gd name="connsiteX69" fmla="*/ 631 w 10000"/>
                  <a:gd name="connsiteY69" fmla="*/ 9850 h 10298"/>
                  <a:gd name="connsiteX70" fmla="*/ 378 w 10000"/>
                  <a:gd name="connsiteY70" fmla="*/ 9850 h 10298"/>
                  <a:gd name="connsiteX71" fmla="*/ 101 w 10000"/>
                  <a:gd name="connsiteY71" fmla="*/ 3800 h 10298"/>
                  <a:gd name="connsiteX72" fmla="*/ 0 w 10000"/>
                  <a:gd name="connsiteY72" fmla="*/ 9350 h 10298"/>
                  <a:gd name="connsiteX0" fmla="*/ 10000 w 10000"/>
                  <a:gd name="connsiteY0" fmla="*/ 10000 h 10000"/>
                  <a:gd name="connsiteX1" fmla="*/ 9823 w 10000"/>
                  <a:gd name="connsiteY1" fmla="*/ 10000 h 10000"/>
                  <a:gd name="connsiteX2" fmla="*/ 9596 w 10000"/>
                  <a:gd name="connsiteY2" fmla="*/ 9550 h 10000"/>
                  <a:gd name="connsiteX3" fmla="*/ 9596 w 10000"/>
                  <a:gd name="connsiteY3" fmla="*/ 5400 h 10000"/>
                  <a:gd name="connsiteX4" fmla="*/ 9494 w 10000"/>
                  <a:gd name="connsiteY4" fmla="*/ 5400 h 10000"/>
                  <a:gd name="connsiteX5" fmla="*/ 9494 w 10000"/>
                  <a:gd name="connsiteY5" fmla="*/ 9550 h 10000"/>
                  <a:gd name="connsiteX6" fmla="*/ 9268 w 10000"/>
                  <a:gd name="connsiteY6" fmla="*/ 10000 h 10000"/>
                  <a:gd name="connsiteX7" fmla="*/ 9066 w 10000"/>
                  <a:gd name="connsiteY7" fmla="*/ 10000 h 10000"/>
                  <a:gd name="connsiteX8" fmla="*/ 8863 w 10000"/>
                  <a:gd name="connsiteY8" fmla="*/ 9550 h 10000"/>
                  <a:gd name="connsiteX9" fmla="*/ 8863 w 10000"/>
                  <a:gd name="connsiteY9" fmla="*/ 5400 h 10000"/>
                  <a:gd name="connsiteX10" fmla="*/ 7626 w 10000"/>
                  <a:gd name="connsiteY10" fmla="*/ 5400 h 10000"/>
                  <a:gd name="connsiteX11" fmla="*/ 8737 w 10000"/>
                  <a:gd name="connsiteY11" fmla="*/ 850 h 10000"/>
                  <a:gd name="connsiteX12" fmla="*/ 8737 w 10000"/>
                  <a:gd name="connsiteY12" fmla="*/ 100 h 10000"/>
                  <a:gd name="connsiteX13" fmla="*/ 7980 w 10000"/>
                  <a:gd name="connsiteY13" fmla="*/ 2750 h 10000"/>
                  <a:gd name="connsiteX14" fmla="*/ 7651 w 10000"/>
                  <a:gd name="connsiteY14" fmla="*/ 3000 h 10000"/>
                  <a:gd name="connsiteX15" fmla="*/ 7626 w 10000"/>
                  <a:gd name="connsiteY15" fmla="*/ 3000 h 10000"/>
                  <a:gd name="connsiteX16" fmla="*/ 7601 w 10000"/>
                  <a:gd name="connsiteY16" fmla="*/ 3150 h 10000"/>
                  <a:gd name="connsiteX17" fmla="*/ 7071 w 10000"/>
                  <a:gd name="connsiteY17" fmla="*/ 4200 h 10000"/>
                  <a:gd name="connsiteX18" fmla="*/ 6995 w 10000"/>
                  <a:gd name="connsiteY18" fmla="*/ 4250 h 10000"/>
                  <a:gd name="connsiteX19" fmla="*/ 6868 w 10000"/>
                  <a:gd name="connsiteY19" fmla="*/ 4150 h 10000"/>
                  <a:gd name="connsiteX20" fmla="*/ 6516 w 10000"/>
                  <a:gd name="connsiteY20" fmla="*/ 3250 h 10000"/>
                  <a:gd name="connsiteX21" fmla="*/ 6516 w 10000"/>
                  <a:gd name="connsiteY21" fmla="*/ 3900 h 10000"/>
                  <a:gd name="connsiteX22" fmla="*/ 7223 w 10000"/>
                  <a:gd name="connsiteY22" fmla="*/ 6800 h 10000"/>
                  <a:gd name="connsiteX23" fmla="*/ 6440 w 10000"/>
                  <a:gd name="connsiteY23" fmla="*/ 6800 h 10000"/>
                  <a:gd name="connsiteX24" fmla="*/ 6440 w 10000"/>
                  <a:gd name="connsiteY24" fmla="*/ 9400 h 10000"/>
                  <a:gd name="connsiteX25" fmla="*/ 6287 w 10000"/>
                  <a:gd name="connsiteY25" fmla="*/ 9650 h 10000"/>
                  <a:gd name="connsiteX26" fmla="*/ 6187 w 10000"/>
                  <a:gd name="connsiteY26" fmla="*/ 9650 h 10000"/>
                  <a:gd name="connsiteX27" fmla="*/ 6036 w 10000"/>
                  <a:gd name="connsiteY27" fmla="*/ 9400 h 10000"/>
                  <a:gd name="connsiteX28" fmla="*/ 6036 w 10000"/>
                  <a:gd name="connsiteY28" fmla="*/ 6800 h 10000"/>
                  <a:gd name="connsiteX29" fmla="*/ 5960 w 10000"/>
                  <a:gd name="connsiteY29" fmla="*/ 6800 h 10000"/>
                  <a:gd name="connsiteX30" fmla="*/ 5960 w 10000"/>
                  <a:gd name="connsiteY30" fmla="*/ 9400 h 10000"/>
                  <a:gd name="connsiteX31" fmla="*/ 5833 w 10000"/>
                  <a:gd name="connsiteY31" fmla="*/ 9650 h 10000"/>
                  <a:gd name="connsiteX32" fmla="*/ 5707 w 10000"/>
                  <a:gd name="connsiteY32" fmla="*/ 9650 h 10000"/>
                  <a:gd name="connsiteX33" fmla="*/ 5580 w 10000"/>
                  <a:gd name="connsiteY33" fmla="*/ 9400 h 10000"/>
                  <a:gd name="connsiteX34" fmla="*/ 5580 w 10000"/>
                  <a:gd name="connsiteY34" fmla="*/ 6800 h 10000"/>
                  <a:gd name="connsiteX35" fmla="*/ 4798 w 10000"/>
                  <a:gd name="connsiteY35" fmla="*/ 6800 h 10000"/>
                  <a:gd name="connsiteX36" fmla="*/ 5505 w 10000"/>
                  <a:gd name="connsiteY36" fmla="*/ 3900 h 10000"/>
                  <a:gd name="connsiteX37" fmla="*/ 5505 w 10000"/>
                  <a:gd name="connsiteY37" fmla="*/ 3500 h 10000"/>
                  <a:gd name="connsiteX38" fmla="*/ 5024 w 10000"/>
                  <a:gd name="connsiteY38" fmla="*/ 5150 h 10000"/>
                  <a:gd name="connsiteX39" fmla="*/ 4823 w 10000"/>
                  <a:gd name="connsiteY39" fmla="*/ 5250 h 10000"/>
                  <a:gd name="connsiteX40" fmla="*/ 4772 w 10000"/>
                  <a:gd name="connsiteY40" fmla="*/ 5200 h 10000"/>
                  <a:gd name="connsiteX41" fmla="*/ 4722 w 10000"/>
                  <a:gd name="connsiteY41" fmla="*/ 5250 h 10000"/>
                  <a:gd name="connsiteX42" fmla="*/ 4521 w 10000"/>
                  <a:gd name="connsiteY42" fmla="*/ 5100 h 10000"/>
                  <a:gd name="connsiteX43" fmla="*/ 4040 w 10000"/>
                  <a:gd name="connsiteY43" fmla="*/ 3450 h 10000"/>
                  <a:gd name="connsiteX44" fmla="*/ 4040 w 10000"/>
                  <a:gd name="connsiteY44" fmla="*/ 5700 h 10000"/>
                  <a:gd name="connsiteX45" fmla="*/ 4015 w 10000"/>
                  <a:gd name="connsiteY45" fmla="*/ 5800 h 10000"/>
                  <a:gd name="connsiteX46" fmla="*/ 4015 w 10000"/>
                  <a:gd name="connsiteY46" fmla="*/ 9450 h 10000"/>
                  <a:gd name="connsiteX47" fmla="*/ 3839 w 10000"/>
                  <a:gd name="connsiteY47" fmla="*/ 9750 h 10000"/>
                  <a:gd name="connsiteX48" fmla="*/ 3661 w 10000"/>
                  <a:gd name="connsiteY48" fmla="*/ 9750 h 10000"/>
                  <a:gd name="connsiteX49" fmla="*/ 3484 w 10000"/>
                  <a:gd name="connsiteY49" fmla="*/ 9450 h 10000"/>
                  <a:gd name="connsiteX50" fmla="*/ 3484 w 10000"/>
                  <a:gd name="connsiteY50" fmla="*/ 5900 h 10000"/>
                  <a:gd name="connsiteX51" fmla="*/ 3434 w 10000"/>
                  <a:gd name="connsiteY51" fmla="*/ 5900 h 10000"/>
                  <a:gd name="connsiteX52" fmla="*/ 3434 w 10000"/>
                  <a:gd name="connsiteY52" fmla="*/ 9450 h 10000"/>
                  <a:gd name="connsiteX53" fmla="*/ 3257 w 10000"/>
                  <a:gd name="connsiteY53" fmla="*/ 9750 h 10000"/>
                  <a:gd name="connsiteX54" fmla="*/ 3106 w 10000"/>
                  <a:gd name="connsiteY54" fmla="*/ 9750 h 10000"/>
                  <a:gd name="connsiteX55" fmla="*/ 2928 w 10000"/>
                  <a:gd name="connsiteY55" fmla="*/ 9450 h 10000"/>
                  <a:gd name="connsiteX56" fmla="*/ 2928 w 10000"/>
                  <a:gd name="connsiteY56" fmla="*/ 5800 h 10000"/>
                  <a:gd name="connsiteX57" fmla="*/ 2878 w 10000"/>
                  <a:gd name="connsiteY57" fmla="*/ 5700 h 10000"/>
                  <a:gd name="connsiteX58" fmla="*/ 2878 w 10000"/>
                  <a:gd name="connsiteY58" fmla="*/ 3200 h 10000"/>
                  <a:gd name="connsiteX59" fmla="*/ 2576 w 10000"/>
                  <a:gd name="connsiteY59" fmla="*/ 4050 h 10000"/>
                  <a:gd name="connsiteX60" fmla="*/ 2449 w 10000"/>
                  <a:gd name="connsiteY60" fmla="*/ 4150 h 10000"/>
                  <a:gd name="connsiteX61" fmla="*/ 2348 w 10000"/>
                  <a:gd name="connsiteY61" fmla="*/ 4100 h 10000"/>
                  <a:gd name="connsiteX62" fmla="*/ 1844 w 10000"/>
                  <a:gd name="connsiteY62" fmla="*/ 3050 h 10000"/>
                  <a:gd name="connsiteX63" fmla="*/ 1818 w 10000"/>
                  <a:gd name="connsiteY63" fmla="*/ 2800 h 10000"/>
                  <a:gd name="connsiteX64" fmla="*/ 1717 w 10000"/>
                  <a:gd name="connsiteY64" fmla="*/ 2600 h 10000"/>
                  <a:gd name="connsiteX65" fmla="*/ 959 w 10000"/>
                  <a:gd name="connsiteY65" fmla="*/ 0 h 10000"/>
                  <a:gd name="connsiteX66" fmla="*/ 959 w 10000"/>
                  <a:gd name="connsiteY66" fmla="*/ 3500 h 10000"/>
                  <a:gd name="connsiteX67" fmla="*/ 909 w 10000"/>
                  <a:gd name="connsiteY67" fmla="*/ 3700 h 10000"/>
                  <a:gd name="connsiteX68" fmla="*/ 909 w 10000"/>
                  <a:gd name="connsiteY68" fmla="*/ 9350 h 10000"/>
                  <a:gd name="connsiteX69" fmla="*/ 631 w 10000"/>
                  <a:gd name="connsiteY69" fmla="*/ 9850 h 10000"/>
                  <a:gd name="connsiteX70" fmla="*/ 378 w 10000"/>
                  <a:gd name="connsiteY70" fmla="*/ 9850 h 10000"/>
                  <a:gd name="connsiteX71" fmla="*/ 0 w 10000"/>
                  <a:gd name="connsiteY71" fmla="*/ 9350 h 10000"/>
                  <a:gd name="connsiteX0" fmla="*/ 9622 w 9622"/>
                  <a:gd name="connsiteY0" fmla="*/ 10000 h 10000"/>
                  <a:gd name="connsiteX1" fmla="*/ 9445 w 9622"/>
                  <a:gd name="connsiteY1" fmla="*/ 10000 h 10000"/>
                  <a:gd name="connsiteX2" fmla="*/ 9218 w 9622"/>
                  <a:gd name="connsiteY2" fmla="*/ 9550 h 10000"/>
                  <a:gd name="connsiteX3" fmla="*/ 9218 w 9622"/>
                  <a:gd name="connsiteY3" fmla="*/ 5400 h 10000"/>
                  <a:gd name="connsiteX4" fmla="*/ 9116 w 9622"/>
                  <a:gd name="connsiteY4" fmla="*/ 5400 h 10000"/>
                  <a:gd name="connsiteX5" fmla="*/ 9116 w 9622"/>
                  <a:gd name="connsiteY5" fmla="*/ 9550 h 10000"/>
                  <a:gd name="connsiteX6" fmla="*/ 8890 w 9622"/>
                  <a:gd name="connsiteY6" fmla="*/ 10000 h 10000"/>
                  <a:gd name="connsiteX7" fmla="*/ 8688 w 9622"/>
                  <a:gd name="connsiteY7" fmla="*/ 10000 h 10000"/>
                  <a:gd name="connsiteX8" fmla="*/ 8485 w 9622"/>
                  <a:gd name="connsiteY8" fmla="*/ 9550 h 10000"/>
                  <a:gd name="connsiteX9" fmla="*/ 8485 w 9622"/>
                  <a:gd name="connsiteY9" fmla="*/ 5400 h 10000"/>
                  <a:gd name="connsiteX10" fmla="*/ 7248 w 9622"/>
                  <a:gd name="connsiteY10" fmla="*/ 5400 h 10000"/>
                  <a:gd name="connsiteX11" fmla="*/ 8359 w 9622"/>
                  <a:gd name="connsiteY11" fmla="*/ 850 h 10000"/>
                  <a:gd name="connsiteX12" fmla="*/ 8359 w 9622"/>
                  <a:gd name="connsiteY12" fmla="*/ 100 h 10000"/>
                  <a:gd name="connsiteX13" fmla="*/ 7602 w 9622"/>
                  <a:gd name="connsiteY13" fmla="*/ 2750 h 10000"/>
                  <a:gd name="connsiteX14" fmla="*/ 7273 w 9622"/>
                  <a:gd name="connsiteY14" fmla="*/ 3000 h 10000"/>
                  <a:gd name="connsiteX15" fmla="*/ 7248 w 9622"/>
                  <a:gd name="connsiteY15" fmla="*/ 3000 h 10000"/>
                  <a:gd name="connsiteX16" fmla="*/ 7223 w 9622"/>
                  <a:gd name="connsiteY16" fmla="*/ 3150 h 10000"/>
                  <a:gd name="connsiteX17" fmla="*/ 6693 w 9622"/>
                  <a:gd name="connsiteY17" fmla="*/ 4200 h 10000"/>
                  <a:gd name="connsiteX18" fmla="*/ 6617 w 9622"/>
                  <a:gd name="connsiteY18" fmla="*/ 4250 h 10000"/>
                  <a:gd name="connsiteX19" fmla="*/ 6490 w 9622"/>
                  <a:gd name="connsiteY19" fmla="*/ 4150 h 10000"/>
                  <a:gd name="connsiteX20" fmla="*/ 6138 w 9622"/>
                  <a:gd name="connsiteY20" fmla="*/ 3250 h 10000"/>
                  <a:gd name="connsiteX21" fmla="*/ 6138 w 9622"/>
                  <a:gd name="connsiteY21" fmla="*/ 3900 h 10000"/>
                  <a:gd name="connsiteX22" fmla="*/ 6845 w 9622"/>
                  <a:gd name="connsiteY22" fmla="*/ 6800 h 10000"/>
                  <a:gd name="connsiteX23" fmla="*/ 6062 w 9622"/>
                  <a:gd name="connsiteY23" fmla="*/ 6800 h 10000"/>
                  <a:gd name="connsiteX24" fmla="*/ 6062 w 9622"/>
                  <a:gd name="connsiteY24" fmla="*/ 9400 h 10000"/>
                  <a:gd name="connsiteX25" fmla="*/ 5909 w 9622"/>
                  <a:gd name="connsiteY25" fmla="*/ 9650 h 10000"/>
                  <a:gd name="connsiteX26" fmla="*/ 5809 w 9622"/>
                  <a:gd name="connsiteY26" fmla="*/ 9650 h 10000"/>
                  <a:gd name="connsiteX27" fmla="*/ 5658 w 9622"/>
                  <a:gd name="connsiteY27" fmla="*/ 9400 h 10000"/>
                  <a:gd name="connsiteX28" fmla="*/ 5658 w 9622"/>
                  <a:gd name="connsiteY28" fmla="*/ 6800 h 10000"/>
                  <a:gd name="connsiteX29" fmla="*/ 5582 w 9622"/>
                  <a:gd name="connsiteY29" fmla="*/ 6800 h 10000"/>
                  <a:gd name="connsiteX30" fmla="*/ 5582 w 9622"/>
                  <a:gd name="connsiteY30" fmla="*/ 9400 h 10000"/>
                  <a:gd name="connsiteX31" fmla="*/ 5455 w 9622"/>
                  <a:gd name="connsiteY31" fmla="*/ 9650 h 10000"/>
                  <a:gd name="connsiteX32" fmla="*/ 5329 w 9622"/>
                  <a:gd name="connsiteY32" fmla="*/ 9650 h 10000"/>
                  <a:gd name="connsiteX33" fmla="*/ 5202 w 9622"/>
                  <a:gd name="connsiteY33" fmla="*/ 9400 h 10000"/>
                  <a:gd name="connsiteX34" fmla="*/ 5202 w 9622"/>
                  <a:gd name="connsiteY34" fmla="*/ 6800 h 10000"/>
                  <a:gd name="connsiteX35" fmla="*/ 4420 w 9622"/>
                  <a:gd name="connsiteY35" fmla="*/ 6800 h 10000"/>
                  <a:gd name="connsiteX36" fmla="*/ 5127 w 9622"/>
                  <a:gd name="connsiteY36" fmla="*/ 3900 h 10000"/>
                  <a:gd name="connsiteX37" fmla="*/ 5127 w 9622"/>
                  <a:gd name="connsiteY37" fmla="*/ 3500 h 10000"/>
                  <a:gd name="connsiteX38" fmla="*/ 4646 w 9622"/>
                  <a:gd name="connsiteY38" fmla="*/ 5150 h 10000"/>
                  <a:gd name="connsiteX39" fmla="*/ 4445 w 9622"/>
                  <a:gd name="connsiteY39" fmla="*/ 5250 h 10000"/>
                  <a:gd name="connsiteX40" fmla="*/ 4394 w 9622"/>
                  <a:gd name="connsiteY40" fmla="*/ 5200 h 10000"/>
                  <a:gd name="connsiteX41" fmla="*/ 4344 w 9622"/>
                  <a:gd name="connsiteY41" fmla="*/ 5250 h 10000"/>
                  <a:gd name="connsiteX42" fmla="*/ 4143 w 9622"/>
                  <a:gd name="connsiteY42" fmla="*/ 5100 h 10000"/>
                  <a:gd name="connsiteX43" fmla="*/ 3662 w 9622"/>
                  <a:gd name="connsiteY43" fmla="*/ 3450 h 10000"/>
                  <a:gd name="connsiteX44" fmla="*/ 3662 w 9622"/>
                  <a:gd name="connsiteY44" fmla="*/ 5700 h 10000"/>
                  <a:gd name="connsiteX45" fmla="*/ 3637 w 9622"/>
                  <a:gd name="connsiteY45" fmla="*/ 5800 h 10000"/>
                  <a:gd name="connsiteX46" fmla="*/ 3637 w 9622"/>
                  <a:gd name="connsiteY46" fmla="*/ 9450 h 10000"/>
                  <a:gd name="connsiteX47" fmla="*/ 3461 w 9622"/>
                  <a:gd name="connsiteY47" fmla="*/ 9750 h 10000"/>
                  <a:gd name="connsiteX48" fmla="*/ 3283 w 9622"/>
                  <a:gd name="connsiteY48" fmla="*/ 9750 h 10000"/>
                  <a:gd name="connsiteX49" fmla="*/ 3106 w 9622"/>
                  <a:gd name="connsiteY49" fmla="*/ 9450 h 10000"/>
                  <a:gd name="connsiteX50" fmla="*/ 3106 w 9622"/>
                  <a:gd name="connsiteY50" fmla="*/ 5900 h 10000"/>
                  <a:gd name="connsiteX51" fmla="*/ 3056 w 9622"/>
                  <a:gd name="connsiteY51" fmla="*/ 5900 h 10000"/>
                  <a:gd name="connsiteX52" fmla="*/ 3056 w 9622"/>
                  <a:gd name="connsiteY52" fmla="*/ 9450 h 10000"/>
                  <a:gd name="connsiteX53" fmla="*/ 2879 w 9622"/>
                  <a:gd name="connsiteY53" fmla="*/ 9750 h 10000"/>
                  <a:gd name="connsiteX54" fmla="*/ 2728 w 9622"/>
                  <a:gd name="connsiteY54" fmla="*/ 9750 h 10000"/>
                  <a:gd name="connsiteX55" fmla="*/ 2550 w 9622"/>
                  <a:gd name="connsiteY55" fmla="*/ 9450 h 10000"/>
                  <a:gd name="connsiteX56" fmla="*/ 2550 w 9622"/>
                  <a:gd name="connsiteY56" fmla="*/ 5800 h 10000"/>
                  <a:gd name="connsiteX57" fmla="*/ 2500 w 9622"/>
                  <a:gd name="connsiteY57" fmla="*/ 5700 h 10000"/>
                  <a:gd name="connsiteX58" fmla="*/ 2500 w 9622"/>
                  <a:gd name="connsiteY58" fmla="*/ 3200 h 10000"/>
                  <a:gd name="connsiteX59" fmla="*/ 2198 w 9622"/>
                  <a:gd name="connsiteY59" fmla="*/ 4050 h 10000"/>
                  <a:gd name="connsiteX60" fmla="*/ 2071 w 9622"/>
                  <a:gd name="connsiteY60" fmla="*/ 4150 h 10000"/>
                  <a:gd name="connsiteX61" fmla="*/ 1970 w 9622"/>
                  <a:gd name="connsiteY61" fmla="*/ 4100 h 10000"/>
                  <a:gd name="connsiteX62" fmla="*/ 1466 w 9622"/>
                  <a:gd name="connsiteY62" fmla="*/ 3050 h 10000"/>
                  <a:gd name="connsiteX63" fmla="*/ 1440 w 9622"/>
                  <a:gd name="connsiteY63" fmla="*/ 2800 h 10000"/>
                  <a:gd name="connsiteX64" fmla="*/ 1339 w 9622"/>
                  <a:gd name="connsiteY64" fmla="*/ 2600 h 10000"/>
                  <a:gd name="connsiteX65" fmla="*/ 581 w 9622"/>
                  <a:gd name="connsiteY65" fmla="*/ 0 h 10000"/>
                  <a:gd name="connsiteX66" fmla="*/ 581 w 9622"/>
                  <a:gd name="connsiteY66" fmla="*/ 3500 h 10000"/>
                  <a:gd name="connsiteX67" fmla="*/ 531 w 9622"/>
                  <a:gd name="connsiteY67" fmla="*/ 3700 h 10000"/>
                  <a:gd name="connsiteX68" fmla="*/ 531 w 9622"/>
                  <a:gd name="connsiteY68" fmla="*/ 9350 h 10000"/>
                  <a:gd name="connsiteX69" fmla="*/ 253 w 9622"/>
                  <a:gd name="connsiteY69" fmla="*/ 9850 h 10000"/>
                  <a:gd name="connsiteX70" fmla="*/ 0 w 9622"/>
                  <a:gd name="connsiteY70" fmla="*/ 9850 h 10000"/>
                  <a:gd name="connsiteX0" fmla="*/ 9737 w 9737"/>
                  <a:gd name="connsiteY0" fmla="*/ 10000 h 10000"/>
                  <a:gd name="connsiteX1" fmla="*/ 9553 w 9737"/>
                  <a:gd name="connsiteY1" fmla="*/ 10000 h 10000"/>
                  <a:gd name="connsiteX2" fmla="*/ 9317 w 9737"/>
                  <a:gd name="connsiteY2" fmla="*/ 9550 h 10000"/>
                  <a:gd name="connsiteX3" fmla="*/ 9317 w 9737"/>
                  <a:gd name="connsiteY3" fmla="*/ 5400 h 10000"/>
                  <a:gd name="connsiteX4" fmla="*/ 9211 w 9737"/>
                  <a:gd name="connsiteY4" fmla="*/ 5400 h 10000"/>
                  <a:gd name="connsiteX5" fmla="*/ 9211 w 9737"/>
                  <a:gd name="connsiteY5" fmla="*/ 9550 h 10000"/>
                  <a:gd name="connsiteX6" fmla="*/ 8976 w 9737"/>
                  <a:gd name="connsiteY6" fmla="*/ 10000 h 10000"/>
                  <a:gd name="connsiteX7" fmla="*/ 8766 w 9737"/>
                  <a:gd name="connsiteY7" fmla="*/ 10000 h 10000"/>
                  <a:gd name="connsiteX8" fmla="*/ 8555 w 9737"/>
                  <a:gd name="connsiteY8" fmla="*/ 9550 h 10000"/>
                  <a:gd name="connsiteX9" fmla="*/ 8555 w 9737"/>
                  <a:gd name="connsiteY9" fmla="*/ 5400 h 10000"/>
                  <a:gd name="connsiteX10" fmla="*/ 7270 w 9737"/>
                  <a:gd name="connsiteY10" fmla="*/ 5400 h 10000"/>
                  <a:gd name="connsiteX11" fmla="*/ 8424 w 9737"/>
                  <a:gd name="connsiteY11" fmla="*/ 850 h 10000"/>
                  <a:gd name="connsiteX12" fmla="*/ 8424 w 9737"/>
                  <a:gd name="connsiteY12" fmla="*/ 100 h 10000"/>
                  <a:gd name="connsiteX13" fmla="*/ 7638 w 9737"/>
                  <a:gd name="connsiteY13" fmla="*/ 2750 h 10000"/>
                  <a:gd name="connsiteX14" fmla="*/ 7296 w 9737"/>
                  <a:gd name="connsiteY14" fmla="*/ 3000 h 10000"/>
                  <a:gd name="connsiteX15" fmla="*/ 7270 w 9737"/>
                  <a:gd name="connsiteY15" fmla="*/ 3000 h 10000"/>
                  <a:gd name="connsiteX16" fmla="*/ 7244 w 9737"/>
                  <a:gd name="connsiteY16" fmla="*/ 3150 h 10000"/>
                  <a:gd name="connsiteX17" fmla="*/ 6693 w 9737"/>
                  <a:gd name="connsiteY17" fmla="*/ 4200 h 10000"/>
                  <a:gd name="connsiteX18" fmla="*/ 6614 w 9737"/>
                  <a:gd name="connsiteY18" fmla="*/ 4250 h 10000"/>
                  <a:gd name="connsiteX19" fmla="*/ 6482 w 9737"/>
                  <a:gd name="connsiteY19" fmla="*/ 4150 h 10000"/>
                  <a:gd name="connsiteX20" fmla="*/ 6116 w 9737"/>
                  <a:gd name="connsiteY20" fmla="*/ 3250 h 10000"/>
                  <a:gd name="connsiteX21" fmla="*/ 6116 w 9737"/>
                  <a:gd name="connsiteY21" fmla="*/ 3900 h 10000"/>
                  <a:gd name="connsiteX22" fmla="*/ 6851 w 9737"/>
                  <a:gd name="connsiteY22" fmla="*/ 6800 h 10000"/>
                  <a:gd name="connsiteX23" fmla="*/ 6037 w 9737"/>
                  <a:gd name="connsiteY23" fmla="*/ 6800 h 10000"/>
                  <a:gd name="connsiteX24" fmla="*/ 6037 w 9737"/>
                  <a:gd name="connsiteY24" fmla="*/ 9400 h 10000"/>
                  <a:gd name="connsiteX25" fmla="*/ 5878 w 9737"/>
                  <a:gd name="connsiteY25" fmla="*/ 9650 h 10000"/>
                  <a:gd name="connsiteX26" fmla="*/ 5774 w 9737"/>
                  <a:gd name="connsiteY26" fmla="*/ 9650 h 10000"/>
                  <a:gd name="connsiteX27" fmla="*/ 5617 w 9737"/>
                  <a:gd name="connsiteY27" fmla="*/ 9400 h 10000"/>
                  <a:gd name="connsiteX28" fmla="*/ 5617 w 9737"/>
                  <a:gd name="connsiteY28" fmla="*/ 6800 h 10000"/>
                  <a:gd name="connsiteX29" fmla="*/ 5538 w 9737"/>
                  <a:gd name="connsiteY29" fmla="*/ 6800 h 10000"/>
                  <a:gd name="connsiteX30" fmla="*/ 5538 w 9737"/>
                  <a:gd name="connsiteY30" fmla="*/ 9400 h 10000"/>
                  <a:gd name="connsiteX31" fmla="*/ 5406 w 9737"/>
                  <a:gd name="connsiteY31" fmla="*/ 9650 h 10000"/>
                  <a:gd name="connsiteX32" fmla="*/ 5275 w 9737"/>
                  <a:gd name="connsiteY32" fmla="*/ 9650 h 10000"/>
                  <a:gd name="connsiteX33" fmla="*/ 5143 w 9737"/>
                  <a:gd name="connsiteY33" fmla="*/ 9400 h 10000"/>
                  <a:gd name="connsiteX34" fmla="*/ 5143 w 9737"/>
                  <a:gd name="connsiteY34" fmla="*/ 6800 h 10000"/>
                  <a:gd name="connsiteX35" fmla="*/ 4331 w 9737"/>
                  <a:gd name="connsiteY35" fmla="*/ 6800 h 10000"/>
                  <a:gd name="connsiteX36" fmla="*/ 5065 w 9737"/>
                  <a:gd name="connsiteY36" fmla="*/ 3900 h 10000"/>
                  <a:gd name="connsiteX37" fmla="*/ 5065 w 9737"/>
                  <a:gd name="connsiteY37" fmla="*/ 3500 h 10000"/>
                  <a:gd name="connsiteX38" fmla="*/ 4566 w 9737"/>
                  <a:gd name="connsiteY38" fmla="*/ 5150 h 10000"/>
                  <a:gd name="connsiteX39" fmla="*/ 4357 w 9737"/>
                  <a:gd name="connsiteY39" fmla="*/ 5250 h 10000"/>
                  <a:gd name="connsiteX40" fmla="*/ 4304 w 9737"/>
                  <a:gd name="connsiteY40" fmla="*/ 5200 h 10000"/>
                  <a:gd name="connsiteX41" fmla="*/ 4252 w 9737"/>
                  <a:gd name="connsiteY41" fmla="*/ 5250 h 10000"/>
                  <a:gd name="connsiteX42" fmla="*/ 4043 w 9737"/>
                  <a:gd name="connsiteY42" fmla="*/ 5100 h 10000"/>
                  <a:gd name="connsiteX43" fmla="*/ 3543 w 9737"/>
                  <a:gd name="connsiteY43" fmla="*/ 3450 h 10000"/>
                  <a:gd name="connsiteX44" fmla="*/ 3543 w 9737"/>
                  <a:gd name="connsiteY44" fmla="*/ 5700 h 10000"/>
                  <a:gd name="connsiteX45" fmla="*/ 3517 w 9737"/>
                  <a:gd name="connsiteY45" fmla="*/ 5800 h 10000"/>
                  <a:gd name="connsiteX46" fmla="*/ 3517 w 9737"/>
                  <a:gd name="connsiteY46" fmla="*/ 9450 h 10000"/>
                  <a:gd name="connsiteX47" fmla="*/ 3334 w 9737"/>
                  <a:gd name="connsiteY47" fmla="*/ 9750 h 10000"/>
                  <a:gd name="connsiteX48" fmla="*/ 3149 w 9737"/>
                  <a:gd name="connsiteY48" fmla="*/ 9750 h 10000"/>
                  <a:gd name="connsiteX49" fmla="*/ 2965 w 9737"/>
                  <a:gd name="connsiteY49" fmla="*/ 9450 h 10000"/>
                  <a:gd name="connsiteX50" fmla="*/ 2965 w 9737"/>
                  <a:gd name="connsiteY50" fmla="*/ 5900 h 10000"/>
                  <a:gd name="connsiteX51" fmla="*/ 2913 w 9737"/>
                  <a:gd name="connsiteY51" fmla="*/ 5900 h 10000"/>
                  <a:gd name="connsiteX52" fmla="*/ 2913 w 9737"/>
                  <a:gd name="connsiteY52" fmla="*/ 9450 h 10000"/>
                  <a:gd name="connsiteX53" fmla="*/ 2729 w 9737"/>
                  <a:gd name="connsiteY53" fmla="*/ 9750 h 10000"/>
                  <a:gd name="connsiteX54" fmla="*/ 2572 w 9737"/>
                  <a:gd name="connsiteY54" fmla="*/ 9750 h 10000"/>
                  <a:gd name="connsiteX55" fmla="*/ 2387 w 9737"/>
                  <a:gd name="connsiteY55" fmla="*/ 9450 h 10000"/>
                  <a:gd name="connsiteX56" fmla="*/ 2387 w 9737"/>
                  <a:gd name="connsiteY56" fmla="*/ 5800 h 10000"/>
                  <a:gd name="connsiteX57" fmla="*/ 2335 w 9737"/>
                  <a:gd name="connsiteY57" fmla="*/ 5700 h 10000"/>
                  <a:gd name="connsiteX58" fmla="*/ 2335 w 9737"/>
                  <a:gd name="connsiteY58" fmla="*/ 3200 h 10000"/>
                  <a:gd name="connsiteX59" fmla="*/ 2021 w 9737"/>
                  <a:gd name="connsiteY59" fmla="*/ 4050 h 10000"/>
                  <a:gd name="connsiteX60" fmla="*/ 1889 w 9737"/>
                  <a:gd name="connsiteY60" fmla="*/ 4150 h 10000"/>
                  <a:gd name="connsiteX61" fmla="*/ 1784 w 9737"/>
                  <a:gd name="connsiteY61" fmla="*/ 4100 h 10000"/>
                  <a:gd name="connsiteX62" fmla="*/ 1261 w 9737"/>
                  <a:gd name="connsiteY62" fmla="*/ 3050 h 10000"/>
                  <a:gd name="connsiteX63" fmla="*/ 1234 w 9737"/>
                  <a:gd name="connsiteY63" fmla="*/ 2800 h 10000"/>
                  <a:gd name="connsiteX64" fmla="*/ 1129 w 9737"/>
                  <a:gd name="connsiteY64" fmla="*/ 2600 h 10000"/>
                  <a:gd name="connsiteX65" fmla="*/ 341 w 9737"/>
                  <a:gd name="connsiteY65" fmla="*/ 0 h 10000"/>
                  <a:gd name="connsiteX66" fmla="*/ 341 w 9737"/>
                  <a:gd name="connsiteY66" fmla="*/ 3500 h 10000"/>
                  <a:gd name="connsiteX67" fmla="*/ 289 w 9737"/>
                  <a:gd name="connsiteY67" fmla="*/ 3700 h 10000"/>
                  <a:gd name="connsiteX68" fmla="*/ 289 w 9737"/>
                  <a:gd name="connsiteY68" fmla="*/ 9350 h 10000"/>
                  <a:gd name="connsiteX69" fmla="*/ 0 w 9737"/>
                  <a:gd name="connsiteY69" fmla="*/ 9850 h 10000"/>
                  <a:gd name="connsiteX0" fmla="*/ 9703 w 9703"/>
                  <a:gd name="connsiteY0" fmla="*/ 10000 h 10000"/>
                  <a:gd name="connsiteX1" fmla="*/ 9514 w 9703"/>
                  <a:gd name="connsiteY1" fmla="*/ 10000 h 10000"/>
                  <a:gd name="connsiteX2" fmla="*/ 9272 w 9703"/>
                  <a:gd name="connsiteY2" fmla="*/ 9550 h 10000"/>
                  <a:gd name="connsiteX3" fmla="*/ 9272 w 9703"/>
                  <a:gd name="connsiteY3" fmla="*/ 5400 h 10000"/>
                  <a:gd name="connsiteX4" fmla="*/ 9163 w 9703"/>
                  <a:gd name="connsiteY4" fmla="*/ 5400 h 10000"/>
                  <a:gd name="connsiteX5" fmla="*/ 9163 w 9703"/>
                  <a:gd name="connsiteY5" fmla="*/ 9550 h 10000"/>
                  <a:gd name="connsiteX6" fmla="*/ 8921 w 9703"/>
                  <a:gd name="connsiteY6" fmla="*/ 10000 h 10000"/>
                  <a:gd name="connsiteX7" fmla="*/ 8706 w 9703"/>
                  <a:gd name="connsiteY7" fmla="*/ 10000 h 10000"/>
                  <a:gd name="connsiteX8" fmla="*/ 8489 w 9703"/>
                  <a:gd name="connsiteY8" fmla="*/ 9550 h 10000"/>
                  <a:gd name="connsiteX9" fmla="*/ 8489 w 9703"/>
                  <a:gd name="connsiteY9" fmla="*/ 5400 h 10000"/>
                  <a:gd name="connsiteX10" fmla="*/ 7169 w 9703"/>
                  <a:gd name="connsiteY10" fmla="*/ 5400 h 10000"/>
                  <a:gd name="connsiteX11" fmla="*/ 8355 w 9703"/>
                  <a:gd name="connsiteY11" fmla="*/ 850 h 10000"/>
                  <a:gd name="connsiteX12" fmla="*/ 8355 w 9703"/>
                  <a:gd name="connsiteY12" fmla="*/ 100 h 10000"/>
                  <a:gd name="connsiteX13" fmla="*/ 7547 w 9703"/>
                  <a:gd name="connsiteY13" fmla="*/ 2750 h 10000"/>
                  <a:gd name="connsiteX14" fmla="*/ 7196 w 9703"/>
                  <a:gd name="connsiteY14" fmla="*/ 3000 h 10000"/>
                  <a:gd name="connsiteX15" fmla="*/ 7169 w 9703"/>
                  <a:gd name="connsiteY15" fmla="*/ 3000 h 10000"/>
                  <a:gd name="connsiteX16" fmla="*/ 7143 w 9703"/>
                  <a:gd name="connsiteY16" fmla="*/ 3150 h 10000"/>
                  <a:gd name="connsiteX17" fmla="*/ 6577 w 9703"/>
                  <a:gd name="connsiteY17" fmla="*/ 4200 h 10000"/>
                  <a:gd name="connsiteX18" fmla="*/ 6496 w 9703"/>
                  <a:gd name="connsiteY18" fmla="*/ 4250 h 10000"/>
                  <a:gd name="connsiteX19" fmla="*/ 6360 w 9703"/>
                  <a:gd name="connsiteY19" fmla="*/ 4150 h 10000"/>
                  <a:gd name="connsiteX20" fmla="*/ 5984 w 9703"/>
                  <a:gd name="connsiteY20" fmla="*/ 3250 h 10000"/>
                  <a:gd name="connsiteX21" fmla="*/ 5984 w 9703"/>
                  <a:gd name="connsiteY21" fmla="*/ 3900 h 10000"/>
                  <a:gd name="connsiteX22" fmla="*/ 6739 w 9703"/>
                  <a:gd name="connsiteY22" fmla="*/ 6800 h 10000"/>
                  <a:gd name="connsiteX23" fmla="*/ 5903 w 9703"/>
                  <a:gd name="connsiteY23" fmla="*/ 6800 h 10000"/>
                  <a:gd name="connsiteX24" fmla="*/ 5903 w 9703"/>
                  <a:gd name="connsiteY24" fmla="*/ 9400 h 10000"/>
                  <a:gd name="connsiteX25" fmla="*/ 5740 w 9703"/>
                  <a:gd name="connsiteY25" fmla="*/ 9650 h 10000"/>
                  <a:gd name="connsiteX26" fmla="*/ 5633 w 9703"/>
                  <a:gd name="connsiteY26" fmla="*/ 9650 h 10000"/>
                  <a:gd name="connsiteX27" fmla="*/ 5472 w 9703"/>
                  <a:gd name="connsiteY27" fmla="*/ 9400 h 10000"/>
                  <a:gd name="connsiteX28" fmla="*/ 5472 w 9703"/>
                  <a:gd name="connsiteY28" fmla="*/ 6800 h 10000"/>
                  <a:gd name="connsiteX29" fmla="*/ 5391 w 9703"/>
                  <a:gd name="connsiteY29" fmla="*/ 6800 h 10000"/>
                  <a:gd name="connsiteX30" fmla="*/ 5391 w 9703"/>
                  <a:gd name="connsiteY30" fmla="*/ 9400 h 10000"/>
                  <a:gd name="connsiteX31" fmla="*/ 5255 w 9703"/>
                  <a:gd name="connsiteY31" fmla="*/ 9650 h 10000"/>
                  <a:gd name="connsiteX32" fmla="*/ 5120 w 9703"/>
                  <a:gd name="connsiteY32" fmla="*/ 9650 h 10000"/>
                  <a:gd name="connsiteX33" fmla="*/ 4985 w 9703"/>
                  <a:gd name="connsiteY33" fmla="*/ 9400 h 10000"/>
                  <a:gd name="connsiteX34" fmla="*/ 4985 w 9703"/>
                  <a:gd name="connsiteY34" fmla="*/ 6800 h 10000"/>
                  <a:gd name="connsiteX35" fmla="*/ 4151 w 9703"/>
                  <a:gd name="connsiteY35" fmla="*/ 6800 h 10000"/>
                  <a:gd name="connsiteX36" fmla="*/ 4905 w 9703"/>
                  <a:gd name="connsiteY36" fmla="*/ 3900 h 10000"/>
                  <a:gd name="connsiteX37" fmla="*/ 4905 w 9703"/>
                  <a:gd name="connsiteY37" fmla="*/ 3500 h 10000"/>
                  <a:gd name="connsiteX38" fmla="*/ 4392 w 9703"/>
                  <a:gd name="connsiteY38" fmla="*/ 5150 h 10000"/>
                  <a:gd name="connsiteX39" fmla="*/ 4178 w 9703"/>
                  <a:gd name="connsiteY39" fmla="*/ 5250 h 10000"/>
                  <a:gd name="connsiteX40" fmla="*/ 4123 w 9703"/>
                  <a:gd name="connsiteY40" fmla="*/ 5200 h 10000"/>
                  <a:gd name="connsiteX41" fmla="*/ 4070 w 9703"/>
                  <a:gd name="connsiteY41" fmla="*/ 5250 h 10000"/>
                  <a:gd name="connsiteX42" fmla="*/ 3855 w 9703"/>
                  <a:gd name="connsiteY42" fmla="*/ 5100 h 10000"/>
                  <a:gd name="connsiteX43" fmla="*/ 3342 w 9703"/>
                  <a:gd name="connsiteY43" fmla="*/ 3450 h 10000"/>
                  <a:gd name="connsiteX44" fmla="*/ 3342 w 9703"/>
                  <a:gd name="connsiteY44" fmla="*/ 5700 h 10000"/>
                  <a:gd name="connsiteX45" fmla="*/ 3315 w 9703"/>
                  <a:gd name="connsiteY45" fmla="*/ 5800 h 10000"/>
                  <a:gd name="connsiteX46" fmla="*/ 3315 w 9703"/>
                  <a:gd name="connsiteY46" fmla="*/ 9450 h 10000"/>
                  <a:gd name="connsiteX47" fmla="*/ 3127 w 9703"/>
                  <a:gd name="connsiteY47" fmla="*/ 9750 h 10000"/>
                  <a:gd name="connsiteX48" fmla="*/ 2937 w 9703"/>
                  <a:gd name="connsiteY48" fmla="*/ 9750 h 10000"/>
                  <a:gd name="connsiteX49" fmla="*/ 2748 w 9703"/>
                  <a:gd name="connsiteY49" fmla="*/ 9450 h 10000"/>
                  <a:gd name="connsiteX50" fmla="*/ 2748 w 9703"/>
                  <a:gd name="connsiteY50" fmla="*/ 5900 h 10000"/>
                  <a:gd name="connsiteX51" fmla="*/ 2695 w 9703"/>
                  <a:gd name="connsiteY51" fmla="*/ 5900 h 10000"/>
                  <a:gd name="connsiteX52" fmla="*/ 2695 w 9703"/>
                  <a:gd name="connsiteY52" fmla="*/ 9450 h 10000"/>
                  <a:gd name="connsiteX53" fmla="*/ 2506 w 9703"/>
                  <a:gd name="connsiteY53" fmla="*/ 9750 h 10000"/>
                  <a:gd name="connsiteX54" fmla="*/ 2344 w 9703"/>
                  <a:gd name="connsiteY54" fmla="*/ 9750 h 10000"/>
                  <a:gd name="connsiteX55" fmla="*/ 2154 w 9703"/>
                  <a:gd name="connsiteY55" fmla="*/ 9450 h 10000"/>
                  <a:gd name="connsiteX56" fmla="*/ 2154 w 9703"/>
                  <a:gd name="connsiteY56" fmla="*/ 5800 h 10000"/>
                  <a:gd name="connsiteX57" fmla="*/ 2101 w 9703"/>
                  <a:gd name="connsiteY57" fmla="*/ 5700 h 10000"/>
                  <a:gd name="connsiteX58" fmla="*/ 2101 w 9703"/>
                  <a:gd name="connsiteY58" fmla="*/ 3200 h 10000"/>
                  <a:gd name="connsiteX59" fmla="*/ 1779 w 9703"/>
                  <a:gd name="connsiteY59" fmla="*/ 4050 h 10000"/>
                  <a:gd name="connsiteX60" fmla="*/ 1643 w 9703"/>
                  <a:gd name="connsiteY60" fmla="*/ 4150 h 10000"/>
                  <a:gd name="connsiteX61" fmla="*/ 1535 w 9703"/>
                  <a:gd name="connsiteY61" fmla="*/ 4100 h 10000"/>
                  <a:gd name="connsiteX62" fmla="*/ 998 w 9703"/>
                  <a:gd name="connsiteY62" fmla="*/ 3050 h 10000"/>
                  <a:gd name="connsiteX63" fmla="*/ 970 w 9703"/>
                  <a:gd name="connsiteY63" fmla="*/ 2800 h 10000"/>
                  <a:gd name="connsiteX64" fmla="*/ 862 w 9703"/>
                  <a:gd name="connsiteY64" fmla="*/ 2600 h 10000"/>
                  <a:gd name="connsiteX65" fmla="*/ 53 w 9703"/>
                  <a:gd name="connsiteY65" fmla="*/ 0 h 10000"/>
                  <a:gd name="connsiteX66" fmla="*/ 53 w 9703"/>
                  <a:gd name="connsiteY66" fmla="*/ 3500 h 10000"/>
                  <a:gd name="connsiteX67" fmla="*/ 0 w 9703"/>
                  <a:gd name="connsiteY67" fmla="*/ 3700 h 10000"/>
                  <a:gd name="connsiteX68" fmla="*/ 0 w 9703"/>
                  <a:gd name="connsiteY68" fmla="*/ 9350 h 10000"/>
                  <a:gd name="connsiteX0" fmla="*/ 10000 w 10000"/>
                  <a:gd name="connsiteY0" fmla="*/ 10000 h 10000"/>
                  <a:gd name="connsiteX1" fmla="*/ 9805 w 10000"/>
                  <a:gd name="connsiteY1" fmla="*/ 10000 h 10000"/>
                  <a:gd name="connsiteX2" fmla="*/ 9556 w 10000"/>
                  <a:gd name="connsiteY2" fmla="*/ 9550 h 10000"/>
                  <a:gd name="connsiteX3" fmla="*/ 9556 w 10000"/>
                  <a:gd name="connsiteY3" fmla="*/ 5400 h 10000"/>
                  <a:gd name="connsiteX4" fmla="*/ 9443 w 10000"/>
                  <a:gd name="connsiteY4" fmla="*/ 5400 h 10000"/>
                  <a:gd name="connsiteX5" fmla="*/ 9443 w 10000"/>
                  <a:gd name="connsiteY5" fmla="*/ 9550 h 10000"/>
                  <a:gd name="connsiteX6" fmla="*/ 9194 w 10000"/>
                  <a:gd name="connsiteY6" fmla="*/ 10000 h 10000"/>
                  <a:gd name="connsiteX7" fmla="*/ 8972 w 10000"/>
                  <a:gd name="connsiteY7" fmla="*/ 10000 h 10000"/>
                  <a:gd name="connsiteX8" fmla="*/ 8749 w 10000"/>
                  <a:gd name="connsiteY8" fmla="*/ 9550 h 10000"/>
                  <a:gd name="connsiteX9" fmla="*/ 8749 w 10000"/>
                  <a:gd name="connsiteY9" fmla="*/ 5400 h 10000"/>
                  <a:gd name="connsiteX10" fmla="*/ 7388 w 10000"/>
                  <a:gd name="connsiteY10" fmla="*/ 5400 h 10000"/>
                  <a:gd name="connsiteX11" fmla="*/ 8611 w 10000"/>
                  <a:gd name="connsiteY11" fmla="*/ 850 h 10000"/>
                  <a:gd name="connsiteX12" fmla="*/ 8611 w 10000"/>
                  <a:gd name="connsiteY12" fmla="*/ 100 h 10000"/>
                  <a:gd name="connsiteX13" fmla="*/ 7778 w 10000"/>
                  <a:gd name="connsiteY13" fmla="*/ 2750 h 10000"/>
                  <a:gd name="connsiteX14" fmla="*/ 7416 w 10000"/>
                  <a:gd name="connsiteY14" fmla="*/ 3000 h 10000"/>
                  <a:gd name="connsiteX15" fmla="*/ 7388 w 10000"/>
                  <a:gd name="connsiteY15" fmla="*/ 3000 h 10000"/>
                  <a:gd name="connsiteX16" fmla="*/ 7362 w 10000"/>
                  <a:gd name="connsiteY16" fmla="*/ 3150 h 10000"/>
                  <a:gd name="connsiteX17" fmla="*/ 6778 w 10000"/>
                  <a:gd name="connsiteY17" fmla="*/ 4200 h 10000"/>
                  <a:gd name="connsiteX18" fmla="*/ 6695 w 10000"/>
                  <a:gd name="connsiteY18" fmla="*/ 4250 h 10000"/>
                  <a:gd name="connsiteX19" fmla="*/ 6555 w 10000"/>
                  <a:gd name="connsiteY19" fmla="*/ 4150 h 10000"/>
                  <a:gd name="connsiteX20" fmla="*/ 6167 w 10000"/>
                  <a:gd name="connsiteY20" fmla="*/ 3250 h 10000"/>
                  <a:gd name="connsiteX21" fmla="*/ 6167 w 10000"/>
                  <a:gd name="connsiteY21" fmla="*/ 3900 h 10000"/>
                  <a:gd name="connsiteX22" fmla="*/ 6945 w 10000"/>
                  <a:gd name="connsiteY22" fmla="*/ 6800 h 10000"/>
                  <a:gd name="connsiteX23" fmla="*/ 6084 w 10000"/>
                  <a:gd name="connsiteY23" fmla="*/ 6800 h 10000"/>
                  <a:gd name="connsiteX24" fmla="*/ 6084 w 10000"/>
                  <a:gd name="connsiteY24" fmla="*/ 9400 h 10000"/>
                  <a:gd name="connsiteX25" fmla="*/ 5916 w 10000"/>
                  <a:gd name="connsiteY25" fmla="*/ 9650 h 10000"/>
                  <a:gd name="connsiteX26" fmla="*/ 5805 w 10000"/>
                  <a:gd name="connsiteY26" fmla="*/ 9650 h 10000"/>
                  <a:gd name="connsiteX27" fmla="*/ 5639 w 10000"/>
                  <a:gd name="connsiteY27" fmla="*/ 9400 h 10000"/>
                  <a:gd name="connsiteX28" fmla="*/ 5639 w 10000"/>
                  <a:gd name="connsiteY28" fmla="*/ 6800 h 10000"/>
                  <a:gd name="connsiteX29" fmla="*/ 5556 w 10000"/>
                  <a:gd name="connsiteY29" fmla="*/ 6800 h 10000"/>
                  <a:gd name="connsiteX30" fmla="*/ 5556 w 10000"/>
                  <a:gd name="connsiteY30" fmla="*/ 9400 h 10000"/>
                  <a:gd name="connsiteX31" fmla="*/ 5416 w 10000"/>
                  <a:gd name="connsiteY31" fmla="*/ 9650 h 10000"/>
                  <a:gd name="connsiteX32" fmla="*/ 5277 w 10000"/>
                  <a:gd name="connsiteY32" fmla="*/ 9650 h 10000"/>
                  <a:gd name="connsiteX33" fmla="*/ 5138 w 10000"/>
                  <a:gd name="connsiteY33" fmla="*/ 9400 h 10000"/>
                  <a:gd name="connsiteX34" fmla="*/ 5138 w 10000"/>
                  <a:gd name="connsiteY34" fmla="*/ 6800 h 10000"/>
                  <a:gd name="connsiteX35" fmla="*/ 4278 w 10000"/>
                  <a:gd name="connsiteY35" fmla="*/ 6800 h 10000"/>
                  <a:gd name="connsiteX36" fmla="*/ 5055 w 10000"/>
                  <a:gd name="connsiteY36" fmla="*/ 3900 h 10000"/>
                  <a:gd name="connsiteX37" fmla="*/ 5055 w 10000"/>
                  <a:gd name="connsiteY37" fmla="*/ 3500 h 10000"/>
                  <a:gd name="connsiteX38" fmla="*/ 4526 w 10000"/>
                  <a:gd name="connsiteY38" fmla="*/ 5150 h 10000"/>
                  <a:gd name="connsiteX39" fmla="*/ 4306 w 10000"/>
                  <a:gd name="connsiteY39" fmla="*/ 5250 h 10000"/>
                  <a:gd name="connsiteX40" fmla="*/ 4249 w 10000"/>
                  <a:gd name="connsiteY40" fmla="*/ 5200 h 10000"/>
                  <a:gd name="connsiteX41" fmla="*/ 4195 w 10000"/>
                  <a:gd name="connsiteY41" fmla="*/ 5250 h 10000"/>
                  <a:gd name="connsiteX42" fmla="*/ 3973 w 10000"/>
                  <a:gd name="connsiteY42" fmla="*/ 5100 h 10000"/>
                  <a:gd name="connsiteX43" fmla="*/ 3444 w 10000"/>
                  <a:gd name="connsiteY43" fmla="*/ 3450 h 10000"/>
                  <a:gd name="connsiteX44" fmla="*/ 3444 w 10000"/>
                  <a:gd name="connsiteY44" fmla="*/ 5700 h 10000"/>
                  <a:gd name="connsiteX45" fmla="*/ 3416 w 10000"/>
                  <a:gd name="connsiteY45" fmla="*/ 5800 h 10000"/>
                  <a:gd name="connsiteX46" fmla="*/ 3416 w 10000"/>
                  <a:gd name="connsiteY46" fmla="*/ 9450 h 10000"/>
                  <a:gd name="connsiteX47" fmla="*/ 3223 w 10000"/>
                  <a:gd name="connsiteY47" fmla="*/ 9750 h 10000"/>
                  <a:gd name="connsiteX48" fmla="*/ 3027 w 10000"/>
                  <a:gd name="connsiteY48" fmla="*/ 9750 h 10000"/>
                  <a:gd name="connsiteX49" fmla="*/ 2832 w 10000"/>
                  <a:gd name="connsiteY49" fmla="*/ 9450 h 10000"/>
                  <a:gd name="connsiteX50" fmla="*/ 2832 w 10000"/>
                  <a:gd name="connsiteY50" fmla="*/ 5900 h 10000"/>
                  <a:gd name="connsiteX51" fmla="*/ 2777 w 10000"/>
                  <a:gd name="connsiteY51" fmla="*/ 5900 h 10000"/>
                  <a:gd name="connsiteX52" fmla="*/ 2777 w 10000"/>
                  <a:gd name="connsiteY52" fmla="*/ 9450 h 10000"/>
                  <a:gd name="connsiteX53" fmla="*/ 2583 w 10000"/>
                  <a:gd name="connsiteY53" fmla="*/ 9750 h 10000"/>
                  <a:gd name="connsiteX54" fmla="*/ 2416 w 10000"/>
                  <a:gd name="connsiteY54" fmla="*/ 9750 h 10000"/>
                  <a:gd name="connsiteX55" fmla="*/ 2220 w 10000"/>
                  <a:gd name="connsiteY55" fmla="*/ 9450 h 10000"/>
                  <a:gd name="connsiteX56" fmla="*/ 2220 w 10000"/>
                  <a:gd name="connsiteY56" fmla="*/ 5800 h 10000"/>
                  <a:gd name="connsiteX57" fmla="*/ 2165 w 10000"/>
                  <a:gd name="connsiteY57" fmla="*/ 5700 h 10000"/>
                  <a:gd name="connsiteX58" fmla="*/ 2165 w 10000"/>
                  <a:gd name="connsiteY58" fmla="*/ 3200 h 10000"/>
                  <a:gd name="connsiteX59" fmla="*/ 1833 w 10000"/>
                  <a:gd name="connsiteY59" fmla="*/ 4050 h 10000"/>
                  <a:gd name="connsiteX60" fmla="*/ 1693 w 10000"/>
                  <a:gd name="connsiteY60" fmla="*/ 4150 h 10000"/>
                  <a:gd name="connsiteX61" fmla="*/ 1582 w 10000"/>
                  <a:gd name="connsiteY61" fmla="*/ 4100 h 10000"/>
                  <a:gd name="connsiteX62" fmla="*/ 1029 w 10000"/>
                  <a:gd name="connsiteY62" fmla="*/ 3050 h 10000"/>
                  <a:gd name="connsiteX63" fmla="*/ 1000 w 10000"/>
                  <a:gd name="connsiteY63" fmla="*/ 2800 h 10000"/>
                  <a:gd name="connsiteX64" fmla="*/ 888 w 10000"/>
                  <a:gd name="connsiteY64" fmla="*/ 2600 h 10000"/>
                  <a:gd name="connsiteX65" fmla="*/ 55 w 10000"/>
                  <a:gd name="connsiteY65" fmla="*/ 0 h 10000"/>
                  <a:gd name="connsiteX66" fmla="*/ 55 w 10000"/>
                  <a:gd name="connsiteY66" fmla="*/ 3500 h 10000"/>
                  <a:gd name="connsiteX67" fmla="*/ 0 w 10000"/>
                  <a:gd name="connsiteY67" fmla="*/ 3700 h 10000"/>
                  <a:gd name="connsiteX0" fmla="*/ 9945 w 9945"/>
                  <a:gd name="connsiteY0" fmla="*/ 10000 h 10000"/>
                  <a:gd name="connsiteX1" fmla="*/ 9750 w 9945"/>
                  <a:gd name="connsiteY1" fmla="*/ 10000 h 10000"/>
                  <a:gd name="connsiteX2" fmla="*/ 9501 w 9945"/>
                  <a:gd name="connsiteY2" fmla="*/ 9550 h 10000"/>
                  <a:gd name="connsiteX3" fmla="*/ 9501 w 9945"/>
                  <a:gd name="connsiteY3" fmla="*/ 5400 h 10000"/>
                  <a:gd name="connsiteX4" fmla="*/ 9388 w 9945"/>
                  <a:gd name="connsiteY4" fmla="*/ 5400 h 10000"/>
                  <a:gd name="connsiteX5" fmla="*/ 9388 w 9945"/>
                  <a:gd name="connsiteY5" fmla="*/ 9550 h 10000"/>
                  <a:gd name="connsiteX6" fmla="*/ 9139 w 9945"/>
                  <a:gd name="connsiteY6" fmla="*/ 10000 h 10000"/>
                  <a:gd name="connsiteX7" fmla="*/ 8917 w 9945"/>
                  <a:gd name="connsiteY7" fmla="*/ 10000 h 10000"/>
                  <a:gd name="connsiteX8" fmla="*/ 8694 w 9945"/>
                  <a:gd name="connsiteY8" fmla="*/ 9550 h 10000"/>
                  <a:gd name="connsiteX9" fmla="*/ 8694 w 9945"/>
                  <a:gd name="connsiteY9" fmla="*/ 5400 h 10000"/>
                  <a:gd name="connsiteX10" fmla="*/ 7333 w 9945"/>
                  <a:gd name="connsiteY10" fmla="*/ 5400 h 10000"/>
                  <a:gd name="connsiteX11" fmla="*/ 8556 w 9945"/>
                  <a:gd name="connsiteY11" fmla="*/ 850 h 10000"/>
                  <a:gd name="connsiteX12" fmla="*/ 8556 w 9945"/>
                  <a:gd name="connsiteY12" fmla="*/ 100 h 10000"/>
                  <a:gd name="connsiteX13" fmla="*/ 7723 w 9945"/>
                  <a:gd name="connsiteY13" fmla="*/ 2750 h 10000"/>
                  <a:gd name="connsiteX14" fmla="*/ 7361 w 9945"/>
                  <a:gd name="connsiteY14" fmla="*/ 3000 h 10000"/>
                  <a:gd name="connsiteX15" fmla="*/ 7333 w 9945"/>
                  <a:gd name="connsiteY15" fmla="*/ 3000 h 10000"/>
                  <a:gd name="connsiteX16" fmla="*/ 7307 w 9945"/>
                  <a:gd name="connsiteY16" fmla="*/ 3150 h 10000"/>
                  <a:gd name="connsiteX17" fmla="*/ 6723 w 9945"/>
                  <a:gd name="connsiteY17" fmla="*/ 4200 h 10000"/>
                  <a:gd name="connsiteX18" fmla="*/ 6640 w 9945"/>
                  <a:gd name="connsiteY18" fmla="*/ 4250 h 10000"/>
                  <a:gd name="connsiteX19" fmla="*/ 6500 w 9945"/>
                  <a:gd name="connsiteY19" fmla="*/ 4150 h 10000"/>
                  <a:gd name="connsiteX20" fmla="*/ 6112 w 9945"/>
                  <a:gd name="connsiteY20" fmla="*/ 3250 h 10000"/>
                  <a:gd name="connsiteX21" fmla="*/ 6112 w 9945"/>
                  <a:gd name="connsiteY21" fmla="*/ 3900 h 10000"/>
                  <a:gd name="connsiteX22" fmla="*/ 6890 w 9945"/>
                  <a:gd name="connsiteY22" fmla="*/ 6800 h 10000"/>
                  <a:gd name="connsiteX23" fmla="*/ 6029 w 9945"/>
                  <a:gd name="connsiteY23" fmla="*/ 6800 h 10000"/>
                  <a:gd name="connsiteX24" fmla="*/ 6029 w 9945"/>
                  <a:gd name="connsiteY24" fmla="*/ 9400 h 10000"/>
                  <a:gd name="connsiteX25" fmla="*/ 5861 w 9945"/>
                  <a:gd name="connsiteY25" fmla="*/ 9650 h 10000"/>
                  <a:gd name="connsiteX26" fmla="*/ 5750 w 9945"/>
                  <a:gd name="connsiteY26" fmla="*/ 9650 h 10000"/>
                  <a:gd name="connsiteX27" fmla="*/ 5584 w 9945"/>
                  <a:gd name="connsiteY27" fmla="*/ 9400 h 10000"/>
                  <a:gd name="connsiteX28" fmla="*/ 5584 w 9945"/>
                  <a:gd name="connsiteY28" fmla="*/ 6800 h 10000"/>
                  <a:gd name="connsiteX29" fmla="*/ 5501 w 9945"/>
                  <a:gd name="connsiteY29" fmla="*/ 6800 h 10000"/>
                  <a:gd name="connsiteX30" fmla="*/ 5501 w 9945"/>
                  <a:gd name="connsiteY30" fmla="*/ 9400 h 10000"/>
                  <a:gd name="connsiteX31" fmla="*/ 5361 w 9945"/>
                  <a:gd name="connsiteY31" fmla="*/ 9650 h 10000"/>
                  <a:gd name="connsiteX32" fmla="*/ 5222 w 9945"/>
                  <a:gd name="connsiteY32" fmla="*/ 9650 h 10000"/>
                  <a:gd name="connsiteX33" fmla="*/ 5083 w 9945"/>
                  <a:gd name="connsiteY33" fmla="*/ 9400 h 10000"/>
                  <a:gd name="connsiteX34" fmla="*/ 5083 w 9945"/>
                  <a:gd name="connsiteY34" fmla="*/ 6800 h 10000"/>
                  <a:gd name="connsiteX35" fmla="*/ 4223 w 9945"/>
                  <a:gd name="connsiteY35" fmla="*/ 6800 h 10000"/>
                  <a:gd name="connsiteX36" fmla="*/ 5000 w 9945"/>
                  <a:gd name="connsiteY36" fmla="*/ 3900 h 10000"/>
                  <a:gd name="connsiteX37" fmla="*/ 5000 w 9945"/>
                  <a:gd name="connsiteY37" fmla="*/ 3500 h 10000"/>
                  <a:gd name="connsiteX38" fmla="*/ 4471 w 9945"/>
                  <a:gd name="connsiteY38" fmla="*/ 5150 h 10000"/>
                  <a:gd name="connsiteX39" fmla="*/ 4251 w 9945"/>
                  <a:gd name="connsiteY39" fmla="*/ 5250 h 10000"/>
                  <a:gd name="connsiteX40" fmla="*/ 4194 w 9945"/>
                  <a:gd name="connsiteY40" fmla="*/ 5200 h 10000"/>
                  <a:gd name="connsiteX41" fmla="*/ 4140 w 9945"/>
                  <a:gd name="connsiteY41" fmla="*/ 5250 h 10000"/>
                  <a:gd name="connsiteX42" fmla="*/ 3918 w 9945"/>
                  <a:gd name="connsiteY42" fmla="*/ 5100 h 10000"/>
                  <a:gd name="connsiteX43" fmla="*/ 3389 w 9945"/>
                  <a:gd name="connsiteY43" fmla="*/ 3450 h 10000"/>
                  <a:gd name="connsiteX44" fmla="*/ 3389 w 9945"/>
                  <a:gd name="connsiteY44" fmla="*/ 5700 h 10000"/>
                  <a:gd name="connsiteX45" fmla="*/ 3361 w 9945"/>
                  <a:gd name="connsiteY45" fmla="*/ 5800 h 10000"/>
                  <a:gd name="connsiteX46" fmla="*/ 3361 w 9945"/>
                  <a:gd name="connsiteY46" fmla="*/ 9450 h 10000"/>
                  <a:gd name="connsiteX47" fmla="*/ 3168 w 9945"/>
                  <a:gd name="connsiteY47" fmla="*/ 9750 h 10000"/>
                  <a:gd name="connsiteX48" fmla="*/ 2972 w 9945"/>
                  <a:gd name="connsiteY48" fmla="*/ 9750 h 10000"/>
                  <a:gd name="connsiteX49" fmla="*/ 2777 w 9945"/>
                  <a:gd name="connsiteY49" fmla="*/ 9450 h 10000"/>
                  <a:gd name="connsiteX50" fmla="*/ 2777 w 9945"/>
                  <a:gd name="connsiteY50" fmla="*/ 5900 h 10000"/>
                  <a:gd name="connsiteX51" fmla="*/ 2722 w 9945"/>
                  <a:gd name="connsiteY51" fmla="*/ 5900 h 10000"/>
                  <a:gd name="connsiteX52" fmla="*/ 2722 w 9945"/>
                  <a:gd name="connsiteY52" fmla="*/ 9450 h 10000"/>
                  <a:gd name="connsiteX53" fmla="*/ 2528 w 9945"/>
                  <a:gd name="connsiteY53" fmla="*/ 9750 h 10000"/>
                  <a:gd name="connsiteX54" fmla="*/ 2361 w 9945"/>
                  <a:gd name="connsiteY54" fmla="*/ 9750 h 10000"/>
                  <a:gd name="connsiteX55" fmla="*/ 2165 w 9945"/>
                  <a:gd name="connsiteY55" fmla="*/ 9450 h 10000"/>
                  <a:gd name="connsiteX56" fmla="*/ 2165 w 9945"/>
                  <a:gd name="connsiteY56" fmla="*/ 5800 h 10000"/>
                  <a:gd name="connsiteX57" fmla="*/ 2110 w 9945"/>
                  <a:gd name="connsiteY57" fmla="*/ 5700 h 10000"/>
                  <a:gd name="connsiteX58" fmla="*/ 2110 w 9945"/>
                  <a:gd name="connsiteY58" fmla="*/ 3200 h 10000"/>
                  <a:gd name="connsiteX59" fmla="*/ 1778 w 9945"/>
                  <a:gd name="connsiteY59" fmla="*/ 4050 h 10000"/>
                  <a:gd name="connsiteX60" fmla="*/ 1638 w 9945"/>
                  <a:gd name="connsiteY60" fmla="*/ 4150 h 10000"/>
                  <a:gd name="connsiteX61" fmla="*/ 1527 w 9945"/>
                  <a:gd name="connsiteY61" fmla="*/ 4100 h 10000"/>
                  <a:gd name="connsiteX62" fmla="*/ 974 w 9945"/>
                  <a:gd name="connsiteY62" fmla="*/ 3050 h 10000"/>
                  <a:gd name="connsiteX63" fmla="*/ 945 w 9945"/>
                  <a:gd name="connsiteY63" fmla="*/ 2800 h 10000"/>
                  <a:gd name="connsiteX64" fmla="*/ 833 w 9945"/>
                  <a:gd name="connsiteY64" fmla="*/ 2600 h 10000"/>
                  <a:gd name="connsiteX65" fmla="*/ 0 w 9945"/>
                  <a:gd name="connsiteY65" fmla="*/ 0 h 10000"/>
                  <a:gd name="connsiteX66" fmla="*/ 0 w 9945"/>
                  <a:gd name="connsiteY66" fmla="*/ 3500 h 10000"/>
                  <a:gd name="connsiteX0" fmla="*/ 10000 w 10000"/>
                  <a:gd name="connsiteY0" fmla="*/ 10000 h 10000"/>
                  <a:gd name="connsiteX1" fmla="*/ 9804 w 10000"/>
                  <a:gd name="connsiteY1" fmla="*/ 10000 h 10000"/>
                  <a:gd name="connsiteX2" fmla="*/ 9554 w 10000"/>
                  <a:gd name="connsiteY2" fmla="*/ 9550 h 10000"/>
                  <a:gd name="connsiteX3" fmla="*/ 9554 w 10000"/>
                  <a:gd name="connsiteY3" fmla="*/ 5400 h 10000"/>
                  <a:gd name="connsiteX4" fmla="*/ 9440 w 10000"/>
                  <a:gd name="connsiteY4" fmla="*/ 5400 h 10000"/>
                  <a:gd name="connsiteX5" fmla="*/ 9440 w 10000"/>
                  <a:gd name="connsiteY5" fmla="*/ 9550 h 10000"/>
                  <a:gd name="connsiteX6" fmla="*/ 9190 w 10000"/>
                  <a:gd name="connsiteY6" fmla="*/ 10000 h 10000"/>
                  <a:gd name="connsiteX7" fmla="*/ 8966 w 10000"/>
                  <a:gd name="connsiteY7" fmla="*/ 10000 h 10000"/>
                  <a:gd name="connsiteX8" fmla="*/ 8742 w 10000"/>
                  <a:gd name="connsiteY8" fmla="*/ 9550 h 10000"/>
                  <a:gd name="connsiteX9" fmla="*/ 8742 w 10000"/>
                  <a:gd name="connsiteY9" fmla="*/ 5400 h 10000"/>
                  <a:gd name="connsiteX10" fmla="*/ 7374 w 10000"/>
                  <a:gd name="connsiteY10" fmla="*/ 5400 h 10000"/>
                  <a:gd name="connsiteX11" fmla="*/ 8603 w 10000"/>
                  <a:gd name="connsiteY11" fmla="*/ 850 h 10000"/>
                  <a:gd name="connsiteX12" fmla="*/ 8603 w 10000"/>
                  <a:gd name="connsiteY12" fmla="*/ 100 h 10000"/>
                  <a:gd name="connsiteX13" fmla="*/ 7766 w 10000"/>
                  <a:gd name="connsiteY13" fmla="*/ 2750 h 10000"/>
                  <a:gd name="connsiteX14" fmla="*/ 7402 w 10000"/>
                  <a:gd name="connsiteY14" fmla="*/ 3000 h 10000"/>
                  <a:gd name="connsiteX15" fmla="*/ 7374 w 10000"/>
                  <a:gd name="connsiteY15" fmla="*/ 3000 h 10000"/>
                  <a:gd name="connsiteX16" fmla="*/ 7347 w 10000"/>
                  <a:gd name="connsiteY16" fmla="*/ 3150 h 10000"/>
                  <a:gd name="connsiteX17" fmla="*/ 6760 w 10000"/>
                  <a:gd name="connsiteY17" fmla="*/ 4200 h 10000"/>
                  <a:gd name="connsiteX18" fmla="*/ 6677 w 10000"/>
                  <a:gd name="connsiteY18" fmla="*/ 4250 h 10000"/>
                  <a:gd name="connsiteX19" fmla="*/ 6536 w 10000"/>
                  <a:gd name="connsiteY19" fmla="*/ 4150 h 10000"/>
                  <a:gd name="connsiteX20" fmla="*/ 6146 w 10000"/>
                  <a:gd name="connsiteY20" fmla="*/ 3250 h 10000"/>
                  <a:gd name="connsiteX21" fmla="*/ 6146 w 10000"/>
                  <a:gd name="connsiteY21" fmla="*/ 3900 h 10000"/>
                  <a:gd name="connsiteX22" fmla="*/ 6928 w 10000"/>
                  <a:gd name="connsiteY22" fmla="*/ 6800 h 10000"/>
                  <a:gd name="connsiteX23" fmla="*/ 6062 w 10000"/>
                  <a:gd name="connsiteY23" fmla="*/ 6800 h 10000"/>
                  <a:gd name="connsiteX24" fmla="*/ 6062 w 10000"/>
                  <a:gd name="connsiteY24" fmla="*/ 9400 h 10000"/>
                  <a:gd name="connsiteX25" fmla="*/ 5893 w 10000"/>
                  <a:gd name="connsiteY25" fmla="*/ 9650 h 10000"/>
                  <a:gd name="connsiteX26" fmla="*/ 5782 w 10000"/>
                  <a:gd name="connsiteY26" fmla="*/ 9650 h 10000"/>
                  <a:gd name="connsiteX27" fmla="*/ 5615 w 10000"/>
                  <a:gd name="connsiteY27" fmla="*/ 9400 h 10000"/>
                  <a:gd name="connsiteX28" fmla="*/ 5615 w 10000"/>
                  <a:gd name="connsiteY28" fmla="*/ 6800 h 10000"/>
                  <a:gd name="connsiteX29" fmla="*/ 5531 w 10000"/>
                  <a:gd name="connsiteY29" fmla="*/ 6800 h 10000"/>
                  <a:gd name="connsiteX30" fmla="*/ 5531 w 10000"/>
                  <a:gd name="connsiteY30" fmla="*/ 9400 h 10000"/>
                  <a:gd name="connsiteX31" fmla="*/ 5391 w 10000"/>
                  <a:gd name="connsiteY31" fmla="*/ 9650 h 10000"/>
                  <a:gd name="connsiteX32" fmla="*/ 5251 w 10000"/>
                  <a:gd name="connsiteY32" fmla="*/ 9650 h 10000"/>
                  <a:gd name="connsiteX33" fmla="*/ 5111 w 10000"/>
                  <a:gd name="connsiteY33" fmla="*/ 9400 h 10000"/>
                  <a:gd name="connsiteX34" fmla="*/ 5111 w 10000"/>
                  <a:gd name="connsiteY34" fmla="*/ 6800 h 10000"/>
                  <a:gd name="connsiteX35" fmla="*/ 4246 w 10000"/>
                  <a:gd name="connsiteY35" fmla="*/ 6800 h 10000"/>
                  <a:gd name="connsiteX36" fmla="*/ 5028 w 10000"/>
                  <a:gd name="connsiteY36" fmla="*/ 3900 h 10000"/>
                  <a:gd name="connsiteX37" fmla="*/ 5028 w 10000"/>
                  <a:gd name="connsiteY37" fmla="*/ 3500 h 10000"/>
                  <a:gd name="connsiteX38" fmla="*/ 4496 w 10000"/>
                  <a:gd name="connsiteY38" fmla="*/ 5150 h 10000"/>
                  <a:gd name="connsiteX39" fmla="*/ 4275 w 10000"/>
                  <a:gd name="connsiteY39" fmla="*/ 5250 h 10000"/>
                  <a:gd name="connsiteX40" fmla="*/ 4217 w 10000"/>
                  <a:gd name="connsiteY40" fmla="*/ 5200 h 10000"/>
                  <a:gd name="connsiteX41" fmla="*/ 4163 w 10000"/>
                  <a:gd name="connsiteY41" fmla="*/ 5250 h 10000"/>
                  <a:gd name="connsiteX42" fmla="*/ 3940 w 10000"/>
                  <a:gd name="connsiteY42" fmla="*/ 5100 h 10000"/>
                  <a:gd name="connsiteX43" fmla="*/ 3408 w 10000"/>
                  <a:gd name="connsiteY43" fmla="*/ 3450 h 10000"/>
                  <a:gd name="connsiteX44" fmla="*/ 3408 w 10000"/>
                  <a:gd name="connsiteY44" fmla="*/ 5700 h 10000"/>
                  <a:gd name="connsiteX45" fmla="*/ 3380 w 10000"/>
                  <a:gd name="connsiteY45" fmla="*/ 5800 h 10000"/>
                  <a:gd name="connsiteX46" fmla="*/ 3380 w 10000"/>
                  <a:gd name="connsiteY46" fmla="*/ 9450 h 10000"/>
                  <a:gd name="connsiteX47" fmla="*/ 3186 w 10000"/>
                  <a:gd name="connsiteY47" fmla="*/ 9750 h 10000"/>
                  <a:gd name="connsiteX48" fmla="*/ 2988 w 10000"/>
                  <a:gd name="connsiteY48" fmla="*/ 9750 h 10000"/>
                  <a:gd name="connsiteX49" fmla="*/ 2792 w 10000"/>
                  <a:gd name="connsiteY49" fmla="*/ 9450 h 10000"/>
                  <a:gd name="connsiteX50" fmla="*/ 2792 w 10000"/>
                  <a:gd name="connsiteY50" fmla="*/ 5900 h 10000"/>
                  <a:gd name="connsiteX51" fmla="*/ 2737 w 10000"/>
                  <a:gd name="connsiteY51" fmla="*/ 5900 h 10000"/>
                  <a:gd name="connsiteX52" fmla="*/ 2737 w 10000"/>
                  <a:gd name="connsiteY52" fmla="*/ 9450 h 10000"/>
                  <a:gd name="connsiteX53" fmla="*/ 2542 w 10000"/>
                  <a:gd name="connsiteY53" fmla="*/ 9750 h 10000"/>
                  <a:gd name="connsiteX54" fmla="*/ 2374 w 10000"/>
                  <a:gd name="connsiteY54" fmla="*/ 9750 h 10000"/>
                  <a:gd name="connsiteX55" fmla="*/ 2177 w 10000"/>
                  <a:gd name="connsiteY55" fmla="*/ 9450 h 10000"/>
                  <a:gd name="connsiteX56" fmla="*/ 2177 w 10000"/>
                  <a:gd name="connsiteY56" fmla="*/ 5800 h 10000"/>
                  <a:gd name="connsiteX57" fmla="*/ 2122 w 10000"/>
                  <a:gd name="connsiteY57" fmla="*/ 5700 h 10000"/>
                  <a:gd name="connsiteX58" fmla="*/ 2122 w 10000"/>
                  <a:gd name="connsiteY58" fmla="*/ 3200 h 10000"/>
                  <a:gd name="connsiteX59" fmla="*/ 1788 w 10000"/>
                  <a:gd name="connsiteY59" fmla="*/ 4050 h 10000"/>
                  <a:gd name="connsiteX60" fmla="*/ 1647 w 10000"/>
                  <a:gd name="connsiteY60" fmla="*/ 4150 h 10000"/>
                  <a:gd name="connsiteX61" fmla="*/ 1535 w 10000"/>
                  <a:gd name="connsiteY61" fmla="*/ 4100 h 10000"/>
                  <a:gd name="connsiteX62" fmla="*/ 979 w 10000"/>
                  <a:gd name="connsiteY62" fmla="*/ 3050 h 10000"/>
                  <a:gd name="connsiteX63" fmla="*/ 950 w 10000"/>
                  <a:gd name="connsiteY63" fmla="*/ 2800 h 10000"/>
                  <a:gd name="connsiteX64" fmla="*/ 838 w 10000"/>
                  <a:gd name="connsiteY64" fmla="*/ 2600 h 10000"/>
                  <a:gd name="connsiteX65" fmla="*/ 0 w 10000"/>
                  <a:gd name="connsiteY65" fmla="*/ 0 h 10000"/>
                  <a:gd name="connsiteX0" fmla="*/ 9162 w 9162"/>
                  <a:gd name="connsiteY0" fmla="*/ 9900 h 9900"/>
                  <a:gd name="connsiteX1" fmla="*/ 8966 w 9162"/>
                  <a:gd name="connsiteY1" fmla="*/ 9900 h 9900"/>
                  <a:gd name="connsiteX2" fmla="*/ 8716 w 9162"/>
                  <a:gd name="connsiteY2" fmla="*/ 9450 h 9900"/>
                  <a:gd name="connsiteX3" fmla="*/ 8716 w 9162"/>
                  <a:gd name="connsiteY3" fmla="*/ 5300 h 9900"/>
                  <a:gd name="connsiteX4" fmla="*/ 8602 w 9162"/>
                  <a:gd name="connsiteY4" fmla="*/ 5300 h 9900"/>
                  <a:gd name="connsiteX5" fmla="*/ 8602 w 9162"/>
                  <a:gd name="connsiteY5" fmla="*/ 9450 h 9900"/>
                  <a:gd name="connsiteX6" fmla="*/ 8352 w 9162"/>
                  <a:gd name="connsiteY6" fmla="*/ 9900 h 9900"/>
                  <a:gd name="connsiteX7" fmla="*/ 8128 w 9162"/>
                  <a:gd name="connsiteY7" fmla="*/ 9900 h 9900"/>
                  <a:gd name="connsiteX8" fmla="*/ 7904 w 9162"/>
                  <a:gd name="connsiteY8" fmla="*/ 9450 h 9900"/>
                  <a:gd name="connsiteX9" fmla="*/ 7904 w 9162"/>
                  <a:gd name="connsiteY9" fmla="*/ 5300 h 9900"/>
                  <a:gd name="connsiteX10" fmla="*/ 6536 w 9162"/>
                  <a:gd name="connsiteY10" fmla="*/ 5300 h 9900"/>
                  <a:gd name="connsiteX11" fmla="*/ 7765 w 9162"/>
                  <a:gd name="connsiteY11" fmla="*/ 750 h 9900"/>
                  <a:gd name="connsiteX12" fmla="*/ 7765 w 9162"/>
                  <a:gd name="connsiteY12" fmla="*/ 0 h 9900"/>
                  <a:gd name="connsiteX13" fmla="*/ 6928 w 9162"/>
                  <a:gd name="connsiteY13" fmla="*/ 2650 h 9900"/>
                  <a:gd name="connsiteX14" fmla="*/ 6564 w 9162"/>
                  <a:gd name="connsiteY14" fmla="*/ 2900 h 9900"/>
                  <a:gd name="connsiteX15" fmla="*/ 6536 w 9162"/>
                  <a:gd name="connsiteY15" fmla="*/ 2900 h 9900"/>
                  <a:gd name="connsiteX16" fmla="*/ 6509 w 9162"/>
                  <a:gd name="connsiteY16" fmla="*/ 3050 h 9900"/>
                  <a:gd name="connsiteX17" fmla="*/ 5922 w 9162"/>
                  <a:gd name="connsiteY17" fmla="*/ 4100 h 9900"/>
                  <a:gd name="connsiteX18" fmla="*/ 5839 w 9162"/>
                  <a:gd name="connsiteY18" fmla="*/ 4150 h 9900"/>
                  <a:gd name="connsiteX19" fmla="*/ 5698 w 9162"/>
                  <a:gd name="connsiteY19" fmla="*/ 4050 h 9900"/>
                  <a:gd name="connsiteX20" fmla="*/ 5308 w 9162"/>
                  <a:gd name="connsiteY20" fmla="*/ 3150 h 9900"/>
                  <a:gd name="connsiteX21" fmla="*/ 5308 w 9162"/>
                  <a:gd name="connsiteY21" fmla="*/ 3800 h 9900"/>
                  <a:gd name="connsiteX22" fmla="*/ 6090 w 9162"/>
                  <a:gd name="connsiteY22" fmla="*/ 6700 h 9900"/>
                  <a:gd name="connsiteX23" fmla="*/ 5224 w 9162"/>
                  <a:gd name="connsiteY23" fmla="*/ 6700 h 9900"/>
                  <a:gd name="connsiteX24" fmla="*/ 5224 w 9162"/>
                  <a:gd name="connsiteY24" fmla="*/ 9300 h 9900"/>
                  <a:gd name="connsiteX25" fmla="*/ 5055 w 9162"/>
                  <a:gd name="connsiteY25" fmla="*/ 9550 h 9900"/>
                  <a:gd name="connsiteX26" fmla="*/ 4944 w 9162"/>
                  <a:gd name="connsiteY26" fmla="*/ 9550 h 9900"/>
                  <a:gd name="connsiteX27" fmla="*/ 4777 w 9162"/>
                  <a:gd name="connsiteY27" fmla="*/ 9300 h 9900"/>
                  <a:gd name="connsiteX28" fmla="*/ 4777 w 9162"/>
                  <a:gd name="connsiteY28" fmla="*/ 6700 h 9900"/>
                  <a:gd name="connsiteX29" fmla="*/ 4693 w 9162"/>
                  <a:gd name="connsiteY29" fmla="*/ 6700 h 9900"/>
                  <a:gd name="connsiteX30" fmla="*/ 4693 w 9162"/>
                  <a:gd name="connsiteY30" fmla="*/ 9300 h 9900"/>
                  <a:gd name="connsiteX31" fmla="*/ 4553 w 9162"/>
                  <a:gd name="connsiteY31" fmla="*/ 9550 h 9900"/>
                  <a:gd name="connsiteX32" fmla="*/ 4413 w 9162"/>
                  <a:gd name="connsiteY32" fmla="*/ 9550 h 9900"/>
                  <a:gd name="connsiteX33" fmla="*/ 4273 w 9162"/>
                  <a:gd name="connsiteY33" fmla="*/ 9300 h 9900"/>
                  <a:gd name="connsiteX34" fmla="*/ 4273 w 9162"/>
                  <a:gd name="connsiteY34" fmla="*/ 6700 h 9900"/>
                  <a:gd name="connsiteX35" fmla="*/ 3408 w 9162"/>
                  <a:gd name="connsiteY35" fmla="*/ 6700 h 9900"/>
                  <a:gd name="connsiteX36" fmla="*/ 4190 w 9162"/>
                  <a:gd name="connsiteY36" fmla="*/ 3800 h 9900"/>
                  <a:gd name="connsiteX37" fmla="*/ 4190 w 9162"/>
                  <a:gd name="connsiteY37" fmla="*/ 3400 h 9900"/>
                  <a:gd name="connsiteX38" fmla="*/ 3658 w 9162"/>
                  <a:gd name="connsiteY38" fmla="*/ 5050 h 9900"/>
                  <a:gd name="connsiteX39" fmla="*/ 3437 w 9162"/>
                  <a:gd name="connsiteY39" fmla="*/ 5150 h 9900"/>
                  <a:gd name="connsiteX40" fmla="*/ 3379 w 9162"/>
                  <a:gd name="connsiteY40" fmla="*/ 5100 h 9900"/>
                  <a:gd name="connsiteX41" fmla="*/ 3325 w 9162"/>
                  <a:gd name="connsiteY41" fmla="*/ 5150 h 9900"/>
                  <a:gd name="connsiteX42" fmla="*/ 3102 w 9162"/>
                  <a:gd name="connsiteY42" fmla="*/ 5000 h 9900"/>
                  <a:gd name="connsiteX43" fmla="*/ 2570 w 9162"/>
                  <a:gd name="connsiteY43" fmla="*/ 3350 h 9900"/>
                  <a:gd name="connsiteX44" fmla="*/ 2570 w 9162"/>
                  <a:gd name="connsiteY44" fmla="*/ 5600 h 9900"/>
                  <a:gd name="connsiteX45" fmla="*/ 2542 w 9162"/>
                  <a:gd name="connsiteY45" fmla="*/ 5700 h 9900"/>
                  <a:gd name="connsiteX46" fmla="*/ 2542 w 9162"/>
                  <a:gd name="connsiteY46" fmla="*/ 9350 h 9900"/>
                  <a:gd name="connsiteX47" fmla="*/ 2348 w 9162"/>
                  <a:gd name="connsiteY47" fmla="*/ 9650 h 9900"/>
                  <a:gd name="connsiteX48" fmla="*/ 2150 w 9162"/>
                  <a:gd name="connsiteY48" fmla="*/ 9650 h 9900"/>
                  <a:gd name="connsiteX49" fmla="*/ 1954 w 9162"/>
                  <a:gd name="connsiteY49" fmla="*/ 9350 h 9900"/>
                  <a:gd name="connsiteX50" fmla="*/ 1954 w 9162"/>
                  <a:gd name="connsiteY50" fmla="*/ 5800 h 9900"/>
                  <a:gd name="connsiteX51" fmla="*/ 1899 w 9162"/>
                  <a:gd name="connsiteY51" fmla="*/ 5800 h 9900"/>
                  <a:gd name="connsiteX52" fmla="*/ 1899 w 9162"/>
                  <a:gd name="connsiteY52" fmla="*/ 9350 h 9900"/>
                  <a:gd name="connsiteX53" fmla="*/ 1704 w 9162"/>
                  <a:gd name="connsiteY53" fmla="*/ 9650 h 9900"/>
                  <a:gd name="connsiteX54" fmla="*/ 1536 w 9162"/>
                  <a:gd name="connsiteY54" fmla="*/ 9650 h 9900"/>
                  <a:gd name="connsiteX55" fmla="*/ 1339 w 9162"/>
                  <a:gd name="connsiteY55" fmla="*/ 9350 h 9900"/>
                  <a:gd name="connsiteX56" fmla="*/ 1339 w 9162"/>
                  <a:gd name="connsiteY56" fmla="*/ 5700 h 9900"/>
                  <a:gd name="connsiteX57" fmla="*/ 1284 w 9162"/>
                  <a:gd name="connsiteY57" fmla="*/ 5600 h 9900"/>
                  <a:gd name="connsiteX58" fmla="*/ 1284 w 9162"/>
                  <a:gd name="connsiteY58" fmla="*/ 3100 h 9900"/>
                  <a:gd name="connsiteX59" fmla="*/ 950 w 9162"/>
                  <a:gd name="connsiteY59" fmla="*/ 3950 h 9900"/>
                  <a:gd name="connsiteX60" fmla="*/ 809 w 9162"/>
                  <a:gd name="connsiteY60" fmla="*/ 4050 h 9900"/>
                  <a:gd name="connsiteX61" fmla="*/ 697 w 9162"/>
                  <a:gd name="connsiteY61" fmla="*/ 4000 h 9900"/>
                  <a:gd name="connsiteX62" fmla="*/ 141 w 9162"/>
                  <a:gd name="connsiteY62" fmla="*/ 2950 h 9900"/>
                  <a:gd name="connsiteX63" fmla="*/ 112 w 9162"/>
                  <a:gd name="connsiteY63" fmla="*/ 2700 h 9900"/>
                  <a:gd name="connsiteX64" fmla="*/ 0 w 9162"/>
                  <a:gd name="connsiteY64" fmla="*/ 2500 h 9900"/>
                  <a:gd name="connsiteX0" fmla="*/ 9890 w 9890"/>
                  <a:gd name="connsiteY0" fmla="*/ 10000 h 10000"/>
                  <a:gd name="connsiteX1" fmla="*/ 9676 w 9890"/>
                  <a:gd name="connsiteY1" fmla="*/ 10000 h 10000"/>
                  <a:gd name="connsiteX2" fmla="*/ 9403 w 9890"/>
                  <a:gd name="connsiteY2" fmla="*/ 9545 h 10000"/>
                  <a:gd name="connsiteX3" fmla="*/ 9403 w 9890"/>
                  <a:gd name="connsiteY3" fmla="*/ 5354 h 10000"/>
                  <a:gd name="connsiteX4" fmla="*/ 9279 w 9890"/>
                  <a:gd name="connsiteY4" fmla="*/ 5354 h 10000"/>
                  <a:gd name="connsiteX5" fmla="*/ 9279 w 9890"/>
                  <a:gd name="connsiteY5" fmla="*/ 9545 h 10000"/>
                  <a:gd name="connsiteX6" fmla="*/ 9006 w 9890"/>
                  <a:gd name="connsiteY6" fmla="*/ 10000 h 10000"/>
                  <a:gd name="connsiteX7" fmla="*/ 8761 w 9890"/>
                  <a:gd name="connsiteY7" fmla="*/ 10000 h 10000"/>
                  <a:gd name="connsiteX8" fmla="*/ 8517 w 9890"/>
                  <a:gd name="connsiteY8" fmla="*/ 9545 h 10000"/>
                  <a:gd name="connsiteX9" fmla="*/ 8517 w 9890"/>
                  <a:gd name="connsiteY9" fmla="*/ 5354 h 10000"/>
                  <a:gd name="connsiteX10" fmla="*/ 7024 w 9890"/>
                  <a:gd name="connsiteY10" fmla="*/ 5354 h 10000"/>
                  <a:gd name="connsiteX11" fmla="*/ 8365 w 9890"/>
                  <a:gd name="connsiteY11" fmla="*/ 758 h 10000"/>
                  <a:gd name="connsiteX12" fmla="*/ 8365 w 9890"/>
                  <a:gd name="connsiteY12" fmla="*/ 0 h 10000"/>
                  <a:gd name="connsiteX13" fmla="*/ 7452 w 9890"/>
                  <a:gd name="connsiteY13" fmla="*/ 2677 h 10000"/>
                  <a:gd name="connsiteX14" fmla="*/ 7054 w 9890"/>
                  <a:gd name="connsiteY14" fmla="*/ 2929 h 10000"/>
                  <a:gd name="connsiteX15" fmla="*/ 7024 w 9890"/>
                  <a:gd name="connsiteY15" fmla="*/ 2929 h 10000"/>
                  <a:gd name="connsiteX16" fmla="*/ 6994 w 9890"/>
                  <a:gd name="connsiteY16" fmla="*/ 3081 h 10000"/>
                  <a:gd name="connsiteX17" fmla="*/ 6354 w 9890"/>
                  <a:gd name="connsiteY17" fmla="*/ 4141 h 10000"/>
                  <a:gd name="connsiteX18" fmla="*/ 6263 w 9890"/>
                  <a:gd name="connsiteY18" fmla="*/ 4192 h 10000"/>
                  <a:gd name="connsiteX19" fmla="*/ 6109 w 9890"/>
                  <a:gd name="connsiteY19" fmla="*/ 4091 h 10000"/>
                  <a:gd name="connsiteX20" fmla="*/ 5683 w 9890"/>
                  <a:gd name="connsiteY20" fmla="*/ 3182 h 10000"/>
                  <a:gd name="connsiteX21" fmla="*/ 5683 w 9890"/>
                  <a:gd name="connsiteY21" fmla="*/ 3838 h 10000"/>
                  <a:gd name="connsiteX22" fmla="*/ 6537 w 9890"/>
                  <a:gd name="connsiteY22" fmla="*/ 6768 h 10000"/>
                  <a:gd name="connsiteX23" fmla="*/ 5592 w 9890"/>
                  <a:gd name="connsiteY23" fmla="*/ 6768 h 10000"/>
                  <a:gd name="connsiteX24" fmla="*/ 5592 w 9890"/>
                  <a:gd name="connsiteY24" fmla="*/ 9394 h 10000"/>
                  <a:gd name="connsiteX25" fmla="*/ 5407 w 9890"/>
                  <a:gd name="connsiteY25" fmla="*/ 9646 h 10000"/>
                  <a:gd name="connsiteX26" fmla="*/ 5286 w 9890"/>
                  <a:gd name="connsiteY26" fmla="*/ 9646 h 10000"/>
                  <a:gd name="connsiteX27" fmla="*/ 5104 w 9890"/>
                  <a:gd name="connsiteY27" fmla="*/ 9394 h 10000"/>
                  <a:gd name="connsiteX28" fmla="*/ 5104 w 9890"/>
                  <a:gd name="connsiteY28" fmla="*/ 6768 h 10000"/>
                  <a:gd name="connsiteX29" fmla="*/ 5012 w 9890"/>
                  <a:gd name="connsiteY29" fmla="*/ 6768 h 10000"/>
                  <a:gd name="connsiteX30" fmla="*/ 5012 w 9890"/>
                  <a:gd name="connsiteY30" fmla="*/ 9394 h 10000"/>
                  <a:gd name="connsiteX31" fmla="*/ 4859 w 9890"/>
                  <a:gd name="connsiteY31" fmla="*/ 9646 h 10000"/>
                  <a:gd name="connsiteX32" fmla="*/ 4707 w 9890"/>
                  <a:gd name="connsiteY32" fmla="*/ 9646 h 10000"/>
                  <a:gd name="connsiteX33" fmla="*/ 4554 w 9890"/>
                  <a:gd name="connsiteY33" fmla="*/ 9394 h 10000"/>
                  <a:gd name="connsiteX34" fmla="*/ 4554 w 9890"/>
                  <a:gd name="connsiteY34" fmla="*/ 6768 h 10000"/>
                  <a:gd name="connsiteX35" fmla="*/ 3610 w 9890"/>
                  <a:gd name="connsiteY35" fmla="*/ 6768 h 10000"/>
                  <a:gd name="connsiteX36" fmla="*/ 4463 w 9890"/>
                  <a:gd name="connsiteY36" fmla="*/ 3838 h 10000"/>
                  <a:gd name="connsiteX37" fmla="*/ 4463 w 9890"/>
                  <a:gd name="connsiteY37" fmla="*/ 3434 h 10000"/>
                  <a:gd name="connsiteX38" fmla="*/ 3883 w 9890"/>
                  <a:gd name="connsiteY38" fmla="*/ 5101 h 10000"/>
                  <a:gd name="connsiteX39" fmla="*/ 3641 w 9890"/>
                  <a:gd name="connsiteY39" fmla="*/ 5202 h 10000"/>
                  <a:gd name="connsiteX40" fmla="*/ 3578 w 9890"/>
                  <a:gd name="connsiteY40" fmla="*/ 5152 h 10000"/>
                  <a:gd name="connsiteX41" fmla="*/ 3519 w 9890"/>
                  <a:gd name="connsiteY41" fmla="*/ 5202 h 10000"/>
                  <a:gd name="connsiteX42" fmla="*/ 3276 w 9890"/>
                  <a:gd name="connsiteY42" fmla="*/ 5051 h 10000"/>
                  <a:gd name="connsiteX43" fmla="*/ 2695 w 9890"/>
                  <a:gd name="connsiteY43" fmla="*/ 3384 h 10000"/>
                  <a:gd name="connsiteX44" fmla="*/ 2695 w 9890"/>
                  <a:gd name="connsiteY44" fmla="*/ 5657 h 10000"/>
                  <a:gd name="connsiteX45" fmla="*/ 2665 w 9890"/>
                  <a:gd name="connsiteY45" fmla="*/ 5758 h 10000"/>
                  <a:gd name="connsiteX46" fmla="*/ 2665 w 9890"/>
                  <a:gd name="connsiteY46" fmla="*/ 9444 h 10000"/>
                  <a:gd name="connsiteX47" fmla="*/ 2453 w 9890"/>
                  <a:gd name="connsiteY47" fmla="*/ 9747 h 10000"/>
                  <a:gd name="connsiteX48" fmla="*/ 2237 w 9890"/>
                  <a:gd name="connsiteY48" fmla="*/ 9747 h 10000"/>
                  <a:gd name="connsiteX49" fmla="*/ 2023 w 9890"/>
                  <a:gd name="connsiteY49" fmla="*/ 9444 h 10000"/>
                  <a:gd name="connsiteX50" fmla="*/ 2023 w 9890"/>
                  <a:gd name="connsiteY50" fmla="*/ 5859 h 10000"/>
                  <a:gd name="connsiteX51" fmla="*/ 1963 w 9890"/>
                  <a:gd name="connsiteY51" fmla="*/ 5859 h 10000"/>
                  <a:gd name="connsiteX52" fmla="*/ 1963 w 9890"/>
                  <a:gd name="connsiteY52" fmla="*/ 9444 h 10000"/>
                  <a:gd name="connsiteX53" fmla="*/ 1750 w 9890"/>
                  <a:gd name="connsiteY53" fmla="*/ 9747 h 10000"/>
                  <a:gd name="connsiteX54" fmla="*/ 1566 w 9890"/>
                  <a:gd name="connsiteY54" fmla="*/ 9747 h 10000"/>
                  <a:gd name="connsiteX55" fmla="*/ 1351 w 9890"/>
                  <a:gd name="connsiteY55" fmla="*/ 9444 h 10000"/>
                  <a:gd name="connsiteX56" fmla="*/ 1351 w 9890"/>
                  <a:gd name="connsiteY56" fmla="*/ 5758 h 10000"/>
                  <a:gd name="connsiteX57" fmla="*/ 1291 w 9890"/>
                  <a:gd name="connsiteY57" fmla="*/ 5657 h 10000"/>
                  <a:gd name="connsiteX58" fmla="*/ 1291 w 9890"/>
                  <a:gd name="connsiteY58" fmla="*/ 3131 h 10000"/>
                  <a:gd name="connsiteX59" fmla="*/ 927 w 9890"/>
                  <a:gd name="connsiteY59" fmla="*/ 3990 h 10000"/>
                  <a:gd name="connsiteX60" fmla="*/ 773 w 9890"/>
                  <a:gd name="connsiteY60" fmla="*/ 4091 h 10000"/>
                  <a:gd name="connsiteX61" fmla="*/ 651 w 9890"/>
                  <a:gd name="connsiteY61" fmla="*/ 4040 h 10000"/>
                  <a:gd name="connsiteX62" fmla="*/ 44 w 9890"/>
                  <a:gd name="connsiteY62" fmla="*/ 2980 h 10000"/>
                  <a:gd name="connsiteX63" fmla="*/ 12 w 9890"/>
                  <a:gd name="connsiteY63" fmla="*/ 2727 h 10000"/>
                  <a:gd name="connsiteX0" fmla="*/ 9988 w 9988"/>
                  <a:gd name="connsiteY0" fmla="*/ 10000 h 10000"/>
                  <a:gd name="connsiteX1" fmla="*/ 9772 w 9988"/>
                  <a:gd name="connsiteY1" fmla="*/ 10000 h 10000"/>
                  <a:gd name="connsiteX2" fmla="*/ 9496 w 9988"/>
                  <a:gd name="connsiteY2" fmla="*/ 9545 h 10000"/>
                  <a:gd name="connsiteX3" fmla="*/ 9496 w 9988"/>
                  <a:gd name="connsiteY3" fmla="*/ 5354 h 10000"/>
                  <a:gd name="connsiteX4" fmla="*/ 9370 w 9988"/>
                  <a:gd name="connsiteY4" fmla="*/ 5354 h 10000"/>
                  <a:gd name="connsiteX5" fmla="*/ 9370 w 9988"/>
                  <a:gd name="connsiteY5" fmla="*/ 9545 h 10000"/>
                  <a:gd name="connsiteX6" fmla="*/ 9094 w 9988"/>
                  <a:gd name="connsiteY6" fmla="*/ 10000 h 10000"/>
                  <a:gd name="connsiteX7" fmla="*/ 8846 w 9988"/>
                  <a:gd name="connsiteY7" fmla="*/ 10000 h 10000"/>
                  <a:gd name="connsiteX8" fmla="*/ 8600 w 9988"/>
                  <a:gd name="connsiteY8" fmla="*/ 9545 h 10000"/>
                  <a:gd name="connsiteX9" fmla="*/ 8600 w 9988"/>
                  <a:gd name="connsiteY9" fmla="*/ 5354 h 10000"/>
                  <a:gd name="connsiteX10" fmla="*/ 7090 w 9988"/>
                  <a:gd name="connsiteY10" fmla="*/ 5354 h 10000"/>
                  <a:gd name="connsiteX11" fmla="*/ 8446 w 9988"/>
                  <a:gd name="connsiteY11" fmla="*/ 758 h 10000"/>
                  <a:gd name="connsiteX12" fmla="*/ 8446 w 9988"/>
                  <a:gd name="connsiteY12" fmla="*/ 0 h 10000"/>
                  <a:gd name="connsiteX13" fmla="*/ 7523 w 9988"/>
                  <a:gd name="connsiteY13" fmla="*/ 2677 h 10000"/>
                  <a:gd name="connsiteX14" fmla="*/ 7120 w 9988"/>
                  <a:gd name="connsiteY14" fmla="*/ 2929 h 10000"/>
                  <a:gd name="connsiteX15" fmla="*/ 7090 w 9988"/>
                  <a:gd name="connsiteY15" fmla="*/ 2929 h 10000"/>
                  <a:gd name="connsiteX16" fmla="*/ 7060 w 9988"/>
                  <a:gd name="connsiteY16" fmla="*/ 3081 h 10000"/>
                  <a:gd name="connsiteX17" fmla="*/ 6413 w 9988"/>
                  <a:gd name="connsiteY17" fmla="*/ 4141 h 10000"/>
                  <a:gd name="connsiteX18" fmla="*/ 6321 w 9988"/>
                  <a:gd name="connsiteY18" fmla="*/ 4192 h 10000"/>
                  <a:gd name="connsiteX19" fmla="*/ 6165 w 9988"/>
                  <a:gd name="connsiteY19" fmla="*/ 4091 h 10000"/>
                  <a:gd name="connsiteX20" fmla="*/ 5734 w 9988"/>
                  <a:gd name="connsiteY20" fmla="*/ 3182 h 10000"/>
                  <a:gd name="connsiteX21" fmla="*/ 5734 w 9988"/>
                  <a:gd name="connsiteY21" fmla="*/ 3838 h 10000"/>
                  <a:gd name="connsiteX22" fmla="*/ 6598 w 9988"/>
                  <a:gd name="connsiteY22" fmla="*/ 6768 h 10000"/>
                  <a:gd name="connsiteX23" fmla="*/ 5642 w 9988"/>
                  <a:gd name="connsiteY23" fmla="*/ 6768 h 10000"/>
                  <a:gd name="connsiteX24" fmla="*/ 5642 w 9988"/>
                  <a:gd name="connsiteY24" fmla="*/ 9394 h 10000"/>
                  <a:gd name="connsiteX25" fmla="*/ 5455 w 9988"/>
                  <a:gd name="connsiteY25" fmla="*/ 9646 h 10000"/>
                  <a:gd name="connsiteX26" fmla="*/ 5333 w 9988"/>
                  <a:gd name="connsiteY26" fmla="*/ 9646 h 10000"/>
                  <a:gd name="connsiteX27" fmla="*/ 5149 w 9988"/>
                  <a:gd name="connsiteY27" fmla="*/ 9394 h 10000"/>
                  <a:gd name="connsiteX28" fmla="*/ 5149 w 9988"/>
                  <a:gd name="connsiteY28" fmla="*/ 6768 h 10000"/>
                  <a:gd name="connsiteX29" fmla="*/ 5056 w 9988"/>
                  <a:gd name="connsiteY29" fmla="*/ 6768 h 10000"/>
                  <a:gd name="connsiteX30" fmla="*/ 5056 w 9988"/>
                  <a:gd name="connsiteY30" fmla="*/ 9394 h 10000"/>
                  <a:gd name="connsiteX31" fmla="*/ 4901 w 9988"/>
                  <a:gd name="connsiteY31" fmla="*/ 9646 h 10000"/>
                  <a:gd name="connsiteX32" fmla="*/ 4747 w 9988"/>
                  <a:gd name="connsiteY32" fmla="*/ 9646 h 10000"/>
                  <a:gd name="connsiteX33" fmla="*/ 4593 w 9988"/>
                  <a:gd name="connsiteY33" fmla="*/ 9394 h 10000"/>
                  <a:gd name="connsiteX34" fmla="*/ 4593 w 9988"/>
                  <a:gd name="connsiteY34" fmla="*/ 6768 h 10000"/>
                  <a:gd name="connsiteX35" fmla="*/ 3638 w 9988"/>
                  <a:gd name="connsiteY35" fmla="*/ 6768 h 10000"/>
                  <a:gd name="connsiteX36" fmla="*/ 4501 w 9988"/>
                  <a:gd name="connsiteY36" fmla="*/ 3838 h 10000"/>
                  <a:gd name="connsiteX37" fmla="*/ 4501 w 9988"/>
                  <a:gd name="connsiteY37" fmla="*/ 3434 h 10000"/>
                  <a:gd name="connsiteX38" fmla="*/ 3914 w 9988"/>
                  <a:gd name="connsiteY38" fmla="*/ 5101 h 10000"/>
                  <a:gd name="connsiteX39" fmla="*/ 3669 w 9988"/>
                  <a:gd name="connsiteY39" fmla="*/ 5202 h 10000"/>
                  <a:gd name="connsiteX40" fmla="*/ 3606 w 9988"/>
                  <a:gd name="connsiteY40" fmla="*/ 5152 h 10000"/>
                  <a:gd name="connsiteX41" fmla="*/ 3546 w 9988"/>
                  <a:gd name="connsiteY41" fmla="*/ 5202 h 10000"/>
                  <a:gd name="connsiteX42" fmla="*/ 3300 w 9988"/>
                  <a:gd name="connsiteY42" fmla="*/ 5051 h 10000"/>
                  <a:gd name="connsiteX43" fmla="*/ 2713 w 9988"/>
                  <a:gd name="connsiteY43" fmla="*/ 3384 h 10000"/>
                  <a:gd name="connsiteX44" fmla="*/ 2713 w 9988"/>
                  <a:gd name="connsiteY44" fmla="*/ 5657 h 10000"/>
                  <a:gd name="connsiteX45" fmla="*/ 2683 w 9988"/>
                  <a:gd name="connsiteY45" fmla="*/ 5758 h 10000"/>
                  <a:gd name="connsiteX46" fmla="*/ 2683 w 9988"/>
                  <a:gd name="connsiteY46" fmla="*/ 9444 h 10000"/>
                  <a:gd name="connsiteX47" fmla="*/ 2468 w 9988"/>
                  <a:gd name="connsiteY47" fmla="*/ 9747 h 10000"/>
                  <a:gd name="connsiteX48" fmla="*/ 2250 w 9988"/>
                  <a:gd name="connsiteY48" fmla="*/ 9747 h 10000"/>
                  <a:gd name="connsiteX49" fmla="*/ 2034 w 9988"/>
                  <a:gd name="connsiteY49" fmla="*/ 9444 h 10000"/>
                  <a:gd name="connsiteX50" fmla="*/ 2034 w 9988"/>
                  <a:gd name="connsiteY50" fmla="*/ 5859 h 10000"/>
                  <a:gd name="connsiteX51" fmla="*/ 1973 w 9988"/>
                  <a:gd name="connsiteY51" fmla="*/ 5859 h 10000"/>
                  <a:gd name="connsiteX52" fmla="*/ 1973 w 9988"/>
                  <a:gd name="connsiteY52" fmla="*/ 9444 h 10000"/>
                  <a:gd name="connsiteX53" fmla="*/ 1757 w 9988"/>
                  <a:gd name="connsiteY53" fmla="*/ 9747 h 10000"/>
                  <a:gd name="connsiteX54" fmla="*/ 1571 w 9988"/>
                  <a:gd name="connsiteY54" fmla="*/ 9747 h 10000"/>
                  <a:gd name="connsiteX55" fmla="*/ 1354 w 9988"/>
                  <a:gd name="connsiteY55" fmla="*/ 9444 h 10000"/>
                  <a:gd name="connsiteX56" fmla="*/ 1354 w 9988"/>
                  <a:gd name="connsiteY56" fmla="*/ 5758 h 10000"/>
                  <a:gd name="connsiteX57" fmla="*/ 1293 w 9988"/>
                  <a:gd name="connsiteY57" fmla="*/ 5657 h 10000"/>
                  <a:gd name="connsiteX58" fmla="*/ 1293 w 9988"/>
                  <a:gd name="connsiteY58" fmla="*/ 3131 h 10000"/>
                  <a:gd name="connsiteX59" fmla="*/ 925 w 9988"/>
                  <a:gd name="connsiteY59" fmla="*/ 3990 h 10000"/>
                  <a:gd name="connsiteX60" fmla="*/ 770 w 9988"/>
                  <a:gd name="connsiteY60" fmla="*/ 4091 h 10000"/>
                  <a:gd name="connsiteX61" fmla="*/ 646 w 9988"/>
                  <a:gd name="connsiteY61" fmla="*/ 4040 h 10000"/>
                  <a:gd name="connsiteX62" fmla="*/ 0 w 9988"/>
                  <a:gd name="connsiteY62" fmla="*/ 2727 h 10000"/>
                  <a:gd name="connsiteX0" fmla="*/ 9353 w 9353"/>
                  <a:gd name="connsiteY0" fmla="*/ 10000 h 10000"/>
                  <a:gd name="connsiteX1" fmla="*/ 9137 w 9353"/>
                  <a:gd name="connsiteY1" fmla="*/ 10000 h 10000"/>
                  <a:gd name="connsiteX2" fmla="*/ 8860 w 9353"/>
                  <a:gd name="connsiteY2" fmla="*/ 9545 h 10000"/>
                  <a:gd name="connsiteX3" fmla="*/ 8860 w 9353"/>
                  <a:gd name="connsiteY3" fmla="*/ 5354 h 10000"/>
                  <a:gd name="connsiteX4" fmla="*/ 8734 w 9353"/>
                  <a:gd name="connsiteY4" fmla="*/ 5354 h 10000"/>
                  <a:gd name="connsiteX5" fmla="*/ 8734 w 9353"/>
                  <a:gd name="connsiteY5" fmla="*/ 9545 h 10000"/>
                  <a:gd name="connsiteX6" fmla="*/ 8458 w 9353"/>
                  <a:gd name="connsiteY6" fmla="*/ 10000 h 10000"/>
                  <a:gd name="connsiteX7" fmla="*/ 8210 w 9353"/>
                  <a:gd name="connsiteY7" fmla="*/ 10000 h 10000"/>
                  <a:gd name="connsiteX8" fmla="*/ 7963 w 9353"/>
                  <a:gd name="connsiteY8" fmla="*/ 9545 h 10000"/>
                  <a:gd name="connsiteX9" fmla="*/ 7963 w 9353"/>
                  <a:gd name="connsiteY9" fmla="*/ 5354 h 10000"/>
                  <a:gd name="connsiteX10" fmla="*/ 6452 w 9353"/>
                  <a:gd name="connsiteY10" fmla="*/ 5354 h 10000"/>
                  <a:gd name="connsiteX11" fmla="*/ 7809 w 9353"/>
                  <a:gd name="connsiteY11" fmla="*/ 758 h 10000"/>
                  <a:gd name="connsiteX12" fmla="*/ 7809 w 9353"/>
                  <a:gd name="connsiteY12" fmla="*/ 0 h 10000"/>
                  <a:gd name="connsiteX13" fmla="*/ 6885 w 9353"/>
                  <a:gd name="connsiteY13" fmla="*/ 2677 h 10000"/>
                  <a:gd name="connsiteX14" fmla="*/ 6482 w 9353"/>
                  <a:gd name="connsiteY14" fmla="*/ 2929 h 10000"/>
                  <a:gd name="connsiteX15" fmla="*/ 6452 w 9353"/>
                  <a:gd name="connsiteY15" fmla="*/ 2929 h 10000"/>
                  <a:gd name="connsiteX16" fmla="*/ 6421 w 9353"/>
                  <a:gd name="connsiteY16" fmla="*/ 3081 h 10000"/>
                  <a:gd name="connsiteX17" fmla="*/ 5774 w 9353"/>
                  <a:gd name="connsiteY17" fmla="*/ 4141 h 10000"/>
                  <a:gd name="connsiteX18" fmla="*/ 5682 w 9353"/>
                  <a:gd name="connsiteY18" fmla="*/ 4192 h 10000"/>
                  <a:gd name="connsiteX19" fmla="*/ 5525 w 9353"/>
                  <a:gd name="connsiteY19" fmla="*/ 4091 h 10000"/>
                  <a:gd name="connsiteX20" fmla="*/ 5094 w 9353"/>
                  <a:gd name="connsiteY20" fmla="*/ 3182 h 10000"/>
                  <a:gd name="connsiteX21" fmla="*/ 5094 w 9353"/>
                  <a:gd name="connsiteY21" fmla="*/ 3838 h 10000"/>
                  <a:gd name="connsiteX22" fmla="*/ 5959 w 9353"/>
                  <a:gd name="connsiteY22" fmla="*/ 6768 h 10000"/>
                  <a:gd name="connsiteX23" fmla="*/ 5002 w 9353"/>
                  <a:gd name="connsiteY23" fmla="*/ 6768 h 10000"/>
                  <a:gd name="connsiteX24" fmla="*/ 5002 w 9353"/>
                  <a:gd name="connsiteY24" fmla="*/ 9394 h 10000"/>
                  <a:gd name="connsiteX25" fmla="*/ 4815 w 9353"/>
                  <a:gd name="connsiteY25" fmla="*/ 9646 h 10000"/>
                  <a:gd name="connsiteX26" fmla="*/ 4692 w 9353"/>
                  <a:gd name="connsiteY26" fmla="*/ 9646 h 10000"/>
                  <a:gd name="connsiteX27" fmla="*/ 4508 w 9353"/>
                  <a:gd name="connsiteY27" fmla="*/ 9394 h 10000"/>
                  <a:gd name="connsiteX28" fmla="*/ 4508 w 9353"/>
                  <a:gd name="connsiteY28" fmla="*/ 6768 h 10000"/>
                  <a:gd name="connsiteX29" fmla="*/ 4415 w 9353"/>
                  <a:gd name="connsiteY29" fmla="*/ 6768 h 10000"/>
                  <a:gd name="connsiteX30" fmla="*/ 4415 w 9353"/>
                  <a:gd name="connsiteY30" fmla="*/ 9394 h 10000"/>
                  <a:gd name="connsiteX31" fmla="*/ 4260 w 9353"/>
                  <a:gd name="connsiteY31" fmla="*/ 9646 h 10000"/>
                  <a:gd name="connsiteX32" fmla="*/ 4106 w 9353"/>
                  <a:gd name="connsiteY32" fmla="*/ 9646 h 10000"/>
                  <a:gd name="connsiteX33" fmla="*/ 3952 w 9353"/>
                  <a:gd name="connsiteY33" fmla="*/ 9394 h 10000"/>
                  <a:gd name="connsiteX34" fmla="*/ 3952 w 9353"/>
                  <a:gd name="connsiteY34" fmla="*/ 6768 h 10000"/>
                  <a:gd name="connsiteX35" fmla="*/ 2995 w 9353"/>
                  <a:gd name="connsiteY35" fmla="*/ 6768 h 10000"/>
                  <a:gd name="connsiteX36" fmla="*/ 3859 w 9353"/>
                  <a:gd name="connsiteY36" fmla="*/ 3838 h 10000"/>
                  <a:gd name="connsiteX37" fmla="*/ 3859 w 9353"/>
                  <a:gd name="connsiteY37" fmla="*/ 3434 h 10000"/>
                  <a:gd name="connsiteX38" fmla="*/ 3272 w 9353"/>
                  <a:gd name="connsiteY38" fmla="*/ 5101 h 10000"/>
                  <a:gd name="connsiteX39" fmla="*/ 3026 w 9353"/>
                  <a:gd name="connsiteY39" fmla="*/ 5202 h 10000"/>
                  <a:gd name="connsiteX40" fmla="*/ 2963 w 9353"/>
                  <a:gd name="connsiteY40" fmla="*/ 5152 h 10000"/>
                  <a:gd name="connsiteX41" fmla="*/ 2903 w 9353"/>
                  <a:gd name="connsiteY41" fmla="*/ 5202 h 10000"/>
                  <a:gd name="connsiteX42" fmla="*/ 2657 w 9353"/>
                  <a:gd name="connsiteY42" fmla="*/ 5051 h 10000"/>
                  <a:gd name="connsiteX43" fmla="*/ 2069 w 9353"/>
                  <a:gd name="connsiteY43" fmla="*/ 3384 h 10000"/>
                  <a:gd name="connsiteX44" fmla="*/ 2069 w 9353"/>
                  <a:gd name="connsiteY44" fmla="*/ 5657 h 10000"/>
                  <a:gd name="connsiteX45" fmla="*/ 2039 w 9353"/>
                  <a:gd name="connsiteY45" fmla="*/ 5758 h 10000"/>
                  <a:gd name="connsiteX46" fmla="*/ 2039 w 9353"/>
                  <a:gd name="connsiteY46" fmla="*/ 9444 h 10000"/>
                  <a:gd name="connsiteX47" fmla="*/ 1824 w 9353"/>
                  <a:gd name="connsiteY47" fmla="*/ 9747 h 10000"/>
                  <a:gd name="connsiteX48" fmla="*/ 1606 w 9353"/>
                  <a:gd name="connsiteY48" fmla="*/ 9747 h 10000"/>
                  <a:gd name="connsiteX49" fmla="*/ 1389 w 9353"/>
                  <a:gd name="connsiteY49" fmla="*/ 9444 h 10000"/>
                  <a:gd name="connsiteX50" fmla="*/ 1389 w 9353"/>
                  <a:gd name="connsiteY50" fmla="*/ 5859 h 10000"/>
                  <a:gd name="connsiteX51" fmla="*/ 1328 w 9353"/>
                  <a:gd name="connsiteY51" fmla="*/ 5859 h 10000"/>
                  <a:gd name="connsiteX52" fmla="*/ 1328 w 9353"/>
                  <a:gd name="connsiteY52" fmla="*/ 9444 h 10000"/>
                  <a:gd name="connsiteX53" fmla="*/ 1112 w 9353"/>
                  <a:gd name="connsiteY53" fmla="*/ 9747 h 10000"/>
                  <a:gd name="connsiteX54" fmla="*/ 926 w 9353"/>
                  <a:gd name="connsiteY54" fmla="*/ 9747 h 10000"/>
                  <a:gd name="connsiteX55" fmla="*/ 709 w 9353"/>
                  <a:gd name="connsiteY55" fmla="*/ 9444 h 10000"/>
                  <a:gd name="connsiteX56" fmla="*/ 709 w 9353"/>
                  <a:gd name="connsiteY56" fmla="*/ 5758 h 10000"/>
                  <a:gd name="connsiteX57" fmla="*/ 648 w 9353"/>
                  <a:gd name="connsiteY57" fmla="*/ 5657 h 10000"/>
                  <a:gd name="connsiteX58" fmla="*/ 648 w 9353"/>
                  <a:gd name="connsiteY58" fmla="*/ 3131 h 10000"/>
                  <a:gd name="connsiteX59" fmla="*/ 279 w 9353"/>
                  <a:gd name="connsiteY59" fmla="*/ 3990 h 10000"/>
                  <a:gd name="connsiteX60" fmla="*/ 124 w 9353"/>
                  <a:gd name="connsiteY60" fmla="*/ 4091 h 10000"/>
                  <a:gd name="connsiteX61" fmla="*/ 0 w 9353"/>
                  <a:gd name="connsiteY61" fmla="*/ 4040 h 10000"/>
                  <a:gd name="connsiteX0" fmla="*/ 9867 w 9867"/>
                  <a:gd name="connsiteY0" fmla="*/ 10000 h 10000"/>
                  <a:gd name="connsiteX1" fmla="*/ 9636 w 9867"/>
                  <a:gd name="connsiteY1" fmla="*/ 10000 h 10000"/>
                  <a:gd name="connsiteX2" fmla="*/ 9340 w 9867"/>
                  <a:gd name="connsiteY2" fmla="*/ 9545 h 10000"/>
                  <a:gd name="connsiteX3" fmla="*/ 9340 w 9867"/>
                  <a:gd name="connsiteY3" fmla="*/ 5354 h 10000"/>
                  <a:gd name="connsiteX4" fmla="*/ 9205 w 9867"/>
                  <a:gd name="connsiteY4" fmla="*/ 5354 h 10000"/>
                  <a:gd name="connsiteX5" fmla="*/ 9205 w 9867"/>
                  <a:gd name="connsiteY5" fmla="*/ 9545 h 10000"/>
                  <a:gd name="connsiteX6" fmla="*/ 8910 w 9867"/>
                  <a:gd name="connsiteY6" fmla="*/ 10000 h 10000"/>
                  <a:gd name="connsiteX7" fmla="*/ 8645 w 9867"/>
                  <a:gd name="connsiteY7" fmla="*/ 10000 h 10000"/>
                  <a:gd name="connsiteX8" fmla="*/ 8381 w 9867"/>
                  <a:gd name="connsiteY8" fmla="*/ 9545 h 10000"/>
                  <a:gd name="connsiteX9" fmla="*/ 8381 w 9867"/>
                  <a:gd name="connsiteY9" fmla="*/ 5354 h 10000"/>
                  <a:gd name="connsiteX10" fmla="*/ 6765 w 9867"/>
                  <a:gd name="connsiteY10" fmla="*/ 5354 h 10000"/>
                  <a:gd name="connsiteX11" fmla="*/ 8216 w 9867"/>
                  <a:gd name="connsiteY11" fmla="*/ 758 h 10000"/>
                  <a:gd name="connsiteX12" fmla="*/ 8216 w 9867"/>
                  <a:gd name="connsiteY12" fmla="*/ 0 h 10000"/>
                  <a:gd name="connsiteX13" fmla="*/ 7228 w 9867"/>
                  <a:gd name="connsiteY13" fmla="*/ 2677 h 10000"/>
                  <a:gd name="connsiteX14" fmla="*/ 6797 w 9867"/>
                  <a:gd name="connsiteY14" fmla="*/ 2929 h 10000"/>
                  <a:gd name="connsiteX15" fmla="*/ 6765 w 9867"/>
                  <a:gd name="connsiteY15" fmla="*/ 2929 h 10000"/>
                  <a:gd name="connsiteX16" fmla="*/ 6732 w 9867"/>
                  <a:gd name="connsiteY16" fmla="*/ 3081 h 10000"/>
                  <a:gd name="connsiteX17" fmla="*/ 6040 w 9867"/>
                  <a:gd name="connsiteY17" fmla="*/ 4141 h 10000"/>
                  <a:gd name="connsiteX18" fmla="*/ 5942 w 9867"/>
                  <a:gd name="connsiteY18" fmla="*/ 4192 h 10000"/>
                  <a:gd name="connsiteX19" fmla="*/ 5774 w 9867"/>
                  <a:gd name="connsiteY19" fmla="*/ 4091 h 10000"/>
                  <a:gd name="connsiteX20" fmla="*/ 5313 w 9867"/>
                  <a:gd name="connsiteY20" fmla="*/ 3182 h 10000"/>
                  <a:gd name="connsiteX21" fmla="*/ 5313 w 9867"/>
                  <a:gd name="connsiteY21" fmla="*/ 3838 h 10000"/>
                  <a:gd name="connsiteX22" fmla="*/ 6238 w 9867"/>
                  <a:gd name="connsiteY22" fmla="*/ 6768 h 10000"/>
                  <a:gd name="connsiteX23" fmla="*/ 5215 w 9867"/>
                  <a:gd name="connsiteY23" fmla="*/ 6768 h 10000"/>
                  <a:gd name="connsiteX24" fmla="*/ 5215 w 9867"/>
                  <a:gd name="connsiteY24" fmla="*/ 9394 h 10000"/>
                  <a:gd name="connsiteX25" fmla="*/ 5015 w 9867"/>
                  <a:gd name="connsiteY25" fmla="*/ 9646 h 10000"/>
                  <a:gd name="connsiteX26" fmla="*/ 4884 w 9867"/>
                  <a:gd name="connsiteY26" fmla="*/ 9646 h 10000"/>
                  <a:gd name="connsiteX27" fmla="*/ 4687 w 9867"/>
                  <a:gd name="connsiteY27" fmla="*/ 9394 h 10000"/>
                  <a:gd name="connsiteX28" fmla="*/ 4687 w 9867"/>
                  <a:gd name="connsiteY28" fmla="*/ 6768 h 10000"/>
                  <a:gd name="connsiteX29" fmla="*/ 4587 w 9867"/>
                  <a:gd name="connsiteY29" fmla="*/ 6768 h 10000"/>
                  <a:gd name="connsiteX30" fmla="*/ 4587 w 9867"/>
                  <a:gd name="connsiteY30" fmla="*/ 9394 h 10000"/>
                  <a:gd name="connsiteX31" fmla="*/ 4422 w 9867"/>
                  <a:gd name="connsiteY31" fmla="*/ 9646 h 10000"/>
                  <a:gd name="connsiteX32" fmla="*/ 4257 w 9867"/>
                  <a:gd name="connsiteY32" fmla="*/ 9646 h 10000"/>
                  <a:gd name="connsiteX33" fmla="*/ 4092 w 9867"/>
                  <a:gd name="connsiteY33" fmla="*/ 9394 h 10000"/>
                  <a:gd name="connsiteX34" fmla="*/ 4092 w 9867"/>
                  <a:gd name="connsiteY34" fmla="*/ 6768 h 10000"/>
                  <a:gd name="connsiteX35" fmla="*/ 3069 w 9867"/>
                  <a:gd name="connsiteY35" fmla="*/ 6768 h 10000"/>
                  <a:gd name="connsiteX36" fmla="*/ 3993 w 9867"/>
                  <a:gd name="connsiteY36" fmla="*/ 3838 h 10000"/>
                  <a:gd name="connsiteX37" fmla="*/ 3993 w 9867"/>
                  <a:gd name="connsiteY37" fmla="*/ 3434 h 10000"/>
                  <a:gd name="connsiteX38" fmla="*/ 3365 w 9867"/>
                  <a:gd name="connsiteY38" fmla="*/ 5101 h 10000"/>
                  <a:gd name="connsiteX39" fmla="*/ 3102 w 9867"/>
                  <a:gd name="connsiteY39" fmla="*/ 5202 h 10000"/>
                  <a:gd name="connsiteX40" fmla="*/ 3035 w 9867"/>
                  <a:gd name="connsiteY40" fmla="*/ 5152 h 10000"/>
                  <a:gd name="connsiteX41" fmla="*/ 2971 w 9867"/>
                  <a:gd name="connsiteY41" fmla="*/ 5202 h 10000"/>
                  <a:gd name="connsiteX42" fmla="*/ 2708 w 9867"/>
                  <a:gd name="connsiteY42" fmla="*/ 5051 h 10000"/>
                  <a:gd name="connsiteX43" fmla="*/ 2079 w 9867"/>
                  <a:gd name="connsiteY43" fmla="*/ 3384 h 10000"/>
                  <a:gd name="connsiteX44" fmla="*/ 2079 w 9867"/>
                  <a:gd name="connsiteY44" fmla="*/ 5657 h 10000"/>
                  <a:gd name="connsiteX45" fmla="*/ 2047 w 9867"/>
                  <a:gd name="connsiteY45" fmla="*/ 5758 h 10000"/>
                  <a:gd name="connsiteX46" fmla="*/ 2047 w 9867"/>
                  <a:gd name="connsiteY46" fmla="*/ 9444 h 10000"/>
                  <a:gd name="connsiteX47" fmla="*/ 1817 w 9867"/>
                  <a:gd name="connsiteY47" fmla="*/ 9747 h 10000"/>
                  <a:gd name="connsiteX48" fmla="*/ 1584 w 9867"/>
                  <a:gd name="connsiteY48" fmla="*/ 9747 h 10000"/>
                  <a:gd name="connsiteX49" fmla="*/ 1352 w 9867"/>
                  <a:gd name="connsiteY49" fmla="*/ 9444 h 10000"/>
                  <a:gd name="connsiteX50" fmla="*/ 1352 w 9867"/>
                  <a:gd name="connsiteY50" fmla="*/ 5859 h 10000"/>
                  <a:gd name="connsiteX51" fmla="*/ 1287 w 9867"/>
                  <a:gd name="connsiteY51" fmla="*/ 5859 h 10000"/>
                  <a:gd name="connsiteX52" fmla="*/ 1287 w 9867"/>
                  <a:gd name="connsiteY52" fmla="*/ 9444 h 10000"/>
                  <a:gd name="connsiteX53" fmla="*/ 1056 w 9867"/>
                  <a:gd name="connsiteY53" fmla="*/ 9747 h 10000"/>
                  <a:gd name="connsiteX54" fmla="*/ 857 w 9867"/>
                  <a:gd name="connsiteY54" fmla="*/ 9747 h 10000"/>
                  <a:gd name="connsiteX55" fmla="*/ 625 w 9867"/>
                  <a:gd name="connsiteY55" fmla="*/ 9444 h 10000"/>
                  <a:gd name="connsiteX56" fmla="*/ 625 w 9867"/>
                  <a:gd name="connsiteY56" fmla="*/ 5758 h 10000"/>
                  <a:gd name="connsiteX57" fmla="*/ 560 w 9867"/>
                  <a:gd name="connsiteY57" fmla="*/ 5657 h 10000"/>
                  <a:gd name="connsiteX58" fmla="*/ 560 w 9867"/>
                  <a:gd name="connsiteY58" fmla="*/ 3131 h 10000"/>
                  <a:gd name="connsiteX59" fmla="*/ 165 w 9867"/>
                  <a:gd name="connsiteY59" fmla="*/ 3990 h 10000"/>
                  <a:gd name="connsiteX60" fmla="*/ 0 w 9867"/>
                  <a:gd name="connsiteY60" fmla="*/ 4091 h 10000"/>
                  <a:gd name="connsiteX0" fmla="*/ 9833 w 9833"/>
                  <a:gd name="connsiteY0" fmla="*/ 10000 h 10000"/>
                  <a:gd name="connsiteX1" fmla="*/ 9599 w 9833"/>
                  <a:gd name="connsiteY1" fmla="*/ 10000 h 10000"/>
                  <a:gd name="connsiteX2" fmla="*/ 9299 w 9833"/>
                  <a:gd name="connsiteY2" fmla="*/ 9545 h 10000"/>
                  <a:gd name="connsiteX3" fmla="*/ 9299 w 9833"/>
                  <a:gd name="connsiteY3" fmla="*/ 5354 h 10000"/>
                  <a:gd name="connsiteX4" fmla="*/ 9162 w 9833"/>
                  <a:gd name="connsiteY4" fmla="*/ 5354 h 10000"/>
                  <a:gd name="connsiteX5" fmla="*/ 9162 w 9833"/>
                  <a:gd name="connsiteY5" fmla="*/ 9545 h 10000"/>
                  <a:gd name="connsiteX6" fmla="*/ 8863 w 9833"/>
                  <a:gd name="connsiteY6" fmla="*/ 10000 h 10000"/>
                  <a:gd name="connsiteX7" fmla="*/ 8595 w 9833"/>
                  <a:gd name="connsiteY7" fmla="*/ 10000 h 10000"/>
                  <a:gd name="connsiteX8" fmla="*/ 8327 w 9833"/>
                  <a:gd name="connsiteY8" fmla="*/ 9545 h 10000"/>
                  <a:gd name="connsiteX9" fmla="*/ 8327 w 9833"/>
                  <a:gd name="connsiteY9" fmla="*/ 5354 h 10000"/>
                  <a:gd name="connsiteX10" fmla="*/ 6689 w 9833"/>
                  <a:gd name="connsiteY10" fmla="*/ 5354 h 10000"/>
                  <a:gd name="connsiteX11" fmla="*/ 8160 w 9833"/>
                  <a:gd name="connsiteY11" fmla="*/ 758 h 10000"/>
                  <a:gd name="connsiteX12" fmla="*/ 8160 w 9833"/>
                  <a:gd name="connsiteY12" fmla="*/ 0 h 10000"/>
                  <a:gd name="connsiteX13" fmla="*/ 7158 w 9833"/>
                  <a:gd name="connsiteY13" fmla="*/ 2677 h 10000"/>
                  <a:gd name="connsiteX14" fmla="*/ 6722 w 9833"/>
                  <a:gd name="connsiteY14" fmla="*/ 2929 h 10000"/>
                  <a:gd name="connsiteX15" fmla="*/ 6689 w 9833"/>
                  <a:gd name="connsiteY15" fmla="*/ 2929 h 10000"/>
                  <a:gd name="connsiteX16" fmla="*/ 6656 w 9833"/>
                  <a:gd name="connsiteY16" fmla="*/ 3081 h 10000"/>
                  <a:gd name="connsiteX17" fmla="*/ 5954 w 9833"/>
                  <a:gd name="connsiteY17" fmla="*/ 4141 h 10000"/>
                  <a:gd name="connsiteX18" fmla="*/ 5855 w 9833"/>
                  <a:gd name="connsiteY18" fmla="*/ 4192 h 10000"/>
                  <a:gd name="connsiteX19" fmla="*/ 5685 w 9833"/>
                  <a:gd name="connsiteY19" fmla="*/ 4091 h 10000"/>
                  <a:gd name="connsiteX20" fmla="*/ 5218 w 9833"/>
                  <a:gd name="connsiteY20" fmla="*/ 3182 h 10000"/>
                  <a:gd name="connsiteX21" fmla="*/ 5218 w 9833"/>
                  <a:gd name="connsiteY21" fmla="*/ 3838 h 10000"/>
                  <a:gd name="connsiteX22" fmla="*/ 6155 w 9833"/>
                  <a:gd name="connsiteY22" fmla="*/ 6768 h 10000"/>
                  <a:gd name="connsiteX23" fmla="*/ 5118 w 9833"/>
                  <a:gd name="connsiteY23" fmla="*/ 6768 h 10000"/>
                  <a:gd name="connsiteX24" fmla="*/ 5118 w 9833"/>
                  <a:gd name="connsiteY24" fmla="*/ 9394 h 10000"/>
                  <a:gd name="connsiteX25" fmla="*/ 4916 w 9833"/>
                  <a:gd name="connsiteY25" fmla="*/ 9646 h 10000"/>
                  <a:gd name="connsiteX26" fmla="*/ 4783 w 9833"/>
                  <a:gd name="connsiteY26" fmla="*/ 9646 h 10000"/>
                  <a:gd name="connsiteX27" fmla="*/ 4583 w 9833"/>
                  <a:gd name="connsiteY27" fmla="*/ 9394 h 10000"/>
                  <a:gd name="connsiteX28" fmla="*/ 4583 w 9833"/>
                  <a:gd name="connsiteY28" fmla="*/ 6768 h 10000"/>
                  <a:gd name="connsiteX29" fmla="*/ 4482 w 9833"/>
                  <a:gd name="connsiteY29" fmla="*/ 6768 h 10000"/>
                  <a:gd name="connsiteX30" fmla="*/ 4482 w 9833"/>
                  <a:gd name="connsiteY30" fmla="*/ 9394 h 10000"/>
                  <a:gd name="connsiteX31" fmla="*/ 4315 w 9833"/>
                  <a:gd name="connsiteY31" fmla="*/ 9646 h 10000"/>
                  <a:gd name="connsiteX32" fmla="*/ 4147 w 9833"/>
                  <a:gd name="connsiteY32" fmla="*/ 9646 h 10000"/>
                  <a:gd name="connsiteX33" fmla="*/ 3980 w 9833"/>
                  <a:gd name="connsiteY33" fmla="*/ 9394 h 10000"/>
                  <a:gd name="connsiteX34" fmla="*/ 3980 w 9833"/>
                  <a:gd name="connsiteY34" fmla="*/ 6768 h 10000"/>
                  <a:gd name="connsiteX35" fmla="*/ 2943 w 9833"/>
                  <a:gd name="connsiteY35" fmla="*/ 6768 h 10000"/>
                  <a:gd name="connsiteX36" fmla="*/ 3880 w 9833"/>
                  <a:gd name="connsiteY36" fmla="*/ 3838 h 10000"/>
                  <a:gd name="connsiteX37" fmla="*/ 3880 w 9833"/>
                  <a:gd name="connsiteY37" fmla="*/ 3434 h 10000"/>
                  <a:gd name="connsiteX38" fmla="*/ 3243 w 9833"/>
                  <a:gd name="connsiteY38" fmla="*/ 5101 h 10000"/>
                  <a:gd name="connsiteX39" fmla="*/ 2977 w 9833"/>
                  <a:gd name="connsiteY39" fmla="*/ 5202 h 10000"/>
                  <a:gd name="connsiteX40" fmla="*/ 2909 w 9833"/>
                  <a:gd name="connsiteY40" fmla="*/ 5152 h 10000"/>
                  <a:gd name="connsiteX41" fmla="*/ 2844 w 9833"/>
                  <a:gd name="connsiteY41" fmla="*/ 5202 h 10000"/>
                  <a:gd name="connsiteX42" fmla="*/ 2578 w 9833"/>
                  <a:gd name="connsiteY42" fmla="*/ 5051 h 10000"/>
                  <a:gd name="connsiteX43" fmla="*/ 1940 w 9833"/>
                  <a:gd name="connsiteY43" fmla="*/ 3384 h 10000"/>
                  <a:gd name="connsiteX44" fmla="*/ 1940 w 9833"/>
                  <a:gd name="connsiteY44" fmla="*/ 5657 h 10000"/>
                  <a:gd name="connsiteX45" fmla="*/ 1908 w 9833"/>
                  <a:gd name="connsiteY45" fmla="*/ 5758 h 10000"/>
                  <a:gd name="connsiteX46" fmla="*/ 1908 w 9833"/>
                  <a:gd name="connsiteY46" fmla="*/ 9444 h 10000"/>
                  <a:gd name="connsiteX47" fmla="*/ 1674 w 9833"/>
                  <a:gd name="connsiteY47" fmla="*/ 9747 h 10000"/>
                  <a:gd name="connsiteX48" fmla="*/ 1438 w 9833"/>
                  <a:gd name="connsiteY48" fmla="*/ 9747 h 10000"/>
                  <a:gd name="connsiteX49" fmla="*/ 1203 w 9833"/>
                  <a:gd name="connsiteY49" fmla="*/ 9444 h 10000"/>
                  <a:gd name="connsiteX50" fmla="*/ 1203 w 9833"/>
                  <a:gd name="connsiteY50" fmla="*/ 5859 h 10000"/>
                  <a:gd name="connsiteX51" fmla="*/ 1137 w 9833"/>
                  <a:gd name="connsiteY51" fmla="*/ 5859 h 10000"/>
                  <a:gd name="connsiteX52" fmla="*/ 1137 w 9833"/>
                  <a:gd name="connsiteY52" fmla="*/ 9444 h 10000"/>
                  <a:gd name="connsiteX53" fmla="*/ 903 w 9833"/>
                  <a:gd name="connsiteY53" fmla="*/ 9747 h 10000"/>
                  <a:gd name="connsiteX54" fmla="*/ 702 w 9833"/>
                  <a:gd name="connsiteY54" fmla="*/ 9747 h 10000"/>
                  <a:gd name="connsiteX55" fmla="*/ 466 w 9833"/>
                  <a:gd name="connsiteY55" fmla="*/ 9444 h 10000"/>
                  <a:gd name="connsiteX56" fmla="*/ 466 w 9833"/>
                  <a:gd name="connsiteY56" fmla="*/ 5758 h 10000"/>
                  <a:gd name="connsiteX57" fmla="*/ 401 w 9833"/>
                  <a:gd name="connsiteY57" fmla="*/ 5657 h 10000"/>
                  <a:gd name="connsiteX58" fmla="*/ 401 w 9833"/>
                  <a:gd name="connsiteY58" fmla="*/ 3131 h 10000"/>
                  <a:gd name="connsiteX59" fmla="*/ 0 w 9833"/>
                  <a:gd name="connsiteY59" fmla="*/ 3990 h 10000"/>
                  <a:gd name="connsiteX0" fmla="*/ 9592 w 9592"/>
                  <a:gd name="connsiteY0" fmla="*/ 10000 h 10000"/>
                  <a:gd name="connsiteX1" fmla="*/ 9354 w 9592"/>
                  <a:gd name="connsiteY1" fmla="*/ 10000 h 10000"/>
                  <a:gd name="connsiteX2" fmla="*/ 9049 w 9592"/>
                  <a:gd name="connsiteY2" fmla="*/ 9545 h 10000"/>
                  <a:gd name="connsiteX3" fmla="*/ 9049 w 9592"/>
                  <a:gd name="connsiteY3" fmla="*/ 5354 h 10000"/>
                  <a:gd name="connsiteX4" fmla="*/ 8910 w 9592"/>
                  <a:gd name="connsiteY4" fmla="*/ 5354 h 10000"/>
                  <a:gd name="connsiteX5" fmla="*/ 8910 w 9592"/>
                  <a:gd name="connsiteY5" fmla="*/ 9545 h 10000"/>
                  <a:gd name="connsiteX6" fmla="*/ 8606 w 9592"/>
                  <a:gd name="connsiteY6" fmla="*/ 10000 h 10000"/>
                  <a:gd name="connsiteX7" fmla="*/ 8333 w 9592"/>
                  <a:gd name="connsiteY7" fmla="*/ 10000 h 10000"/>
                  <a:gd name="connsiteX8" fmla="*/ 8060 w 9592"/>
                  <a:gd name="connsiteY8" fmla="*/ 9545 h 10000"/>
                  <a:gd name="connsiteX9" fmla="*/ 8060 w 9592"/>
                  <a:gd name="connsiteY9" fmla="*/ 5354 h 10000"/>
                  <a:gd name="connsiteX10" fmla="*/ 6395 w 9592"/>
                  <a:gd name="connsiteY10" fmla="*/ 5354 h 10000"/>
                  <a:gd name="connsiteX11" fmla="*/ 7891 w 9592"/>
                  <a:gd name="connsiteY11" fmla="*/ 758 h 10000"/>
                  <a:gd name="connsiteX12" fmla="*/ 7891 w 9592"/>
                  <a:gd name="connsiteY12" fmla="*/ 0 h 10000"/>
                  <a:gd name="connsiteX13" fmla="*/ 6872 w 9592"/>
                  <a:gd name="connsiteY13" fmla="*/ 2677 h 10000"/>
                  <a:gd name="connsiteX14" fmla="*/ 6428 w 9592"/>
                  <a:gd name="connsiteY14" fmla="*/ 2929 h 10000"/>
                  <a:gd name="connsiteX15" fmla="*/ 6395 w 9592"/>
                  <a:gd name="connsiteY15" fmla="*/ 2929 h 10000"/>
                  <a:gd name="connsiteX16" fmla="*/ 6361 w 9592"/>
                  <a:gd name="connsiteY16" fmla="*/ 3081 h 10000"/>
                  <a:gd name="connsiteX17" fmla="*/ 5647 w 9592"/>
                  <a:gd name="connsiteY17" fmla="*/ 4141 h 10000"/>
                  <a:gd name="connsiteX18" fmla="*/ 5546 w 9592"/>
                  <a:gd name="connsiteY18" fmla="*/ 4192 h 10000"/>
                  <a:gd name="connsiteX19" fmla="*/ 5374 w 9592"/>
                  <a:gd name="connsiteY19" fmla="*/ 4091 h 10000"/>
                  <a:gd name="connsiteX20" fmla="*/ 4899 w 9592"/>
                  <a:gd name="connsiteY20" fmla="*/ 3182 h 10000"/>
                  <a:gd name="connsiteX21" fmla="*/ 4899 w 9592"/>
                  <a:gd name="connsiteY21" fmla="*/ 3838 h 10000"/>
                  <a:gd name="connsiteX22" fmla="*/ 5852 w 9592"/>
                  <a:gd name="connsiteY22" fmla="*/ 6768 h 10000"/>
                  <a:gd name="connsiteX23" fmla="*/ 4797 w 9592"/>
                  <a:gd name="connsiteY23" fmla="*/ 6768 h 10000"/>
                  <a:gd name="connsiteX24" fmla="*/ 4797 w 9592"/>
                  <a:gd name="connsiteY24" fmla="*/ 9394 h 10000"/>
                  <a:gd name="connsiteX25" fmla="*/ 4591 w 9592"/>
                  <a:gd name="connsiteY25" fmla="*/ 9646 h 10000"/>
                  <a:gd name="connsiteX26" fmla="*/ 4456 w 9592"/>
                  <a:gd name="connsiteY26" fmla="*/ 9646 h 10000"/>
                  <a:gd name="connsiteX27" fmla="*/ 4253 w 9592"/>
                  <a:gd name="connsiteY27" fmla="*/ 9394 h 10000"/>
                  <a:gd name="connsiteX28" fmla="*/ 4253 w 9592"/>
                  <a:gd name="connsiteY28" fmla="*/ 6768 h 10000"/>
                  <a:gd name="connsiteX29" fmla="*/ 4150 w 9592"/>
                  <a:gd name="connsiteY29" fmla="*/ 6768 h 10000"/>
                  <a:gd name="connsiteX30" fmla="*/ 4150 w 9592"/>
                  <a:gd name="connsiteY30" fmla="*/ 9394 h 10000"/>
                  <a:gd name="connsiteX31" fmla="*/ 3980 w 9592"/>
                  <a:gd name="connsiteY31" fmla="*/ 9646 h 10000"/>
                  <a:gd name="connsiteX32" fmla="*/ 3809 w 9592"/>
                  <a:gd name="connsiteY32" fmla="*/ 9646 h 10000"/>
                  <a:gd name="connsiteX33" fmla="*/ 3640 w 9592"/>
                  <a:gd name="connsiteY33" fmla="*/ 9394 h 10000"/>
                  <a:gd name="connsiteX34" fmla="*/ 3640 w 9592"/>
                  <a:gd name="connsiteY34" fmla="*/ 6768 h 10000"/>
                  <a:gd name="connsiteX35" fmla="*/ 2585 w 9592"/>
                  <a:gd name="connsiteY35" fmla="*/ 6768 h 10000"/>
                  <a:gd name="connsiteX36" fmla="*/ 3538 w 9592"/>
                  <a:gd name="connsiteY36" fmla="*/ 3838 h 10000"/>
                  <a:gd name="connsiteX37" fmla="*/ 3538 w 9592"/>
                  <a:gd name="connsiteY37" fmla="*/ 3434 h 10000"/>
                  <a:gd name="connsiteX38" fmla="*/ 2890 w 9592"/>
                  <a:gd name="connsiteY38" fmla="*/ 5101 h 10000"/>
                  <a:gd name="connsiteX39" fmla="*/ 2620 w 9592"/>
                  <a:gd name="connsiteY39" fmla="*/ 5202 h 10000"/>
                  <a:gd name="connsiteX40" fmla="*/ 2550 w 9592"/>
                  <a:gd name="connsiteY40" fmla="*/ 5152 h 10000"/>
                  <a:gd name="connsiteX41" fmla="*/ 2484 w 9592"/>
                  <a:gd name="connsiteY41" fmla="*/ 5202 h 10000"/>
                  <a:gd name="connsiteX42" fmla="*/ 2214 w 9592"/>
                  <a:gd name="connsiteY42" fmla="*/ 5051 h 10000"/>
                  <a:gd name="connsiteX43" fmla="*/ 1565 w 9592"/>
                  <a:gd name="connsiteY43" fmla="*/ 3384 h 10000"/>
                  <a:gd name="connsiteX44" fmla="*/ 1565 w 9592"/>
                  <a:gd name="connsiteY44" fmla="*/ 5657 h 10000"/>
                  <a:gd name="connsiteX45" fmla="*/ 1532 w 9592"/>
                  <a:gd name="connsiteY45" fmla="*/ 5758 h 10000"/>
                  <a:gd name="connsiteX46" fmla="*/ 1532 w 9592"/>
                  <a:gd name="connsiteY46" fmla="*/ 9444 h 10000"/>
                  <a:gd name="connsiteX47" fmla="*/ 1294 w 9592"/>
                  <a:gd name="connsiteY47" fmla="*/ 9747 h 10000"/>
                  <a:gd name="connsiteX48" fmla="*/ 1054 w 9592"/>
                  <a:gd name="connsiteY48" fmla="*/ 9747 h 10000"/>
                  <a:gd name="connsiteX49" fmla="*/ 815 w 9592"/>
                  <a:gd name="connsiteY49" fmla="*/ 9444 h 10000"/>
                  <a:gd name="connsiteX50" fmla="*/ 815 w 9592"/>
                  <a:gd name="connsiteY50" fmla="*/ 5859 h 10000"/>
                  <a:gd name="connsiteX51" fmla="*/ 748 w 9592"/>
                  <a:gd name="connsiteY51" fmla="*/ 5859 h 10000"/>
                  <a:gd name="connsiteX52" fmla="*/ 748 w 9592"/>
                  <a:gd name="connsiteY52" fmla="*/ 9444 h 10000"/>
                  <a:gd name="connsiteX53" fmla="*/ 510 w 9592"/>
                  <a:gd name="connsiteY53" fmla="*/ 9747 h 10000"/>
                  <a:gd name="connsiteX54" fmla="*/ 306 w 9592"/>
                  <a:gd name="connsiteY54" fmla="*/ 9747 h 10000"/>
                  <a:gd name="connsiteX55" fmla="*/ 66 w 9592"/>
                  <a:gd name="connsiteY55" fmla="*/ 9444 h 10000"/>
                  <a:gd name="connsiteX56" fmla="*/ 66 w 9592"/>
                  <a:gd name="connsiteY56" fmla="*/ 5758 h 10000"/>
                  <a:gd name="connsiteX57" fmla="*/ 0 w 9592"/>
                  <a:gd name="connsiteY57" fmla="*/ 5657 h 10000"/>
                  <a:gd name="connsiteX58" fmla="*/ 0 w 9592"/>
                  <a:gd name="connsiteY58" fmla="*/ 3131 h 10000"/>
                  <a:gd name="connsiteX0" fmla="*/ 10000 w 10000"/>
                  <a:gd name="connsiteY0" fmla="*/ 10000 h 10000"/>
                  <a:gd name="connsiteX1" fmla="*/ 9752 w 10000"/>
                  <a:gd name="connsiteY1" fmla="*/ 10000 h 10000"/>
                  <a:gd name="connsiteX2" fmla="*/ 9434 w 10000"/>
                  <a:gd name="connsiteY2" fmla="*/ 9545 h 10000"/>
                  <a:gd name="connsiteX3" fmla="*/ 9434 w 10000"/>
                  <a:gd name="connsiteY3" fmla="*/ 5354 h 10000"/>
                  <a:gd name="connsiteX4" fmla="*/ 9289 w 10000"/>
                  <a:gd name="connsiteY4" fmla="*/ 5354 h 10000"/>
                  <a:gd name="connsiteX5" fmla="*/ 9289 w 10000"/>
                  <a:gd name="connsiteY5" fmla="*/ 9545 h 10000"/>
                  <a:gd name="connsiteX6" fmla="*/ 8972 w 10000"/>
                  <a:gd name="connsiteY6" fmla="*/ 10000 h 10000"/>
                  <a:gd name="connsiteX7" fmla="*/ 8687 w 10000"/>
                  <a:gd name="connsiteY7" fmla="*/ 10000 h 10000"/>
                  <a:gd name="connsiteX8" fmla="*/ 8403 w 10000"/>
                  <a:gd name="connsiteY8" fmla="*/ 9545 h 10000"/>
                  <a:gd name="connsiteX9" fmla="*/ 8403 w 10000"/>
                  <a:gd name="connsiteY9" fmla="*/ 5354 h 10000"/>
                  <a:gd name="connsiteX10" fmla="*/ 6667 w 10000"/>
                  <a:gd name="connsiteY10" fmla="*/ 5354 h 10000"/>
                  <a:gd name="connsiteX11" fmla="*/ 8227 w 10000"/>
                  <a:gd name="connsiteY11" fmla="*/ 758 h 10000"/>
                  <a:gd name="connsiteX12" fmla="*/ 8227 w 10000"/>
                  <a:gd name="connsiteY12" fmla="*/ 0 h 10000"/>
                  <a:gd name="connsiteX13" fmla="*/ 7164 w 10000"/>
                  <a:gd name="connsiteY13" fmla="*/ 2677 h 10000"/>
                  <a:gd name="connsiteX14" fmla="*/ 6701 w 10000"/>
                  <a:gd name="connsiteY14" fmla="*/ 2929 h 10000"/>
                  <a:gd name="connsiteX15" fmla="*/ 6667 w 10000"/>
                  <a:gd name="connsiteY15" fmla="*/ 2929 h 10000"/>
                  <a:gd name="connsiteX16" fmla="*/ 6632 w 10000"/>
                  <a:gd name="connsiteY16" fmla="*/ 3081 h 10000"/>
                  <a:gd name="connsiteX17" fmla="*/ 5887 w 10000"/>
                  <a:gd name="connsiteY17" fmla="*/ 4141 h 10000"/>
                  <a:gd name="connsiteX18" fmla="*/ 5782 w 10000"/>
                  <a:gd name="connsiteY18" fmla="*/ 4192 h 10000"/>
                  <a:gd name="connsiteX19" fmla="*/ 5603 w 10000"/>
                  <a:gd name="connsiteY19" fmla="*/ 4091 h 10000"/>
                  <a:gd name="connsiteX20" fmla="*/ 5107 w 10000"/>
                  <a:gd name="connsiteY20" fmla="*/ 3182 h 10000"/>
                  <a:gd name="connsiteX21" fmla="*/ 5107 w 10000"/>
                  <a:gd name="connsiteY21" fmla="*/ 3838 h 10000"/>
                  <a:gd name="connsiteX22" fmla="*/ 6101 w 10000"/>
                  <a:gd name="connsiteY22" fmla="*/ 6768 h 10000"/>
                  <a:gd name="connsiteX23" fmla="*/ 5001 w 10000"/>
                  <a:gd name="connsiteY23" fmla="*/ 6768 h 10000"/>
                  <a:gd name="connsiteX24" fmla="*/ 5001 w 10000"/>
                  <a:gd name="connsiteY24" fmla="*/ 9394 h 10000"/>
                  <a:gd name="connsiteX25" fmla="*/ 4786 w 10000"/>
                  <a:gd name="connsiteY25" fmla="*/ 9646 h 10000"/>
                  <a:gd name="connsiteX26" fmla="*/ 4646 w 10000"/>
                  <a:gd name="connsiteY26" fmla="*/ 9646 h 10000"/>
                  <a:gd name="connsiteX27" fmla="*/ 4434 w 10000"/>
                  <a:gd name="connsiteY27" fmla="*/ 9394 h 10000"/>
                  <a:gd name="connsiteX28" fmla="*/ 4434 w 10000"/>
                  <a:gd name="connsiteY28" fmla="*/ 6768 h 10000"/>
                  <a:gd name="connsiteX29" fmla="*/ 4327 w 10000"/>
                  <a:gd name="connsiteY29" fmla="*/ 6768 h 10000"/>
                  <a:gd name="connsiteX30" fmla="*/ 4327 w 10000"/>
                  <a:gd name="connsiteY30" fmla="*/ 9394 h 10000"/>
                  <a:gd name="connsiteX31" fmla="*/ 4149 w 10000"/>
                  <a:gd name="connsiteY31" fmla="*/ 9646 h 10000"/>
                  <a:gd name="connsiteX32" fmla="*/ 3971 w 10000"/>
                  <a:gd name="connsiteY32" fmla="*/ 9646 h 10000"/>
                  <a:gd name="connsiteX33" fmla="*/ 3795 w 10000"/>
                  <a:gd name="connsiteY33" fmla="*/ 9394 h 10000"/>
                  <a:gd name="connsiteX34" fmla="*/ 3795 w 10000"/>
                  <a:gd name="connsiteY34" fmla="*/ 6768 h 10000"/>
                  <a:gd name="connsiteX35" fmla="*/ 2695 w 10000"/>
                  <a:gd name="connsiteY35" fmla="*/ 6768 h 10000"/>
                  <a:gd name="connsiteX36" fmla="*/ 3688 w 10000"/>
                  <a:gd name="connsiteY36" fmla="*/ 3838 h 10000"/>
                  <a:gd name="connsiteX37" fmla="*/ 3688 w 10000"/>
                  <a:gd name="connsiteY37" fmla="*/ 3434 h 10000"/>
                  <a:gd name="connsiteX38" fmla="*/ 3013 w 10000"/>
                  <a:gd name="connsiteY38" fmla="*/ 5101 h 10000"/>
                  <a:gd name="connsiteX39" fmla="*/ 2731 w 10000"/>
                  <a:gd name="connsiteY39" fmla="*/ 5202 h 10000"/>
                  <a:gd name="connsiteX40" fmla="*/ 2658 w 10000"/>
                  <a:gd name="connsiteY40" fmla="*/ 5152 h 10000"/>
                  <a:gd name="connsiteX41" fmla="*/ 2590 w 10000"/>
                  <a:gd name="connsiteY41" fmla="*/ 5202 h 10000"/>
                  <a:gd name="connsiteX42" fmla="*/ 2308 w 10000"/>
                  <a:gd name="connsiteY42" fmla="*/ 5051 h 10000"/>
                  <a:gd name="connsiteX43" fmla="*/ 1632 w 10000"/>
                  <a:gd name="connsiteY43" fmla="*/ 3384 h 10000"/>
                  <a:gd name="connsiteX44" fmla="*/ 1632 w 10000"/>
                  <a:gd name="connsiteY44" fmla="*/ 5657 h 10000"/>
                  <a:gd name="connsiteX45" fmla="*/ 1597 w 10000"/>
                  <a:gd name="connsiteY45" fmla="*/ 5758 h 10000"/>
                  <a:gd name="connsiteX46" fmla="*/ 1597 w 10000"/>
                  <a:gd name="connsiteY46" fmla="*/ 9444 h 10000"/>
                  <a:gd name="connsiteX47" fmla="*/ 1349 w 10000"/>
                  <a:gd name="connsiteY47" fmla="*/ 9747 h 10000"/>
                  <a:gd name="connsiteX48" fmla="*/ 1099 w 10000"/>
                  <a:gd name="connsiteY48" fmla="*/ 9747 h 10000"/>
                  <a:gd name="connsiteX49" fmla="*/ 850 w 10000"/>
                  <a:gd name="connsiteY49" fmla="*/ 9444 h 10000"/>
                  <a:gd name="connsiteX50" fmla="*/ 850 w 10000"/>
                  <a:gd name="connsiteY50" fmla="*/ 5859 h 10000"/>
                  <a:gd name="connsiteX51" fmla="*/ 780 w 10000"/>
                  <a:gd name="connsiteY51" fmla="*/ 5859 h 10000"/>
                  <a:gd name="connsiteX52" fmla="*/ 780 w 10000"/>
                  <a:gd name="connsiteY52" fmla="*/ 9444 h 10000"/>
                  <a:gd name="connsiteX53" fmla="*/ 532 w 10000"/>
                  <a:gd name="connsiteY53" fmla="*/ 9747 h 10000"/>
                  <a:gd name="connsiteX54" fmla="*/ 319 w 10000"/>
                  <a:gd name="connsiteY54" fmla="*/ 9747 h 10000"/>
                  <a:gd name="connsiteX55" fmla="*/ 69 w 10000"/>
                  <a:gd name="connsiteY55" fmla="*/ 9444 h 10000"/>
                  <a:gd name="connsiteX56" fmla="*/ 69 w 10000"/>
                  <a:gd name="connsiteY56" fmla="*/ 5758 h 10000"/>
                  <a:gd name="connsiteX57" fmla="*/ 0 w 10000"/>
                  <a:gd name="connsiteY57" fmla="*/ 5657 h 10000"/>
                  <a:gd name="connsiteX0" fmla="*/ 10000 w 10000"/>
                  <a:gd name="connsiteY0" fmla="*/ 10000 h 10000"/>
                  <a:gd name="connsiteX1" fmla="*/ 9752 w 10000"/>
                  <a:gd name="connsiteY1" fmla="*/ 10000 h 10000"/>
                  <a:gd name="connsiteX2" fmla="*/ 9434 w 10000"/>
                  <a:gd name="connsiteY2" fmla="*/ 9545 h 10000"/>
                  <a:gd name="connsiteX3" fmla="*/ 9434 w 10000"/>
                  <a:gd name="connsiteY3" fmla="*/ 5354 h 10000"/>
                  <a:gd name="connsiteX4" fmla="*/ 9289 w 10000"/>
                  <a:gd name="connsiteY4" fmla="*/ 5354 h 10000"/>
                  <a:gd name="connsiteX5" fmla="*/ 9289 w 10000"/>
                  <a:gd name="connsiteY5" fmla="*/ 9545 h 10000"/>
                  <a:gd name="connsiteX6" fmla="*/ 8972 w 10000"/>
                  <a:gd name="connsiteY6" fmla="*/ 10000 h 10000"/>
                  <a:gd name="connsiteX7" fmla="*/ 8687 w 10000"/>
                  <a:gd name="connsiteY7" fmla="*/ 10000 h 10000"/>
                  <a:gd name="connsiteX8" fmla="*/ 8403 w 10000"/>
                  <a:gd name="connsiteY8" fmla="*/ 9545 h 10000"/>
                  <a:gd name="connsiteX9" fmla="*/ 8403 w 10000"/>
                  <a:gd name="connsiteY9" fmla="*/ 5354 h 10000"/>
                  <a:gd name="connsiteX10" fmla="*/ 6667 w 10000"/>
                  <a:gd name="connsiteY10" fmla="*/ 5354 h 10000"/>
                  <a:gd name="connsiteX11" fmla="*/ 8227 w 10000"/>
                  <a:gd name="connsiteY11" fmla="*/ 758 h 10000"/>
                  <a:gd name="connsiteX12" fmla="*/ 8227 w 10000"/>
                  <a:gd name="connsiteY12" fmla="*/ 0 h 10000"/>
                  <a:gd name="connsiteX13" fmla="*/ 7164 w 10000"/>
                  <a:gd name="connsiteY13" fmla="*/ 2677 h 10000"/>
                  <a:gd name="connsiteX14" fmla="*/ 6701 w 10000"/>
                  <a:gd name="connsiteY14" fmla="*/ 2929 h 10000"/>
                  <a:gd name="connsiteX15" fmla="*/ 6667 w 10000"/>
                  <a:gd name="connsiteY15" fmla="*/ 2929 h 10000"/>
                  <a:gd name="connsiteX16" fmla="*/ 6632 w 10000"/>
                  <a:gd name="connsiteY16" fmla="*/ 3081 h 10000"/>
                  <a:gd name="connsiteX17" fmla="*/ 5887 w 10000"/>
                  <a:gd name="connsiteY17" fmla="*/ 4141 h 10000"/>
                  <a:gd name="connsiteX18" fmla="*/ 5782 w 10000"/>
                  <a:gd name="connsiteY18" fmla="*/ 4192 h 10000"/>
                  <a:gd name="connsiteX19" fmla="*/ 5603 w 10000"/>
                  <a:gd name="connsiteY19" fmla="*/ 4091 h 10000"/>
                  <a:gd name="connsiteX20" fmla="*/ 5107 w 10000"/>
                  <a:gd name="connsiteY20" fmla="*/ 3182 h 10000"/>
                  <a:gd name="connsiteX21" fmla="*/ 5107 w 10000"/>
                  <a:gd name="connsiteY21" fmla="*/ 3838 h 10000"/>
                  <a:gd name="connsiteX22" fmla="*/ 6101 w 10000"/>
                  <a:gd name="connsiteY22" fmla="*/ 6768 h 10000"/>
                  <a:gd name="connsiteX23" fmla="*/ 5001 w 10000"/>
                  <a:gd name="connsiteY23" fmla="*/ 6768 h 10000"/>
                  <a:gd name="connsiteX24" fmla="*/ 5001 w 10000"/>
                  <a:gd name="connsiteY24" fmla="*/ 9394 h 10000"/>
                  <a:gd name="connsiteX25" fmla="*/ 4786 w 10000"/>
                  <a:gd name="connsiteY25" fmla="*/ 9646 h 10000"/>
                  <a:gd name="connsiteX26" fmla="*/ 4646 w 10000"/>
                  <a:gd name="connsiteY26" fmla="*/ 9646 h 10000"/>
                  <a:gd name="connsiteX27" fmla="*/ 4434 w 10000"/>
                  <a:gd name="connsiteY27" fmla="*/ 9394 h 10000"/>
                  <a:gd name="connsiteX28" fmla="*/ 4434 w 10000"/>
                  <a:gd name="connsiteY28" fmla="*/ 6768 h 10000"/>
                  <a:gd name="connsiteX29" fmla="*/ 4327 w 10000"/>
                  <a:gd name="connsiteY29" fmla="*/ 6768 h 10000"/>
                  <a:gd name="connsiteX30" fmla="*/ 4327 w 10000"/>
                  <a:gd name="connsiteY30" fmla="*/ 9394 h 10000"/>
                  <a:gd name="connsiteX31" fmla="*/ 4149 w 10000"/>
                  <a:gd name="connsiteY31" fmla="*/ 9646 h 10000"/>
                  <a:gd name="connsiteX32" fmla="*/ 3971 w 10000"/>
                  <a:gd name="connsiteY32" fmla="*/ 9646 h 10000"/>
                  <a:gd name="connsiteX33" fmla="*/ 3795 w 10000"/>
                  <a:gd name="connsiteY33" fmla="*/ 9394 h 10000"/>
                  <a:gd name="connsiteX34" fmla="*/ 3795 w 10000"/>
                  <a:gd name="connsiteY34" fmla="*/ 6768 h 10000"/>
                  <a:gd name="connsiteX35" fmla="*/ 2695 w 10000"/>
                  <a:gd name="connsiteY35" fmla="*/ 6768 h 10000"/>
                  <a:gd name="connsiteX36" fmla="*/ 3688 w 10000"/>
                  <a:gd name="connsiteY36" fmla="*/ 3838 h 10000"/>
                  <a:gd name="connsiteX37" fmla="*/ 3688 w 10000"/>
                  <a:gd name="connsiteY37" fmla="*/ 3434 h 10000"/>
                  <a:gd name="connsiteX38" fmla="*/ 3013 w 10000"/>
                  <a:gd name="connsiteY38" fmla="*/ 5101 h 10000"/>
                  <a:gd name="connsiteX39" fmla="*/ 2731 w 10000"/>
                  <a:gd name="connsiteY39" fmla="*/ 5202 h 10000"/>
                  <a:gd name="connsiteX40" fmla="*/ 2658 w 10000"/>
                  <a:gd name="connsiteY40" fmla="*/ 5152 h 10000"/>
                  <a:gd name="connsiteX41" fmla="*/ 2590 w 10000"/>
                  <a:gd name="connsiteY41" fmla="*/ 5202 h 10000"/>
                  <a:gd name="connsiteX42" fmla="*/ 2308 w 10000"/>
                  <a:gd name="connsiteY42" fmla="*/ 5051 h 10000"/>
                  <a:gd name="connsiteX43" fmla="*/ 1632 w 10000"/>
                  <a:gd name="connsiteY43" fmla="*/ 3384 h 10000"/>
                  <a:gd name="connsiteX44" fmla="*/ 1632 w 10000"/>
                  <a:gd name="connsiteY44" fmla="*/ 5657 h 10000"/>
                  <a:gd name="connsiteX45" fmla="*/ 1597 w 10000"/>
                  <a:gd name="connsiteY45" fmla="*/ 9444 h 10000"/>
                  <a:gd name="connsiteX46" fmla="*/ 1349 w 10000"/>
                  <a:gd name="connsiteY46" fmla="*/ 9747 h 10000"/>
                  <a:gd name="connsiteX47" fmla="*/ 1099 w 10000"/>
                  <a:gd name="connsiteY47" fmla="*/ 9747 h 10000"/>
                  <a:gd name="connsiteX48" fmla="*/ 850 w 10000"/>
                  <a:gd name="connsiteY48" fmla="*/ 9444 h 10000"/>
                  <a:gd name="connsiteX49" fmla="*/ 850 w 10000"/>
                  <a:gd name="connsiteY49" fmla="*/ 5859 h 10000"/>
                  <a:gd name="connsiteX50" fmla="*/ 780 w 10000"/>
                  <a:gd name="connsiteY50" fmla="*/ 5859 h 10000"/>
                  <a:gd name="connsiteX51" fmla="*/ 780 w 10000"/>
                  <a:gd name="connsiteY51" fmla="*/ 9444 h 10000"/>
                  <a:gd name="connsiteX52" fmla="*/ 532 w 10000"/>
                  <a:gd name="connsiteY52" fmla="*/ 9747 h 10000"/>
                  <a:gd name="connsiteX53" fmla="*/ 319 w 10000"/>
                  <a:gd name="connsiteY53" fmla="*/ 9747 h 10000"/>
                  <a:gd name="connsiteX54" fmla="*/ 69 w 10000"/>
                  <a:gd name="connsiteY54" fmla="*/ 9444 h 10000"/>
                  <a:gd name="connsiteX55" fmla="*/ 69 w 10000"/>
                  <a:gd name="connsiteY55" fmla="*/ 5758 h 10000"/>
                  <a:gd name="connsiteX56" fmla="*/ 0 w 10000"/>
                  <a:gd name="connsiteY56" fmla="*/ 5657 h 10000"/>
                  <a:gd name="connsiteX0" fmla="*/ 10000 w 10000"/>
                  <a:gd name="connsiteY0" fmla="*/ 10000 h 10000"/>
                  <a:gd name="connsiteX1" fmla="*/ 9752 w 10000"/>
                  <a:gd name="connsiteY1" fmla="*/ 10000 h 10000"/>
                  <a:gd name="connsiteX2" fmla="*/ 9434 w 10000"/>
                  <a:gd name="connsiteY2" fmla="*/ 9545 h 10000"/>
                  <a:gd name="connsiteX3" fmla="*/ 9434 w 10000"/>
                  <a:gd name="connsiteY3" fmla="*/ 5354 h 10000"/>
                  <a:gd name="connsiteX4" fmla="*/ 9289 w 10000"/>
                  <a:gd name="connsiteY4" fmla="*/ 5354 h 10000"/>
                  <a:gd name="connsiteX5" fmla="*/ 9289 w 10000"/>
                  <a:gd name="connsiteY5" fmla="*/ 9545 h 10000"/>
                  <a:gd name="connsiteX6" fmla="*/ 8972 w 10000"/>
                  <a:gd name="connsiteY6" fmla="*/ 10000 h 10000"/>
                  <a:gd name="connsiteX7" fmla="*/ 8687 w 10000"/>
                  <a:gd name="connsiteY7" fmla="*/ 10000 h 10000"/>
                  <a:gd name="connsiteX8" fmla="*/ 8403 w 10000"/>
                  <a:gd name="connsiteY8" fmla="*/ 9545 h 10000"/>
                  <a:gd name="connsiteX9" fmla="*/ 8403 w 10000"/>
                  <a:gd name="connsiteY9" fmla="*/ 5354 h 10000"/>
                  <a:gd name="connsiteX10" fmla="*/ 6667 w 10000"/>
                  <a:gd name="connsiteY10" fmla="*/ 5354 h 10000"/>
                  <a:gd name="connsiteX11" fmla="*/ 8227 w 10000"/>
                  <a:gd name="connsiteY11" fmla="*/ 758 h 10000"/>
                  <a:gd name="connsiteX12" fmla="*/ 8227 w 10000"/>
                  <a:gd name="connsiteY12" fmla="*/ 0 h 10000"/>
                  <a:gd name="connsiteX13" fmla="*/ 7164 w 10000"/>
                  <a:gd name="connsiteY13" fmla="*/ 2677 h 10000"/>
                  <a:gd name="connsiteX14" fmla="*/ 6701 w 10000"/>
                  <a:gd name="connsiteY14" fmla="*/ 2929 h 10000"/>
                  <a:gd name="connsiteX15" fmla="*/ 6667 w 10000"/>
                  <a:gd name="connsiteY15" fmla="*/ 2929 h 10000"/>
                  <a:gd name="connsiteX16" fmla="*/ 6632 w 10000"/>
                  <a:gd name="connsiteY16" fmla="*/ 3081 h 10000"/>
                  <a:gd name="connsiteX17" fmla="*/ 5887 w 10000"/>
                  <a:gd name="connsiteY17" fmla="*/ 4141 h 10000"/>
                  <a:gd name="connsiteX18" fmla="*/ 5782 w 10000"/>
                  <a:gd name="connsiteY18" fmla="*/ 4192 h 10000"/>
                  <a:gd name="connsiteX19" fmla="*/ 5603 w 10000"/>
                  <a:gd name="connsiteY19" fmla="*/ 4091 h 10000"/>
                  <a:gd name="connsiteX20" fmla="*/ 5107 w 10000"/>
                  <a:gd name="connsiteY20" fmla="*/ 3182 h 10000"/>
                  <a:gd name="connsiteX21" fmla="*/ 5107 w 10000"/>
                  <a:gd name="connsiteY21" fmla="*/ 3838 h 10000"/>
                  <a:gd name="connsiteX22" fmla="*/ 6101 w 10000"/>
                  <a:gd name="connsiteY22" fmla="*/ 6768 h 10000"/>
                  <a:gd name="connsiteX23" fmla="*/ 5001 w 10000"/>
                  <a:gd name="connsiteY23" fmla="*/ 6768 h 10000"/>
                  <a:gd name="connsiteX24" fmla="*/ 5001 w 10000"/>
                  <a:gd name="connsiteY24" fmla="*/ 9394 h 10000"/>
                  <a:gd name="connsiteX25" fmla="*/ 4786 w 10000"/>
                  <a:gd name="connsiteY25" fmla="*/ 9646 h 10000"/>
                  <a:gd name="connsiteX26" fmla="*/ 4646 w 10000"/>
                  <a:gd name="connsiteY26" fmla="*/ 9646 h 10000"/>
                  <a:gd name="connsiteX27" fmla="*/ 4434 w 10000"/>
                  <a:gd name="connsiteY27" fmla="*/ 9394 h 10000"/>
                  <a:gd name="connsiteX28" fmla="*/ 4434 w 10000"/>
                  <a:gd name="connsiteY28" fmla="*/ 6768 h 10000"/>
                  <a:gd name="connsiteX29" fmla="*/ 4327 w 10000"/>
                  <a:gd name="connsiteY29" fmla="*/ 6768 h 10000"/>
                  <a:gd name="connsiteX30" fmla="*/ 4327 w 10000"/>
                  <a:gd name="connsiteY30" fmla="*/ 9394 h 10000"/>
                  <a:gd name="connsiteX31" fmla="*/ 4149 w 10000"/>
                  <a:gd name="connsiteY31" fmla="*/ 9646 h 10000"/>
                  <a:gd name="connsiteX32" fmla="*/ 3971 w 10000"/>
                  <a:gd name="connsiteY32" fmla="*/ 9646 h 10000"/>
                  <a:gd name="connsiteX33" fmla="*/ 3795 w 10000"/>
                  <a:gd name="connsiteY33" fmla="*/ 9394 h 10000"/>
                  <a:gd name="connsiteX34" fmla="*/ 3795 w 10000"/>
                  <a:gd name="connsiteY34" fmla="*/ 6768 h 10000"/>
                  <a:gd name="connsiteX35" fmla="*/ 2695 w 10000"/>
                  <a:gd name="connsiteY35" fmla="*/ 6768 h 10000"/>
                  <a:gd name="connsiteX36" fmla="*/ 3688 w 10000"/>
                  <a:gd name="connsiteY36" fmla="*/ 3838 h 10000"/>
                  <a:gd name="connsiteX37" fmla="*/ 3688 w 10000"/>
                  <a:gd name="connsiteY37" fmla="*/ 3434 h 10000"/>
                  <a:gd name="connsiteX38" fmla="*/ 3013 w 10000"/>
                  <a:gd name="connsiteY38" fmla="*/ 5101 h 10000"/>
                  <a:gd name="connsiteX39" fmla="*/ 2731 w 10000"/>
                  <a:gd name="connsiteY39" fmla="*/ 5202 h 10000"/>
                  <a:gd name="connsiteX40" fmla="*/ 2658 w 10000"/>
                  <a:gd name="connsiteY40" fmla="*/ 5152 h 10000"/>
                  <a:gd name="connsiteX41" fmla="*/ 2308 w 10000"/>
                  <a:gd name="connsiteY41" fmla="*/ 5051 h 10000"/>
                  <a:gd name="connsiteX42" fmla="*/ 1632 w 10000"/>
                  <a:gd name="connsiteY42" fmla="*/ 3384 h 10000"/>
                  <a:gd name="connsiteX43" fmla="*/ 1632 w 10000"/>
                  <a:gd name="connsiteY43" fmla="*/ 5657 h 10000"/>
                  <a:gd name="connsiteX44" fmla="*/ 1597 w 10000"/>
                  <a:gd name="connsiteY44" fmla="*/ 9444 h 10000"/>
                  <a:gd name="connsiteX45" fmla="*/ 1349 w 10000"/>
                  <a:gd name="connsiteY45" fmla="*/ 9747 h 10000"/>
                  <a:gd name="connsiteX46" fmla="*/ 1099 w 10000"/>
                  <a:gd name="connsiteY46" fmla="*/ 9747 h 10000"/>
                  <a:gd name="connsiteX47" fmla="*/ 850 w 10000"/>
                  <a:gd name="connsiteY47" fmla="*/ 9444 h 10000"/>
                  <a:gd name="connsiteX48" fmla="*/ 850 w 10000"/>
                  <a:gd name="connsiteY48" fmla="*/ 5859 h 10000"/>
                  <a:gd name="connsiteX49" fmla="*/ 780 w 10000"/>
                  <a:gd name="connsiteY49" fmla="*/ 5859 h 10000"/>
                  <a:gd name="connsiteX50" fmla="*/ 780 w 10000"/>
                  <a:gd name="connsiteY50" fmla="*/ 9444 h 10000"/>
                  <a:gd name="connsiteX51" fmla="*/ 532 w 10000"/>
                  <a:gd name="connsiteY51" fmla="*/ 9747 h 10000"/>
                  <a:gd name="connsiteX52" fmla="*/ 319 w 10000"/>
                  <a:gd name="connsiteY52" fmla="*/ 9747 h 10000"/>
                  <a:gd name="connsiteX53" fmla="*/ 69 w 10000"/>
                  <a:gd name="connsiteY53" fmla="*/ 9444 h 10000"/>
                  <a:gd name="connsiteX54" fmla="*/ 69 w 10000"/>
                  <a:gd name="connsiteY54" fmla="*/ 5758 h 10000"/>
                  <a:gd name="connsiteX55" fmla="*/ 0 w 10000"/>
                  <a:gd name="connsiteY55" fmla="*/ 5657 h 10000"/>
                  <a:gd name="connsiteX0" fmla="*/ 10000 w 10000"/>
                  <a:gd name="connsiteY0" fmla="*/ 10000 h 10000"/>
                  <a:gd name="connsiteX1" fmla="*/ 9752 w 10000"/>
                  <a:gd name="connsiteY1" fmla="*/ 10000 h 10000"/>
                  <a:gd name="connsiteX2" fmla="*/ 9434 w 10000"/>
                  <a:gd name="connsiteY2" fmla="*/ 9545 h 10000"/>
                  <a:gd name="connsiteX3" fmla="*/ 9434 w 10000"/>
                  <a:gd name="connsiteY3" fmla="*/ 5354 h 10000"/>
                  <a:gd name="connsiteX4" fmla="*/ 9289 w 10000"/>
                  <a:gd name="connsiteY4" fmla="*/ 5354 h 10000"/>
                  <a:gd name="connsiteX5" fmla="*/ 9289 w 10000"/>
                  <a:gd name="connsiteY5" fmla="*/ 9545 h 10000"/>
                  <a:gd name="connsiteX6" fmla="*/ 8972 w 10000"/>
                  <a:gd name="connsiteY6" fmla="*/ 10000 h 10000"/>
                  <a:gd name="connsiteX7" fmla="*/ 8687 w 10000"/>
                  <a:gd name="connsiteY7" fmla="*/ 10000 h 10000"/>
                  <a:gd name="connsiteX8" fmla="*/ 8403 w 10000"/>
                  <a:gd name="connsiteY8" fmla="*/ 9545 h 10000"/>
                  <a:gd name="connsiteX9" fmla="*/ 8403 w 10000"/>
                  <a:gd name="connsiteY9" fmla="*/ 5354 h 10000"/>
                  <a:gd name="connsiteX10" fmla="*/ 6667 w 10000"/>
                  <a:gd name="connsiteY10" fmla="*/ 5354 h 10000"/>
                  <a:gd name="connsiteX11" fmla="*/ 8227 w 10000"/>
                  <a:gd name="connsiteY11" fmla="*/ 758 h 10000"/>
                  <a:gd name="connsiteX12" fmla="*/ 8227 w 10000"/>
                  <a:gd name="connsiteY12" fmla="*/ 0 h 10000"/>
                  <a:gd name="connsiteX13" fmla="*/ 7164 w 10000"/>
                  <a:gd name="connsiteY13" fmla="*/ 2677 h 10000"/>
                  <a:gd name="connsiteX14" fmla="*/ 6701 w 10000"/>
                  <a:gd name="connsiteY14" fmla="*/ 2929 h 10000"/>
                  <a:gd name="connsiteX15" fmla="*/ 6667 w 10000"/>
                  <a:gd name="connsiteY15" fmla="*/ 2929 h 10000"/>
                  <a:gd name="connsiteX16" fmla="*/ 6632 w 10000"/>
                  <a:gd name="connsiteY16" fmla="*/ 3081 h 10000"/>
                  <a:gd name="connsiteX17" fmla="*/ 5887 w 10000"/>
                  <a:gd name="connsiteY17" fmla="*/ 4141 h 10000"/>
                  <a:gd name="connsiteX18" fmla="*/ 5782 w 10000"/>
                  <a:gd name="connsiteY18" fmla="*/ 4192 h 10000"/>
                  <a:gd name="connsiteX19" fmla="*/ 5603 w 10000"/>
                  <a:gd name="connsiteY19" fmla="*/ 4091 h 10000"/>
                  <a:gd name="connsiteX20" fmla="*/ 5107 w 10000"/>
                  <a:gd name="connsiteY20" fmla="*/ 3182 h 10000"/>
                  <a:gd name="connsiteX21" fmla="*/ 5107 w 10000"/>
                  <a:gd name="connsiteY21" fmla="*/ 3838 h 10000"/>
                  <a:gd name="connsiteX22" fmla="*/ 6101 w 10000"/>
                  <a:gd name="connsiteY22" fmla="*/ 6768 h 10000"/>
                  <a:gd name="connsiteX23" fmla="*/ 5001 w 10000"/>
                  <a:gd name="connsiteY23" fmla="*/ 6768 h 10000"/>
                  <a:gd name="connsiteX24" fmla="*/ 5001 w 10000"/>
                  <a:gd name="connsiteY24" fmla="*/ 9394 h 10000"/>
                  <a:gd name="connsiteX25" fmla="*/ 4786 w 10000"/>
                  <a:gd name="connsiteY25" fmla="*/ 9646 h 10000"/>
                  <a:gd name="connsiteX26" fmla="*/ 4646 w 10000"/>
                  <a:gd name="connsiteY26" fmla="*/ 9646 h 10000"/>
                  <a:gd name="connsiteX27" fmla="*/ 4434 w 10000"/>
                  <a:gd name="connsiteY27" fmla="*/ 9394 h 10000"/>
                  <a:gd name="connsiteX28" fmla="*/ 4434 w 10000"/>
                  <a:gd name="connsiteY28" fmla="*/ 6768 h 10000"/>
                  <a:gd name="connsiteX29" fmla="*/ 4327 w 10000"/>
                  <a:gd name="connsiteY29" fmla="*/ 6768 h 10000"/>
                  <a:gd name="connsiteX30" fmla="*/ 4327 w 10000"/>
                  <a:gd name="connsiteY30" fmla="*/ 9394 h 10000"/>
                  <a:gd name="connsiteX31" fmla="*/ 4149 w 10000"/>
                  <a:gd name="connsiteY31" fmla="*/ 9646 h 10000"/>
                  <a:gd name="connsiteX32" fmla="*/ 3971 w 10000"/>
                  <a:gd name="connsiteY32" fmla="*/ 9646 h 10000"/>
                  <a:gd name="connsiteX33" fmla="*/ 3795 w 10000"/>
                  <a:gd name="connsiteY33" fmla="*/ 9394 h 10000"/>
                  <a:gd name="connsiteX34" fmla="*/ 3795 w 10000"/>
                  <a:gd name="connsiteY34" fmla="*/ 6768 h 10000"/>
                  <a:gd name="connsiteX35" fmla="*/ 2695 w 10000"/>
                  <a:gd name="connsiteY35" fmla="*/ 6768 h 10000"/>
                  <a:gd name="connsiteX36" fmla="*/ 3688 w 10000"/>
                  <a:gd name="connsiteY36" fmla="*/ 3838 h 10000"/>
                  <a:gd name="connsiteX37" fmla="*/ 3688 w 10000"/>
                  <a:gd name="connsiteY37" fmla="*/ 3434 h 10000"/>
                  <a:gd name="connsiteX38" fmla="*/ 3013 w 10000"/>
                  <a:gd name="connsiteY38" fmla="*/ 5101 h 10000"/>
                  <a:gd name="connsiteX39" fmla="*/ 2731 w 10000"/>
                  <a:gd name="connsiteY39" fmla="*/ 5202 h 10000"/>
                  <a:gd name="connsiteX40" fmla="*/ 2308 w 10000"/>
                  <a:gd name="connsiteY40" fmla="*/ 5051 h 10000"/>
                  <a:gd name="connsiteX41" fmla="*/ 1632 w 10000"/>
                  <a:gd name="connsiteY41" fmla="*/ 3384 h 10000"/>
                  <a:gd name="connsiteX42" fmla="*/ 1632 w 10000"/>
                  <a:gd name="connsiteY42" fmla="*/ 5657 h 10000"/>
                  <a:gd name="connsiteX43" fmla="*/ 1597 w 10000"/>
                  <a:gd name="connsiteY43" fmla="*/ 9444 h 10000"/>
                  <a:gd name="connsiteX44" fmla="*/ 1349 w 10000"/>
                  <a:gd name="connsiteY44" fmla="*/ 9747 h 10000"/>
                  <a:gd name="connsiteX45" fmla="*/ 1099 w 10000"/>
                  <a:gd name="connsiteY45" fmla="*/ 9747 h 10000"/>
                  <a:gd name="connsiteX46" fmla="*/ 850 w 10000"/>
                  <a:gd name="connsiteY46" fmla="*/ 9444 h 10000"/>
                  <a:gd name="connsiteX47" fmla="*/ 850 w 10000"/>
                  <a:gd name="connsiteY47" fmla="*/ 5859 h 10000"/>
                  <a:gd name="connsiteX48" fmla="*/ 780 w 10000"/>
                  <a:gd name="connsiteY48" fmla="*/ 5859 h 10000"/>
                  <a:gd name="connsiteX49" fmla="*/ 780 w 10000"/>
                  <a:gd name="connsiteY49" fmla="*/ 9444 h 10000"/>
                  <a:gd name="connsiteX50" fmla="*/ 532 w 10000"/>
                  <a:gd name="connsiteY50" fmla="*/ 9747 h 10000"/>
                  <a:gd name="connsiteX51" fmla="*/ 319 w 10000"/>
                  <a:gd name="connsiteY51" fmla="*/ 9747 h 10000"/>
                  <a:gd name="connsiteX52" fmla="*/ 69 w 10000"/>
                  <a:gd name="connsiteY52" fmla="*/ 9444 h 10000"/>
                  <a:gd name="connsiteX53" fmla="*/ 69 w 10000"/>
                  <a:gd name="connsiteY53" fmla="*/ 5758 h 10000"/>
                  <a:gd name="connsiteX54" fmla="*/ 0 w 10000"/>
                  <a:gd name="connsiteY54" fmla="*/ 5657 h 10000"/>
                  <a:gd name="connsiteX0" fmla="*/ 10000 w 10000"/>
                  <a:gd name="connsiteY0" fmla="*/ 10000 h 10000"/>
                  <a:gd name="connsiteX1" fmla="*/ 9752 w 10000"/>
                  <a:gd name="connsiteY1" fmla="*/ 10000 h 10000"/>
                  <a:gd name="connsiteX2" fmla="*/ 9434 w 10000"/>
                  <a:gd name="connsiteY2" fmla="*/ 9545 h 10000"/>
                  <a:gd name="connsiteX3" fmla="*/ 9434 w 10000"/>
                  <a:gd name="connsiteY3" fmla="*/ 5354 h 10000"/>
                  <a:gd name="connsiteX4" fmla="*/ 9289 w 10000"/>
                  <a:gd name="connsiteY4" fmla="*/ 5354 h 10000"/>
                  <a:gd name="connsiteX5" fmla="*/ 9289 w 10000"/>
                  <a:gd name="connsiteY5" fmla="*/ 9545 h 10000"/>
                  <a:gd name="connsiteX6" fmla="*/ 8972 w 10000"/>
                  <a:gd name="connsiteY6" fmla="*/ 10000 h 10000"/>
                  <a:gd name="connsiteX7" fmla="*/ 8687 w 10000"/>
                  <a:gd name="connsiteY7" fmla="*/ 10000 h 10000"/>
                  <a:gd name="connsiteX8" fmla="*/ 8403 w 10000"/>
                  <a:gd name="connsiteY8" fmla="*/ 9545 h 10000"/>
                  <a:gd name="connsiteX9" fmla="*/ 8403 w 10000"/>
                  <a:gd name="connsiteY9" fmla="*/ 5354 h 10000"/>
                  <a:gd name="connsiteX10" fmla="*/ 6667 w 10000"/>
                  <a:gd name="connsiteY10" fmla="*/ 5354 h 10000"/>
                  <a:gd name="connsiteX11" fmla="*/ 8227 w 10000"/>
                  <a:gd name="connsiteY11" fmla="*/ 758 h 10000"/>
                  <a:gd name="connsiteX12" fmla="*/ 8227 w 10000"/>
                  <a:gd name="connsiteY12" fmla="*/ 0 h 10000"/>
                  <a:gd name="connsiteX13" fmla="*/ 7164 w 10000"/>
                  <a:gd name="connsiteY13" fmla="*/ 2677 h 10000"/>
                  <a:gd name="connsiteX14" fmla="*/ 6701 w 10000"/>
                  <a:gd name="connsiteY14" fmla="*/ 2929 h 10000"/>
                  <a:gd name="connsiteX15" fmla="*/ 6667 w 10000"/>
                  <a:gd name="connsiteY15" fmla="*/ 2929 h 10000"/>
                  <a:gd name="connsiteX16" fmla="*/ 6632 w 10000"/>
                  <a:gd name="connsiteY16" fmla="*/ 3081 h 10000"/>
                  <a:gd name="connsiteX17" fmla="*/ 5887 w 10000"/>
                  <a:gd name="connsiteY17" fmla="*/ 4141 h 10000"/>
                  <a:gd name="connsiteX18" fmla="*/ 5782 w 10000"/>
                  <a:gd name="connsiteY18" fmla="*/ 4192 h 10000"/>
                  <a:gd name="connsiteX19" fmla="*/ 5603 w 10000"/>
                  <a:gd name="connsiteY19" fmla="*/ 4091 h 10000"/>
                  <a:gd name="connsiteX20" fmla="*/ 5107 w 10000"/>
                  <a:gd name="connsiteY20" fmla="*/ 3182 h 10000"/>
                  <a:gd name="connsiteX21" fmla="*/ 5107 w 10000"/>
                  <a:gd name="connsiteY21" fmla="*/ 3838 h 10000"/>
                  <a:gd name="connsiteX22" fmla="*/ 6101 w 10000"/>
                  <a:gd name="connsiteY22" fmla="*/ 6768 h 10000"/>
                  <a:gd name="connsiteX23" fmla="*/ 5001 w 10000"/>
                  <a:gd name="connsiteY23" fmla="*/ 6768 h 10000"/>
                  <a:gd name="connsiteX24" fmla="*/ 5001 w 10000"/>
                  <a:gd name="connsiteY24" fmla="*/ 9394 h 10000"/>
                  <a:gd name="connsiteX25" fmla="*/ 4786 w 10000"/>
                  <a:gd name="connsiteY25" fmla="*/ 9646 h 10000"/>
                  <a:gd name="connsiteX26" fmla="*/ 4646 w 10000"/>
                  <a:gd name="connsiteY26" fmla="*/ 9646 h 10000"/>
                  <a:gd name="connsiteX27" fmla="*/ 4434 w 10000"/>
                  <a:gd name="connsiteY27" fmla="*/ 9394 h 10000"/>
                  <a:gd name="connsiteX28" fmla="*/ 4434 w 10000"/>
                  <a:gd name="connsiteY28" fmla="*/ 6768 h 10000"/>
                  <a:gd name="connsiteX29" fmla="*/ 4327 w 10000"/>
                  <a:gd name="connsiteY29" fmla="*/ 6768 h 10000"/>
                  <a:gd name="connsiteX30" fmla="*/ 4327 w 10000"/>
                  <a:gd name="connsiteY30" fmla="*/ 9394 h 10000"/>
                  <a:gd name="connsiteX31" fmla="*/ 4149 w 10000"/>
                  <a:gd name="connsiteY31" fmla="*/ 9646 h 10000"/>
                  <a:gd name="connsiteX32" fmla="*/ 3971 w 10000"/>
                  <a:gd name="connsiteY32" fmla="*/ 9646 h 10000"/>
                  <a:gd name="connsiteX33" fmla="*/ 3795 w 10000"/>
                  <a:gd name="connsiteY33" fmla="*/ 9394 h 10000"/>
                  <a:gd name="connsiteX34" fmla="*/ 3795 w 10000"/>
                  <a:gd name="connsiteY34" fmla="*/ 6768 h 10000"/>
                  <a:gd name="connsiteX35" fmla="*/ 2695 w 10000"/>
                  <a:gd name="connsiteY35" fmla="*/ 6768 h 10000"/>
                  <a:gd name="connsiteX36" fmla="*/ 3688 w 10000"/>
                  <a:gd name="connsiteY36" fmla="*/ 3838 h 10000"/>
                  <a:gd name="connsiteX37" fmla="*/ 3688 w 10000"/>
                  <a:gd name="connsiteY37" fmla="*/ 3434 h 10000"/>
                  <a:gd name="connsiteX38" fmla="*/ 3013 w 10000"/>
                  <a:gd name="connsiteY38" fmla="*/ 5101 h 10000"/>
                  <a:gd name="connsiteX39" fmla="*/ 2731 w 10000"/>
                  <a:gd name="connsiteY39" fmla="*/ 5202 h 10000"/>
                  <a:gd name="connsiteX40" fmla="*/ 1632 w 10000"/>
                  <a:gd name="connsiteY40" fmla="*/ 3384 h 10000"/>
                  <a:gd name="connsiteX41" fmla="*/ 1632 w 10000"/>
                  <a:gd name="connsiteY41" fmla="*/ 5657 h 10000"/>
                  <a:gd name="connsiteX42" fmla="*/ 1597 w 10000"/>
                  <a:gd name="connsiteY42" fmla="*/ 9444 h 10000"/>
                  <a:gd name="connsiteX43" fmla="*/ 1349 w 10000"/>
                  <a:gd name="connsiteY43" fmla="*/ 9747 h 10000"/>
                  <a:gd name="connsiteX44" fmla="*/ 1099 w 10000"/>
                  <a:gd name="connsiteY44" fmla="*/ 9747 h 10000"/>
                  <a:gd name="connsiteX45" fmla="*/ 850 w 10000"/>
                  <a:gd name="connsiteY45" fmla="*/ 9444 h 10000"/>
                  <a:gd name="connsiteX46" fmla="*/ 850 w 10000"/>
                  <a:gd name="connsiteY46" fmla="*/ 5859 h 10000"/>
                  <a:gd name="connsiteX47" fmla="*/ 780 w 10000"/>
                  <a:gd name="connsiteY47" fmla="*/ 5859 h 10000"/>
                  <a:gd name="connsiteX48" fmla="*/ 780 w 10000"/>
                  <a:gd name="connsiteY48" fmla="*/ 9444 h 10000"/>
                  <a:gd name="connsiteX49" fmla="*/ 532 w 10000"/>
                  <a:gd name="connsiteY49" fmla="*/ 9747 h 10000"/>
                  <a:gd name="connsiteX50" fmla="*/ 319 w 10000"/>
                  <a:gd name="connsiteY50" fmla="*/ 9747 h 10000"/>
                  <a:gd name="connsiteX51" fmla="*/ 69 w 10000"/>
                  <a:gd name="connsiteY51" fmla="*/ 9444 h 10000"/>
                  <a:gd name="connsiteX52" fmla="*/ 69 w 10000"/>
                  <a:gd name="connsiteY52" fmla="*/ 5758 h 10000"/>
                  <a:gd name="connsiteX53" fmla="*/ 0 w 10000"/>
                  <a:gd name="connsiteY53" fmla="*/ 5657 h 10000"/>
                  <a:gd name="connsiteX0" fmla="*/ 10000 w 10000"/>
                  <a:gd name="connsiteY0" fmla="*/ 10000 h 10000"/>
                  <a:gd name="connsiteX1" fmla="*/ 9752 w 10000"/>
                  <a:gd name="connsiteY1" fmla="*/ 10000 h 10000"/>
                  <a:gd name="connsiteX2" fmla="*/ 9434 w 10000"/>
                  <a:gd name="connsiteY2" fmla="*/ 9545 h 10000"/>
                  <a:gd name="connsiteX3" fmla="*/ 9434 w 10000"/>
                  <a:gd name="connsiteY3" fmla="*/ 5354 h 10000"/>
                  <a:gd name="connsiteX4" fmla="*/ 9289 w 10000"/>
                  <a:gd name="connsiteY4" fmla="*/ 5354 h 10000"/>
                  <a:gd name="connsiteX5" fmla="*/ 9289 w 10000"/>
                  <a:gd name="connsiteY5" fmla="*/ 9545 h 10000"/>
                  <a:gd name="connsiteX6" fmla="*/ 8972 w 10000"/>
                  <a:gd name="connsiteY6" fmla="*/ 10000 h 10000"/>
                  <a:gd name="connsiteX7" fmla="*/ 8687 w 10000"/>
                  <a:gd name="connsiteY7" fmla="*/ 10000 h 10000"/>
                  <a:gd name="connsiteX8" fmla="*/ 8403 w 10000"/>
                  <a:gd name="connsiteY8" fmla="*/ 9545 h 10000"/>
                  <a:gd name="connsiteX9" fmla="*/ 8403 w 10000"/>
                  <a:gd name="connsiteY9" fmla="*/ 5354 h 10000"/>
                  <a:gd name="connsiteX10" fmla="*/ 6667 w 10000"/>
                  <a:gd name="connsiteY10" fmla="*/ 5354 h 10000"/>
                  <a:gd name="connsiteX11" fmla="*/ 8227 w 10000"/>
                  <a:gd name="connsiteY11" fmla="*/ 758 h 10000"/>
                  <a:gd name="connsiteX12" fmla="*/ 8227 w 10000"/>
                  <a:gd name="connsiteY12" fmla="*/ 0 h 10000"/>
                  <a:gd name="connsiteX13" fmla="*/ 7164 w 10000"/>
                  <a:gd name="connsiteY13" fmla="*/ 2677 h 10000"/>
                  <a:gd name="connsiteX14" fmla="*/ 6701 w 10000"/>
                  <a:gd name="connsiteY14" fmla="*/ 2929 h 10000"/>
                  <a:gd name="connsiteX15" fmla="*/ 6667 w 10000"/>
                  <a:gd name="connsiteY15" fmla="*/ 2929 h 10000"/>
                  <a:gd name="connsiteX16" fmla="*/ 6632 w 10000"/>
                  <a:gd name="connsiteY16" fmla="*/ 3081 h 10000"/>
                  <a:gd name="connsiteX17" fmla="*/ 5887 w 10000"/>
                  <a:gd name="connsiteY17" fmla="*/ 4141 h 10000"/>
                  <a:gd name="connsiteX18" fmla="*/ 5782 w 10000"/>
                  <a:gd name="connsiteY18" fmla="*/ 4192 h 10000"/>
                  <a:gd name="connsiteX19" fmla="*/ 5603 w 10000"/>
                  <a:gd name="connsiteY19" fmla="*/ 4091 h 10000"/>
                  <a:gd name="connsiteX20" fmla="*/ 5107 w 10000"/>
                  <a:gd name="connsiteY20" fmla="*/ 3182 h 10000"/>
                  <a:gd name="connsiteX21" fmla="*/ 5107 w 10000"/>
                  <a:gd name="connsiteY21" fmla="*/ 3838 h 10000"/>
                  <a:gd name="connsiteX22" fmla="*/ 6101 w 10000"/>
                  <a:gd name="connsiteY22" fmla="*/ 6768 h 10000"/>
                  <a:gd name="connsiteX23" fmla="*/ 5001 w 10000"/>
                  <a:gd name="connsiteY23" fmla="*/ 6768 h 10000"/>
                  <a:gd name="connsiteX24" fmla="*/ 5001 w 10000"/>
                  <a:gd name="connsiteY24" fmla="*/ 9394 h 10000"/>
                  <a:gd name="connsiteX25" fmla="*/ 4786 w 10000"/>
                  <a:gd name="connsiteY25" fmla="*/ 9646 h 10000"/>
                  <a:gd name="connsiteX26" fmla="*/ 4646 w 10000"/>
                  <a:gd name="connsiteY26" fmla="*/ 9646 h 10000"/>
                  <a:gd name="connsiteX27" fmla="*/ 4434 w 10000"/>
                  <a:gd name="connsiteY27" fmla="*/ 9394 h 10000"/>
                  <a:gd name="connsiteX28" fmla="*/ 4434 w 10000"/>
                  <a:gd name="connsiteY28" fmla="*/ 6768 h 10000"/>
                  <a:gd name="connsiteX29" fmla="*/ 4327 w 10000"/>
                  <a:gd name="connsiteY29" fmla="*/ 6768 h 10000"/>
                  <a:gd name="connsiteX30" fmla="*/ 4327 w 10000"/>
                  <a:gd name="connsiteY30" fmla="*/ 9394 h 10000"/>
                  <a:gd name="connsiteX31" fmla="*/ 4149 w 10000"/>
                  <a:gd name="connsiteY31" fmla="*/ 9646 h 10000"/>
                  <a:gd name="connsiteX32" fmla="*/ 3971 w 10000"/>
                  <a:gd name="connsiteY32" fmla="*/ 9646 h 10000"/>
                  <a:gd name="connsiteX33" fmla="*/ 3795 w 10000"/>
                  <a:gd name="connsiteY33" fmla="*/ 9394 h 10000"/>
                  <a:gd name="connsiteX34" fmla="*/ 3795 w 10000"/>
                  <a:gd name="connsiteY34" fmla="*/ 6768 h 10000"/>
                  <a:gd name="connsiteX35" fmla="*/ 2695 w 10000"/>
                  <a:gd name="connsiteY35" fmla="*/ 6768 h 10000"/>
                  <a:gd name="connsiteX36" fmla="*/ 3688 w 10000"/>
                  <a:gd name="connsiteY36" fmla="*/ 3838 h 10000"/>
                  <a:gd name="connsiteX37" fmla="*/ 3688 w 10000"/>
                  <a:gd name="connsiteY37" fmla="*/ 3434 h 10000"/>
                  <a:gd name="connsiteX38" fmla="*/ 3013 w 10000"/>
                  <a:gd name="connsiteY38" fmla="*/ 5101 h 10000"/>
                  <a:gd name="connsiteX39" fmla="*/ 1632 w 10000"/>
                  <a:gd name="connsiteY39" fmla="*/ 3384 h 10000"/>
                  <a:gd name="connsiteX40" fmla="*/ 1632 w 10000"/>
                  <a:gd name="connsiteY40" fmla="*/ 5657 h 10000"/>
                  <a:gd name="connsiteX41" fmla="*/ 1597 w 10000"/>
                  <a:gd name="connsiteY41" fmla="*/ 9444 h 10000"/>
                  <a:gd name="connsiteX42" fmla="*/ 1349 w 10000"/>
                  <a:gd name="connsiteY42" fmla="*/ 9747 h 10000"/>
                  <a:gd name="connsiteX43" fmla="*/ 1099 w 10000"/>
                  <a:gd name="connsiteY43" fmla="*/ 9747 h 10000"/>
                  <a:gd name="connsiteX44" fmla="*/ 850 w 10000"/>
                  <a:gd name="connsiteY44" fmla="*/ 9444 h 10000"/>
                  <a:gd name="connsiteX45" fmla="*/ 850 w 10000"/>
                  <a:gd name="connsiteY45" fmla="*/ 5859 h 10000"/>
                  <a:gd name="connsiteX46" fmla="*/ 780 w 10000"/>
                  <a:gd name="connsiteY46" fmla="*/ 5859 h 10000"/>
                  <a:gd name="connsiteX47" fmla="*/ 780 w 10000"/>
                  <a:gd name="connsiteY47" fmla="*/ 9444 h 10000"/>
                  <a:gd name="connsiteX48" fmla="*/ 532 w 10000"/>
                  <a:gd name="connsiteY48" fmla="*/ 9747 h 10000"/>
                  <a:gd name="connsiteX49" fmla="*/ 319 w 10000"/>
                  <a:gd name="connsiteY49" fmla="*/ 9747 h 10000"/>
                  <a:gd name="connsiteX50" fmla="*/ 69 w 10000"/>
                  <a:gd name="connsiteY50" fmla="*/ 9444 h 10000"/>
                  <a:gd name="connsiteX51" fmla="*/ 69 w 10000"/>
                  <a:gd name="connsiteY51" fmla="*/ 5758 h 10000"/>
                  <a:gd name="connsiteX52" fmla="*/ 0 w 10000"/>
                  <a:gd name="connsiteY52" fmla="*/ 5657 h 10000"/>
                  <a:gd name="connsiteX0" fmla="*/ 10000 w 10000"/>
                  <a:gd name="connsiteY0" fmla="*/ 10000 h 10000"/>
                  <a:gd name="connsiteX1" fmla="*/ 9752 w 10000"/>
                  <a:gd name="connsiteY1" fmla="*/ 10000 h 10000"/>
                  <a:gd name="connsiteX2" fmla="*/ 9434 w 10000"/>
                  <a:gd name="connsiteY2" fmla="*/ 9545 h 10000"/>
                  <a:gd name="connsiteX3" fmla="*/ 9434 w 10000"/>
                  <a:gd name="connsiteY3" fmla="*/ 5354 h 10000"/>
                  <a:gd name="connsiteX4" fmla="*/ 9289 w 10000"/>
                  <a:gd name="connsiteY4" fmla="*/ 5354 h 10000"/>
                  <a:gd name="connsiteX5" fmla="*/ 9289 w 10000"/>
                  <a:gd name="connsiteY5" fmla="*/ 9545 h 10000"/>
                  <a:gd name="connsiteX6" fmla="*/ 8972 w 10000"/>
                  <a:gd name="connsiteY6" fmla="*/ 10000 h 10000"/>
                  <a:gd name="connsiteX7" fmla="*/ 8687 w 10000"/>
                  <a:gd name="connsiteY7" fmla="*/ 10000 h 10000"/>
                  <a:gd name="connsiteX8" fmla="*/ 8403 w 10000"/>
                  <a:gd name="connsiteY8" fmla="*/ 9545 h 10000"/>
                  <a:gd name="connsiteX9" fmla="*/ 8403 w 10000"/>
                  <a:gd name="connsiteY9" fmla="*/ 5354 h 10000"/>
                  <a:gd name="connsiteX10" fmla="*/ 6667 w 10000"/>
                  <a:gd name="connsiteY10" fmla="*/ 5354 h 10000"/>
                  <a:gd name="connsiteX11" fmla="*/ 8227 w 10000"/>
                  <a:gd name="connsiteY11" fmla="*/ 758 h 10000"/>
                  <a:gd name="connsiteX12" fmla="*/ 8227 w 10000"/>
                  <a:gd name="connsiteY12" fmla="*/ 0 h 10000"/>
                  <a:gd name="connsiteX13" fmla="*/ 7164 w 10000"/>
                  <a:gd name="connsiteY13" fmla="*/ 2677 h 10000"/>
                  <a:gd name="connsiteX14" fmla="*/ 6701 w 10000"/>
                  <a:gd name="connsiteY14" fmla="*/ 2929 h 10000"/>
                  <a:gd name="connsiteX15" fmla="*/ 6667 w 10000"/>
                  <a:gd name="connsiteY15" fmla="*/ 2929 h 10000"/>
                  <a:gd name="connsiteX16" fmla="*/ 6632 w 10000"/>
                  <a:gd name="connsiteY16" fmla="*/ 3081 h 10000"/>
                  <a:gd name="connsiteX17" fmla="*/ 5887 w 10000"/>
                  <a:gd name="connsiteY17" fmla="*/ 4141 h 10000"/>
                  <a:gd name="connsiteX18" fmla="*/ 5782 w 10000"/>
                  <a:gd name="connsiteY18" fmla="*/ 4192 h 10000"/>
                  <a:gd name="connsiteX19" fmla="*/ 5603 w 10000"/>
                  <a:gd name="connsiteY19" fmla="*/ 4091 h 10000"/>
                  <a:gd name="connsiteX20" fmla="*/ 5107 w 10000"/>
                  <a:gd name="connsiteY20" fmla="*/ 3182 h 10000"/>
                  <a:gd name="connsiteX21" fmla="*/ 5107 w 10000"/>
                  <a:gd name="connsiteY21" fmla="*/ 3838 h 10000"/>
                  <a:gd name="connsiteX22" fmla="*/ 6101 w 10000"/>
                  <a:gd name="connsiteY22" fmla="*/ 6768 h 10000"/>
                  <a:gd name="connsiteX23" fmla="*/ 5001 w 10000"/>
                  <a:gd name="connsiteY23" fmla="*/ 6768 h 10000"/>
                  <a:gd name="connsiteX24" fmla="*/ 5001 w 10000"/>
                  <a:gd name="connsiteY24" fmla="*/ 9394 h 10000"/>
                  <a:gd name="connsiteX25" fmla="*/ 4786 w 10000"/>
                  <a:gd name="connsiteY25" fmla="*/ 9646 h 10000"/>
                  <a:gd name="connsiteX26" fmla="*/ 4646 w 10000"/>
                  <a:gd name="connsiteY26" fmla="*/ 9646 h 10000"/>
                  <a:gd name="connsiteX27" fmla="*/ 4434 w 10000"/>
                  <a:gd name="connsiteY27" fmla="*/ 9394 h 10000"/>
                  <a:gd name="connsiteX28" fmla="*/ 4434 w 10000"/>
                  <a:gd name="connsiteY28" fmla="*/ 6768 h 10000"/>
                  <a:gd name="connsiteX29" fmla="*/ 4327 w 10000"/>
                  <a:gd name="connsiteY29" fmla="*/ 6768 h 10000"/>
                  <a:gd name="connsiteX30" fmla="*/ 4327 w 10000"/>
                  <a:gd name="connsiteY30" fmla="*/ 9394 h 10000"/>
                  <a:gd name="connsiteX31" fmla="*/ 4149 w 10000"/>
                  <a:gd name="connsiteY31" fmla="*/ 9646 h 10000"/>
                  <a:gd name="connsiteX32" fmla="*/ 3971 w 10000"/>
                  <a:gd name="connsiteY32" fmla="*/ 9646 h 10000"/>
                  <a:gd name="connsiteX33" fmla="*/ 3795 w 10000"/>
                  <a:gd name="connsiteY33" fmla="*/ 9394 h 10000"/>
                  <a:gd name="connsiteX34" fmla="*/ 3795 w 10000"/>
                  <a:gd name="connsiteY34" fmla="*/ 6768 h 10000"/>
                  <a:gd name="connsiteX35" fmla="*/ 2695 w 10000"/>
                  <a:gd name="connsiteY35" fmla="*/ 6768 h 10000"/>
                  <a:gd name="connsiteX36" fmla="*/ 3688 w 10000"/>
                  <a:gd name="connsiteY36" fmla="*/ 3838 h 10000"/>
                  <a:gd name="connsiteX37" fmla="*/ 3688 w 10000"/>
                  <a:gd name="connsiteY37" fmla="*/ 3434 h 10000"/>
                  <a:gd name="connsiteX38" fmla="*/ 1632 w 10000"/>
                  <a:gd name="connsiteY38" fmla="*/ 3384 h 10000"/>
                  <a:gd name="connsiteX39" fmla="*/ 1632 w 10000"/>
                  <a:gd name="connsiteY39" fmla="*/ 5657 h 10000"/>
                  <a:gd name="connsiteX40" fmla="*/ 1597 w 10000"/>
                  <a:gd name="connsiteY40" fmla="*/ 9444 h 10000"/>
                  <a:gd name="connsiteX41" fmla="*/ 1349 w 10000"/>
                  <a:gd name="connsiteY41" fmla="*/ 9747 h 10000"/>
                  <a:gd name="connsiteX42" fmla="*/ 1099 w 10000"/>
                  <a:gd name="connsiteY42" fmla="*/ 9747 h 10000"/>
                  <a:gd name="connsiteX43" fmla="*/ 850 w 10000"/>
                  <a:gd name="connsiteY43" fmla="*/ 9444 h 10000"/>
                  <a:gd name="connsiteX44" fmla="*/ 850 w 10000"/>
                  <a:gd name="connsiteY44" fmla="*/ 5859 h 10000"/>
                  <a:gd name="connsiteX45" fmla="*/ 780 w 10000"/>
                  <a:gd name="connsiteY45" fmla="*/ 5859 h 10000"/>
                  <a:gd name="connsiteX46" fmla="*/ 780 w 10000"/>
                  <a:gd name="connsiteY46" fmla="*/ 9444 h 10000"/>
                  <a:gd name="connsiteX47" fmla="*/ 532 w 10000"/>
                  <a:gd name="connsiteY47" fmla="*/ 9747 h 10000"/>
                  <a:gd name="connsiteX48" fmla="*/ 319 w 10000"/>
                  <a:gd name="connsiteY48" fmla="*/ 9747 h 10000"/>
                  <a:gd name="connsiteX49" fmla="*/ 69 w 10000"/>
                  <a:gd name="connsiteY49" fmla="*/ 9444 h 10000"/>
                  <a:gd name="connsiteX50" fmla="*/ 69 w 10000"/>
                  <a:gd name="connsiteY50" fmla="*/ 5758 h 10000"/>
                  <a:gd name="connsiteX51" fmla="*/ 0 w 10000"/>
                  <a:gd name="connsiteY51" fmla="*/ 5657 h 10000"/>
                  <a:gd name="connsiteX0" fmla="*/ 10000 w 10000"/>
                  <a:gd name="connsiteY0" fmla="*/ 10000 h 10000"/>
                  <a:gd name="connsiteX1" fmla="*/ 9752 w 10000"/>
                  <a:gd name="connsiteY1" fmla="*/ 10000 h 10000"/>
                  <a:gd name="connsiteX2" fmla="*/ 9434 w 10000"/>
                  <a:gd name="connsiteY2" fmla="*/ 9545 h 10000"/>
                  <a:gd name="connsiteX3" fmla="*/ 9434 w 10000"/>
                  <a:gd name="connsiteY3" fmla="*/ 5354 h 10000"/>
                  <a:gd name="connsiteX4" fmla="*/ 9289 w 10000"/>
                  <a:gd name="connsiteY4" fmla="*/ 5354 h 10000"/>
                  <a:gd name="connsiteX5" fmla="*/ 9289 w 10000"/>
                  <a:gd name="connsiteY5" fmla="*/ 9545 h 10000"/>
                  <a:gd name="connsiteX6" fmla="*/ 8972 w 10000"/>
                  <a:gd name="connsiteY6" fmla="*/ 10000 h 10000"/>
                  <a:gd name="connsiteX7" fmla="*/ 8687 w 10000"/>
                  <a:gd name="connsiteY7" fmla="*/ 10000 h 10000"/>
                  <a:gd name="connsiteX8" fmla="*/ 8403 w 10000"/>
                  <a:gd name="connsiteY8" fmla="*/ 9545 h 10000"/>
                  <a:gd name="connsiteX9" fmla="*/ 8403 w 10000"/>
                  <a:gd name="connsiteY9" fmla="*/ 5354 h 10000"/>
                  <a:gd name="connsiteX10" fmla="*/ 6667 w 10000"/>
                  <a:gd name="connsiteY10" fmla="*/ 5354 h 10000"/>
                  <a:gd name="connsiteX11" fmla="*/ 8227 w 10000"/>
                  <a:gd name="connsiteY11" fmla="*/ 758 h 10000"/>
                  <a:gd name="connsiteX12" fmla="*/ 8227 w 10000"/>
                  <a:gd name="connsiteY12" fmla="*/ 0 h 10000"/>
                  <a:gd name="connsiteX13" fmla="*/ 7164 w 10000"/>
                  <a:gd name="connsiteY13" fmla="*/ 2677 h 10000"/>
                  <a:gd name="connsiteX14" fmla="*/ 6701 w 10000"/>
                  <a:gd name="connsiteY14" fmla="*/ 2929 h 10000"/>
                  <a:gd name="connsiteX15" fmla="*/ 6667 w 10000"/>
                  <a:gd name="connsiteY15" fmla="*/ 2929 h 10000"/>
                  <a:gd name="connsiteX16" fmla="*/ 6632 w 10000"/>
                  <a:gd name="connsiteY16" fmla="*/ 3081 h 10000"/>
                  <a:gd name="connsiteX17" fmla="*/ 5887 w 10000"/>
                  <a:gd name="connsiteY17" fmla="*/ 4141 h 10000"/>
                  <a:gd name="connsiteX18" fmla="*/ 5782 w 10000"/>
                  <a:gd name="connsiteY18" fmla="*/ 4192 h 10000"/>
                  <a:gd name="connsiteX19" fmla="*/ 5603 w 10000"/>
                  <a:gd name="connsiteY19" fmla="*/ 4091 h 10000"/>
                  <a:gd name="connsiteX20" fmla="*/ 5107 w 10000"/>
                  <a:gd name="connsiteY20" fmla="*/ 3182 h 10000"/>
                  <a:gd name="connsiteX21" fmla="*/ 5107 w 10000"/>
                  <a:gd name="connsiteY21" fmla="*/ 3838 h 10000"/>
                  <a:gd name="connsiteX22" fmla="*/ 6101 w 10000"/>
                  <a:gd name="connsiteY22" fmla="*/ 6768 h 10000"/>
                  <a:gd name="connsiteX23" fmla="*/ 5001 w 10000"/>
                  <a:gd name="connsiteY23" fmla="*/ 6768 h 10000"/>
                  <a:gd name="connsiteX24" fmla="*/ 5001 w 10000"/>
                  <a:gd name="connsiteY24" fmla="*/ 9394 h 10000"/>
                  <a:gd name="connsiteX25" fmla="*/ 4786 w 10000"/>
                  <a:gd name="connsiteY25" fmla="*/ 9646 h 10000"/>
                  <a:gd name="connsiteX26" fmla="*/ 4646 w 10000"/>
                  <a:gd name="connsiteY26" fmla="*/ 9646 h 10000"/>
                  <a:gd name="connsiteX27" fmla="*/ 4434 w 10000"/>
                  <a:gd name="connsiteY27" fmla="*/ 9394 h 10000"/>
                  <a:gd name="connsiteX28" fmla="*/ 4434 w 10000"/>
                  <a:gd name="connsiteY28" fmla="*/ 6768 h 10000"/>
                  <a:gd name="connsiteX29" fmla="*/ 4327 w 10000"/>
                  <a:gd name="connsiteY29" fmla="*/ 6768 h 10000"/>
                  <a:gd name="connsiteX30" fmla="*/ 4327 w 10000"/>
                  <a:gd name="connsiteY30" fmla="*/ 9394 h 10000"/>
                  <a:gd name="connsiteX31" fmla="*/ 4149 w 10000"/>
                  <a:gd name="connsiteY31" fmla="*/ 9646 h 10000"/>
                  <a:gd name="connsiteX32" fmla="*/ 3971 w 10000"/>
                  <a:gd name="connsiteY32" fmla="*/ 9646 h 10000"/>
                  <a:gd name="connsiteX33" fmla="*/ 3795 w 10000"/>
                  <a:gd name="connsiteY33" fmla="*/ 9394 h 10000"/>
                  <a:gd name="connsiteX34" fmla="*/ 3795 w 10000"/>
                  <a:gd name="connsiteY34" fmla="*/ 6768 h 10000"/>
                  <a:gd name="connsiteX35" fmla="*/ 2695 w 10000"/>
                  <a:gd name="connsiteY35" fmla="*/ 6768 h 10000"/>
                  <a:gd name="connsiteX36" fmla="*/ 3688 w 10000"/>
                  <a:gd name="connsiteY36" fmla="*/ 3434 h 10000"/>
                  <a:gd name="connsiteX37" fmla="*/ 1632 w 10000"/>
                  <a:gd name="connsiteY37" fmla="*/ 3384 h 10000"/>
                  <a:gd name="connsiteX38" fmla="*/ 1632 w 10000"/>
                  <a:gd name="connsiteY38" fmla="*/ 5657 h 10000"/>
                  <a:gd name="connsiteX39" fmla="*/ 1597 w 10000"/>
                  <a:gd name="connsiteY39" fmla="*/ 9444 h 10000"/>
                  <a:gd name="connsiteX40" fmla="*/ 1349 w 10000"/>
                  <a:gd name="connsiteY40" fmla="*/ 9747 h 10000"/>
                  <a:gd name="connsiteX41" fmla="*/ 1099 w 10000"/>
                  <a:gd name="connsiteY41" fmla="*/ 9747 h 10000"/>
                  <a:gd name="connsiteX42" fmla="*/ 850 w 10000"/>
                  <a:gd name="connsiteY42" fmla="*/ 9444 h 10000"/>
                  <a:gd name="connsiteX43" fmla="*/ 850 w 10000"/>
                  <a:gd name="connsiteY43" fmla="*/ 5859 h 10000"/>
                  <a:gd name="connsiteX44" fmla="*/ 780 w 10000"/>
                  <a:gd name="connsiteY44" fmla="*/ 5859 h 10000"/>
                  <a:gd name="connsiteX45" fmla="*/ 780 w 10000"/>
                  <a:gd name="connsiteY45" fmla="*/ 9444 h 10000"/>
                  <a:gd name="connsiteX46" fmla="*/ 532 w 10000"/>
                  <a:gd name="connsiteY46" fmla="*/ 9747 h 10000"/>
                  <a:gd name="connsiteX47" fmla="*/ 319 w 10000"/>
                  <a:gd name="connsiteY47" fmla="*/ 9747 h 10000"/>
                  <a:gd name="connsiteX48" fmla="*/ 69 w 10000"/>
                  <a:gd name="connsiteY48" fmla="*/ 9444 h 10000"/>
                  <a:gd name="connsiteX49" fmla="*/ 69 w 10000"/>
                  <a:gd name="connsiteY49" fmla="*/ 5758 h 10000"/>
                  <a:gd name="connsiteX50" fmla="*/ 0 w 10000"/>
                  <a:gd name="connsiteY50" fmla="*/ 5657 h 10000"/>
                  <a:gd name="connsiteX0" fmla="*/ 10000 w 10000"/>
                  <a:gd name="connsiteY0" fmla="*/ 10000 h 10000"/>
                  <a:gd name="connsiteX1" fmla="*/ 9752 w 10000"/>
                  <a:gd name="connsiteY1" fmla="*/ 10000 h 10000"/>
                  <a:gd name="connsiteX2" fmla="*/ 9434 w 10000"/>
                  <a:gd name="connsiteY2" fmla="*/ 9545 h 10000"/>
                  <a:gd name="connsiteX3" fmla="*/ 9434 w 10000"/>
                  <a:gd name="connsiteY3" fmla="*/ 5354 h 10000"/>
                  <a:gd name="connsiteX4" fmla="*/ 9289 w 10000"/>
                  <a:gd name="connsiteY4" fmla="*/ 5354 h 10000"/>
                  <a:gd name="connsiteX5" fmla="*/ 9289 w 10000"/>
                  <a:gd name="connsiteY5" fmla="*/ 9545 h 10000"/>
                  <a:gd name="connsiteX6" fmla="*/ 8972 w 10000"/>
                  <a:gd name="connsiteY6" fmla="*/ 10000 h 10000"/>
                  <a:gd name="connsiteX7" fmla="*/ 8687 w 10000"/>
                  <a:gd name="connsiteY7" fmla="*/ 10000 h 10000"/>
                  <a:gd name="connsiteX8" fmla="*/ 8403 w 10000"/>
                  <a:gd name="connsiteY8" fmla="*/ 9545 h 10000"/>
                  <a:gd name="connsiteX9" fmla="*/ 8403 w 10000"/>
                  <a:gd name="connsiteY9" fmla="*/ 5354 h 10000"/>
                  <a:gd name="connsiteX10" fmla="*/ 6667 w 10000"/>
                  <a:gd name="connsiteY10" fmla="*/ 5354 h 10000"/>
                  <a:gd name="connsiteX11" fmla="*/ 8227 w 10000"/>
                  <a:gd name="connsiteY11" fmla="*/ 758 h 10000"/>
                  <a:gd name="connsiteX12" fmla="*/ 8227 w 10000"/>
                  <a:gd name="connsiteY12" fmla="*/ 0 h 10000"/>
                  <a:gd name="connsiteX13" fmla="*/ 7164 w 10000"/>
                  <a:gd name="connsiteY13" fmla="*/ 2677 h 10000"/>
                  <a:gd name="connsiteX14" fmla="*/ 6701 w 10000"/>
                  <a:gd name="connsiteY14" fmla="*/ 2929 h 10000"/>
                  <a:gd name="connsiteX15" fmla="*/ 6667 w 10000"/>
                  <a:gd name="connsiteY15" fmla="*/ 2929 h 10000"/>
                  <a:gd name="connsiteX16" fmla="*/ 6632 w 10000"/>
                  <a:gd name="connsiteY16" fmla="*/ 3081 h 10000"/>
                  <a:gd name="connsiteX17" fmla="*/ 5887 w 10000"/>
                  <a:gd name="connsiteY17" fmla="*/ 4141 h 10000"/>
                  <a:gd name="connsiteX18" fmla="*/ 5782 w 10000"/>
                  <a:gd name="connsiteY18" fmla="*/ 4192 h 10000"/>
                  <a:gd name="connsiteX19" fmla="*/ 5603 w 10000"/>
                  <a:gd name="connsiteY19" fmla="*/ 4091 h 10000"/>
                  <a:gd name="connsiteX20" fmla="*/ 5107 w 10000"/>
                  <a:gd name="connsiteY20" fmla="*/ 3182 h 10000"/>
                  <a:gd name="connsiteX21" fmla="*/ 5107 w 10000"/>
                  <a:gd name="connsiteY21" fmla="*/ 3838 h 10000"/>
                  <a:gd name="connsiteX22" fmla="*/ 6101 w 10000"/>
                  <a:gd name="connsiteY22" fmla="*/ 6768 h 10000"/>
                  <a:gd name="connsiteX23" fmla="*/ 5001 w 10000"/>
                  <a:gd name="connsiteY23" fmla="*/ 6768 h 10000"/>
                  <a:gd name="connsiteX24" fmla="*/ 5001 w 10000"/>
                  <a:gd name="connsiteY24" fmla="*/ 9394 h 10000"/>
                  <a:gd name="connsiteX25" fmla="*/ 4786 w 10000"/>
                  <a:gd name="connsiteY25" fmla="*/ 9646 h 10000"/>
                  <a:gd name="connsiteX26" fmla="*/ 4646 w 10000"/>
                  <a:gd name="connsiteY26" fmla="*/ 9646 h 10000"/>
                  <a:gd name="connsiteX27" fmla="*/ 4434 w 10000"/>
                  <a:gd name="connsiteY27" fmla="*/ 9394 h 10000"/>
                  <a:gd name="connsiteX28" fmla="*/ 4434 w 10000"/>
                  <a:gd name="connsiteY28" fmla="*/ 6768 h 10000"/>
                  <a:gd name="connsiteX29" fmla="*/ 4327 w 10000"/>
                  <a:gd name="connsiteY29" fmla="*/ 6768 h 10000"/>
                  <a:gd name="connsiteX30" fmla="*/ 4327 w 10000"/>
                  <a:gd name="connsiteY30" fmla="*/ 9394 h 10000"/>
                  <a:gd name="connsiteX31" fmla="*/ 4149 w 10000"/>
                  <a:gd name="connsiteY31" fmla="*/ 9646 h 10000"/>
                  <a:gd name="connsiteX32" fmla="*/ 3971 w 10000"/>
                  <a:gd name="connsiteY32" fmla="*/ 9646 h 10000"/>
                  <a:gd name="connsiteX33" fmla="*/ 3795 w 10000"/>
                  <a:gd name="connsiteY33" fmla="*/ 9394 h 10000"/>
                  <a:gd name="connsiteX34" fmla="*/ 3795 w 10000"/>
                  <a:gd name="connsiteY34" fmla="*/ 6768 h 10000"/>
                  <a:gd name="connsiteX35" fmla="*/ 2695 w 10000"/>
                  <a:gd name="connsiteY35" fmla="*/ 6768 h 10000"/>
                  <a:gd name="connsiteX36" fmla="*/ 1632 w 10000"/>
                  <a:gd name="connsiteY36" fmla="*/ 3384 h 10000"/>
                  <a:gd name="connsiteX37" fmla="*/ 1632 w 10000"/>
                  <a:gd name="connsiteY37" fmla="*/ 5657 h 10000"/>
                  <a:gd name="connsiteX38" fmla="*/ 1597 w 10000"/>
                  <a:gd name="connsiteY38" fmla="*/ 9444 h 10000"/>
                  <a:gd name="connsiteX39" fmla="*/ 1349 w 10000"/>
                  <a:gd name="connsiteY39" fmla="*/ 9747 h 10000"/>
                  <a:gd name="connsiteX40" fmla="*/ 1099 w 10000"/>
                  <a:gd name="connsiteY40" fmla="*/ 9747 h 10000"/>
                  <a:gd name="connsiteX41" fmla="*/ 850 w 10000"/>
                  <a:gd name="connsiteY41" fmla="*/ 9444 h 10000"/>
                  <a:gd name="connsiteX42" fmla="*/ 850 w 10000"/>
                  <a:gd name="connsiteY42" fmla="*/ 5859 h 10000"/>
                  <a:gd name="connsiteX43" fmla="*/ 780 w 10000"/>
                  <a:gd name="connsiteY43" fmla="*/ 5859 h 10000"/>
                  <a:gd name="connsiteX44" fmla="*/ 780 w 10000"/>
                  <a:gd name="connsiteY44" fmla="*/ 9444 h 10000"/>
                  <a:gd name="connsiteX45" fmla="*/ 532 w 10000"/>
                  <a:gd name="connsiteY45" fmla="*/ 9747 h 10000"/>
                  <a:gd name="connsiteX46" fmla="*/ 319 w 10000"/>
                  <a:gd name="connsiteY46" fmla="*/ 9747 h 10000"/>
                  <a:gd name="connsiteX47" fmla="*/ 69 w 10000"/>
                  <a:gd name="connsiteY47" fmla="*/ 9444 h 10000"/>
                  <a:gd name="connsiteX48" fmla="*/ 69 w 10000"/>
                  <a:gd name="connsiteY48" fmla="*/ 5758 h 10000"/>
                  <a:gd name="connsiteX49" fmla="*/ 0 w 10000"/>
                  <a:gd name="connsiteY49" fmla="*/ 5657 h 10000"/>
                  <a:gd name="connsiteX0" fmla="*/ 10000 w 10000"/>
                  <a:gd name="connsiteY0" fmla="*/ 10000 h 10000"/>
                  <a:gd name="connsiteX1" fmla="*/ 9752 w 10000"/>
                  <a:gd name="connsiteY1" fmla="*/ 10000 h 10000"/>
                  <a:gd name="connsiteX2" fmla="*/ 9434 w 10000"/>
                  <a:gd name="connsiteY2" fmla="*/ 9545 h 10000"/>
                  <a:gd name="connsiteX3" fmla="*/ 9434 w 10000"/>
                  <a:gd name="connsiteY3" fmla="*/ 5354 h 10000"/>
                  <a:gd name="connsiteX4" fmla="*/ 9289 w 10000"/>
                  <a:gd name="connsiteY4" fmla="*/ 5354 h 10000"/>
                  <a:gd name="connsiteX5" fmla="*/ 9289 w 10000"/>
                  <a:gd name="connsiteY5" fmla="*/ 9545 h 10000"/>
                  <a:gd name="connsiteX6" fmla="*/ 8972 w 10000"/>
                  <a:gd name="connsiteY6" fmla="*/ 10000 h 10000"/>
                  <a:gd name="connsiteX7" fmla="*/ 8687 w 10000"/>
                  <a:gd name="connsiteY7" fmla="*/ 10000 h 10000"/>
                  <a:gd name="connsiteX8" fmla="*/ 8403 w 10000"/>
                  <a:gd name="connsiteY8" fmla="*/ 9545 h 10000"/>
                  <a:gd name="connsiteX9" fmla="*/ 8403 w 10000"/>
                  <a:gd name="connsiteY9" fmla="*/ 5354 h 10000"/>
                  <a:gd name="connsiteX10" fmla="*/ 6667 w 10000"/>
                  <a:gd name="connsiteY10" fmla="*/ 5354 h 10000"/>
                  <a:gd name="connsiteX11" fmla="*/ 8227 w 10000"/>
                  <a:gd name="connsiteY11" fmla="*/ 758 h 10000"/>
                  <a:gd name="connsiteX12" fmla="*/ 8227 w 10000"/>
                  <a:gd name="connsiteY12" fmla="*/ 0 h 10000"/>
                  <a:gd name="connsiteX13" fmla="*/ 7164 w 10000"/>
                  <a:gd name="connsiteY13" fmla="*/ 2677 h 10000"/>
                  <a:gd name="connsiteX14" fmla="*/ 6701 w 10000"/>
                  <a:gd name="connsiteY14" fmla="*/ 2929 h 10000"/>
                  <a:gd name="connsiteX15" fmla="*/ 6667 w 10000"/>
                  <a:gd name="connsiteY15" fmla="*/ 2929 h 10000"/>
                  <a:gd name="connsiteX16" fmla="*/ 6632 w 10000"/>
                  <a:gd name="connsiteY16" fmla="*/ 3081 h 10000"/>
                  <a:gd name="connsiteX17" fmla="*/ 5887 w 10000"/>
                  <a:gd name="connsiteY17" fmla="*/ 4141 h 10000"/>
                  <a:gd name="connsiteX18" fmla="*/ 5782 w 10000"/>
                  <a:gd name="connsiteY18" fmla="*/ 4192 h 10000"/>
                  <a:gd name="connsiteX19" fmla="*/ 5603 w 10000"/>
                  <a:gd name="connsiteY19" fmla="*/ 4091 h 10000"/>
                  <a:gd name="connsiteX20" fmla="*/ 5107 w 10000"/>
                  <a:gd name="connsiteY20" fmla="*/ 3182 h 10000"/>
                  <a:gd name="connsiteX21" fmla="*/ 5107 w 10000"/>
                  <a:gd name="connsiteY21" fmla="*/ 3838 h 10000"/>
                  <a:gd name="connsiteX22" fmla="*/ 6101 w 10000"/>
                  <a:gd name="connsiteY22" fmla="*/ 6768 h 10000"/>
                  <a:gd name="connsiteX23" fmla="*/ 5001 w 10000"/>
                  <a:gd name="connsiteY23" fmla="*/ 6768 h 10000"/>
                  <a:gd name="connsiteX24" fmla="*/ 5001 w 10000"/>
                  <a:gd name="connsiteY24" fmla="*/ 9394 h 10000"/>
                  <a:gd name="connsiteX25" fmla="*/ 4786 w 10000"/>
                  <a:gd name="connsiteY25" fmla="*/ 9646 h 10000"/>
                  <a:gd name="connsiteX26" fmla="*/ 4646 w 10000"/>
                  <a:gd name="connsiteY26" fmla="*/ 9646 h 10000"/>
                  <a:gd name="connsiteX27" fmla="*/ 4434 w 10000"/>
                  <a:gd name="connsiteY27" fmla="*/ 9394 h 10000"/>
                  <a:gd name="connsiteX28" fmla="*/ 4434 w 10000"/>
                  <a:gd name="connsiteY28" fmla="*/ 6768 h 10000"/>
                  <a:gd name="connsiteX29" fmla="*/ 4327 w 10000"/>
                  <a:gd name="connsiteY29" fmla="*/ 6768 h 10000"/>
                  <a:gd name="connsiteX30" fmla="*/ 4327 w 10000"/>
                  <a:gd name="connsiteY30" fmla="*/ 9394 h 10000"/>
                  <a:gd name="connsiteX31" fmla="*/ 4149 w 10000"/>
                  <a:gd name="connsiteY31" fmla="*/ 9646 h 10000"/>
                  <a:gd name="connsiteX32" fmla="*/ 3971 w 10000"/>
                  <a:gd name="connsiteY32" fmla="*/ 9646 h 10000"/>
                  <a:gd name="connsiteX33" fmla="*/ 3795 w 10000"/>
                  <a:gd name="connsiteY33" fmla="*/ 9394 h 10000"/>
                  <a:gd name="connsiteX34" fmla="*/ 3795 w 10000"/>
                  <a:gd name="connsiteY34" fmla="*/ 6768 h 10000"/>
                  <a:gd name="connsiteX35" fmla="*/ 2695 w 10000"/>
                  <a:gd name="connsiteY35" fmla="*/ 6768 h 10000"/>
                  <a:gd name="connsiteX36" fmla="*/ 1632 w 10000"/>
                  <a:gd name="connsiteY36" fmla="*/ 5657 h 10000"/>
                  <a:gd name="connsiteX37" fmla="*/ 1597 w 10000"/>
                  <a:gd name="connsiteY37" fmla="*/ 9444 h 10000"/>
                  <a:gd name="connsiteX38" fmla="*/ 1349 w 10000"/>
                  <a:gd name="connsiteY38" fmla="*/ 9747 h 10000"/>
                  <a:gd name="connsiteX39" fmla="*/ 1099 w 10000"/>
                  <a:gd name="connsiteY39" fmla="*/ 9747 h 10000"/>
                  <a:gd name="connsiteX40" fmla="*/ 850 w 10000"/>
                  <a:gd name="connsiteY40" fmla="*/ 9444 h 10000"/>
                  <a:gd name="connsiteX41" fmla="*/ 850 w 10000"/>
                  <a:gd name="connsiteY41" fmla="*/ 5859 h 10000"/>
                  <a:gd name="connsiteX42" fmla="*/ 780 w 10000"/>
                  <a:gd name="connsiteY42" fmla="*/ 5859 h 10000"/>
                  <a:gd name="connsiteX43" fmla="*/ 780 w 10000"/>
                  <a:gd name="connsiteY43" fmla="*/ 9444 h 10000"/>
                  <a:gd name="connsiteX44" fmla="*/ 532 w 10000"/>
                  <a:gd name="connsiteY44" fmla="*/ 9747 h 10000"/>
                  <a:gd name="connsiteX45" fmla="*/ 319 w 10000"/>
                  <a:gd name="connsiteY45" fmla="*/ 9747 h 10000"/>
                  <a:gd name="connsiteX46" fmla="*/ 69 w 10000"/>
                  <a:gd name="connsiteY46" fmla="*/ 9444 h 10000"/>
                  <a:gd name="connsiteX47" fmla="*/ 69 w 10000"/>
                  <a:gd name="connsiteY47" fmla="*/ 5758 h 10000"/>
                  <a:gd name="connsiteX48" fmla="*/ 0 w 10000"/>
                  <a:gd name="connsiteY48" fmla="*/ 5657 h 10000"/>
                  <a:gd name="connsiteX0" fmla="*/ 10000 w 10000"/>
                  <a:gd name="connsiteY0" fmla="*/ 10000 h 10000"/>
                  <a:gd name="connsiteX1" fmla="*/ 9752 w 10000"/>
                  <a:gd name="connsiteY1" fmla="*/ 10000 h 10000"/>
                  <a:gd name="connsiteX2" fmla="*/ 9434 w 10000"/>
                  <a:gd name="connsiteY2" fmla="*/ 9545 h 10000"/>
                  <a:gd name="connsiteX3" fmla="*/ 9434 w 10000"/>
                  <a:gd name="connsiteY3" fmla="*/ 5354 h 10000"/>
                  <a:gd name="connsiteX4" fmla="*/ 9289 w 10000"/>
                  <a:gd name="connsiteY4" fmla="*/ 5354 h 10000"/>
                  <a:gd name="connsiteX5" fmla="*/ 9289 w 10000"/>
                  <a:gd name="connsiteY5" fmla="*/ 9545 h 10000"/>
                  <a:gd name="connsiteX6" fmla="*/ 8972 w 10000"/>
                  <a:gd name="connsiteY6" fmla="*/ 10000 h 10000"/>
                  <a:gd name="connsiteX7" fmla="*/ 8687 w 10000"/>
                  <a:gd name="connsiteY7" fmla="*/ 10000 h 10000"/>
                  <a:gd name="connsiteX8" fmla="*/ 8403 w 10000"/>
                  <a:gd name="connsiteY8" fmla="*/ 9545 h 10000"/>
                  <a:gd name="connsiteX9" fmla="*/ 8403 w 10000"/>
                  <a:gd name="connsiteY9" fmla="*/ 5354 h 10000"/>
                  <a:gd name="connsiteX10" fmla="*/ 6667 w 10000"/>
                  <a:gd name="connsiteY10" fmla="*/ 5354 h 10000"/>
                  <a:gd name="connsiteX11" fmla="*/ 8227 w 10000"/>
                  <a:gd name="connsiteY11" fmla="*/ 758 h 10000"/>
                  <a:gd name="connsiteX12" fmla="*/ 8227 w 10000"/>
                  <a:gd name="connsiteY12" fmla="*/ 0 h 10000"/>
                  <a:gd name="connsiteX13" fmla="*/ 7164 w 10000"/>
                  <a:gd name="connsiteY13" fmla="*/ 2677 h 10000"/>
                  <a:gd name="connsiteX14" fmla="*/ 6701 w 10000"/>
                  <a:gd name="connsiteY14" fmla="*/ 2929 h 10000"/>
                  <a:gd name="connsiteX15" fmla="*/ 6667 w 10000"/>
                  <a:gd name="connsiteY15" fmla="*/ 2929 h 10000"/>
                  <a:gd name="connsiteX16" fmla="*/ 6632 w 10000"/>
                  <a:gd name="connsiteY16" fmla="*/ 3081 h 10000"/>
                  <a:gd name="connsiteX17" fmla="*/ 5887 w 10000"/>
                  <a:gd name="connsiteY17" fmla="*/ 4141 h 10000"/>
                  <a:gd name="connsiteX18" fmla="*/ 5782 w 10000"/>
                  <a:gd name="connsiteY18" fmla="*/ 4192 h 10000"/>
                  <a:gd name="connsiteX19" fmla="*/ 5603 w 10000"/>
                  <a:gd name="connsiteY19" fmla="*/ 4091 h 10000"/>
                  <a:gd name="connsiteX20" fmla="*/ 5107 w 10000"/>
                  <a:gd name="connsiteY20" fmla="*/ 3182 h 10000"/>
                  <a:gd name="connsiteX21" fmla="*/ 5107 w 10000"/>
                  <a:gd name="connsiteY21" fmla="*/ 3838 h 10000"/>
                  <a:gd name="connsiteX22" fmla="*/ 6101 w 10000"/>
                  <a:gd name="connsiteY22" fmla="*/ 6768 h 10000"/>
                  <a:gd name="connsiteX23" fmla="*/ 5001 w 10000"/>
                  <a:gd name="connsiteY23" fmla="*/ 6768 h 10000"/>
                  <a:gd name="connsiteX24" fmla="*/ 5001 w 10000"/>
                  <a:gd name="connsiteY24" fmla="*/ 9394 h 10000"/>
                  <a:gd name="connsiteX25" fmla="*/ 4786 w 10000"/>
                  <a:gd name="connsiteY25" fmla="*/ 9646 h 10000"/>
                  <a:gd name="connsiteX26" fmla="*/ 4646 w 10000"/>
                  <a:gd name="connsiteY26" fmla="*/ 9646 h 10000"/>
                  <a:gd name="connsiteX27" fmla="*/ 4434 w 10000"/>
                  <a:gd name="connsiteY27" fmla="*/ 9394 h 10000"/>
                  <a:gd name="connsiteX28" fmla="*/ 4434 w 10000"/>
                  <a:gd name="connsiteY28" fmla="*/ 6768 h 10000"/>
                  <a:gd name="connsiteX29" fmla="*/ 4327 w 10000"/>
                  <a:gd name="connsiteY29" fmla="*/ 6768 h 10000"/>
                  <a:gd name="connsiteX30" fmla="*/ 4327 w 10000"/>
                  <a:gd name="connsiteY30" fmla="*/ 9394 h 10000"/>
                  <a:gd name="connsiteX31" fmla="*/ 4149 w 10000"/>
                  <a:gd name="connsiteY31" fmla="*/ 9646 h 10000"/>
                  <a:gd name="connsiteX32" fmla="*/ 3971 w 10000"/>
                  <a:gd name="connsiteY32" fmla="*/ 9646 h 10000"/>
                  <a:gd name="connsiteX33" fmla="*/ 3795 w 10000"/>
                  <a:gd name="connsiteY33" fmla="*/ 9394 h 10000"/>
                  <a:gd name="connsiteX34" fmla="*/ 3795 w 10000"/>
                  <a:gd name="connsiteY34" fmla="*/ 6768 h 10000"/>
                  <a:gd name="connsiteX35" fmla="*/ 2695 w 10000"/>
                  <a:gd name="connsiteY35" fmla="*/ 6768 h 10000"/>
                  <a:gd name="connsiteX36" fmla="*/ 1597 w 10000"/>
                  <a:gd name="connsiteY36" fmla="*/ 9444 h 10000"/>
                  <a:gd name="connsiteX37" fmla="*/ 1349 w 10000"/>
                  <a:gd name="connsiteY37" fmla="*/ 9747 h 10000"/>
                  <a:gd name="connsiteX38" fmla="*/ 1099 w 10000"/>
                  <a:gd name="connsiteY38" fmla="*/ 9747 h 10000"/>
                  <a:gd name="connsiteX39" fmla="*/ 850 w 10000"/>
                  <a:gd name="connsiteY39" fmla="*/ 9444 h 10000"/>
                  <a:gd name="connsiteX40" fmla="*/ 850 w 10000"/>
                  <a:gd name="connsiteY40" fmla="*/ 5859 h 10000"/>
                  <a:gd name="connsiteX41" fmla="*/ 780 w 10000"/>
                  <a:gd name="connsiteY41" fmla="*/ 5859 h 10000"/>
                  <a:gd name="connsiteX42" fmla="*/ 780 w 10000"/>
                  <a:gd name="connsiteY42" fmla="*/ 9444 h 10000"/>
                  <a:gd name="connsiteX43" fmla="*/ 532 w 10000"/>
                  <a:gd name="connsiteY43" fmla="*/ 9747 h 10000"/>
                  <a:gd name="connsiteX44" fmla="*/ 319 w 10000"/>
                  <a:gd name="connsiteY44" fmla="*/ 9747 h 10000"/>
                  <a:gd name="connsiteX45" fmla="*/ 69 w 10000"/>
                  <a:gd name="connsiteY45" fmla="*/ 9444 h 10000"/>
                  <a:gd name="connsiteX46" fmla="*/ 69 w 10000"/>
                  <a:gd name="connsiteY46" fmla="*/ 5758 h 10000"/>
                  <a:gd name="connsiteX47" fmla="*/ 0 w 10000"/>
                  <a:gd name="connsiteY47" fmla="*/ 5657 h 10000"/>
                  <a:gd name="connsiteX0" fmla="*/ 10000 w 10000"/>
                  <a:gd name="connsiteY0" fmla="*/ 10000 h 10000"/>
                  <a:gd name="connsiteX1" fmla="*/ 9752 w 10000"/>
                  <a:gd name="connsiteY1" fmla="*/ 10000 h 10000"/>
                  <a:gd name="connsiteX2" fmla="*/ 9434 w 10000"/>
                  <a:gd name="connsiteY2" fmla="*/ 9545 h 10000"/>
                  <a:gd name="connsiteX3" fmla="*/ 9434 w 10000"/>
                  <a:gd name="connsiteY3" fmla="*/ 5354 h 10000"/>
                  <a:gd name="connsiteX4" fmla="*/ 9289 w 10000"/>
                  <a:gd name="connsiteY4" fmla="*/ 5354 h 10000"/>
                  <a:gd name="connsiteX5" fmla="*/ 9289 w 10000"/>
                  <a:gd name="connsiteY5" fmla="*/ 9545 h 10000"/>
                  <a:gd name="connsiteX6" fmla="*/ 8972 w 10000"/>
                  <a:gd name="connsiteY6" fmla="*/ 10000 h 10000"/>
                  <a:gd name="connsiteX7" fmla="*/ 8687 w 10000"/>
                  <a:gd name="connsiteY7" fmla="*/ 10000 h 10000"/>
                  <a:gd name="connsiteX8" fmla="*/ 8403 w 10000"/>
                  <a:gd name="connsiteY8" fmla="*/ 9545 h 10000"/>
                  <a:gd name="connsiteX9" fmla="*/ 8403 w 10000"/>
                  <a:gd name="connsiteY9" fmla="*/ 5354 h 10000"/>
                  <a:gd name="connsiteX10" fmla="*/ 6667 w 10000"/>
                  <a:gd name="connsiteY10" fmla="*/ 5354 h 10000"/>
                  <a:gd name="connsiteX11" fmla="*/ 8227 w 10000"/>
                  <a:gd name="connsiteY11" fmla="*/ 758 h 10000"/>
                  <a:gd name="connsiteX12" fmla="*/ 8227 w 10000"/>
                  <a:gd name="connsiteY12" fmla="*/ 0 h 10000"/>
                  <a:gd name="connsiteX13" fmla="*/ 7164 w 10000"/>
                  <a:gd name="connsiteY13" fmla="*/ 2677 h 10000"/>
                  <a:gd name="connsiteX14" fmla="*/ 6701 w 10000"/>
                  <a:gd name="connsiteY14" fmla="*/ 2929 h 10000"/>
                  <a:gd name="connsiteX15" fmla="*/ 6667 w 10000"/>
                  <a:gd name="connsiteY15" fmla="*/ 2929 h 10000"/>
                  <a:gd name="connsiteX16" fmla="*/ 6632 w 10000"/>
                  <a:gd name="connsiteY16" fmla="*/ 3081 h 10000"/>
                  <a:gd name="connsiteX17" fmla="*/ 5887 w 10000"/>
                  <a:gd name="connsiteY17" fmla="*/ 4141 h 10000"/>
                  <a:gd name="connsiteX18" fmla="*/ 5782 w 10000"/>
                  <a:gd name="connsiteY18" fmla="*/ 4192 h 10000"/>
                  <a:gd name="connsiteX19" fmla="*/ 5603 w 10000"/>
                  <a:gd name="connsiteY19" fmla="*/ 4091 h 10000"/>
                  <a:gd name="connsiteX20" fmla="*/ 5107 w 10000"/>
                  <a:gd name="connsiteY20" fmla="*/ 3182 h 10000"/>
                  <a:gd name="connsiteX21" fmla="*/ 5107 w 10000"/>
                  <a:gd name="connsiteY21" fmla="*/ 3838 h 10000"/>
                  <a:gd name="connsiteX22" fmla="*/ 6101 w 10000"/>
                  <a:gd name="connsiteY22" fmla="*/ 6768 h 10000"/>
                  <a:gd name="connsiteX23" fmla="*/ 5001 w 10000"/>
                  <a:gd name="connsiteY23" fmla="*/ 6768 h 10000"/>
                  <a:gd name="connsiteX24" fmla="*/ 5001 w 10000"/>
                  <a:gd name="connsiteY24" fmla="*/ 9394 h 10000"/>
                  <a:gd name="connsiteX25" fmla="*/ 4786 w 10000"/>
                  <a:gd name="connsiteY25" fmla="*/ 9646 h 10000"/>
                  <a:gd name="connsiteX26" fmla="*/ 4646 w 10000"/>
                  <a:gd name="connsiteY26" fmla="*/ 9646 h 10000"/>
                  <a:gd name="connsiteX27" fmla="*/ 4434 w 10000"/>
                  <a:gd name="connsiteY27" fmla="*/ 9394 h 10000"/>
                  <a:gd name="connsiteX28" fmla="*/ 4434 w 10000"/>
                  <a:gd name="connsiteY28" fmla="*/ 6768 h 10000"/>
                  <a:gd name="connsiteX29" fmla="*/ 4327 w 10000"/>
                  <a:gd name="connsiteY29" fmla="*/ 6768 h 10000"/>
                  <a:gd name="connsiteX30" fmla="*/ 4327 w 10000"/>
                  <a:gd name="connsiteY30" fmla="*/ 9394 h 10000"/>
                  <a:gd name="connsiteX31" fmla="*/ 4149 w 10000"/>
                  <a:gd name="connsiteY31" fmla="*/ 9646 h 10000"/>
                  <a:gd name="connsiteX32" fmla="*/ 3971 w 10000"/>
                  <a:gd name="connsiteY32" fmla="*/ 9646 h 10000"/>
                  <a:gd name="connsiteX33" fmla="*/ 3795 w 10000"/>
                  <a:gd name="connsiteY33" fmla="*/ 9394 h 10000"/>
                  <a:gd name="connsiteX34" fmla="*/ 3795 w 10000"/>
                  <a:gd name="connsiteY34" fmla="*/ 6768 h 10000"/>
                  <a:gd name="connsiteX35" fmla="*/ 2695 w 10000"/>
                  <a:gd name="connsiteY35" fmla="*/ 6768 h 10000"/>
                  <a:gd name="connsiteX36" fmla="*/ 1597 w 10000"/>
                  <a:gd name="connsiteY36" fmla="*/ 9444 h 10000"/>
                  <a:gd name="connsiteX37" fmla="*/ 1349 w 10000"/>
                  <a:gd name="connsiteY37" fmla="*/ 9747 h 10000"/>
                  <a:gd name="connsiteX38" fmla="*/ 1099 w 10000"/>
                  <a:gd name="connsiteY38" fmla="*/ 9747 h 10000"/>
                  <a:gd name="connsiteX39" fmla="*/ 850 w 10000"/>
                  <a:gd name="connsiteY39" fmla="*/ 9444 h 10000"/>
                  <a:gd name="connsiteX40" fmla="*/ 850 w 10000"/>
                  <a:gd name="connsiteY40" fmla="*/ 5859 h 10000"/>
                  <a:gd name="connsiteX41" fmla="*/ 780 w 10000"/>
                  <a:gd name="connsiteY41" fmla="*/ 9444 h 10000"/>
                  <a:gd name="connsiteX42" fmla="*/ 532 w 10000"/>
                  <a:gd name="connsiteY42" fmla="*/ 9747 h 10000"/>
                  <a:gd name="connsiteX43" fmla="*/ 319 w 10000"/>
                  <a:gd name="connsiteY43" fmla="*/ 9747 h 10000"/>
                  <a:gd name="connsiteX44" fmla="*/ 69 w 10000"/>
                  <a:gd name="connsiteY44" fmla="*/ 9444 h 10000"/>
                  <a:gd name="connsiteX45" fmla="*/ 69 w 10000"/>
                  <a:gd name="connsiteY45" fmla="*/ 5758 h 10000"/>
                  <a:gd name="connsiteX46" fmla="*/ 0 w 10000"/>
                  <a:gd name="connsiteY46" fmla="*/ 5657 h 10000"/>
                  <a:gd name="connsiteX0" fmla="*/ 9931 w 9931"/>
                  <a:gd name="connsiteY0" fmla="*/ 10000 h 10000"/>
                  <a:gd name="connsiteX1" fmla="*/ 9683 w 9931"/>
                  <a:gd name="connsiteY1" fmla="*/ 10000 h 10000"/>
                  <a:gd name="connsiteX2" fmla="*/ 9365 w 9931"/>
                  <a:gd name="connsiteY2" fmla="*/ 9545 h 10000"/>
                  <a:gd name="connsiteX3" fmla="*/ 9365 w 9931"/>
                  <a:gd name="connsiteY3" fmla="*/ 5354 h 10000"/>
                  <a:gd name="connsiteX4" fmla="*/ 9220 w 9931"/>
                  <a:gd name="connsiteY4" fmla="*/ 5354 h 10000"/>
                  <a:gd name="connsiteX5" fmla="*/ 9220 w 9931"/>
                  <a:gd name="connsiteY5" fmla="*/ 9545 h 10000"/>
                  <a:gd name="connsiteX6" fmla="*/ 8903 w 9931"/>
                  <a:gd name="connsiteY6" fmla="*/ 10000 h 10000"/>
                  <a:gd name="connsiteX7" fmla="*/ 8618 w 9931"/>
                  <a:gd name="connsiteY7" fmla="*/ 10000 h 10000"/>
                  <a:gd name="connsiteX8" fmla="*/ 8334 w 9931"/>
                  <a:gd name="connsiteY8" fmla="*/ 9545 h 10000"/>
                  <a:gd name="connsiteX9" fmla="*/ 8334 w 9931"/>
                  <a:gd name="connsiteY9" fmla="*/ 5354 h 10000"/>
                  <a:gd name="connsiteX10" fmla="*/ 6598 w 9931"/>
                  <a:gd name="connsiteY10" fmla="*/ 5354 h 10000"/>
                  <a:gd name="connsiteX11" fmla="*/ 8158 w 9931"/>
                  <a:gd name="connsiteY11" fmla="*/ 758 h 10000"/>
                  <a:gd name="connsiteX12" fmla="*/ 8158 w 9931"/>
                  <a:gd name="connsiteY12" fmla="*/ 0 h 10000"/>
                  <a:gd name="connsiteX13" fmla="*/ 7095 w 9931"/>
                  <a:gd name="connsiteY13" fmla="*/ 2677 h 10000"/>
                  <a:gd name="connsiteX14" fmla="*/ 6632 w 9931"/>
                  <a:gd name="connsiteY14" fmla="*/ 2929 h 10000"/>
                  <a:gd name="connsiteX15" fmla="*/ 6598 w 9931"/>
                  <a:gd name="connsiteY15" fmla="*/ 2929 h 10000"/>
                  <a:gd name="connsiteX16" fmla="*/ 6563 w 9931"/>
                  <a:gd name="connsiteY16" fmla="*/ 3081 h 10000"/>
                  <a:gd name="connsiteX17" fmla="*/ 5818 w 9931"/>
                  <a:gd name="connsiteY17" fmla="*/ 4141 h 10000"/>
                  <a:gd name="connsiteX18" fmla="*/ 5713 w 9931"/>
                  <a:gd name="connsiteY18" fmla="*/ 4192 h 10000"/>
                  <a:gd name="connsiteX19" fmla="*/ 5534 w 9931"/>
                  <a:gd name="connsiteY19" fmla="*/ 4091 h 10000"/>
                  <a:gd name="connsiteX20" fmla="*/ 5038 w 9931"/>
                  <a:gd name="connsiteY20" fmla="*/ 3182 h 10000"/>
                  <a:gd name="connsiteX21" fmla="*/ 5038 w 9931"/>
                  <a:gd name="connsiteY21" fmla="*/ 3838 h 10000"/>
                  <a:gd name="connsiteX22" fmla="*/ 6032 w 9931"/>
                  <a:gd name="connsiteY22" fmla="*/ 6768 h 10000"/>
                  <a:gd name="connsiteX23" fmla="*/ 4932 w 9931"/>
                  <a:gd name="connsiteY23" fmla="*/ 6768 h 10000"/>
                  <a:gd name="connsiteX24" fmla="*/ 4932 w 9931"/>
                  <a:gd name="connsiteY24" fmla="*/ 9394 h 10000"/>
                  <a:gd name="connsiteX25" fmla="*/ 4717 w 9931"/>
                  <a:gd name="connsiteY25" fmla="*/ 9646 h 10000"/>
                  <a:gd name="connsiteX26" fmla="*/ 4577 w 9931"/>
                  <a:gd name="connsiteY26" fmla="*/ 9646 h 10000"/>
                  <a:gd name="connsiteX27" fmla="*/ 4365 w 9931"/>
                  <a:gd name="connsiteY27" fmla="*/ 9394 h 10000"/>
                  <a:gd name="connsiteX28" fmla="*/ 4365 w 9931"/>
                  <a:gd name="connsiteY28" fmla="*/ 6768 h 10000"/>
                  <a:gd name="connsiteX29" fmla="*/ 4258 w 9931"/>
                  <a:gd name="connsiteY29" fmla="*/ 6768 h 10000"/>
                  <a:gd name="connsiteX30" fmla="*/ 4258 w 9931"/>
                  <a:gd name="connsiteY30" fmla="*/ 9394 h 10000"/>
                  <a:gd name="connsiteX31" fmla="*/ 4080 w 9931"/>
                  <a:gd name="connsiteY31" fmla="*/ 9646 h 10000"/>
                  <a:gd name="connsiteX32" fmla="*/ 3902 w 9931"/>
                  <a:gd name="connsiteY32" fmla="*/ 9646 h 10000"/>
                  <a:gd name="connsiteX33" fmla="*/ 3726 w 9931"/>
                  <a:gd name="connsiteY33" fmla="*/ 9394 h 10000"/>
                  <a:gd name="connsiteX34" fmla="*/ 3726 w 9931"/>
                  <a:gd name="connsiteY34" fmla="*/ 6768 h 10000"/>
                  <a:gd name="connsiteX35" fmla="*/ 2626 w 9931"/>
                  <a:gd name="connsiteY35" fmla="*/ 6768 h 10000"/>
                  <a:gd name="connsiteX36" fmla="*/ 1528 w 9931"/>
                  <a:gd name="connsiteY36" fmla="*/ 9444 h 10000"/>
                  <a:gd name="connsiteX37" fmla="*/ 1280 w 9931"/>
                  <a:gd name="connsiteY37" fmla="*/ 9747 h 10000"/>
                  <a:gd name="connsiteX38" fmla="*/ 1030 w 9931"/>
                  <a:gd name="connsiteY38" fmla="*/ 9747 h 10000"/>
                  <a:gd name="connsiteX39" fmla="*/ 781 w 9931"/>
                  <a:gd name="connsiteY39" fmla="*/ 9444 h 10000"/>
                  <a:gd name="connsiteX40" fmla="*/ 781 w 9931"/>
                  <a:gd name="connsiteY40" fmla="*/ 5859 h 10000"/>
                  <a:gd name="connsiteX41" fmla="*/ 711 w 9931"/>
                  <a:gd name="connsiteY41" fmla="*/ 9444 h 10000"/>
                  <a:gd name="connsiteX42" fmla="*/ 463 w 9931"/>
                  <a:gd name="connsiteY42" fmla="*/ 9747 h 10000"/>
                  <a:gd name="connsiteX43" fmla="*/ 250 w 9931"/>
                  <a:gd name="connsiteY43" fmla="*/ 9747 h 10000"/>
                  <a:gd name="connsiteX44" fmla="*/ 0 w 9931"/>
                  <a:gd name="connsiteY44" fmla="*/ 9444 h 10000"/>
                  <a:gd name="connsiteX45" fmla="*/ 0 w 9931"/>
                  <a:gd name="connsiteY45" fmla="*/ 5758 h 10000"/>
                  <a:gd name="connsiteX0" fmla="*/ 10000 w 10000"/>
                  <a:gd name="connsiteY0" fmla="*/ 10000 h 10000"/>
                  <a:gd name="connsiteX1" fmla="*/ 9750 w 10000"/>
                  <a:gd name="connsiteY1" fmla="*/ 10000 h 10000"/>
                  <a:gd name="connsiteX2" fmla="*/ 9430 w 10000"/>
                  <a:gd name="connsiteY2" fmla="*/ 9545 h 10000"/>
                  <a:gd name="connsiteX3" fmla="*/ 9430 w 10000"/>
                  <a:gd name="connsiteY3" fmla="*/ 5354 h 10000"/>
                  <a:gd name="connsiteX4" fmla="*/ 9284 w 10000"/>
                  <a:gd name="connsiteY4" fmla="*/ 5354 h 10000"/>
                  <a:gd name="connsiteX5" fmla="*/ 9284 w 10000"/>
                  <a:gd name="connsiteY5" fmla="*/ 9545 h 10000"/>
                  <a:gd name="connsiteX6" fmla="*/ 8965 w 10000"/>
                  <a:gd name="connsiteY6" fmla="*/ 10000 h 10000"/>
                  <a:gd name="connsiteX7" fmla="*/ 8678 w 10000"/>
                  <a:gd name="connsiteY7" fmla="*/ 10000 h 10000"/>
                  <a:gd name="connsiteX8" fmla="*/ 8392 w 10000"/>
                  <a:gd name="connsiteY8" fmla="*/ 9545 h 10000"/>
                  <a:gd name="connsiteX9" fmla="*/ 8392 w 10000"/>
                  <a:gd name="connsiteY9" fmla="*/ 5354 h 10000"/>
                  <a:gd name="connsiteX10" fmla="*/ 6644 w 10000"/>
                  <a:gd name="connsiteY10" fmla="*/ 5354 h 10000"/>
                  <a:gd name="connsiteX11" fmla="*/ 8215 w 10000"/>
                  <a:gd name="connsiteY11" fmla="*/ 758 h 10000"/>
                  <a:gd name="connsiteX12" fmla="*/ 8215 w 10000"/>
                  <a:gd name="connsiteY12" fmla="*/ 0 h 10000"/>
                  <a:gd name="connsiteX13" fmla="*/ 7144 w 10000"/>
                  <a:gd name="connsiteY13" fmla="*/ 2677 h 10000"/>
                  <a:gd name="connsiteX14" fmla="*/ 6678 w 10000"/>
                  <a:gd name="connsiteY14" fmla="*/ 2929 h 10000"/>
                  <a:gd name="connsiteX15" fmla="*/ 6644 w 10000"/>
                  <a:gd name="connsiteY15" fmla="*/ 2929 h 10000"/>
                  <a:gd name="connsiteX16" fmla="*/ 6609 w 10000"/>
                  <a:gd name="connsiteY16" fmla="*/ 3081 h 10000"/>
                  <a:gd name="connsiteX17" fmla="*/ 5858 w 10000"/>
                  <a:gd name="connsiteY17" fmla="*/ 4141 h 10000"/>
                  <a:gd name="connsiteX18" fmla="*/ 5753 w 10000"/>
                  <a:gd name="connsiteY18" fmla="*/ 4192 h 10000"/>
                  <a:gd name="connsiteX19" fmla="*/ 5572 w 10000"/>
                  <a:gd name="connsiteY19" fmla="*/ 4091 h 10000"/>
                  <a:gd name="connsiteX20" fmla="*/ 5073 w 10000"/>
                  <a:gd name="connsiteY20" fmla="*/ 3182 h 10000"/>
                  <a:gd name="connsiteX21" fmla="*/ 5073 w 10000"/>
                  <a:gd name="connsiteY21" fmla="*/ 3838 h 10000"/>
                  <a:gd name="connsiteX22" fmla="*/ 6074 w 10000"/>
                  <a:gd name="connsiteY22" fmla="*/ 6768 h 10000"/>
                  <a:gd name="connsiteX23" fmla="*/ 4966 w 10000"/>
                  <a:gd name="connsiteY23" fmla="*/ 6768 h 10000"/>
                  <a:gd name="connsiteX24" fmla="*/ 4966 w 10000"/>
                  <a:gd name="connsiteY24" fmla="*/ 9394 h 10000"/>
                  <a:gd name="connsiteX25" fmla="*/ 4750 w 10000"/>
                  <a:gd name="connsiteY25" fmla="*/ 9646 h 10000"/>
                  <a:gd name="connsiteX26" fmla="*/ 4609 w 10000"/>
                  <a:gd name="connsiteY26" fmla="*/ 9646 h 10000"/>
                  <a:gd name="connsiteX27" fmla="*/ 4395 w 10000"/>
                  <a:gd name="connsiteY27" fmla="*/ 9394 h 10000"/>
                  <a:gd name="connsiteX28" fmla="*/ 4395 w 10000"/>
                  <a:gd name="connsiteY28" fmla="*/ 6768 h 10000"/>
                  <a:gd name="connsiteX29" fmla="*/ 4288 w 10000"/>
                  <a:gd name="connsiteY29" fmla="*/ 6768 h 10000"/>
                  <a:gd name="connsiteX30" fmla="*/ 4288 w 10000"/>
                  <a:gd name="connsiteY30" fmla="*/ 9394 h 10000"/>
                  <a:gd name="connsiteX31" fmla="*/ 4108 w 10000"/>
                  <a:gd name="connsiteY31" fmla="*/ 9646 h 10000"/>
                  <a:gd name="connsiteX32" fmla="*/ 3929 w 10000"/>
                  <a:gd name="connsiteY32" fmla="*/ 9646 h 10000"/>
                  <a:gd name="connsiteX33" fmla="*/ 3752 w 10000"/>
                  <a:gd name="connsiteY33" fmla="*/ 9394 h 10000"/>
                  <a:gd name="connsiteX34" fmla="*/ 3752 w 10000"/>
                  <a:gd name="connsiteY34" fmla="*/ 6768 h 10000"/>
                  <a:gd name="connsiteX35" fmla="*/ 2644 w 10000"/>
                  <a:gd name="connsiteY35" fmla="*/ 6768 h 10000"/>
                  <a:gd name="connsiteX36" fmla="*/ 1539 w 10000"/>
                  <a:gd name="connsiteY36" fmla="*/ 9444 h 10000"/>
                  <a:gd name="connsiteX37" fmla="*/ 1289 w 10000"/>
                  <a:gd name="connsiteY37" fmla="*/ 9747 h 10000"/>
                  <a:gd name="connsiteX38" fmla="*/ 1037 w 10000"/>
                  <a:gd name="connsiteY38" fmla="*/ 9747 h 10000"/>
                  <a:gd name="connsiteX39" fmla="*/ 786 w 10000"/>
                  <a:gd name="connsiteY39" fmla="*/ 9444 h 10000"/>
                  <a:gd name="connsiteX40" fmla="*/ 716 w 10000"/>
                  <a:gd name="connsiteY40" fmla="*/ 9444 h 10000"/>
                  <a:gd name="connsiteX41" fmla="*/ 466 w 10000"/>
                  <a:gd name="connsiteY41" fmla="*/ 9747 h 10000"/>
                  <a:gd name="connsiteX42" fmla="*/ 252 w 10000"/>
                  <a:gd name="connsiteY42" fmla="*/ 9747 h 10000"/>
                  <a:gd name="connsiteX43" fmla="*/ 0 w 10000"/>
                  <a:gd name="connsiteY43" fmla="*/ 9444 h 10000"/>
                  <a:gd name="connsiteX44" fmla="*/ 0 w 10000"/>
                  <a:gd name="connsiteY44" fmla="*/ 5758 h 10000"/>
                  <a:gd name="connsiteX0" fmla="*/ 10000 w 10000"/>
                  <a:gd name="connsiteY0" fmla="*/ 10000 h 10000"/>
                  <a:gd name="connsiteX1" fmla="*/ 9750 w 10000"/>
                  <a:gd name="connsiteY1" fmla="*/ 10000 h 10000"/>
                  <a:gd name="connsiteX2" fmla="*/ 9430 w 10000"/>
                  <a:gd name="connsiteY2" fmla="*/ 9545 h 10000"/>
                  <a:gd name="connsiteX3" fmla="*/ 9430 w 10000"/>
                  <a:gd name="connsiteY3" fmla="*/ 5354 h 10000"/>
                  <a:gd name="connsiteX4" fmla="*/ 9284 w 10000"/>
                  <a:gd name="connsiteY4" fmla="*/ 5354 h 10000"/>
                  <a:gd name="connsiteX5" fmla="*/ 9284 w 10000"/>
                  <a:gd name="connsiteY5" fmla="*/ 9545 h 10000"/>
                  <a:gd name="connsiteX6" fmla="*/ 8965 w 10000"/>
                  <a:gd name="connsiteY6" fmla="*/ 10000 h 10000"/>
                  <a:gd name="connsiteX7" fmla="*/ 8678 w 10000"/>
                  <a:gd name="connsiteY7" fmla="*/ 10000 h 10000"/>
                  <a:gd name="connsiteX8" fmla="*/ 8392 w 10000"/>
                  <a:gd name="connsiteY8" fmla="*/ 9545 h 10000"/>
                  <a:gd name="connsiteX9" fmla="*/ 8392 w 10000"/>
                  <a:gd name="connsiteY9" fmla="*/ 5354 h 10000"/>
                  <a:gd name="connsiteX10" fmla="*/ 6644 w 10000"/>
                  <a:gd name="connsiteY10" fmla="*/ 5354 h 10000"/>
                  <a:gd name="connsiteX11" fmla="*/ 8215 w 10000"/>
                  <a:gd name="connsiteY11" fmla="*/ 758 h 10000"/>
                  <a:gd name="connsiteX12" fmla="*/ 8215 w 10000"/>
                  <a:gd name="connsiteY12" fmla="*/ 0 h 10000"/>
                  <a:gd name="connsiteX13" fmla="*/ 7144 w 10000"/>
                  <a:gd name="connsiteY13" fmla="*/ 2677 h 10000"/>
                  <a:gd name="connsiteX14" fmla="*/ 6678 w 10000"/>
                  <a:gd name="connsiteY14" fmla="*/ 2929 h 10000"/>
                  <a:gd name="connsiteX15" fmla="*/ 6644 w 10000"/>
                  <a:gd name="connsiteY15" fmla="*/ 2929 h 10000"/>
                  <a:gd name="connsiteX16" fmla="*/ 6609 w 10000"/>
                  <a:gd name="connsiteY16" fmla="*/ 3081 h 10000"/>
                  <a:gd name="connsiteX17" fmla="*/ 5858 w 10000"/>
                  <a:gd name="connsiteY17" fmla="*/ 4141 h 10000"/>
                  <a:gd name="connsiteX18" fmla="*/ 5753 w 10000"/>
                  <a:gd name="connsiteY18" fmla="*/ 4192 h 10000"/>
                  <a:gd name="connsiteX19" fmla="*/ 5572 w 10000"/>
                  <a:gd name="connsiteY19" fmla="*/ 4091 h 10000"/>
                  <a:gd name="connsiteX20" fmla="*/ 5073 w 10000"/>
                  <a:gd name="connsiteY20" fmla="*/ 3182 h 10000"/>
                  <a:gd name="connsiteX21" fmla="*/ 5073 w 10000"/>
                  <a:gd name="connsiteY21" fmla="*/ 3838 h 10000"/>
                  <a:gd name="connsiteX22" fmla="*/ 6074 w 10000"/>
                  <a:gd name="connsiteY22" fmla="*/ 6768 h 10000"/>
                  <a:gd name="connsiteX23" fmla="*/ 4966 w 10000"/>
                  <a:gd name="connsiteY23" fmla="*/ 6768 h 10000"/>
                  <a:gd name="connsiteX24" fmla="*/ 4966 w 10000"/>
                  <a:gd name="connsiteY24" fmla="*/ 9394 h 10000"/>
                  <a:gd name="connsiteX25" fmla="*/ 4750 w 10000"/>
                  <a:gd name="connsiteY25" fmla="*/ 9646 h 10000"/>
                  <a:gd name="connsiteX26" fmla="*/ 4609 w 10000"/>
                  <a:gd name="connsiteY26" fmla="*/ 9646 h 10000"/>
                  <a:gd name="connsiteX27" fmla="*/ 4395 w 10000"/>
                  <a:gd name="connsiteY27" fmla="*/ 9394 h 10000"/>
                  <a:gd name="connsiteX28" fmla="*/ 4395 w 10000"/>
                  <a:gd name="connsiteY28" fmla="*/ 6768 h 10000"/>
                  <a:gd name="connsiteX29" fmla="*/ 4288 w 10000"/>
                  <a:gd name="connsiteY29" fmla="*/ 6768 h 10000"/>
                  <a:gd name="connsiteX30" fmla="*/ 4288 w 10000"/>
                  <a:gd name="connsiteY30" fmla="*/ 9394 h 10000"/>
                  <a:gd name="connsiteX31" fmla="*/ 4108 w 10000"/>
                  <a:gd name="connsiteY31" fmla="*/ 9646 h 10000"/>
                  <a:gd name="connsiteX32" fmla="*/ 3929 w 10000"/>
                  <a:gd name="connsiteY32" fmla="*/ 9646 h 10000"/>
                  <a:gd name="connsiteX33" fmla="*/ 3752 w 10000"/>
                  <a:gd name="connsiteY33" fmla="*/ 9394 h 10000"/>
                  <a:gd name="connsiteX34" fmla="*/ 3752 w 10000"/>
                  <a:gd name="connsiteY34" fmla="*/ 6768 h 10000"/>
                  <a:gd name="connsiteX35" fmla="*/ 2644 w 10000"/>
                  <a:gd name="connsiteY35" fmla="*/ 6768 h 10000"/>
                  <a:gd name="connsiteX36" fmla="*/ 1539 w 10000"/>
                  <a:gd name="connsiteY36" fmla="*/ 9444 h 10000"/>
                  <a:gd name="connsiteX37" fmla="*/ 1289 w 10000"/>
                  <a:gd name="connsiteY37" fmla="*/ 9747 h 10000"/>
                  <a:gd name="connsiteX38" fmla="*/ 1037 w 10000"/>
                  <a:gd name="connsiteY38" fmla="*/ 9747 h 10000"/>
                  <a:gd name="connsiteX39" fmla="*/ 786 w 10000"/>
                  <a:gd name="connsiteY39" fmla="*/ 9444 h 10000"/>
                  <a:gd name="connsiteX40" fmla="*/ 716 w 10000"/>
                  <a:gd name="connsiteY40" fmla="*/ 9444 h 10000"/>
                  <a:gd name="connsiteX41" fmla="*/ 466 w 10000"/>
                  <a:gd name="connsiteY41" fmla="*/ 9747 h 10000"/>
                  <a:gd name="connsiteX42" fmla="*/ 252 w 10000"/>
                  <a:gd name="connsiteY42" fmla="*/ 9747 h 10000"/>
                  <a:gd name="connsiteX43" fmla="*/ 0 w 10000"/>
                  <a:gd name="connsiteY43" fmla="*/ 9444 h 10000"/>
                  <a:gd name="connsiteX0" fmla="*/ 9748 w 9748"/>
                  <a:gd name="connsiteY0" fmla="*/ 10000 h 10000"/>
                  <a:gd name="connsiteX1" fmla="*/ 9498 w 9748"/>
                  <a:gd name="connsiteY1" fmla="*/ 10000 h 10000"/>
                  <a:gd name="connsiteX2" fmla="*/ 9178 w 9748"/>
                  <a:gd name="connsiteY2" fmla="*/ 9545 h 10000"/>
                  <a:gd name="connsiteX3" fmla="*/ 9178 w 9748"/>
                  <a:gd name="connsiteY3" fmla="*/ 5354 h 10000"/>
                  <a:gd name="connsiteX4" fmla="*/ 9032 w 9748"/>
                  <a:gd name="connsiteY4" fmla="*/ 5354 h 10000"/>
                  <a:gd name="connsiteX5" fmla="*/ 9032 w 9748"/>
                  <a:gd name="connsiteY5" fmla="*/ 9545 h 10000"/>
                  <a:gd name="connsiteX6" fmla="*/ 8713 w 9748"/>
                  <a:gd name="connsiteY6" fmla="*/ 10000 h 10000"/>
                  <a:gd name="connsiteX7" fmla="*/ 8426 w 9748"/>
                  <a:gd name="connsiteY7" fmla="*/ 10000 h 10000"/>
                  <a:gd name="connsiteX8" fmla="*/ 8140 w 9748"/>
                  <a:gd name="connsiteY8" fmla="*/ 9545 h 10000"/>
                  <a:gd name="connsiteX9" fmla="*/ 8140 w 9748"/>
                  <a:gd name="connsiteY9" fmla="*/ 5354 h 10000"/>
                  <a:gd name="connsiteX10" fmla="*/ 6392 w 9748"/>
                  <a:gd name="connsiteY10" fmla="*/ 5354 h 10000"/>
                  <a:gd name="connsiteX11" fmla="*/ 7963 w 9748"/>
                  <a:gd name="connsiteY11" fmla="*/ 758 h 10000"/>
                  <a:gd name="connsiteX12" fmla="*/ 7963 w 9748"/>
                  <a:gd name="connsiteY12" fmla="*/ 0 h 10000"/>
                  <a:gd name="connsiteX13" fmla="*/ 6892 w 9748"/>
                  <a:gd name="connsiteY13" fmla="*/ 2677 h 10000"/>
                  <a:gd name="connsiteX14" fmla="*/ 6426 w 9748"/>
                  <a:gd name="connsiteY14" fmla="*/ 2929 h 10000"/>
                  <a:gd name="connsiteX15" fmla="*/ 6392 w 9748"/>
                  <a:gd name="connsiteY15" fmla="*/ 2929 h 10000"/>
                  <a:gd name="connsiteX16" fmla="*/ 6357 w 9748"/>
                  <a:gd name="connsiteY16" fmla="*/ 3081 h 10000"/>
                  <a:gd name="connsiteX17" fmla="*/ 5606 w 9748"/>
                  <a:gd name="connsiteY17" fmla="*/ 4141 h 10000"/>
                  <a:gd name="connsiteX18" fmla="*/ 5501 w 9748"/>
                  <a:gd name="connsiteY18" fmla="*/ 4192 h 10000"/>
                  <a:gd name="connsiteX19" fmla="*/ 5320 w 9748"/>
                  <a:gd name="connsiteY19" fmla="*/ 4091 h 10000"/>
                  <a:gd name="connsiteX20" fmla="*/ 4821 w 9748"/>
                  <a:gd name="connsiteY20" fmla="*/ 3182 h 10000"/>
                  <a:gd name="connsiteX21" fmla="*/ 4821 w 9748"/>
                  <a:gd name="connsiteY21" fmla="*/ 3838 h 10000"/>
                  <a:gd name="connsiteX22" fmla="*/ 5822 w 9748"/>
                  <a:gd name="connsiteY22" fmla="*/ 6768 h 10000"/>
                  <a:gd name="connsiteX23" fmla="*/ 4714 w 9748"/>
                  <a:gd name="connsiteY23" fmla="*/ 6768 h 10000"/>
                  <a:gd name="connsiteX24" fmla="*/ 4714 w 9748"/>
                  <a:gd name="connsiteY24" fmla="*/ 9394 h 10000"/>
                  <a:gd name="connsiteX25" fmla="*/ 4498 w 9748"/>
                  <a:gd name="connsiteY25" fmla="*/ 9646 h 10000"/>
                  <a:gd name="connsiteX26" fmla="*/ 4357 w 9748"/>
                  <a:gd name="connsiteY26" fmla="*/ 9646 h 10000"/>
                  <a:gd name="connsiteX27" fmla="*/ 4143 w 9748"/>
                  <a:gd name="connsiteY27" fmla="*/ 9394 h 10000"/>
                  <a:gd name="connsiteX28" fmla="*/ 4143 w 9748"/>
                  <a:gd name="connsiteY28" fmla="*/ 6768 h 10000"/>
                  <a:gd name="connsiteX29" fmla="*/ 4036 w 9748"/>
                  <a:gd name="connsiteY29" fmla="*/ 6768 h 10000"/>
                  <a:gd name="connsiteX30" fmla="*/ 4036 w 9748"/>
                  <a:gd name="connsiteY30" fmla="*/ 9394 h 10000"/>
                  <a:gd name="connsiteX31" fmla="*/ 3856 w 9748"/>
                  <a:gd name="connsiteY31" fmla="*/ 9646 h 10000"/>
                  <a:gd name="connsiteX32" fmla="*/ 3677 w 9748"/>
                  <a:gd name="connsiteY32" fmla="*/ 9646 h 10000"/>
                  <a:gd name="connsiteX33" fmla="*/ 3500 w 9748"/>
                  <a:gd name="connsiteY33" fmla="*/ 9394 h 10000"/>
                  <a:gd name="connsiteX34" fmla="*/ 3500 w 9748"/>
                  <a:gd name="connsiteY34" fmla="*/ 6768 h 10000"/>
                  <a:gd name="connsiteX35" fmla="*/ 2392 w 9748"/>
                  <a:gd name="connsiteY35" fmla="*/ 6768 h 10000"/>
                  <a:gd name="connsiteX36" fmla="*/ 1287 w 9748"/>
                  <a:gd name="connsiteY36" fmla="*/ 9444 h 10000"/>
                  <a:gd name="connsiteX37" fmla="*/ 1037 w 9748"/>
                  <a:gd name="connsiteY37" fmla="*/ 9747 h 10000"/>
                  <a:gd name="connsiteX38" fmla="*/ 785 w 9748"/>
                  <a:gd name="connsiteY38" fmla="*/ 9747 h 10000"/>
                  <a:gd name="connsiteX39" fmla="*/ 534 w 9748"/>
                  <a:gd name="connsiteY39" fmla="*/ 9444 h 10000"/>
                  <a:gd name="connsiteX40" fmla="*/ 464 w 9748"/>
                  <a:gd name="connsiteY40" fmla="*/ 9444 h 10000"/>
                  <a:gd name="connsiteX41" fmla="*/ 214 w 9748"/>
                  <a:gd name="connsiteY41" fmla="*/ 9747 h 10000"/>
                  <a:gd name="connsiteX42" fmla="*/ 0 w 9748"/>
                  <a:gd name="connsiteY42" fmla="*/ 9747 h 10000"/>
                  <a:gd name="connsiteX0" fmla="*/ 10000 w 10000"/>
                  <a:gd name="connsiteY0" fmla="*/ 10000 h 10000"/>
                  <a:gd name="connsiteX1" fmla="*/ 9744 w 10000"/>
                  <a:gd name="connsiteY1" fmla="*/ 10000 h 10000"/>
                  <a:gd name="connsiteX2" fmla="*/ 9415 w 10000"/>
                  <a:gd name="connsiteY2" fmla="*/ 9545 h 10000"/>
                  <a:gd name="connsiteX3" fmla="*/ 9415 w 10000"/>
                  <a:gd name="connsiteY3" fmla="*/ 5354 h 10000"/>
                  <a:gd name="connsiteX4" fmla="*/ 9265 w 10000"/>
                  <a:gd name="connsiteY4" fmla="*/ 5354 h 10000"/>
                  <a:gd name="connsiteX5" fmla="*/ 9265 w 10000"/>
                  <a:gd name="connsiteY5" fmla="*/ 9545 h 10000"/>
                  <a:gd name="connsiteX6" fmla="*/ 8938 w 10000"/>
                  <a:gd name="connsiteY6" fmla="*/ 10000 h 10000"/>
                  <a:gd name="connsiteX7" fmla="*/ 8644 w 10000"/>
                  <a:gd name="connsiteY7" fmla="*/ 10000 h 10000"/>
                  <a:gd name="connsiteX8" fmla="*/ 8350 w 10000"/>
                  <a:gd name="connsiteY8" fmla="*/ 9545 h 10000"/>
                  <a:gd name="connsiteX9" fmla="*/ 8350 w 10000"/>
                  <a:gd name="connsiteY9" fmla="*/ 5354 h 10000"/>
                  <a:gd name="connsiteX10" fmla="*/ 6557 w 10000"/>
                  <a:gd name="connsiteY10" fmla="*/ 5354 h 10000"/>
                  <a:gd name="connsiteX11" fmla="*/ 8169 w 10000"/>
                  <a:gd name="connsiteY11" fmla="*/ 758 h 10000"/>
                  <a:gd name="connsiteX12" fmla="*/ 8169 w 10000"/>
                  <a:gd name="connsiteY12" fmla="*/ 0 h 10000"/>
                  <a:gd name="connsiteX13" fmla="*/ 7070 w 10000"/>
                  <a:gd name="connsiteY13" fmla="*/ 2677 h 10000"/>
                  <a:gd name="connsiteX14" fmla="*/ 6592 w 10000"/>
                  <a:gd name="connsiteY14" fmla="*/ 2929 h 10000"/>
                  <a:gd name="connsiteX15" fmla="*/ 6557 w 10000"/>
                  <a:gd name="connsiteY15" fmla="*/ 2929 h 10000"/>
                  <a:gd name="connsiteX16" fmla="*/ 6521 w 10000"/>
                  <a:gd name="connsiteY16" fmla="*/ 3081 h 10000"/>
                  <a:gd name="connsiteX17" fmla="*/ 5751 w 10000"/>
                  <a:gd name="connsiteY17" fmla="*/ 4141 h 10000"/>
                  <a:gd name="connsiteX18" fmla="*/ 5643 w 10000"/>
                  <a:gd name="connsiteY18" fmla="*/ 4192 h 10000"/>
                  <a:gd name="connsiteX19" fmla="*/ 5458 w 10000"/>
                  <a:gd name="connsiteY19" fmla="*/ 4091 h 10000"/>
                  <a:gd name="connsiteX20" fmla="*/ 4946 w 10000"/>
                  <a:gd name="connsiteY20" fmla="*/ 3182 h 10000"/>
                  <a:gd name="connsiteX21" fmla="*/ 4946 w 10000"/>
                  <a:gd name="connsiteY21" fmla="*/ 3838 h 10000"/>
                  <a:gd name="connsiteX22" fmla="*/ 5973 w 10000"/>
                  <a:gd name="connsiteY22" fmla="*/ 6768 h 10000"/>
                  <a:gd name="connsiteX23" fmla="*/ 4836 w 10000"/>
                  <a:gd name="connsiteY23" fmla="*/ 6768 h 10000"/>
                  <a:gd name="connsiteX24" fmla="*/ 4836 w 10000"/>
                  <a:gd name="connsiteY24" fmla="*/ 9394 h 10000"/>
                  <a:gd name="connsiteX25" fmla="*/ 4614 w 10000"/>
                  <a:gd name="connsiteY25" fmla="*/ 9646 h 10000"/>
                  <a:gd name="connsiteX26" fmla="*/ 4470 w 10000"/>
                  <a:gd name="connsiteY26" fmla="*/ 9646 h 10000"/>
                  <a:gd name="connsiteX27" fmla="*/ 4250 w 10000"/>
                  <a:gd name="connsiteY27" fmla="*/ 9394 h 10000"/>
                  <a:gd name="connsiteX28" fmla="*/ 4250 w 10000"/>
                  <a:gd name="connsiteY28" fmla="*/ 6768 h 10000"/>
                  <a:gd name="connsiteX29" fmla="*/ 4140 w 10000"/>
                  <a:gd name="connsiteY29" fmla="*/ 6768 h 10000"/>
                  <a:gd name="connsiteX30" fmla="*/ 4140 w 10000"/>
                  <a:gd name="connsiteY30" fmla="*/ 9394 h 10000"/>
                  <a:gd name="connsiteX31" fmla="*/ 3956 w 10000"/>
                  <a:gd name="connsiteY31" fmla="*/ 9646 h 10000"/>
                  <a:gd name="connsiteX32" fmla="*/ 3772 w 10000"/>
                  <a:gd name="connsiteY32" fmla="*/ 9646 h 10000"/>
                  <a:gd name="connsiteX33" fmla="*/ 3590 w 10000"/>
                  <a:gd name="connsiteY33" fmla="*/ 9394 h 10000"/>
                  <a:gd name="connsiteX34" fmla="*/ 3590 w 10000"/>
                  <a:gd name="connsiteY34" fmla="*/ 6768 h 10000"/>
                  <a:gd name="connsiteX35" fmla="*/ 2454 w 10000"/>
                  <a:gd name="connsiteY35" fmla="*/ 6768 h 10000"/>
                  <a:gd name="connsiteX36" fmla="*/ 1320 w 10000"/>
                  <a:gd name="connsiteY36" fmla="*/ 9444 h 10000"/>
                  <a:gd name="connsiteX37" fmla="*/ 1064 w 10000"/>
                  <a:gd name="connsiteY37" fmla="*/ 9747 h 10000"/>
                  <a:gd name="connsiteX38" fmla="*/ 805 w 10000"/>
                  <a:gd name="connsiteY38" fmla="*/ 9747 h 10000"/>
                  <a:gd name="connsiteX39" fmla="*/ 548 w 10000"/>
                  <a:gd name="connsiteY39" fmla="*/ 9444 h 10000"/>
                  <a:gd name="connsiteX40" fmla="*/ 476 w 10000"/>
                  <a:gd name="connsiteY40" fmla="*/ 9444 h 10000"/>
                  <a:gd name="connsiteX41" fmla="*/ 0 w 10000"/>
                  <a:gd name="connsiteY41" fmla="*/ 9747 h 10000"/>
                  <a:gd name="connsiteX0" fmla="*/ 9524 w 9524"/>
                  <a:gd name="connsiteY0" fmla="*/ 10000 h 10000"/>
                  <a:gd name="connsiteX1" fmla="*/ 9268 w 9524"/>
                  <a:gd name="connsiteY1" fmla="*/ 10000 h 10000"/>
                  <a:gd name="connsiteX2" fmla="*/ 8939 w 9524"/>
                  <a:gd name="connsiteY2" fmla="*/ 9545 h 10000"/>
                  <a:gd name="connsiteX3" fmla="*/ 8939 w 9524"/>
                  <a:gd name="connsiteY3" fmla="*/ 5354 h 10000"/>
                  <a:gd name="connsiteX4" fmla="*/ 8789 w 9524"/>
                  <a:gd name="connsiteY4" fmla="*/ 5354 h 10000"/>
                  <a:gd name="connsiteX5" fmla="*/ 8789 w 9524"/>
                  <a:gd name="connsiteY5" fmla="*/ 9545 h 10000"/>
                  <a:gd name="connsiteX6" fmla="*/ 8462 w 9524"/>
                  <a:gd name="connsiteY6" fmla="*/ 10000 h 10000"/>
                  <a:gd name="connsiteX7" fmla="*/ 8168 w 9524"/>
                  <a:gd name="connsiteY7" fmla="*/ 10000 h 10000"/>
                  <a:gd name="connsiteX8" fmla="*/ 7874 w 9524"/>
                  <a:gd name="connsiteY8" fmla="*/ 9545 h 10000"/>
                  <a:gd name="connsiteX9" fmla="*/ 7874 w 9524"/>
                  <a:gd name="connsiteY9" fmla="*/ 5354 h 10000"/>
                  <a:gd name="connsiteX10" fmla="*/ 6081 w 9524"/>
                  <a:gd name="connsiteY10" fmla="*/ 5354 h 10000"/>
                  <a:gd name="connsiteX11" fmla="*/ 7693 w 9524"/>
                  <a:gd name="connsiteY11" fmla="*/ 758 h 10000"/>
                  <a:gd name="connsiteX12" fmla="*/ 7693 w 9524"/>
                  <a:gd name="connsiteY12" fmla="*/ 0 h 10000"/>
                  <a:gd name="connsiteX13" fmla="*/ 6594 w 9524"/>
                  <a:gd name="connsiteY13" fmla="*/ 2677 h 10000"/>
                  <a:gd name="connsiteX14" fmla="*/ 6116 w 9524"/>
                  <a:gd name="connsiteY14" fmla="*/ 2929 h 10000"/>
                  <a:gd name="connsiteX15" fmla="*/ 6081 w 9524"/>
                  <a:gd name="connsiteY15" fmla="*/ 2929 h 10000"/>
                  <a:gd name="connsiteX16" fmla="*/ 6045 w 9524"/>
                  <a:gd name="connsiteY16" fmla="*/ 3081 h 10000"/>
                  <a:gd name="connsiteX17" fmla="*/ 5275 w 9524"/>
                  <a:gd name="connsiteY17" fmla="*/ 4141 h 10000"/>
                  <a:gd name="connsiteX18" fmla="*/ 5167 w 9524"/>
                  <a:gd name="connsiteY18" fmla="*/ 4192 h 10000"/>
                  <a:gd name="connsiteX19" fmla="*/ 4982 w 9524"/>
                  <a:gd name="connsiteY19" fmla="*/ 4091 h 10000"/>
                  <a:gd name="connsiteX20" fmla="*/ 4470 w 9524"/>
                  <a:gd name="connsiteY20" fmla="*/ 3182 h 10000"/>
                  <a:gd name="connsiteX21" fmla="*/ 4470 w 9524"/>
                  <a:gd name="connsiteY21" fmla="*/ 3838 h 10000"/>
                  <a:gd name="connsiteX22" fmla="*/ 5497 w 9524"/>
                  <a:gd name="connsiteY22" fmla="*/ 6768 h 10000"/>
                  <a:gd name="connsiteX23" fmla="*/ 4360 w 9524"/>
                  <a:gd name="connsiteY23" fmla="*/ 6768 h 10000"/>
                  <a:gd name="connsiteX24" fmla="*/ 4360 w 9524"/>
                  <a:gd name="connsiteY24" fmla="*/ 9394 h 10000"/>
                  <a:gd name="connsiteX25" fmla="*/ 4138 w 9524"/>
                  <a:gd name="connsiteY25" fmla="*/ 9646 h 10000"/>
                  <a:gd name="connsiteX26" fmla="*/ 3994 w 9524"/>
                  <a:gd name="connsiteY26" fmla="*/ 9646 h 10000"/>
                  <a:gd name="connsiteX27" fmla="*/ 3774 w 9524"/>
                  <a:gd name="connsiteY27" fmla="*/ 9394 h 10000"/>
                  <a:gd name="connsiteX28" fmla="*/ 3774 w 9524"/>
                  <a:gd name="connsiteY28" fmla="*/ 6768 h 10000"/>
                  <a:gd name="connsiteX29" fmla="*/ 3664 w 9524"/>
                  <a:gd name="connsiteY29" fmla="*/ 6768 h 10000"/>
                  <a:gd name="connsiteX30" fmla="*/ 3664 w 9524"/>
                  <a:gd name="connsiteY30" fmla="*/ 9394 h 10000"/>
                  <a:gd name="connsiteX31" fmla="*/ 3480 w 9524"/>
                  <a:gd name="connsiteY31" fmla="*/ 9646 h 10000"/>
                  <a:gd name="connsiteX32" fmla="*/ 3296 w 9524"/>
                  <a:gd name="connsiteY32" fmla="*/ 9646 h 10000"/>
                  <a:gd name="connsiteX33" fmla="*/ 3114 w 9524"/>
                  <a:gd name="connsiteY33" fmla="*/ 9394 h 10000"/>
                  <a:gd name="connsiteX34" fmla="*/ 3114 w 9524"/>
                  <a:gd name="connsiteY34" fmla="*/ 6768 h 10000"/>
                  <a:gd name="connsiteX35" fmla="*/ 1978 w 9524"/>
                  <a:gd name="connsiteY35" fmla="*/ 6768 h 10000"/>
                  <a:gd name="connsiteX36" fmla="*/ 844 w 9524"/>
                  <a:gd name="connsiteY36" fmla="*/ 9444 h 10000"/>
                  <a:gd name="connsiteX37" fmla="*/ 588 w 9524"/>
                  <a:gd name="connsiteY37" fmla="*/ 9747 h 10000"/>
                  <a:gd name="connsiteX38" fmla="*/ 329 w 9524"/>
                  <a:gd name="connsiteY38" fmla="*/ 9747 h 10000"/>
                  <a:gd name="connsiteX39" fmla="*/ 72 w 9524"/>
                  <a:gd name="connsiteY39" fmla="*/ 9444 h 10000"/>
                  <a:gd name="connsiteX40" fmla="*/ 0 w 9524"/>
                  <a:gd name="connsiteY40" fmla="*/ 9444 h 10000"/>
                  <a:gd name="connsiteX0" fmla="*/ 10000 w 10000"/>
                  <a:gd name="connsiteY0" fmla="*/ 10000 h 10000"/>
                  <a:gd name="connsiteX1" fmla="*/ 9731 w 10000"/>
                  <a:gd name="connsiteY1" fmla="*/ 10000 h 10000"/>
                  <a:gd name="connsiteX2" fmla="*/ 9386 w 10000"/>
                  <a:gd name="connsiteY2" fmla="*/ 9545 h 10000"/>
                  <a:gd name="connsiteX3" fmla="*/ 9386 w 10000"/>
                  <a:gd name="connsiteY3" fmla="*/ 5354 h 10000"/>
                  <a:gd name="connsiteX4" fmla="*/ 9228 w 10000"/>
                  <a:gd name="connsiteY4" fmla="*/ 5354 h 10000"/>
                  <a:gd name="connsiteX5" fmla="*/ 9228 w 10000"/>
                  <a:gd name="connsiteY5" fmla="*/ 9545 h 10000"/>
                  <a:gd name="connsiteX6" fmla="*/ 8885 w 10000"/>
                  <a:gd name="connsiteY6" fmla="*/ 10000 h 10000"/>
                  <a:gd name="connsiteX7" fmla="*/ 8576 w 10000"/>
                  <a:gd name="connsiteY7" fmla="*/ 10000 h 10000"/>
                  <a:gd name="connsiteX8" fmla="*/ 8268 w 10000"/>
                  <a:gd name="connsiteY8" fmla="*/ 9545 h 10000"/>
                  <a:gd name="connsiteX9" fmla="*/ 8268 w 10000"/>
                  <a:gd name="connsiteY9" fmla="*/ 5354 h 10000"/>
                  <a:gd name="connsiteX10" fmla="*/ 6385 w 10000"/>
                  <a:gd name="connsiteY10" fmla="*/ 5354 h 10000"/>
                  <a:gd name="connsiteX11" fmla="*/ 8077 w 10000"/>
                  <a:gd name="connsiteY11" fmla="*/ 758 h 10000"/>
                  <a:gd name="connsiteX12" fmla="*/ 8077 w 10000"/>
                  <a:gd name="connsiteY12" fmla="*/ 0 h 10000"/>
                  <a:gd name="connsiteX13" fmla="*/ 6924 w 10000"/>
                  <a:gd name="connsiteY13" fmla="*/ 2677 h 10000"/>
                  <a:gd name="connsiteX14" fmla="*/ 6422 w 10000"/>
                  <a:gd name="connsiteY14" fmla="*/ 2929 h 10000"/>
                  <a:gd name="connsiteX15" fmla="*/ 6385 w 10000"/>
                  <a:gd name="connsiteY15" fmla="*/ 2929 h 10000"/>
                  <a:gd name="connsiteX16" fmla="*/ 6347 w 10000"/>
                  <a:gd name="connsiteY16" fmla="*/ 3081 h 10000"/>
                  <a:gd name="connsiteX17" fmla="*/ 5539 w 10000"/>
                  <a:gd name="connsiteY17" fmla="*/ 4141 h 10000"/>
                  <a:gd name="connsiteX18" fmla="*/ 5425 w 10000"/>
                  <a:gd name="connsiteY18" fmla="*/ 4192 h 10000"/>
                  <a:gd name="connsiteX19" fmla="*/ 5231 w 10000"/>
                  <a:gd name="connsiteY19" fmla="*/ 4091 h 10000"/>
                  <a:gd name="connsiteX20" fmla="*/ 4693 w 10000"/>
                  <a:gd name="connsiteY20" fmla="*/ 3182 h 10000"/>
                  <a:gd name="connsiteX21" fmla="*/ 4693 w 10000"/>
                  <a:gd name="connsiteY21" fmla="*/ 3838 h 10000"/>
                  <a:gd name="connsiteX22" fmla="*/ 5772 w 10000"/>
                  <a:gd name="connsiteY22" fmla="*/ 6768 h 10000"/>
                  <a:gd name="connsiteX23" fmla="*/ 4578 w 10000"/>
                  <a:gd name="connsiteY23" fmla="*/ 6768 h 10000"/>
                  <a:gd name="connsiteX24" fmla="*/ 4578 w 10000"/>
                  <a:gd name="connsiteY24" fmla="*/ 9394 h 10000"/>
                  <a:gd name="connsiteX25" fmla="*/ 4345 w 10000"/>
                  <a:gd name="connsiteY25" fmla="*/ 9646 h 10000"/>
                  <a:gd name="connsiteX26" fmla="*/ 4194 w 10000"/>
                  <a:gd name="connsiteY26" fmla="*/ 9646 h 10000"/>
                  <a:gd name="connsiteX27" fmla="*/ 3963 w 10000"/>
                  <a:gd name="connsiteY27" fmla="*/ 9394 h 10000"/>
                  <a:gd name="connsiteX28" fmla="*/ 3963 w 10000"/>
                  <a:gd name="connsiteY28" fmla="*/ 6768 h 10000"/>
                  <a:gd name="connsiteX29" fmla="*/ 3847 w 10000"/>
                  <a:gd name="connsiteY29" fmla="*/ 6768 h 10000"/>
                  <a:gd name="connsiteX30" fmla="*/ 3847 w 10000"/>
                  <a:gd name="connsiteY30" fmla="*/ 9394 h 10000"/>
                  <a:gd name="connsiteX31" fmla="*/ 3654 w 10000"/>
                  <a:gd name="connsiteY31" fmla="*/ 9646 h 10000"/>
                  <a:gd name="connsiteX32" fmla="*/ 3461 w 10000"/>
                  <a:gd name="connsiteY32" fmla="*/ 9646 h 10000"/>
                  <a:gd name="connsiteX33" fmla="*/ 3270 w 10000"/>
                  <a:gd name="connsiteY33" fmla="*/ 9394 h 10000"/>
                  <a:gd name="connsiteX34" fmla="*/ 3270 w 10000"/>
                  <a:gd name="connsiteY34" fmla="*/ 6768 h 10000"/>
                  <a:gd name="connsiteX35" fmla="*/ 2077 w 10000"/>
                  <a:gd name="connsiteY35" fmla="*/ 6768 h 10000"/>
                  <a:gd name="connsiteX36" fmla="*/ 886 w 10000"/>
                  <a:gd name="connsiteY36" fmla="*/ 9444 h 10000"/>
                  <a:gd name="connsiteX37" fmla="*/ 617 w 10000"/>
                  <a:gd name="connsiteY37" fmla="*/ 9747 h 10000"/>
                  <a:gd name="connsiteX38" fmla="*/ 345 w 10000"/>
                  <a:gd name="connsiteY38" fmla="*/ 9747 h 10000"/>
                  <a:gd name="connsiteX39" fmla="*/ 0 w 10000"/>
                  <a:gd name="connsiteY39" fmla="*/ 9444 h 10000"/>
                  <a:gd name="connsiteX0" fmla="*/ 9655 w 9655"/>
                  <a:gd name="connsiteY0" fmla="*/ 10000 h 10000"/>
                  <a:gd name="connsiteX1" fmla="*/ 9386 w 9655"/>
                  <a:gd name="connsiteY1" fmla="*/ 10000 h 10000"/>
                  <a:gd name="connsiteX2" fmla="*/ 9041 w 9655"/>
                  <a:gd name="connsiteY2" fmla="*/ 9545 h 10000"/>
                  <a:gd name="connsiteX3" fmla="*/ 9041 w 9655"/>
                  <a:gd name="connsiteY3" fmla="*/ 5354 h 10000"/>
                  <a:gd name="connsiteX4" fmla="*/ 8883 w 9655"/>
                  <a:gd name="connsiteY4" fmla="*/ 5354 h 10000"/>
                  <a:gd name="connsiteX5" fmla="*/ 8883 w 9655"/>
                  <a:gd name="connsiteY5" fmla="*/ 9545 h 10000"/>
                  <a:gd name="connsiteX6" fmla="*/ 8540 w 9655"/>
                  <a:gd name="connsiteY6" fmla="*/ 10000 h 10000"/>
                  <a:gd name="connsiteX7" fmla="*/ 8231 w 9655"/>
                  <a:gd name="connsiteY7" fmla="*/ 10000 h 10000"/>
                  <a:gd name="connsiteX8" fmla="*/ 7923 w 9655"/>
                  <a:gd name="connsiteY8" fmla="*/ 9545 h 10000"/>
                  <a:gd name="connsiteX9" fmla="*/ 7923 w 9655"/>
                  <a:gd name="connsiteY9" fmla="*/ 5354 h 10000"/>
                  <a:gd name="connsiteX10" fmla="*/ 6040 w 9655"/>
                  <a:gd name="connsiteY10" fmla="*/ 5354 h 10000"/>
                  <a:gd name="connsiteX11" fmla="*/ 7732 w 9655"/>
                  <a:gd name="connsiteY11" fmla="*/ 758 h 10000"/>
                  <a:gd name="connsiteX12" fmla="*/ 7732 w 9655"/>
                  <a:gd name="connsiteY12" fmla="*/ 0 h 10000"/>
                  <a:gd name="connsiteX13" fmla="*/ 6579 w 9655"/>
                  <a:gd name="connsiteY13" fmla="*/ 2677 h 10000"/>
                  <a:gd name="connsiteX14" fmla="*/ 6077 w 9655"/>
                  <a:gd name="connsiteY14" fmla="*/ 2929 h 10000"/>
                  <a:gd name="connsiteX15" fmla="*/ 6040 w 9655"/>
                  <a:gd name="connsiteY15" fmla="*/ 2929 h 10000"/>
                  <a:gd name="connsiteX16" fmla="*/ 6002 w 9655"/>
                  <a:gd name="connsiteY16" fmla="*/ 3081 h 10000"/>
                  <a:gd name="connsiteX17" fmla="*/ 5194 w 9655"/>
                  <a:gd name="connsiteY17" fmla="*/ 4141 h 10000"/>
                  <a:gd name="connsiteX18" fmla="*/ 5080 w 9655"/>
                  <a:gd name="connsiteY18" fmla="*/ 4192 h 10000"/>
                  <a:gd name="connsiteX19" fmla="*/ 4886 w 9655"/>
                  <a:gd name="connsiteY19" fmla="*/ 4091 h 10000"/>
                  <a:gd name="connsiteX20" fmla="*/ 4348 w 9655"/>
                  <a:gd name="connsiteY20" fmla="*/ 3182 h 10000"/>
                  <a:gd name="connsiteX21" fmla="*/ 4348 w 9655"/>
                  <a:gd name="connsiteY21" fmla="*/ 3838 h 10000"/>
                  <a:gd name="connsiteX22" fmla="*/ 5427 w 9655"/>
                  <a:gd name="connsiteY22" fmla="*/ 6768 h 10000"/>
                  <a:gd name="connsiteX23" fmla="*/ 4233 w 9655"/>
                  <a:gd name="connsiteY23" fmla="*/ 6768 h 10000"/>
                  <a:gd name="connsiteX24" fmla="*/ 4233 w 9655"/>
                  <a:gd name="connsiteY24" fmla="*/ 9394 h 10000"/>
                  <a:gd name="connsiteX25" fmla="*/ 4000 w 9655"/>
                  <a:gd name="connsiteY25" fmla="*/ 9646 h 10000"/>
                  <a:gd name="connsiteX26" fmla="*/ 3849 w 9655"/>
                  <a:gd name="connsiteY26" fmla="*/ 9646 h 10000"/>
                  <a:gd name="connsiteX27" fmla="*/ 3618 w 9655"/>
                  <a:gd name="connsiteY27" fmla="*/ 9394 h 10000"/>
                  <a:gd name="connsiteX28" fmla="*/ 3618 w 9655"/>
                  <a:gd name="connsiteY28" fmla="*/ 6768 h 10000"/>
                  <a:gd name="connsiteX29" fmla="*/ 3502 w 9655"/>
                  <a:gd name="connsiteY29" fmla="*/ 6768 h 10000"/>
                  <a:gd name="connsiteX30" fmla="*/ 3502 w 9655"/>
                  <a:gd name="connsiteY30" fmla="*/ 9394 h 10000"/>
                  <a:gd name="connsiteX31" fmla="*/ 3309 w 9655"/>
                  <a:gd name="connsiteY31" fmla="*/ 9646 h 10000"/>
                  <a:gd name="connsiteX32" fmla="*/ 3116 w 9655"/>
                  <a:gd name="connsiteY32" fmla="*/ 9646 h 10000"/>
                  <a:gd name="connsiteX33" fmla="*/ 2925 w 9655"/>
                  <a:gd name="connsiteY33" fmla="*/ 9394 h 10000"/>
                  <a:gd name="connsiteX34" fmla="*/ 2925 w 9655"/>
                  <a:gd name="connsiteY34" fmla="*/ 6768 h 10000"/>
                  <a:gd name="connsiteX35" fmla="*/ 1732 w 9655"/>
                  <a:gd name="connsiteY35" fmla="*/ 6768 h 10000"/>
                  <a:gd name="connsiteX36" fmla="*/ 541 w 9655"/>
                  <a:gd name="connsiteY36" fmla="*/ 9444 h 10000"/>
                  <a:gd name="connsiteX37" fmla="*/ 272 w 9655"/>
                  <a:gd name="connsiteY37" fmla="*/ 9747 h 10000"/>
                  <a:gd name="connsiteX38" fmla="*/ 0 w 9655"/>
                  <a:gd name="connsiteY38" fmla="*/ 9747 h 10000"/>
                  <a:gd name="connsiteX0" fmla="*/ 10000 w 10000"/>
                  <a:gd name="connsiteY0" fmla="*/ 10000 h 10000"/>
                  <a:gd name="connsiteX1" fmla="*/ 9721 w 10000"/>
                  <a:gd name="connsiteY1" fmla="*/ 10000 h 10000"/>
                  <a:gd name="connsiteX2" fmla="*/ 9364 w 10000"/>
                  <a:gd name="connsiteY2" fmla="*/ 9545 h 10000"/>
                  <a:gd name="connsiteX3" fmla="*/ 9364 w 10000"/>
                  <a:gd name="connsiteY3" fmla="*/ 5354 h 10000"/>
                  <a:gd name="connsiteX4" fmla="*/ 9200 w 10000"/>
                  <a:gd name="connsiteY4" fmla="*/ 5354 h 10000"/>
                  <a:gd name="connsiteX5" fmla="*/ 9200 w 10000"/>
                  <a:gd name="connsiteY5" fmla="*/ 9545 h 10000"/>
                  <a:gd name="connsiteX6" fmla="*/ 8845 w 10000"/>
                  <a:gd name="connsiteY6" fmla="*/ 10000 h 10000"/>
                  <a:gd name="connsiteX7" fmla="*/ 8525 w 10000"/>
                  <a:gd name="connsiteY7" fmla="*/ 10000 h 10000"/>
                  <a:gd name="connsiteX8" fmla="*/ 8206 w 10000"/>
                  <a:gd name="connsiteY8" fmla="*/ 9545 h 10000"/>
                  <a:gd name="connsiteX9" fmla="*/ 8206 w 10000"/>
                  <a:gd name="connsiteY9" fmla="*/ 5354 h 10000"/>
                  <a:gd name="connsiteX10" fmla="*/ 6256 w 10000"/>
                  <a:gd name="connsiteY10" fmla="*/ 5354 h 10000"/>
                  <a:gd name="connsiteX11" fmla="*/ 8008 w 10000"/>
                  <a:gd name="connsiteY11" fmla="*/ 758 h 10000"/>
                  <a:gd name="connsiteX12" fmla="*/ 8008 w 10000"/>
                  <a:gd name="connsiteY12" fmla="*/ 0 h 10000"/>
                  <a:gd name="connsiteX13" fmla="*/ 6814 w 10000"/>
                  <a:gd name="connsiteY13" fmla="*/ 2677 h 10000"/>
                  <a:gd name="connsiteX14" fmla="*/ 6294 w 10000"/>
                  <a:gd name="connsiteY14" fmla="*/ 2929 h 10000"/>
                  <a:gd name="connsiteX15" fmla="*/ 6256 w 10000"/>
                  <a:gd name="connsiteY15" fmla="*/ 2929 h 10000"/>
                  <a:gd name="connsiteX16" fmla="*/ 6216 w 10000"/>
                  <a:gd name="connsiteY16" fmla="*/ 3081 h 10000"/>
                  <a:gd name="connsiteX17" fmla="*/ 5380 w 10000"/>
                  <a:gd name="connsiteY17" fmla="*/ 4141 h 10000"/>
                  <a:gd name="connsiteX18" fmla="*/ 5262 w 10000"/>
                  <a:gd name="connsiteY18" fmla="*/ 4192 h 10000"/>
                  <a:gd name="connsiteX19" fmla="*/ 5061 w 10000"/>
                  <a:gd name="connsiteY19" fmla="*/ 4091 h 10000"/>
                  <a:gd name="connsiteX20" fmla="*/ 4503 w 10000"/>
                  <a:gd name="connsiteY20" fmla="*/ 3182 h 10000"/>
                  <a:gd name="connsiteX21" fmla="*/ 4503 w 10000"/>
                  <a:gd name="connsiteY21" fmla="*/ 3838 h 10000"/>
                  <a:gd name="connsiteX22" fmla="*/ 5621 w 10000"/>
                  <a:gd name="connsiteY22" fmla="*/ 6768 h 10000"/>
                  <a:gd name="connsiteX23" fmla="*/ 4384 w 10000"/>
                  <a:gd name="connsiteY23" fmla="*/ 6768 h 10000"/>
                  <a:gd name="connsiteX24" fmla="*/ 4384 w 10000"/>
                  <a:gd name="connsiteY24" fmla="*/ 9394 h 10000"/>
                  <a:gd name="connsiteX25" fmla="*/ 4143 w 10000"/>
                  <a:gd name="connsiteY25" fmla="*/ 9646 h 10000"/>
                  <a:gd name="connsiteX26" fmla="*/ 3987 w 10000"/>
                  <a:gd name="connsiteY26" fmla="*/ 9646 h 10000"/>
                  <a:gd name="connsiteX27" fmla="*/ 3747 w 10000"/>
                  <a:gd name="connsiteY27" fmla="*/ 9394 h 10000"/>
                  <a:gd name="connsiteX28" fmla="*/ 3747 w 10000"/>
                  <a:gd name="connsiteY28" fmla="*/ 6768 h 10000"/>
                  <a:gd name="connsiteX29" fmla="*/ 3627 w 10000"/>
                  <a:gd name="connsiteY29" fmla="*/ 6768 h 10000"/>
                  <a:gd name="connsiteX30" fmla="*/ 3627 w 10000"/>
                  <a:gd name="connsiteY30" fmla="*/ 9394 h 10000"/>
                  <a:gd name="connsiteX31" fmla="*/ 3427 w 10000"/>
                  <a:gd name="connsiteY31" fmla="*/ 9646 h 10000"/>
                  <a:gd name="connsiteX32" fmla="*/ 3227 w 10000"/>
                  <a:gd name="connsiteY32" fmla="*/ 9646 h 10000"/>
                  <a:gd name="connsiteX33" fmla="*/ 3030 w 10000"/>
                  <a:gd name="connsiteY33" fmla="*/ 9394 h 10000"/>
                  <a:gd name="connsiteX34" fmla="*/ 3030 w 10000"/>
                  <a:gd name="connsiteY34" fmla="*/ 6768 h 10000"/>
                  <a:gd name="connsiteX35" fmla="*/ 1794 w 10000"/>
                  <a:gd name="connsiteY35" fmla="*/ 6768 h 10000"/>
                  <a:gd name="connsiteX36" fmla="*/ 560 w 10000"/>
                  <a:gd name="connsiteY36" fmla="*/ 9444 h 10000"/>
                  <a:gd name="connsiteX37" fmla="*/ 0 w 10000"/>
                  <a:gd name="connsiteY37" fmla="*/ 9747 h 10000"/>
                  <a:gd name="connsiteX0" fmla="*/ 10000 w 10000"/>
                  <a:gd name="connsiteY0" fmla="*/ 10000 h 10000"/>
                  <a:gd name="connsiteX1" fmla="*/ 9721 w 10000"/>
                  <a:gd name="connsiteY1" fmla="*/ 10000 h 10000"/>
                  <a:gd name="connsiteX2" fmla="*/ 9364 w 10000"/>
                  <a:gd name="connsiteY2" fmla="*/ 9545 h 10000"/>
                  <a:gd name="connsiteX3" fmla="*/ 9364 w 10000"/>
                  <a:gd name="connsiteY3" fmla="*/ 5354 h 10000"/>
                  <a:gd name="connsiteX4" fmla="*/ 9200 w 10000"/>
                  <a:gd name="connsiteY4" fmla="*/ 5354 h 10000"/>
                  <a:gd name="connsiteX5" fmla="*/ 9200 w 10000"/>
                  <a:gd name="connsiteY5" fmla="*/ 9545 h 10000"/>
                  <a:gd name="connsiteX6" fmla="*/ 8845 w 10000"/>
                  <a:gd name="connsiteY6" fmla="*/ 10000 h 10000"/>
                  <a:gd name="connsiteX7" fmla="*/ 8525 w 10000"/>
                  <a:gd name="connsiteY7" fmla="*/ 10000 h 10000"/>
                  <a:gd name="connsiteX8" fmla="*/ 8206 w 10000"/>
                  <a:gd name="connsiteY8" fmla="*/ 9545 h 10000"/>
                  <a:gd name="connsiteX9" fmla="*/ 8206 w 10000"/>
                  <a:gd name="connsiteY9" fmla="*/ 5354 h 10000"/>
                  <a:gd name="connsiteX10" fmla="*/ 6256 w 10000"/>
                  <a:gd name="connsiteY10" fmla="*/ 5354 h 10000"/>
                  <a:gd name="connsiteX11" fmla="*/ 8008 w 10000"/>
                  <a:gd name="connsiteY11" fmla="*/ 758 h 10000"/>
                  <a:gd name="connsiteX12" fmla="*/ 8008 w 10000"/>
                  <a:gd name="connsiteY12" fmla="*/ 0 h 10000"/>
                  <a:gd name="connsiteX13" fmla="*/ 6814 w 10000"/>
                  <a:gd name="connsiteY13" fmla="*/ 2677 h 10000"/>
                  <a:gd name="connsiteX14" fmla="*/ 6294 w 10000"/>
                  <a:gd name="connsiteY14" fmla="*/ 2929 h 10000"/>
                  <a:gd name="connsiteX15" fmla="*/ 6256 w 10000"/>
                  <a:gd name="connsiteY15" fmla="*/ 2929 h 10000"/>
                  <a:gd name="connsiteX16" fmla="*/ 6216 w 10000"/>
                  <a:gd name="connsiteY16" fmla="*/ 3081 h 10000"/>
                  <a:gd name="connsiteX17" fmla="*/ 5380 w 10000"/>
                  <a:gd name="connsiteY17" fmla="*/ 4141 h 10000"/>
                  <a:gd name="connsiteX18" fmla="*/ 5262 w 10000"/>
                  <a:gd name="connsiteY18" fmla="*/ 4192 h 10000"/>
                  <a:gd name="connsiteX19" fmla="*/ 5061 w 10000"/>
                  <a:gd name="connsiteY19" fmla="*/ 4091 h 10000"/>
                  <a:gd name="connsiteX20" fmla="*/ 4503 w 10000"/>
                  <a:gd name="connsiteY20" fmla="*/ 3182 h 10000"/>
                  <a:gd name="connsiteX21" fmla="*/ 4503 w 10000"/>
                  <a:gd name="connsiteY21" fmla="*/ 3838 h 10000"/>
                  <a:gd name="connsiteX22" fmla="*/ 5621 w 10000"/>
                  <a:gd name="connsiteY22" fmla="*/ 6768 h 10000"/>
                  <a:gd name="connsiteX23" fmla="*/ 4384 w 10000"/>
                  <a:gd name="connsiteY23" fmla="*/ 6768 h 10000"/>
                  <a:gd name="connsiteX24" fmla="*/ 4384 w 10000"/>
                  <a:gd name="connsiteY24" fmla="*/ 9394 h 10000"/>
                  <a:gd name="connsiteX25" fmla="*/ 4143 w 10000"/>
                  <a:gd name="connsiteY25" fmla="*/ 9646 h 10000"/>
                  <a:gd name="connsiteX26" fmla="*/ 3987 w 10000"/>
                  <a:gd name="connsiteY26" fmla="*/ 9646 h 10000"/>
                  <a:gd name="connsiteX27" fmla="*/ 3747 w 10000"/>
                  <a:gd name="connsiteY27" fmla="*/ 9394 h 10000"/>
                  <a:gd name="connsiteX28" fmla="*/ 3747 w 10000"/>
                  <a:gd name="connsiteY28" fmla="*/ 6768 h 10000"/>
                  <a:gd name="connsiteX29" fmla="*/ 3627 w 10000"/>
                  <a:gd name="connsiteY29" fmla="*/ 6768 h 10000"/>
                  <a:gd name="connsiteX30" fmla="*/ 3627 w 10000"/>
                  <a:gd name="connsiteY30" fmla="*/ 9394 h 10000"/>
                  <a:gd name="connsiteX31" fmla="*/ 3427 w 10000"/>
                  <a:gd name="connsiteY31" fmla="*/ 9646 h 10000"/>
                  <a:gd name="connsiteX32" fmla="*/ 3227 w 10000"/>
                  <a:gd name="connsiteY32" fmla="*/ 9646 h 10000"/>
                  <a:gd name="connsiteX33" fmla="*/ 3030 w 10000"/>
                  <a:gd name="connsiteY33" fmla="*/ 9394 h 10000"/>
                  <a:gd name="connsiteX34" fmla="*/ 3030 w 10000"/>
                  <a:gd name="connsiteY34" fmla="*/ 6768 h 10000"/>
                  <a:gd name="connsiteX35" fmla="*/ 1794 w 10000"/>
                  <a:gd name="connsiteY35" fmla="*/ 6768 h 10000"/>
                  <a:gd name="connsiteX36" fmla="*/ 560 w 10000"/>
                  <a:gd name="connsiteY36" fmla="*/ 9444 h 10000"/>
                  <a:gd name="connsiteX37" fmla="*/ 471 w 10000"/>
                  <a:gd name="connsiteY37" fmla="*/ 9647 h 10000"/>
                  <a:gd name="connsiteX38" fmla="*/ 0 w 10000"/>
                  <a:gd name="connsiteY38" fmla="*/ 9747 h 10000"/>
                  <a:gd name="connsiteX0" fmla="*/ 10000 w 10000"/>
                  <a:gd name="connsiteY0" fmla="*/ 10000 h 10000"/>
                  <a:gd name="connsiteX1" fmla="*/ 9721 w 10000"/>
                  <a:gd name="connsiteY1" fmla="*/ 10000 h 10000"/>
                  <a:gd name="connsiteX2" fmla="*/ 9364 w 10000"/>
                  <a:gd name="connsiteY2" fmla="*/ 9545 h 10000"/>
                  <a:gd name="connsiteX3" fmla="*/ 9364 w 10000"/>
                  <a:gd name="connsiteY3" fmla="*/ 5354 h 10000"/>
                  <a:gd name="connsiteX4" fmla="*/ 9200 w 10000"/>
                  <a:gd name="connsiteY4" fmla="*/ 5354 h 10000"/>
                  <a:gd name="connsiteX5" fmla="*/ 9200 w 10000"/>
                  <a:gd name="connsiteY5" fmla="*/ 9545 h 10000"/>
                  <a:gd name="connsiteX6" fmla="*/ 8845 w 10000"/>
                  <a:gd name="connsiteY6" fmla="*/ 10000 h 10000"/>
                  <a:gd name="connsiteX7" fmla="*/ 8525 w 10000"/>
                  <a:gd name="connsiteY7" fmla="*/ 10000 h 10000"/>
                  <a:gd name="connsiteX8" fmla="*/ 8206 w 10000"/>
                  <a:gd name="connsiteY8" fmla="*/ 9545 h 10000"/>
                  <a:gd name="connsiteX9" fmla="*/ 8206 w 10000"/>
                  <a:gd name="connsiteY9" fmla="*/ 5354 h 10000"/>
                  <a:gd name="connsiteX10" fmla="*/ 6256 w 10000"/>
                  <a:gd name="connsiteY10" fmla="*/ 5354 h 10000"/>
                  <a:gd name="connsiteX11" fmla="*/ 8008 w 10000"/>
                  <a:gd name="connsiteY11" fmla="*/ 758 h 10000"/>
                  <a:gd name="connsiteX12" fmla="*/ 8008 w 10000"/>
                  <a:gd name="connsiteY12" fmla="*/ 0 h 10000"/>
                  <a:gd name="connsiteX13" fmla="*/ 6814 w 10000"/>
                  <a:gd name="connsiteY13" fmla="*/ 2677 h 10000"/>
                  <a:gd name="connsiteX14" fmla="*/ 6294 w 10000"/>
                  <a:gd name="connsiteY14" fmla="*/ 2929 h 10000"/>
                  <a:gd name="connsiteX15" fmla="*/ 6256 w 10000"/>
                  <a:gd name="connsiteY15" fmla="*/ 2929 h 10000"/>
                  <a:gd name="connsiteX16" fmla="*/ 6216 w 10000"/>
                  <a:gd name="connsiteY16" fmla="*/ 3081 h 10000"/>
                  <a:gd name="connsiteX17" fmla="*/ 5380 w 10000"/>
                  <a:gd name="connsiteY17" fmla="*/ 4141 h 10000"/>
                  <a:gd name="connsiteX18" fmla="*/ 5262 w 10000"/>
                  <a:gd name="connsiteY18" fmla="*/ 4192 h 10000"/>
                  <a:gd name="connsiteX19" fmla="*/ 5061 w 10000"/>
                  <a:gd name="connsiteY19" fmla="*/ 4091 h 10000"/>
                  <a:gd name="connsiteX20" fmla="*/ 4503 w 10000"/>
                  <a:gd name="connsiteY20" fmla="*/ 3182 h 10000"/>
                  <a:gd name="connsiteX21" fmla="*/ 4503 w 10000"/>
                  <a:gd name="connsiteY21" fmla="*/ 3838 h 10000"/>
                  <a:gd name="connsiteX22" fmla="*/ 5621 w 10000"/>
                  <a:gd name="connsiteY22" fmla="*/ 6768 h 10000"/>
                  <a:gd name="connsiteX23" fmla="*/ 4384 w 10000"/>
                  <a:gd name="connsiteY23" fmla="*/ 6768 h 10000"/>
                  <a:gd name="connsiteX24" fmla="*/ 4384 w 10000"/>
                  <a:gd name="connsiteY24" fmla="*/ 9394 h 10000"/>
                  <a:gd name="connsiteX25" fmla="*/ 4143 w 10000"/>
                  <a:gd name="connsiteY25" fmla="*/ 9646 h 10000"/>
                  <a:gd name="connsiteX26" fmla="*/ 3987 w 10000"/>
                  <a:gd name="connsiteY26" fmla="*/ 9646 h 10000"/>
                  <a:gd name="connsiteX27" fmla="*/ 3747 w 10000"/>
                  <a:gd name="connsiteY27" fmla="*/ 9394 h 10000"/>
                  <a:gd name="connsiteX28" fmla="*/ 3747 w 10000"/>
                  <a:gd name="connsiteY28" fmla="*/ 6768 h 10000"/>
                  <a:gd name="connsiteX29" fmla="*/ 3627 w 10000"/>
                  <a:gd name="connsiteY29" fmla="*/ 6768 h 10000"/>
                  <a:gd name="connsiteX30" fmla="*/ 3627 w 10000"/>
                  <a:gd name="connsiteY30" fmla="*/ 9394 h 10000"/>
                  <a:gd name="connsiteX31" fmla="*/ 3427 w 10000"/>
                  <a:gd name="connsiteY31" fmla="*/ 9646 h 10000"/>
                  <a:gd name="connsiteX32" fmla="*/ 3227 w 10000"/>
                  <a:gd name="connsiteY32" fmla="*/ 9646 h 10000"/>
                  <a:gd name="connsiteX33" fmla="*/ 3030 w 10000"/>
                  <a:gd name="connsiteY33" fmla="*/ 9394 h 10000"/>
                  <a:gd name="connsiteX34" fmla="*/ 3030 w 10000"/>
                  <a:gd name="connsiteY34" fmla="*/ 6768 h 10000"/>
                  <a:gd name="connsiteX35" fmla="*/ 1794 w 10000"/>
                  <a:gd name="connsiteY35" fmla="*/ 6768 h 10000"/>
                  <a:gd name="connsiteX36" fmla="*/ 471 w 10000"/>
                  <a:gd name="connsiteY36" fmla="*/ 9647 h 10000"/>
                  <a:gd name="connsiteX37" fmla="*/ 0 w 10000"/>
                  <a:gd name="connsiteY37" fmla="*/ 9747 h 10000"/>
                  <a:gd name="connsiteX0" fmla="*/ 10000 w 10000"/>
                  <a:gd name="connsiteY0" fmla="*/ 10000 h 10000"/>
                  <a:gd name="connsiteX1" fmla="*/ 9721 w 10000"/>
                  <a:gd name="connsiteY1" fmla="*/ 10000 h 10000"/>
                  <a:gd name="connsiteX2" fmla="*/ 9364 w 10000"/>
                  <a:gd name="connsiteY2" fmla="*/ 9545 h 10000"/>
                  <a:gd name="connsiteX3" fmla="*/ 9364 w 10000"/>
                  <a:gd name="connsiteY3" fmla="*/ 5354 h 10000"/>
                  <a:gd name="connsiteX4" fmla="*/ 9200 w 10000"/>
                  <a:gd name="connsiteY4" fmla="*/ 5354 h 10000"/>
                  <a:gd name="connsiteX5" fmla="*/ 9200 w 10000"/>
                  <a:gd name="connsiteY5" fmla="*/ 9545 h 10000"/>
                  <a:gd name="connsiteX6" fmla="*/ 8845 w 10000"/>
                  <a:gd name="connsiteY6" fmla="*/ 10000 h 10000"/>
                  <a:gd name="connsiteX7" fmla="*/ 8525 w 10000"/>
                  <a:gd name="connsiteY7" fmla="*/ 10000 h 10000"/>
                  <a:gd name="connsiteX8" fmla="*/ 8206 w 10000"/>
                  <a:gd name="connsiteY8" fmla="*/ 9545 h 10000"/>
                  <a:gd name="connsiteX9" fmla="*/ 8206 w 10000"/>
                  <a:gd name="connsiteY9" fmla="*/ 5354 h 10000"/>
                  <a:gd name="connsiteX10" fmla="*/ 6256 w 10000"/>
                  <a:gd name="connsiteY10" fmla="*/ 5354 h 10000"/>
                  <a:gd name="connsiteX11" fmla="*/ 8008 w 10000"/>
                  <a:gd name="connsiteY11" fmla="*/ 758 h 10000"/>
                  <a:gd name="connsiteX12" fmla="*/ 8008 w 10000"/>
                  <a:gd name="connsiteY12" fmla="*/ 0 h 10000"/>
                  <a:gd name="connsiteX13" fmla="*/ 6814 w 10000"/>
                  <a:gd name="connsiteY13" fmla="*/ 2677 h 10000"/>
                  <a:gd name="connsiteX14" fmla="*/ 6294 w 10000"/>
                  <a:gd name="connsiteY14" fmla="*/ 2929 h 10000"/>
                  <a:gd name="connsiteX15" fmla="*/ 6256 w 10000"/>
                  <a:gd name="connsiteY15" fmla="*/ 2929 h 10000"/>
                  <a:gd name="connsiteX16" fmla="*/ 6216 w 10000"/>
                  <a:gd name="connsiteY16" fmla="*/ 3081 h 10000"/>
                  <a:gd name="connsiteX17" fmla="*/ 5380 w 10000"/>
                  <a:gd name="connsiteY17" fmla="*/ 4141 h 10000"/>
                  <a:gd name="connsiteX18" fmla="*/ 5262 w 10000"/>
                  <a:gd name="connsiteY18" fmla="*/ 4192 h 10000"/>
                  <a:gd name="connsiteX19" fmla="*/ 5061 w 10000"/>
                  <a:gd name="connsiteY19" fmla="*/ 4091 h 10000"/>
                  <a:gd name="connsiteX20" fmla="*/ 4503 w 10000"/>
                  <a:gd name="connsiteY20" fmla="*/ 3182 h 10000"/>
                  <a:gd name="connsiteX21" fmla="*/ 4503 w 10000"/>
                  <a:gd name="connsiteY21" fmla="*/ 3838 h 10000"/>
                  <a:gd name="connsiteX22" fmla="*/ 5621 w 10000"/>
                  <a:gd name="connsiteY22" fmla="*/ 6768 h 10000"/>
                  <a:gd name="connsiteX23" fmla="*/ 4384 w 10000"/>
                  <a:gd name="connsiteY23" fmla="*/ 6768 h 10000"/>
                  <a:gd name="connsiteX24" fmla="*/ 4384 w 10000"/>
                  <a:gd name="connsiteY24" fmla="*/ 9394 h 10000"/>
                  <a:gd name="connsiteX25" fmla="*/ 4143 w 10000"/>
                  <a:gd name="connsiteY25" fmla="*/ 9646 h 10000"/>
                  <a:gd name="connsiteX26" fmla="*/ 3987 w 10000"/>
                  <a:gd name="connsiteY26" fmla="*/ 9646 h 10000"/>
                  <a:gd name="connsiteX27" fmla="*/ 3747 w 10000"/>
                  <a:gd name="connsiteY27" fmla="*/ 9394 h 10000"/>
                  <a:gd name="connsiteX28" fmla="*/ 3747 w 10000"/>
                  <a:gd name="connsiteY28" fmla="*/ 6768 h 10000"/>
                  <a:gd name="connsiteX29" fmla="*/ 3627 w 10000"/>
                  <a:gd name="connsiteY29" fmla="*/ 6768 h 10000"/>
                  <a:gd name="connsiteX30" fmla="*/ 3627 w 10000"/>
                  <a:gd name="connsiteY30" fmla="*/ 9394 h 10000"/>
                  <a:gd name="connsiteX31" fmla="*/ 3427 w 10000"/>
                  <a:gd name="connsiteY31" fmla="*/ 9646 h 10000"/>
                  <a:gd name="connsiteX32" fmla="*/ 3227 w 10000"/>
                  <a:gd name="connsiteY32" fmla="*/ 9646 h 10000"/>
                  <a:gd name="connsiteX33" fmla="*/ 3030 w 10000"/>
                  <a:gd name="connsiteY33" fmla="*/ 9394 h 10000"/>
                  <a:gd name="connsiteX34" fmla="*/ 3030 w 10000"/>
                  <a:gd name="connsiteY34" fmla="*/ 6768 h 10000"/>
                  <a:gd name="connsiteX35" fmla="*/ 1794 w 10000"/>
                  <a:gd name="connsiteY35" fmla="*/ 6768 h 10000"/>
                  <a:gd name="connsiteX36" fmla="*/ 0 w 10000"/>
                  <a:gd name="connsiteY36" fmla="*/ 9747 h 10000"/>
                  <a:gd name="connsiteX0" fmla="*/ 8206 w 8206"/>
                  <a:gd name="connsiteY0" fmla="*/ 10000 h 10000"/>
                  <a:gd name="connsiteX1" fmla="*/ 7927 w 8206"/>
                  <a:gd name="connsiteY1" fmla="*/ 10000 h 10000"/>
                  <a:gd name="connsiteX2" fmla="*/ 7570 w 8206"/>
                  <a:gd name="connsiteY2" fmla="*/ 9545 h 10000"/>
                  <a:gd name="connsiteX3" fmla="*/ 7570 w 8206"/>
                  <a:gd name="connsiteY3" fmla="*/ 5354 h 10000"/>
                  <a:gd name="connsiteX4" fmla="*/ 7406 w 8206"/>
                  <a:gd name="connsiteY4" fmla="*/ 5354 h 10000"/>
                  <a:gd name="connsiteX5" fmla="*/ 7406 w 8206"/>
                  <a:gd name="connsiteY5" fmla="*/ 9545 h 10000"/>
                  <a:gd name="connsiteX6" fmla="*/ 7051 w 8206"/>
                  <a:gd name="connsiteY6" fmla="*/ 10000 h 10000"/>
                  <a:gd name="connsiteX7" fmla="*/ 6731 w 8206"/>
                  <a:gd name="connsiteY7" fmla="*/ 10000 h 10000"/>
                  <a:gd name="connsiteX8" fmla="*/ 6412 w 8206"/>
                  <a:gd name="connsiteY8" fmla="*/ 9545 h 10000"/>
                  <a:gd name="connsiteX9" fmla="*/ 6412 w 8206"/>
                  <a:gd name="connsiteY9" fmla="*/ 5354 h 10000"/>
                  <a:gd name="connsiteX10" fmla="*/ 4462 w 8206"/>
                  <a:gd name="connsiteY10" fmla="*/ 5354 h 10000"/>
                  <a:gd name="connsiteX11" fmla="*/ 6214 w 8206"/>
                  <a:gd name="connsiteY11" fmla="*/ 758 h 10000"/>
                  <a:gd name="connsiteX12" fmla="*/ 6214 w 8206"/>
                  <a:gd name="connsiteY12" fmla="*/ 0 h 10000"/>
                  <a:gd name="connsiteX13" fmla="*/ 5020 w 8206"/>
                  <a:gd name="connsiteY13" fmla="*/ 2677 h 10000"/>
                  <a:gd name="connsiteX14" fmla="*/ 4500 w 8206"/>
                  <a:gd name="connsiteY14" fmla="*/ 2929 h 10000"/>
                  <a:gd name="connsiteX15" fmla="*/ 4462 w 8206"/>
                  <a:gd name="connsiteY15" fmla="*/ 2929 h 10000"/>
                  <a:gd name="connsiteX16" fmla="*/ 4422 w 8206"/>
                  <a:gd name="connsiteY16" fmla="*/ 3081 h 10000"/>
                  <a:gd name="connsiteX17" fmla="*/ 3586 w 8206"/>
                  <a:gd name="connsiteY17" fmla="*/ 4141 h 10000"/>
                  <a:gd name="connsiteX18" fmla="*/ 3468 w 8206"/>
                  <a:gd name="connsiteY18" fmla="*/ 4192 h 10000"/>
                  <a:gd name="connsiteX19" fmla="*/ 3267 w 8206"/>
                  <a:gd name="connsiteY19" fmla="*/ 4091 h 10000"/>
                  <a:gd name="connsiteX20" fmla="*/ 2709 w 8206"/>
                  <a:gd name="connsiteY20" fmla="*/ 3182 h 10000"/>
                  <a:gd name="connsiteX21" fmla="*/ 2709 w 8206"/>
                  <a:gd name="connsiteY21" fmla="*/ 3838 h 10000"/>
                  <a:gd name="connsiteX22" fmla="*/ 3827 w 8206"/>
                  <a:gd name="connsiteY22" fmla="*/ 6768 h 10000"/>
                  <a:gd name="connsiteX23" fmla="*/ 2590 w 8206"/>
                  <a:gd name="connsiteY23" fmla="*/ 6768 h 10000"/>
                  <a:gd name="connsiteX24" fmla="*/ 2590 w 8206"/>
                  <a:gd name="connsiteY24" fmla="*/ 9394 h 10000"/>
                  <a:gd name="connsiteX25" fmla="*/ 2349 w 8206"/>
                  <a:gd name="connsiteY25" fmla="*/ 9646 h 10000"/>
                  <a:gd name="connsiteX26" fmla="*/ 2193 w 8206"/>
                  <a:gd name="connsiteY26" fmla="*/ 9646 h 10000"/>
                  <a:gd name="connsiteX27" fmla="*/ 1953 w 8206"/>
                  <a:gd name="connsiteY27" fmla="*/ 9394 h 10000"/>
                  <a:gd name="connsiteX28" fmla="*/ 1953 w 8206"/>
                  <a:gd name="connsiteY28" fmla="*/ 6768 h 10000"/>
                  <a:gd name="connsiteX29" fmla="*/ 1833 w 8206"/>
                  <a:gd name="connsiteY29" fmla="*/ 6768 h 10000"/>
                  <a:gd name="connsiteX30" fmla="*/ 1833 w 8206"/>
                  <a:gd name="connsiteY30" fmla="*/ 9394 h 10000"/>
                  <a:gd name="connsiteX31" fmla="*/ 1633 w 8206"/>
                  <a:gd name="connsiteY31" fmla="*/ 9646 h 10000"/>
                  <a:gd name="connsiteX32" fmla="*/ 1433 w 8206"/>
                  <a:gd name="connsiteY32" fmla="*/ 9646 h 10000"/>
                  <a:gd name="connsiteX33" fmla="*/ 1236 w 8206"/>
                  <a:gd name="connsiteY33" fmla="*/ 9394 h 10000"/>
                  <a:gd name="connsiteX34" fmla="*/ 1236 w 8206"/>
                  <a:gd name="connsiteY34" fmla="*/ 6768 h 10000"/>
                  <a:gd name="connsiteX35" fmla="*/ 0 w 8206"/>
                  <a:gd name="connsiteY35" fmla="*/ 6768 h 10000"/>
                  <a:gd name="connsiteX0" fmla="*/ 8494 w 8494"/>
                  <a:gd name="connsiteY0" fmla="*/ 10000 h 10000"/>
                  <a:gd name="connsiteX1" fmla="*/ 8154 w 8494"/>
                  <a:gd name="connsiteY1" fmla="*/ 10000 h 10000"/>
                  <a:gd name="connsiteX2" fmla="*/ 7719 w 8494"/>
                  <a:gd name="connsiteY2" fmla="*/ 9545 h 10000"/>
                  <a:gd name="connsiteX3" fmla="*/ 7719 w 8494"/>
                  <a:gd name="connsiteY3" fmla="*/ 5354 h 10000"/>
                  <a:gd name="connsiteX4" fmla="*/ 7519 w 8494"/>
                  <a:gd name="connsiteY4" fmla="*/ 5354 h 10000"/>
                  <a:gd name="connsiteX5" fmla="*/ 7519 w 8494"/>
                  <a:gd name="connsiteY5" fmla="*/ 9545 h 10000"/>
                  <a:gd name="connsiteX6" fmla="*/ 7086 w 8494"/>
                  <a:gd name="connsiteY6" fmla="*/ 10000 h 10000"/>
                  <a:gd name="connsiteX7" fmla="*/ 6697 w 8494"/>
                  <a:gd name="connsiteY7" fmla="*/ 10000 h 10000"/>
                  <a:gd name="connsiteX8" fmla="*/ 6308 w 8494"/>
                  <a:gd name="connsiteY8" fmla="*/ 9545 h 10000"/>
                  <a:gd name="connsiteX9" fmla="*/ 6308 w 8494"/>
                  <a:gd name="connsiteY9" fmla="*/ 5354 h 10000"/>
                  <a:gd name="connsiteX10" fmla="*/ 3931 w 8494"/>
                  <a:gd name="connsiteY10" fmla="*/ 5354 h 10000"/>
                  <a:gd name="connsiteX11" fmla="*/ 6067 w 8494"/>
                  <a:gd name="connsiteY11" fmla="*/ 758 h 10000"/>
                  <a:gd name="connsiteX12" fmla="*/ 6067 w 8494"/>
                  <a:gd name="connsiteY12" fmla="*/ 0 h 10000"/>
                  <a:gd name="connsiteX13" fmla="*/ 4611 w 8494"/>
                  <a:gd name="connsiteY13" fmla="*/ 2677 h 10000"/>
                  <a:gd name="connsiteX14" fmla="*/ 3978 w 8494"/>
                  <a:gd name="connsiteY14" fmla="*/ 2929 h 10000"/>
                  <a:gd name="connsiteX15" fmla="*/ 3931 w 8494"/>
                  <a:gd name="connsiteY15" fmla="*/ 2929 h 10000"/>
                  <a:gd name="connsiteX16" fmla="*/ 3883 w 8494"/>
                  <a:gd name="connsiteY16" fmla="*/ 3081 h 10000"/>
                  <a:gd name="connsiteX17" fmla="*/ 2864 w 8494"/>
                  <a:gd name="connsiteY17" fmla="*/ 4141 h 10000"/>
                  <a:gd name="connsiteX18" fmla="*/ 2720 w 8494"/>
                  <a:gd name="connsiteY18" fmla="*/ 4192 h 10000"/>
                  <a:gd name="connsiteX19" fmla="*/ 2475 w 8494"/>
                  <a:gd name="connsiteY19" fmla="*/ 4091 h 10000"/>
                  <a:gd name="connsiteX20" fmla="*/ 1795 w 8494"/>
                  <a:gd name="connsiteY20" fmla="*/ 3182 h 10000"/>
                  <a:gd name="connsiteX21" fmla="*/ 1795 w 8494"/>
                  <a:gd name="connsiteY21" fmla="*/ 3838 h 10000"/>
                  <a:gd name="connsiteX22" fmla="*/ 3158 w 8494"/>
                  <a:gd name="connsiteY22" fmla="*/ 6768 h 10000"/>
                  <a:gd name="connsiteX23" fmla="*/ 1650 w 8494"/>
                  <a:gd name="connsiteY23" fmla="*/ 6768 h 10000"/>
                  <a:gd name="connsiteX24" fmla="*/ 1650 w 8494"/>
                  <a:gd name="connsiteY24" fmla="*/ 9394 h 10000"/>
                  <a:gd name="connsiteX25" fmla="*/ 1357 w 8494"/>
                  <a:gd name="connsiteY25" fmla="*/ 9646 h 10000"/>
                  <a:gd name="connsiteX26" fmla="*/ 1166 w 8494"/>
                  <a:gd name="connsiteY26" fmla="*/ 9646 h 10000"/>
                  <a:gd name="connsiteX27" fmla="*/ 874 w 8494"/>
                  <a:gd name="connsiteY27" fmla="*/ 9394 h 10000"/>
                  <a:gd name="connsiteX28" fmla="*/ 874 w 8494"/>
                  <a:gd name="connsiteY28" fmla="*/ 6768 h 10000"/>
                  <a:gd name="connsiteX29" fmla="*/ 728 w 8494"/>
                  <a:gd name="connsiteY29" fmla="*/ 6768 h 10000"/>
                  <a:gd name="connsiteX30" fmla="*/ 728 w 8494"/>
                  <a:gd name="connsiteY30" fmla="*/ 9394 h 10000"/>
                  <a:gd name="connsiteX31" fmla="*/ 484 w 8494"/>
                  <a:gd name="connsiteY31" fmla="*/ 9646 h 10000"/>
                  <a:gd name="connsiteX32" fmla="*/ 240 w 8494"/>
                  <a:gd name="connsiteY32" fmla="*/ 9646 h 10000"/>
                  <a:gd name="connsiteX33" fmla="*/ 0 w 8494"/>
                  <a:gd name="connsiteY33" fmla="*/ 9394 h 10000"/>
                  <a:gd name="connsiteX34" fmla="*/ 0 w 8494"/>
                  <a:gd name="connsiteY34" fmla="*/ 6768 h 10000"/>
                  <a:gd name="connsiteX0" fmla="*/ 10000 w 10000"/>
                  <a:gd name="connsiteY0" fmla="*/ 10000 h 10000"/>
                  <a:gd name="connsiteX1" fmla="*/ 9600 w 10000"/>
                  <a:gd name="connsiteY1" fmla="*/ 10000 h 10000"/>
                  <a:gd name="connsiteX2" fmla="*/ 9088 w 10000"/>
                  <a:gd name="connsiteY2" fmla="*/ 9545 h 10000"/>
                  <a:gd name="connsiteX3" fmla="*/ 9088 w 10000"/>
                  <a:gd name="connsiteY3" fmla="*/ 5354 h 10000"/>
                  <a:gd name="connsiteX4" fmla="*/ 8852 w 10000"/>
                  <a:gd name="connsiteY4" fmla="*/ 5354 h 10000"/>
                  <a:gd name="connsiteX5" fmla="*/ 8852 w 10000"/>
                  <a:gd name="connsiteY5" fmla="*/ 9545 h 10000"/>
                  <a:gd name="connsiteX6" fmla="*/ 8342 w 10000"/>
                  <a:gd name="connsiteY6" fmla="*/ 10000 h 10000"/>
                  <a:gd name="connsiteX7" fmla="*/ 7884 w 10000"/>
                  <a:gd name="connsiteY7" fmla="*/ 10000 h 10000"/>
                  <a:gd name="connsiteX8" fmla="*/ 7426 w 10000"/>
                  <a:gd name="connsiteY8" fmla="*/ 9545 h 10000"/>
                  <a:gd name="connsiteX9" fmla="*/ 7426 w 10000"/>
                  <a:gd name="connsiteY9" fmla="*/ 5354 h 10000"/>
                  <a:gd name="connsiteX10" fmla="*/ 4628 w 10000"/>
                  <a:gd name="connsiteY10" fmla="*/ 5354 h 10000"/>
                  <a:gd name="connsiteX11" fmla="*/ 7143 w 10000"/>
                  <a:gd name="connsiteY11" fmla="*/ 758 h 10000"/>
                  <a:gd name="connsiteX12" fmla="*/ 7143 w 10000"/>
                  <a:gd name="connsiteY12" fmla="*/ 0 h 10000"/>
                  <a:gd name="connsiteX13" fmla="*/ 5429 w 10000"/>
                  <a:gd name="connsiteY13" fmla="*/ 2677 h 10000"/>
                  <a:gd name="connsiteX14" fmla="*/ 4683 w 10000"/>
                  <a:gd name="connsiteY14" fmla="*/ 2929 h 10000"/>
                  <a:gd name="connsiteX15" fmla="*/ 4628 w 10000"/>
                  <a:gd name="connsiteY15" fmla="*/ 2929 h 10000"/>
                  <a:gd name="connsiteX16" fmla="*/ 4571 w 10000"/>
                  <a:gd name="connsiteY16" fmla="*/ 3081 h 10000"/>
                  <a:gd name="connsiteX17" fmla="*/ 3372 w 10000"/>
                  <a:gd name="connsiteY17" fmla="*/ 4141 h 10000"/>
                  <a:gd name="connsiteX18" fmla="*/ 3202 w 10000"/>
                  <a:gd name="connsiteY18" fmla="*/ 4192 h 10000"/>
                  <a:gd name="connsiteX19" fmla="*/ 2914 w 10000"/>
                  <a:gd name="connsiteY19" fmla="*/ 4091 h 10000"/>
                  <a:gd name="connsiteX20" fmla="*/ 2113 w 10000"/>
                  <a:gd name="connsiteY20" fmla="*/ 3182 h 10000"/>
                  <a:gd name="connsiteX21" fmla="*/ 2113 w 10000"/>
                  <a:gd name="connsiteY21" fmla="*/ 3838 h 10000"/>
                  <a:gd name="connsiteX22" fmla="*/ 3718 w 10000"/>
                  <a:gd name="connsiteY22" fmla="*/ 6768 h 10000"/>
                  <a:gd name="connsiteX23" fmla="*/ 1943 w 10000"/>
                  <a:gd name="connsiteY23" fmla="*/ 6768 h 10000"/>
                  <a:gd name="connsiteX24" fmla="*/ 1943 w 10000"/>
                  <a:gd name="connsiteY24" fmla="*/ 9394 h 10000"/>
                  <a:gd name="connsiteX25" fmla="*/ 1598 w 10000"/>
                  <a:gd name="connsiteY25" fmla="*/ 9646 h 10000"/>
                  <a:gd name="connsiteX26" fmla="*/ 1373 w 10000"/>
                  <a:gd name="connsiteY26" fmla="*/ 9646 h 10000"/>
                  <a:gd name="connsiteX27" fmla="*/ 1029 w 10000"/>
                  <a:gd name="connsiteY27" fmla="*/ 9394 h 10000"/>
                  <a:gd name="connsiteX28" fmla="*/ 1029 w 10000"/>
                  <a:gd name="connsiteY28" fmla="*/ 6768 h 10000"/>
                  <a:gd name="connsiteX29" fmla="*/ 857 w 10000"/>
                  <a:gd name="connsiteY29" fmla="*/ 6768 h 10000"/>
                  <a:gd name="connsiteX30" fmla="*/ 857 w 10000"/>
                  <a:gd name="connsiteY30" fmla="*/ 9394 h 10000"/>
                  <a:gd name="connsiteX31" fmla="*/ 570 w 10000"/>
                  <a:gd name="connsiteY31" fmla="*/ 9646 h 10000"/>
                  <a:gd name="connsiteX32" fmla="*/ 283 w 10000"/>
                  <a:gd name="connsiteY32" fmla="*/ 9646 h 10000"/>
                  <a:gd name="connsiteX33" fmla="*/ 0 w 10000"/>
                  <a:gd name="connsiteY33" fmla="*/ 9394 h 10000"/>
                  <a:gd name="connsiteX0" fmla="*/ 9717 w 9717"/>
                  <a:gd name="connsiteY0" fmla="*/ 10000 h 10000"/>
                  <a:gd name="connsiteX1" fmla="*/ 9317 w 9717"/>
                  <a:gd name="connsiteY1" fmla="*/ 10000 h 10000"/>
                  <a:gd name="connsiteX2" fmla="*/ 8805 w 9717"/>
                  <a:gd name="connsiteY2" fmla="*/ 9545 h 10000"/>
                  <a:gd name="connsiteX3" fmla="*/ 8805 w 9717"/>
                  <a:gd name="connsiteY3" fmla="*/ 5354 h 10000"/>
                  <a:gd name="connsiteX4" fmla="*/ 8569 w 9717"/>
                  <a:gd name="connsiteY4" fmla="*/ 5354 h 10000"/>
                  <a:gd name="connsiteX5" fmla="*/ 8569 w 9717"/>
                  <a:gd name="connsiteY5" fmla="*/ 9545 h 10000"/>
                  <a:gd name="connsiteX6" fmla="*/ 8059 w 9717"/>
                  <a:gd name="connsiteY6" fmla="*/ 10000 h 10000"/>
                  <a:gd name="connsiteX7" fmla="*/ 7601 w 9717"/>
                  <a:gd name="connsiteY7" fmla="*/ 10000 h 10000"/>
                  <a:gd name="connsiteX8" fmla="*/ 7143 w 9717"/>
                  <a:gd name="connsiteY8" fmla="*/ 9545 h 10000"/>
                  <a:gd name="connsiteX9" fmla="*/ 7143 w 9717"/>
                  <a:gd name="connsiteY9" fmla="*/ 5354 h 10000"/>
                  <a:gd name="connsiteX10" fmla="*/ 4345 w 9717"/>
                  <a:gd name="connsiteY10" fmla="*/ 5354 h 10000"/>
                  <a:gd name="connsiteX11" fmla="*/ 6860 w 9717"/>
                  <a:gd name="connsiteY11" fmla="*/ 758 h 10000"/>
                  <a:gd name="connsiteX12" fmla="*/ 6860 w 9717"/>
                  <a:gd name="connsiteY12" fmla="*/ 0 h 10000"/>
                  <a:gd name="connsiteX13" fmla="*/ 5146 w 9717"/>
                  <a:gd name="connsiteY13" fmla="*/ 2677 h 10000"/>
                  <a:gd name="connsiteX14" fmla="*/ 4400 w 9717"/>
                  <a:gd name="connsiteY14" fmla="*/ 2929 h 10000"/>
                  <a:gd name="connsiteX15" fmla="*/ 4345 w 9717"/>
                  <a:gd name="connsiteY15" fmla="*/ 2929 h 10000"/>
                  <a:gd name="connsiteX16" fmla="*/ 4288 w 9717"/>
                  <a:gd name="connsiteY16" fmla="*/ 3081 h 10000"/>
                  <a:gd name="connsiteX17" fmla="*/ 3089 w 9717"/>
                  <a:gd name="connsiteY17" fmla="*/ 4141 h 10000"/>
                  <a:gd name="connsiteX18" fmla="*/ 2919 w 9717"/>
                  <a:gd name="connsiteY18" fmla="*/ 4192 h 10000"/>
                  <a:gd name="connsiteX19" fmla="*/ 2631 w 9717"/>
                  <a:gd name="connsiteY19" fmla="*/ 4091 h 10000"/>
                  <a:gd name="connsiteX20" fmla="*/ 1830 w 9717"/>
                  <a:gd name="connsiteY20" fmla="*/ 3182 h 10000"/>
                  <a:gd name="connsiteX21" fmla="*/ 1830 w 9717"/>
                  <a:gd name="connsiteY21" fmla="*/ 3838 h 10000"/>
                  <a:gd name="connsiteX22" fmla="*/ 3435 w 9717"/>
                  <a:gd name="connsiteY22" fmla="*/ 6768 h 10000"/>
                  <a:gd name="connsiteX23" fmla="*/ 1660 w 9717"/>
                  <a:gd name="connsiteY23" fmla="*/ 6768 h 10000"/>
                  <a:gd name="connsiteX24" fmla="*/ 1660 w 9717"/>
                  <a:gd name="connsiteY24" fmla="*/ 9394 h 10000"/>
                  <a:gd name="connsiteX25" fmla="*/ 1315 w 9717"/>
                  <a:gd name="connsiteY25" fmla="*/ 9646 h 10000"/>
                  <a:gd name="connsiteX26" fmla="*/ 1090 w 9717"/>
                  <a:gd name="connsiteY26" fmla="*/ 9646 h 10000"/>
                  <a:gd name="connsiteX27" fmla="*/ 746 w 9717"/>
                  <a:gd name="connsiteY27" fmla="*/ 9394 h 10000"/>
                  <a:gd name="connsiteX28" fmla="*/ 746 w 9717"/>
                  <a:gd name="connsiteY28" fmla="*/ 6768 h 10000"/>
                  <a:gd name="connsiteX29" fmla="*/ 574 w 9717"/>
                  <a:gd name="connsiteY29" fmla="*/ 6768 h 10000"/>
                  <a:gd name="connsiteX30" fmla="*/ 574 w 9717"/>
                  <a:gd name="connsiteY30" fmla="*/ 9394 h 10000"/>
                  <a:gd name="connsiteX31" fmla="*/ 287 w 9717"/>
                  <a:gd name="connsiteY31" fmla="*/ 9646 h 10000"/>
                  <a:gd name="connsiteX32" fmla="*/ 0 w 9717"/>
                  <a:gd name="connsiteY32" fmla="*/ 9646 h 10000"/>
                  <a:gd name="connsiteX0" fmla="*/ 9705 w 9705"/>
                  <a:gd name="connsiteY0" fmla="*/ 10000 h 10000"/>
                  <a:gd name="connsiteX1" fmla="*/ 9293 w 9705"/>
                  <a:gd name="connsiteY1" fmla="*/ 10000 h 10000"/>
                  <a:gd name="connsiteX2" fmla="*/ 8766 w 9705"/>
                  <a:gd name="connsiteY2" fmla="*/ 9545 h 10000"/>
                  <a:gd name="connsiteX3" fmla="*/ 8766 w 9705"/>
                  <a:gd name="connsiteY3" fmla="*/ 5354 h 10000"/>
                  <a:gd name="connsiteX4" fmla="*/ 8524 w 9705"/>
                  <a:gd name="connsiteY4" fmla="*/ 5354 h 10000"/>
                  <a:gd name="connsiteX5" fmla="*/ 8524 w 9705"/>
                  <a:gd name="connsiteY5" fmla="*/ 9545 h 10000"/>
                  <a:gd name="connsiteX6" fmla="*/ 7999 w 9705"/>
                  <a:gd name="connsiteY6" fmla="*/ 10000 h 10000"/>
                  <a:gd name="connsiteX7" fmla="*/ 7527 w 9705"/>
                  <a:gd name="connsiteY7" fmla="*/ 10000 h 10000"/>
                  <a:gd name="connsiteX8" fmla="*/ 7056 w 9705"/>
                  <a:gd name="connsiteY8" fmla="*/ 9545 h 10000"/>
                  <a:gd name="connsiteX9" fmla="*/ 7056 w 9705"/>
                  <a:gd name="connsiteY9" fmla="*/ 5354 h 10000"/>
                  <a:gd name="connsiteX10" fmla="*/ 4177 w 9705"/>
                  <a:gd name="connsiteY10" fmla="*/ 5354 h 10000"/>
                  <a:gd name="connsiteX11" fmla="*/ 6765 w 9705"/>
                  <a:gd name="connsiteY11" fmla="*/ 758 h 10000"/>
                  <a:gd name="connsiteX12" fmla="*/ 6765 w 9705"/>
                  <a:gd name="connsiteY12" fmla="*/ 0 h 10000"/>
                  <a:gd name="connsiteX13" fmla="*/ 5001 w 9705"/>
                  <a:gd name="connsiteY13" fmla="*/ 2677 h 10000"/>
                  <a:gd name="connsiteX14" fmla="*/ 4233 w 9705"/>
                  <a:gd name="connsiteY14" fmla="*/ 2929 h 10000"/>
                  <a:gd name="connsiteX15" fmla="*/ 4177 w 9705"/>
                  <a:gd name="connsiteY15" fmla="*/ 2929 h 10000"/>
                  <a:gd name="connsiteX16" fmla="*/ 4118 w 9705"/>
                  <a:gd name="connsiteY16" fmla="*/ 3081 h 10000"/>
                  <a:gd name="connsiteX17" fmla="*/ 2884 w 9705"/>
                  <a:gd name="connsiteY17" fmla="*/ 4141 h 10000"/>
                  <a:gd name="connsiteX18" fmla="*/ 2709 w 9705"/>
                  <a:gd name="connsiteY18" fmla="*/ 4192 h 10000"/>
                  <a:gd name="connsiteX19" fmla="*/ 2413 w 9705"/>
                  <a:gd name="connsiteY19" fmla="*/ 4091 h 10000"/>
                  <a:gd name="connsiteX20" fmla="*/ 1588 w 9705"/>
                  <a:gd name="connsiteY20" fmla="*/ 3182 h 10000"/>
                  <a:gd name="connsiteX21" fmla="*/ 1588 w 9705"/>
                  <a:gd name="connsiteY21" fmla="*/ 3838 h 10000"/>
                  <a:gd name="connsiteX22" fmla="*/ 3240 w 9705"/>
                  <a:gd name="connsiteY22" fmla="*/ 6768 h 10000"/>
                  <a:gd name="connsiteX23" fmla="*/ 1413 w 9705"/>
                  <a:gd name="connsiteY23" fmla="*/ 6768 h 10000"/>
                  <a:gd name="connsiteX24" fmla="*/ 1413 w 9705"/>
                  <a:gd name="connsiteY24" fmla="*/ 9394 h 10000"/>
                  <a:gd name="connsiteX25" fmla="*/ 1058 w 9705"/>
                  <a:gd name="connsiteY25" fmla="*/ 9646 h 10000"/>
                  <a:gd name="connsiteX26" fmla="*/ 827 w 9705"/>
                  <a:gd name="connsiteY26" fmla="*/ 9646 h 10000"/>
                  <a:gd name="connsiteX27" fmla="*/ 473 w 9705"/>
                  <a:gd name="connsiteY27" fmla="*/ 9394 h 10000"/>
                  <a:gd name="connsiteX28" fmla="*/ 473 w 9705"/>
                  <a:gd name="connsiteY28" fmla="*/ 6768 h 10000"/>
                  <a:gd name="connsiteX29" fmla="*/ 296 w 9705"/>
                  <a:gd name="connsiteY29" fmla="*/ 6768 h 10000"/>
                  <a:gd name="connsiteX30" fmla="*/ 296 w 9705"/>
                  <a:gd name="connsiteY30" fmla="*/ 9394 h 10000"/>
                  <a:gd name="connsiteX31" fmla="*/ 0 w 9705"/>
                  <a:gd name="connsiteY31" fmla="*/ 9646 h 10000"/>
                  <a:gd name="connsiteX0" fmla="*/ 9695 w 9695"/>
                  <a:gd name="connsiteY0" fmla="*/ 10000 h 10000"/>
                  <a:gd name="connsiteX1" fmla="*/ 9270 w 9695"/>
                  <a:gd name="connsiteY1" fmla="*/ 10000 h 10000"/>
                  <a:gd name="connsiteX2" fmla="*/ 8727 w 9695"/>
                  <a:gd name="connsiteY2" fmla="*/ 9545 h 10000"/>
                  <a:gd name="connsiteX3" fmla="*/ 8727 w 9695"/>
                  <a:gd name="connsiteY3" fmla="*/ 5354 h 10000"/>
                  <a:gd name="connsiteX4" fmla="*/ 8478 w 9695"/>
                  <a:gd name="connsiteY4" fmla="*/ 5354 h 10000"/>
                  <a:gd name="connsiteX5" fmla="*/ 8478 w 9695"/>
                  <a:gd name="connsiteY5" fmla="*/ 9545 h 10000"/>
                  <a:gd name="connsiteX6" fmla="*/ 7937 w 9695"/>
                  <a:gd name="connsiteY6" fmla="*/ 10000 h 10000"/>
                  <a:gd name="connsiteX7" fmla="*/ 7451 w 9695"/>
                  <a:gd name="connsiteY7" fmla="*/ 10000 h 10000"/>
                  <a:gd name="connsiteX8" fmla="*/ 6965 w 9695"/>
                  <a:gd name="connsiteY8" fmla="*/ 9545 h 10000"/>
                  <a:gd name="connsiteX9" fmla="*/ 6965 w 9695"/>
                  <a:gd name="connsiteY9" fmla="*/ 5354 h 10000"/>
                  <a:gd name="connsiteX10" fmla="*/ 3999 w 9695"/>
                  <a:gd name="connsiteY10" fmla="*/ 5354 h 10000"/>
                  <a:gd name="connsiteX11" fmla="*/ 6666 w 9695"/>
                  <a:gd name="connsiteY11" fmla="*/ 758 h 10000"/>
                  <a:gd name="connsiteX12" fmla="*/ 6666 w 9695"/>
                  <a:gd name="connsiteY12" fmla="*/ 0 h 10000"/>
                  <a:gd name="connsiteX13" fmla="*/ 4848 w 9695"/>
                  <a:gd name="connsiteY13" fmla="*/ 2677 h 10000"/>
                  <a:gd name="connsiteX14" fmla="*/ 4057 w 9695"/>
                  <a:gd name="connsiteY14" fmla="*/ 2929 h 10000"/>
                  <a:gd name="connsiteX15" fmla="*/ 3999 w 9695"/>
                  <a:gd name="connsiteY15" fmla="*/ 2929 h 10000"/>
                  <a:gd name="connsiteX16" fmla="*/ 3938 w 9695"/>
                  <a:gd name="connsiteY16" fmla="*/ 3081 h 10000"/>
                  <a:gd name="connsiteX17" fmla="*/ 2667 w 9695"/>
                  <a:gd name="connsiteY17" fmla="*/ 4141 h 10000"/>
                  <a:gd name="connsiteX18" fmla="*/ 2486 w 9695"/>
                  <a:gd name="connsiteY18" fmla="*/ 4192 h 10000"/>
                  <a:gd name="connsiteX19" fmla="*/ 2181 w 9695"/>
                  <a:gd name="connsiteY19" fmla="*/ 4091 h 10000"/>
                  <a:gd name="connsiteX20" fmla="*/ 1331 w 9695"/>
                  <a:gd name="connsiteY20" fmla="*/ 3182 h 10000"/>
                  <a:gd name="connsiteX21" fmla="*/ 1331 w 9695"/>
                  <a:gd name="connsiteY21" fmla="*/ 3838 h 10000"/>
                  <a:gd name="connsiteX22" fmla="*/ 3033 w 9695"/>
                  <a:gd name="connsiteY22" fmla="*/ 6768 h 10000"/>
                  <a:gd name="connsiteX23" fmla="*/ 1151 w 9695"/>
                  <a:gd name="connsiteY23" fmla="*/ 6768 h 10000"/>
                  <a:gd name="connsiteX24" fmla="*/ 1151 w 9695"/>
                  <a:gd name="connsiteY24" fmla="*/ 9394 h 10000"/>
                  <a:gd name="connsiteX25" fmla="*/ 785 w 9695"/>
                  <a:gd name="connsiteY25" fmla="*/ 9646 h 10000"/>
                  <a:gd name="connsiteX26" fmla="*/ 547 w 9695"/>
                  <a:gd name="connsiteY26" fmla="*/ 9646 h 10000"/>
                  <a:gd name="connsiteX27" fmla="*/ 182 w 9695"/>
                  <a:gd name="connsiteY27" fmla="*/ 9394 h 10000"/>
                  <a:gd name="connsiteX28" fmla="*/ 182 w 9695"/>
                  <a:gd name="connsiteY28" fmla="*/ 6768 h 10000"/>
                  <a:gd name="connsiteX29" fmla="*/ 0 w 9695"/>
                  <a:gd name="connsiteY29" fmla="*/ 6768 h 10000"/>
                  <a:gd name="connsiteX30" fmla="*/ 0 w 9695"/>
                  <a:gd name="connsiteY30" fmla="*/ 9394 h 10000"/>
                  <a:gd name="connsiteX0" fmla="*/ 10000 w 10000"/>
                  <a:gd name="connsiteY0" fmla="*/ 10000 h 10000"/>
                  <a:gd name="connsiteX1" fmla="*/ 9562 w 10000"/>
                  <a:gd name="connsiteY1" fmla="*/ 10000 h 10000"/>
                  <a:gd name="connsiteX2" fmla="*/ 9002 w 10000"/>
                  <a:gd name="connsiteY2" fmla="*/ 9545 h 10000"/>
                  <a:gd name="connsiteX3" fmla="*/ 9002 w 10000"/>
                  <a:gd name="connsiteY3" fmla="*/ 5354 h 10000"/>
                  <a:gd name="connsiteX4" fmla="*/ 8745 w 10000"/>
                  <a:gd name="connsiteY4" fmla="*/ 5354 h 10000"/>
                  <a:gd name="connsiteX5" fmla="*/ 8745 w 10000"/>
                  <a:gd name="connsiteY5" fmla="*/ 9545 h 10000"/>
                  <a:gd name="connsiteX6" fmla="*/ 8187 w 10000"/>
                  <a:gd name="connsiteY6" fmla="*/ 10000 h 10000"/>
                  <a:gd name="connsiteX7" fmla="*/ 7685 w 10000"/>
                  <a:gd name="connsiteY7" fmla="*/ 10000 h 10000"/>
                  <a:gd name="connsiteX8" fmla="*/ 7184 w 10000"/>
                  <a:gd name="connsiteY8" fmla="*/ 9545 h 10000"/>
                  <a:gd name="connsiteX9" fmla="*/ 7184 w 10000"/>
                  <a:gd name="connsiteY9" fmla="*/ 5354 h 10000"/>
                  <a:gd name="connsiteX10" fmla="*/ 4125 w 10000"/>
                  <a:gd name="connsiteY10" fmla="*/ 5354 h 10000"/>
                  <a:gd name="connsiteX11" fmla="*/ 6876 w 10000"/>
                  <a:gd name="connsiteY11" fmla="*/ 758 h 10000"/>
                  <a:gd name="connsiteX12" fmla="*/ 6876 w 10000"/>
                  <a:gd name="connsiteY12" fmla="*/ 0 h 10000"/>
                  <a:gd name="connsiteX13" fmla="*/ 5001 w 10000"/>
                  <a:gd name="connsiteY13" fmla="*/ 2677 h 10000"/>
                  <a:gd name="connsiteX14" fmla="*/ 4185 w 10000"/>
                  <a:gd name="connsiteY14" fmla="*/ 2929 h 10000"/>
                  <a:gd name="connsiteX15" fmla="*/ 4125 w 10000"/>
                  <a:gd name="connsiteY15" fmla="*/ 2929 h 10000"/>
                  <a:gd name="connsiteX16" fmla="*/ 4062 w 10000"/>
                  <a:gd name="connsiteY16" fmla="*/ 3081 h 10000"/>
                  <a:gd name="connsiteX17" fmla="*/ 2751 w 10000"/>
                  <a:gd name="connsiteY17" fmla="*/ 4141 h 10000"/>
                  <a:gd name="connsiteX18" fmla="*/ 2564 w 10000"/>
                  <a:gd name="connsiteY18" fmla="*/ 4192 h 10000"/>
                  <a:gd name="connsiteX19" fmla="*/ 2250 w 10000"/>
                  <a:gd name="connsiteY19" fmla="*/ 4091 h 10000"/>
                  <a:gd name="connsiteX20" fmla="*/ 1373 w 10000"/>
                  <a:gd name="connsiteY20" fmla="*/ 3182 h 10000"/>
                  <a:gd name="connsiteX21" fmla="*/ 1373 w 10000"/>
                  <a:gd name="connsiteY21" fmla="*/ 3838 h 10000"/>
                  <a:gd name="connsiteX22" fmla="*/ 3128 w 10000"/>
                  <a:gd name="connsiteY22" fmla="*/ 6768 h 10000"/>
                  <a:gd name="connsiteX23" fmla="*/ 1187 w 10000"/>
                  <a:gd name="connsiteY23" fmla="*/ 6768 h 10000"/>
                  <a:gd name="connsiteX24" fmla="*/ 1187 w 10000"/>
                  <a:gd name="connsiteY24" fmla="*/ 9394 h 10000"/>
                  <a:gd name="connsiteX25" fmla="*/ 810 w 10000"/>
                  <a:gd name="connsiteY25" fmla="*/ 9646 h 10000"/>
                  <a:gd name="connsiteX26" fmla="*/ 564 w 10000"/>
                  <a:gd name="connsiteY26" fmla="*/ 9646 h 10000"/>
                  <a:gd name="connsiteX27" fmla="*/ 188 w 10000"/>
                  <a:gd name="connsiteY27" fmla="*/ 6768 h 10000"/>
                  <a:gd name="connsiteX28" fmla="*/ 0 w 10000"/>
                  <a:gd name="connsiteY28" fmla="*/ 6768 h 10000"/>
                  <a:gd name="connsiteX29" fmla="*/ 0 w 10000"/>
                  <a:gd name="connsiteY29" fmla="*/ 9394 h 10000"/>
                  <a:gd name="connsiteX0" fmla="*/ 10000 w 10000"/>
                  <a:gd name="connsiteY0" fmla="*/ 10000 h 10000"/>
                  <a:gd name="connsiteX1" fmla="*/ 9562 w 10000"/>
                  <a:gd name="connsiteY1" fmla="*/ 10000 h 10000"/>
                  <a:gd name="connsiteX2" fmla="*/ 9002 w 10000"/>
                  <a:gd name="connsiteY2" fmla="*/ 9545 h 10000"/>
                  <a:gd name="connsiteX3" fmla="*/ 9002 w 10000"/>
                  <a:gd name="connsiteY3" fmla="*/ 5354 h 10000"/>
                  <a:gd name="connsiteX4" fmla="*/ 8745 w 10000"/>
                  <a:gd name="connsiteY4" fmla="*/ 5354 h 10000"/>
                  <a:gd name="connsiteX5" fmla="*/ 8745 w 10000"/>
                  <a:gd name="connsiteY5" fmla="*/ 9545 h 10000"/>
                  <a:gd name="connsiteX6" fmla="*/ 8187 w 10000"/>
                  <a:gd name="connsiteY6" fmla="*/ 10000 h 10000"/>
                  <a:gd name="connsiteX7" fmla="*/ 7685 w 10000"/>
                  <a:gd name="connsiteY7" fmla="*/ 10000 h 10000"/>
                  <a:gd name="connsiteX8" fmla="*/ 7184 w 10000"/>
                  <a:gd name="connsiteY8" fmla="*/ 9545 h 10000"/>
                  <a:gd name="connsiteX9" fmla="*/ 7184 w 10000"/>
                  <a:gd name="connsiteY9" fmla="*/ 5354 h 10000"/>
                  <a:gd name="connsiteX10" fmla="*/ 4125 w 10000"/>
                  <a:gd name="connsiteY10" fmla="*/ 5354 h 10000"/>
                  <a:gd name="connsiteX11" fmla="*/ 6876 w 10000"/>
                  <a:gd name="connsiteY11" fmla="*/ 758 h 10000"/>
                  <a:gd name="connsiteX12" fmla="*/ 6876 w 10000"/>
                  <a:gd name="connsiteY12" fmla="*/ 0 h 10000"/>
                  <a:gd name="connsiteX13" fmla="*/ 5001 w 10000"/>
                  <a:gd name="connsiteY13" fmla="*/ 2677 h 10000"/>
                  <a:gd name="connsiteX14" fmla="*/ 4185 w 10000"/>
                  <a:gd name="connsiteY14" fmla="*/ 2929 h 10000"/>
                  <a:gd name="connsiteX15" fmla="*/ 4125 w 10000"/>
                  <a:gd name="connsiteY15" fmla="*/ 2929 h 10000"/>
                  <a:gd name="connsiteX16" fmla="*/ 4062 w 10000"/>
                  <a:gd name="connsiteY16" fmla="*/ 3081 h 10000"/>
                  <a:gd name="connsiteX17" fmla="*/ 2751 w 10000"/>
                  <a:gd name="connsiteY17" fmla="*/ 4141 h 10000"/>
                  <a:gd name="connsiteX18" fmla="*/ 2564 w 10000"/>
                  <a:gd name="connsiteY18" fmla="*/ 4192 h 10000"/>
                  <a:gd name="connsiteX19" fmla="*/ 2250 w 10000"/>
                  <a:gd name="connsiteY19" fmla="*/ 4091 h 10000"/>
                  <a:gd name="connsiteX20" fmla="*/ 1373 w 10000"/>
                  <a:gd name="connsiteY20" fmla="*/ 3182 h 10000"/>
                  <a:gd name="connsiteX21" fmla="*/ 1373 w 10000"/>
                  <a:gd name="connsiteY21" fmla="*/ 3838 h 10000"/>
                  <a:gd name="connsiteX22" fmla="*/ 3128 w 10000"/>
                  <a:gd name="connsiteY22" fmla="*/ 6768 h 10000"/>
                  <a:gd name="connsiteX23" fmla="*/ 1187 w 10000"/>
                  <a:gd name="connsiteY23" fmla="*/ 6768 h 10000"/>
                  <a:gd name="connsiteX24" fmla="*/ 1187 w 10000"/>
                  <a:gd name="connsiteY24" fmla="*/ 9394 h 10000"/>
                  <a:gd name="connsiteX25" fmla="*/ 810 w 10000"/>
                  <a:gd name="connsiteY25" fmla="*/ 9646 h 10000"/>
                  <a:gd name="connsiteX26" fmla="*/ 564 w 10000"/>
                  <a:gd name="connsiteY26" fmla="*/ 9646 h 10000"/>
                  <a:gd name="connsiteX27" fmla="*/ 188 w 10000"/>
                  <a:gd name="connsiteY27" fmla="*/ 6768 h 10000"/>
                  <a:gd name="connsiteX28" fmla="*/ 0 w 10000"/>
                  <a:gd name="connsiteY28" fmla="*/ 6768 h 10000"/>
                  <a:gd name="connsiteX0" fmla="*/ 9812 w 9812"/>
                  <a:gd name="connsiteY0" fmla="*/ 10000 h 10000"/>
                  <a:gd name="connsiteX1" fmla="*/ 9374 w 9812"/>
                  <a:gd name="connsiteY1" fmla="*/ 10000 h 10000"/>
                  <a:gd name="connsiteX2" fmla="*/ 8814 w 9812"/>
                  <a:gd name="connsiteY2" fmla="*/ 9545 h 10000"/>
                  <a:gd name="connsiteX3" fmla="*/ 8814 w 9812"/>
                  <a:gd name="connsiteY3" fmla="*/ 5354 h 10000"/>
                  <a:gd name="connsiteX4" fmla="*/ 8557 w 9812"/>
                  <a:gd name="connsiteY4" fmla="*/ 5354 h 10000"/>
                  <a:gd name="connsiteX5" fmla="*/ 8557 w 9812"/>
                  <a:gd name="connsiteY5" fmla="*/ 9545 h 10000"/>
                  <a:gd name="connsiteX6" fmla="*/ 7999 w 9812"/>
                  <a:gd name="connsiteY6" fmla="*/ 10000 h 10000"/>
                  <a:gd name="connsiteX7" fmla="*/ 7497 w 9812"/>
                  <a:gd name="connsiteY7" fmla="*/ 10000 h 10000"/>
                  <a:gd name="connsiteX8" fmla="*/ 6996 w 9812"/>
                  <a:gd name="connsiteY8" fmla="*/ 9545 h 10000"/>
                  <a:gd name="connsiteX9" fmla="*/ 6996 w 9812"/>
                  <a:gd name="connsiteY9" fmla="*/ 5354 h 10000"/>
                  <a:gd name="connsiteX10" fmla="*/ 3937 w 9812"/>
                  <a:gd name="connsiteY10" fmla="*/ 5354 h 10000"/>
                  <a:gd name="connsiteX11" fmla="*/ 6688 w 9812"/>
                  <a:gd name="connsiteY11" fmla="*/ 758 h 10000"/>
                  <a:gd name="connsiteX12" fmla="*/ 6688 w 9812"/>
                  <a:gd name="connsiteY12" fmla="*/ 0 h 10000"/>
                  <a:gd name="connsiteX13" fmla="*/ 4813 w 9812"/>
                  <a:gd name="connsiteY13" fmla="*/ 2677 h 10000"/>
                  <a:gd name="connsiteX14" fmla="*/ 3997 w 9812"/>
                  <a:gd name="connsiteY14" fmla="*/ 2929 h 10000"/>
                  <a:gd name="connsiteX15" fmla="*/ 3937 w 9812"/>
                  <a:gd name="connsiteY15" fmla="*/ 2929 h 10000"/>
                  <a:gd name="connsiteX16" fmla="*/ 3874 w 9812"/>
                  <a:gd name="connsiteY16" fmla="*/ 3081 h 10000"/>
                  <a:gd name="connsiteX17" fmla="*/ 2563 w 9812"/>
                  <a:gd name="connsiteY17" fmla="*/ 4141 h 10000"/>
                  <a:gd name="connsiteX18" fmla="*/ 2376 w 9812"/>
                  <a:gd name="connsiteY18" fmla="*/ 4192 h 10000"/>
                  <a:gd name="connsiteX19" fmla="*/ 2062 w 9812"/>
                  <a:gd name="connsiteY19" fmla="*/ 4091 h 10000"/>
                  <a:gd name="connsiteX20" fmla="*/ 1185 w 9812"/>
                  <a:gd name="connsiteY20" fmla="*/ 3182 h 10000"/>
                  <a:gd name="connsiteX21" fmla="*/ 1185 w 9812"/>
                  <a:gd name="connsiteY21" fmla="*/ 3838 h 10000"/>
                  <a:gd name="connsiteX22" fmla="*/ 2940 w 9812"/>
                  <a:gd name="connsiteY22" fmla="*/ 6768 h 10000"/>
                  <a:gd name="connsiteX23" fmla="*/ 999 w 9812"/>
                  <a:gd name="connsiteY23" fmla="*/ 6768 h 10000"/>
                  <a:gd name="connsiteX24" fmla="*/ 999 w 9812"/>
                  <a:gd name="connsiteY24" fmla="*/ 9394 h 10000"/>
                  <a:gd name="connsiteX25" fmla="*/ 622 w 9812"/>
                  <a:gd name="connsiteY25" fmla="*/ 9646 h 10000"/>
                  <a:gd name="connsiteX26" fmla="*/ 376 w 9812"/>
                  <a:gd name="connsiteY26" fmla="*/ 9646 h 10000"/>
                  <a:gd name="connsiteX27" fmla="*/ 0 w 9812"/>
                  <a:gd name="connsiteY27" fmla="*/ 6768 h 10000"/>
                  <a:gd name="connsiteX0" fmla="*/ 9617 w 9617"/>
                  <a:gd name="connsiteY0" fmla="*/ 10000 h 10000"/>
                  <a:gd name="connsiteX1" fmla="*/ 9171 w 9617"/>
                  <a:gd name="connsiteY1" fmla="*/ 10000 h 10000"/>
                  <a:gd name="connsiteX2" fmla="*/ 8600 w 9617"/>
                  <a:gd name="connsiteY2" fmla="*/ 9545 h 10000"/>
                  <a:gd name="connsiteX3" fmla="*/ 8600 w 9617"/>
                  <a:gd name="connsiteY3" fmla="*/ 5354 h 10000"/>
                  <a:gd name="connsiteX4" fmla="*/ 8338 w 9617"/>
                  <a:gd name="connsiteY4" fmla="*/ 5354 h 10000"/>
                  <a:gd name="connsiteX5" fmla="*/ 8338 w 9617"/>
                  <a:gd name="connsiteY5" fmla="*/ 9545 h 10000"/>
                  <a:gd name="connsiteX6" fmla="*/ 7769 w 9617"/>
                  <a:gd name="connsiteY6" fmla="*/ 10000 h 10000"/>
                  <a:gd name="connsiteX7" fmla="*/ 7258 w 9617"/>
                  <a:gd name="connsiteY7" fmla="*/ 10000 h 10000"/>
                  <a:gd name="connsiteX8" fmla="*/ 6747 w 9617"/>
                  <a:gd name="connsiteY8" fmla="*/ 9545 h 10000"/>
                  <a:gd name="connsiteX9" fmla="*/ 6747 w 9617"/>
                  <a:gd name="connsiteY9" fmla="*/ 5354 h 10000"/>
                  <a:gd name="connsiteX10" fmla="*/ 3629 w 9617"/>
                  <a:gd name="connsiteY10" fmla="*/ 5354 h 10000"/>
                  <a:gd name="connsiteX11" fmla="*/ 6433 w 9617"/>
                  <a:gd name="connsiteY11" fmla="*/ 758 h 10000"/>
                  <a:gd name="connsiteX12" fmla="*/ 6433 w 9617"/>
                  <a:gd name="connsiteY12" fmla="*/ 0 h 10000"/>
                  <a:gd name="connsiteX13" fmla="*/ 4522 w 9617"/>
                  <a:gd name="connsiteY13" fmla="*/ 2677 h 10000"/>
                  <a:gd name="connsiteX14" fmla="*/ 3691 w 9617"/>
                  <a:gd name="connsiteY14" fmla="*/ 2929 h 10000"/>
                  <a:gd name="connsiteX15" fmla="*/ 3629 w 9617"/>
                  <a:gd name="connsiteY15" fmla="*/ 2929 h 10000"/>
                  <a:gd name="connsiteX16" fmla="*/ 3565 w 9617"/>
                  <a:gd name="connsiteY16" fmla="*/ 3081 h 10000"/>
                  <a:gd name="connsiteX17" fmla="*/ 2229 w 9617"/>
                  <a:gd name="connsiteY17" fmla="*/ 4141 h 10000"/>
                  <a:gd name="connsiteX18" fmla="*/ 2039 w 9617"/>
                  <a:gd name="connsiteY18" fmla="*/ 4192 h 10000"/>
                  <a:gd name="connsiteX19" fmla="*/ 1719 w 9617"/>
                  <a:gd name="connsiteY19" fmla="*/ 4091 h 10000"/>
                  <a:gd name="connsiteX20" fmla="*/ 825 w 9617"/>
                  <a:gd name="connsiteY20" fmla="*/ 3182 h 10000"/>
                  <a:gd name="connsiteX21" fmla="*/ 825 w 9617"/>
                  <a:gd name="connsiteY21" fmla="*/ 3838 h 10000"/>
                  <a:gd name="connsiteX22" fmla="*/ 2613 w 9617"/>
                  <a:gd name="connsiteY22" fmla="*/ 6768 h 10000"/>
                  <a:gd name="connsiteX23" fmla="*/ 635 w 9617"/>
                  <a:gd name="connsiteY23" fmla="*/ 6768 h 10000"/>
                  <a:gd name="connsiteX24" fmla="*/ 635 w 9617"/>
                  <a:gd name="connsiteY24" fmla="*/ 9394 h 10000"/>
                  <a:gd name="connsiteX25" fmla="*/ 251 w 9617"/>
                  <a:gd name="connsiteY25" fmla="*/ 9646 h 10000"/>
                  <a:gd name="connsiteX26" fmla="*/ 0 w 9617"/>
                  <a:gd name="connsiteY26" fmla="*/ 9646 h 10000"/>
                  <a:gd name="connsiteX0" fmla="*/ 9739 w 9739"/>
                  <a:gd name="connsiteY0" fmla="*/ 10000 h 10000"/>
                  <a:gd name="connsiteX1" fmla="*/ 9275 w 9739"/>
                  <a:gd name="connsiteY1" fmla="*/ 10000 h 10000"/>
                  <a:gd name="connsiteX2" fmla="*/ 8681 w 9739"/>
                  <a:gd name="connsiteY2" fmla="*/ 9545 h 10000"/>
                  <a:gd name="connsiteX3" fmla="*/ 8681 w 9739"/>
                  <a:gd name="connsiteY3" fmla="*/ 5354 h 10000"/>
                  <a:gd name="connsiteX4" fmla="*/ 8409 w 9739"/>
                  <a:gd name="connsiteY4" fmla="*/ 5354 h 10000"/>
                  <a:gd name="connsiteX5" fmla="*/ 8409 w 9739"/>
                  <a:gd name="connsiteY5" fmla="*/ 9545 h 10000"/>
                  <a:gd name="connsiteX6" fmla="*/ 7817 w 9739"/>
                  <a:gd name="connsiteY6" fmla="*/ 10000 h 10000"/>
                  <a:gd name="connsiteX7" fmla="*/ 7286 w 9739"/>
                  <a:gd name="connsiteY7" fmla="*/ 10000 h 10000"/>
                  <a:gd name="connsiteX8" fmla="*/ 6755 w 9739"/>
                  <a:gd name="connsiteY8" fmla="*/ 9545 h 10000"/>
                  <a:gd name="connsiteX9" fmla="*/ 6755 w 9739"/>
                  <a:gd name="connsiteY9" fmla="*/ 5354 h 10000"/>
                  <a:gd name="connsiteX10" fmla="*/ 3513 w 9739"/>
                  <a:gd name="connsiteY10" fmla="*/ 5354 h 10000"/>
                  <a:gd name="connsiteX11" fmla="*/ 6428 w 9739"/>
                  <a:gd name="connsiteY11" fmla="*/ 758 h 10000"/>
                  <a:gd name="connsiteX12" fmla="*/ 6428 w 9739"/>
                  <a:gd name="connsiteY12" fmla="*/ 0 h 10000"/>
                  <a:gd name="connsiteX13" fmla="*/ 4441 w 9739"/>
                  <a:gd name="connsiteY13" fmla="*/ 2677 h 10000"/>
                  <a:gd name="connsiteX14" fmla="*/ 3577 w 9739"/>
                  <a:gd name="connsiteY14" fmla="*/ 2929 h 10000"/>
                  <a:gd name="connsiteX15" fmla="*/ 3513 w 9739"/>
                  <a:gd name="connsiteY15" fmla="*/ 2929 h 10000"/>
                  <a:gd name="connsiteX16" fmla="*/ 3446 w 9739"/>
                  <a:gd name="connsiteY16" fmla="*/ 3081 h 10000"/>
                  <a:gd name="connsiteX17" fmla="*/ 2057 w 9739"/>
                  <a:gd name="connsiteY17" fmla="*/ 4141 h 10000"/>
                  <a:gd name="connsiteX18" fmla="*/ 1859 w 9739"/>
                  <a:gd name="connsiteY18" fmla="*/ 4192 h 10000"/>
                  <a:gd name="connsiteX19" fmla="*/ 1526 w 9739"/>
                  <a:gd name="connsiteY19" fmla="*/ 4091 h 10000"/>
                  <a:gd name="connsiteX20" fmla="*/ 597 w 9739"/>
                  <a:gd name="connsiteY20" fmla="*/ 3182 h 10000"/>
                  <a:gd name="connsiteX21" fmla="*/ 597 w 9739"/>
                  <a:gd name="connsiteY21" fmla="*/ 3838 h 10000"/>
                  <a:gd name="connsiteX22" fmla="*/ 2456 w 9739"/>
                  <a:gd name="connsiteY22" fmla="*/ 6768 h 10000"/>
                  <a:gd name="connsiteX23" fmla="*/ 399 w 9739"/>
                  <a:gd name="connsiteY23" fmla="*/ 6768 h 10000"/>
                  <a:gd name="connsiteX24" fmla="*/ 399 w 9739"/>
                  <a:gd name="connsiteY24" fmla="*/ 9394 h 10000"/>
                  <a:gd name="connsiteX25" fmla="*/ 0 w 9739"/>
                  <a:gd name="connsiteY25" fmla="*/ 9646 h 10000"/>
                  <a:gd name="connsiteX0" fmla="*/ 10000 w 10000"/>
                  <a:gd name="connsiteY0" fmla="*/ 10000 h 10000"/>
                  <a:gd name="connsiteX1" fmla="*/ 9524 w 10000"/>
                  <a:gd name="connsiteY1" fmla="*/ 10000 h 10000"/>
                  <a:gd name="connsiteX2" fmla="*/ 8914 w 10000"/>
                  <a:gd name="connsiteY2" fmla="*/ 9545 h 10000"/>
                  <a:gd name="connsiteX3" fmla="*/ 8914 w 10000"/>
                  <a:gd name="connsiteY3" fmla="*/ 5354 h 10000"/>
                  <a:gd name="connsiteX4" fmla="*/ 8634 w 10000"/>
                  <a:gd name="connsiteY4" fmla="*/ 5354 h 10000"/>
                  <a:gd name="connsiteX5" fmla="*/ 8634 w 10000"/>
                  <a:gd name="connsiteY5" fmla="*/ 9545 h 10000"/>
                  <a:gd name="connsiteX6" fmla="*/ 8026 w 10000"/>
                  <a:gd name="connsiteY6" fmla="*/ 10000 h 10000"/>
                  <a:gd name="connsiteX7" fmla="*/ 7481 w 10000"/>
                  <a:gd name="connsiteY7" fmla="*/ 10000 h 10000"/>
                  <a:gd name="connsiteX8" fmla="*/ 6936 w 10000"/>
                  <a:gd name="connsiteY8" fmla="*/ 9545 h 10000"/>
                  <a:gd name="connsiteX9" fmla="*/ 6936 w 10000"/>
                  <a:gd name="connsiteY9" fmla="*/ 5354 h 10000"/>
                  <a:gd name="connsiteX10" fmla="*/ 3607 w 10000"/>
                  <a:gd name="connsiteY10" fmla="*/ 5354 h 10000"/>
                  <a:gd name="connsiteX11" fmla="*/ 6600 w 10000"/>
                  <a:gd name="connsiteY11" fmla="*/ 758 h 10000"/>
                  <a:gd name="connsiteX12" fmla="*/ 6600 w 10000"/>
                  <a:gd name="connsiteY12" fmla="*/ 0 h 10000"/>
                  <a:gd name="connsiteX13" fmla="*/ 4560 w 10000"/>
                  <a:gd name="connsiteY13" fmla="*/ 2677 h 10000"/>
                  <a:gd name="connsiteX14" fmla="*/ 3673 w 10000"/>
                  <a:gd name="connsiteY14" fmla="*/ 2929 h 10000"/>
                  <a:gd name="connsiteX15" fmla="*/ 3607 w 10000"/>
                  <a:gd name="connsiteY15" fmla="*/ 2929 h 10000"/>
                  <a:gd name="connsiteX16" fmla="*/ 3538 w 10000"/>
                  <a:gd name="connsiteY16" fmla="*/ 3081 h 10000"/>
                  <a:gd name="connsiteX17" fmla="*/ 2112 w 10000"/>
                  <a:gd name="connsiteY17" fmla="*/ 4141 h 10000"/>
                  <a:gd name="connsiteX18" fmla="*/ 1909 w 10000"/>
                  <a:gd name="connsiteY18" fmla="*/ 4192 h 10000"/>
                  <a:gd name="connsiteX19" fmla="*/ 1567 w 10000"/>
                  <a:gd name="connsiteY19" fmla="*/ 4091 h 10000"/>
                  <a:gd name="connsiteX20" fmla="*/ 613 w 10000"/>
                  <a:gd name="connsiteY20" fmla="*/ 3182 h 10000"/>
                  <a:gd name="connsiteX21" fmla="*/ 613 w 10000"/>
                  <a:gd name="connsiteY21" fmla="*/ 3838 h 10000"/>
                  <a:gd name="connsiteX22" fmla="*/ 2522 w 10000"/>
                  <a:gd name="connsiteY22" fmla="*/ 6768 h 10000"/>
                  <a:gd name="connsiteX23" fmla="*/ 410 w 10000"/>
                  <a:gd name="connsiteY23" fmla="*/ 6768 h 10000"/>
                  <a:gd name="connsiteX24" fmla="*/ 410 w 10000"/>
                  <a:gd name="connsiteY24" fmla="*/ 9394 h 10000"/>
                  <a:gd name="connsiteX25" fmla="*/ 251 w 10000"/>
                  <a:gd name="connsiteY25" fmla="*/ 9597 h 10000"/>
                  <a:gd name="connsiteX26" fmla="*/ 0 w 10000"/>
                  <a:gd name="connsiteY26" fmla="*/ 9646 h 10000"/>
                  <a:gd name="connsiteX0" fmla="*/ 10000 w 10000"/>
                  <a:gd name="connsiteY0" fmla="*/ 10000 h 10000"/>
                  <a:gd name="connsiteX1" fmla="*/ 9524 w 10000"/>
                  <a:gd name="connsiteY1" fmla="*/ 10000 h 10000"/>
                  <a:gd name="connsiteX2" fmla="*/ 8914 w 10000"/>
                  <a:gd name="connsiteY2" fmla="*/ 9545 h 10000"/>
                  <a:gd name="connsiteX3" fmla="*/ 8914 w 10000"/>
                  <a:gd name="connsiteY3" fmla="*/ 5354 h 10000"/>
                  <a:gd name="connsiteX4" fmla="*/ 8634 w 10000"/>
                  <a:gd name="connsiteY4" fmla="*/ 5354 h 10000"/>
                  <a:gd name="connsiteX5" fmla="*/ 8634 w 10000"/>
                  <a:gd name="connsiteY5" fmla="*/ 9545 h 10000"/>
                  <a:gd name="connsiteX6" fmla="*/ 8026 w 10000"/>
                  <a:gd name="connsiteY6" fmla="*/ 10000 h 10000"/>
                  <a:gd name="connsiteX7" fmla="*/ 7481 w 10000"/>
                  <a:gd name="connsiteY7" fmla="*/ 10000 h 10000"/>
                  <a:gd name="connsiteX8" fmla="*/ 6936 w 10000"/>
                  <a:gd name="connsiteY8" fmla="*/ 9545 h 10000"/>
                  <a:gd name="connsiteX9" fmla="*/ 6936 w 10000"/>
                  <a:gd name="connsiteY9" fmla="*/ 5354 h 10000"/>
                  <a:gd name="connsiteX10" fmla="*/ 3607 w 10000"/>
                  <a:gd name="connsiteY10" fmla="*/ 5354 h 10000"/>
                  <a:gd name="connsiteX11" fmla="*/ 6600 w 10000"/>
                  <a:gd name="connsiteY11" fmla="*/ 758 h 10000"/>
                  <a:gd name="connsiteX12" fmla="*/ 6600 w 10000"/>
                  <a:gd name="connsiteY12" fmla="*/ 0 h 10000"/>
                  <a:gd name="connsiteX13" fmla="*/ 4560 w 10000"/>
                  <a:gd name="connsiteY13" fmla="*/ 2677 h 10000"/>
                  <a:gd name="connsiteX14" fmla="*/ 3673 w 10000"/>
                  <a:gd name="connsiteY14" fmla="*/ 2929 h 10000"/>
                  <a:gd name="connsiteX15" fmla="*/ 3607 w 10000"/>
                  <a:gd name="connsiteY15" fmla="*/ 2929 h 10000"/>
                  <a:gd name="connsiteX16" fmla="*/ 3538 w 10000"/>
                  <a:gd name="connsiteY16" fmla="*/ 3081 h 10000"/>
                  <a:gd name="connsiteX17" fmla="*/ 2112 w 10000"/>
                  <a:gd name="connsiteY17" fmla="*/ 4141 h 10000"/>
                  <a:gd name="connsiteX18" fmla="*/ 1909 w 10000"/>
                  <a:gd name="connsiteY18" fmla="*/ 4192 h 10000"/>
                  <a:gd name="connsiteX19" fmla="*/ 1567 w 10000"/>
                  <a:gd name="connsiteY19" fmla="*/ 4091 h 10000"/>
                  <a:gd name="connsiteX20" fmla="*/ 613 w 10000"/>
                  <a:gd name="connsiteY20" fmla="*/ 3182 h 10000"/>
                  <a:gd name="connsiteX21" fmla="*/ 613 w 10000"/>
                  <a:gd name="connsiteY21" fmla="*/ 3838 h 10000"/>
                  <a:gd name="connsiteX22" fmla="*/ 2522 w 10000"/>
                  <a:gd name="connsiteY22" fmla="*/ 6768 h 10000"/>
                  <a:gd name="connsiteX23" fmla="*/ 410 w 10000"/>
                  <a:gd name="connsiteY23" fmla="*/ 6768 h 10000"/>
                  <a:gd name="connsiteX24" fmla="*/ 251 w 10000"/>
                  <a:gd name="connsiteY24" fmla="*/ 9597 h 10000"/>
                  <a:gd name="connsiteX25" fmla="*/ 0 w 10000"/>
                  <a:gd name="connsiteY25" fmla="*/ 9646 h 10000"/>
                  <a:gd name="connsiteX0" fmla="*/ 9749 w 9749"/>
                  <a:gd name="connsiteY0" fmla="*/ 10000 h 10000"/>
                  <a:gd name="connsiteX1" fmla="*/ 9273 w 9749"/>
                  <a:gd name="connsiteY1" fmla="*/ 10000 h 10000"/>
                  <a:gd name="connsiteX2" fmla="*/ 8663 w 9749"/>
                  <a:gd name="connsiteY2" fmla="*/ 9545 h 10000"/>
                  <a:gd name="connsiteX3" fmla="*/ 8663 w 9749"/>
                  <a:gd name="connsiteY3" fmla="*/ 5354 h 10000"/>
                  <a:gd name="connsiteX4" fmla="*/ 8383 w 9749"/>
                  <a:gd name="connsiteY4" fmla="*/ 5354 h 10000"/>
                  <a:gd name="connsiteX5" fmla="*/ 8383 w 9749"/>
                  <a:gd name="connsiteY5" fmla="*/ 9545 h 10000"/>
                  <a:gd name="connsiteX6" fmla="*/ 7775 w 9749"/>
                  <a:gd name="connsiteY6" fmla="*/ 10000 h 10000"/>
                  <a:gd name="connsiteX7" fmla="*/ 7230 w 9749"/>
                  <a:gd name="connsiteY7" fmla="*/ 10000 h 10000"/>
                  <a:gd name="connsiteX8" fmla="*/ 6685 w 9749"/>
                  <a:gd name="connsiteY8" fmla="*/ 9545 h 10000"/>
                  <a:gd name="connsiteX9" fmla="*/ 6685 w 9749"/>
                  <a:gd name="connsiteY9" fmla="*/ 5354 h 10000"/>
                  <a:gd name="connsiteX10" fmla="*/ 3356 w 9749"/>
                  <a:gd name="connsiteY10" fmla="*/ 5354 h 10000"/>
                  <a:gd name="connsiteX11" fmla="*/ 6349 w 9749"/>
                  <a:gd name="connsiteY11" fmla="*/ 758 h 10000"/>
                  <a:gd name="connsiteX12" fmla="*/ 6349 w 9749"/>
                  <a:gd name="connsiteY12" fmla="*/ 0 h 10000"/>
                  <a:gd name="connsiteX13" fmla="*/ 4309 w 9749"/>
                  <a:gd name="connsiteY13" fmla="*/ 2677 h 10000"/>
                  <a:gd name="connsiteX14" fmla="*/ 3422 w 9749"/>
                  <a:gd name="connsiteY14" fmla="*/ 2929 h 10000"/>
                  <a:gd name="connsiteX15" fmla="*/ 3356 w 9749"/>
                  <a:gd name="connsiteY15" fmla="*/ 2929 h 10000"/>
                  <a:gd name="connsiteX16" fmla="*/ 3287 w 9749"/>
                  <a:gd name="connsiteY16" fmla="*/ 3081 h 10000"/>
                  <a:gd name="connsiteX17" fmla="*/ 1861 w 9749"/>
                  <a:gd name="connsiteY17" fmla="*/ 4141 h 10000"/>
                  <a:gd name="connsiteX18" fmla="*/ 1658 w 9749"/>
                  <a:gd name="connsiteY18" fmla="*/ 4192 h 10000"/>
                  <a:gd name="connsiteX19" fmla="*/ 1316 w 9749"/>
                  <a:gd name="connsiteY19" fmla="*/ 4091 h 10000"/>
                  <a:gd name="connsiteX20" fmla="*/ 362 w 9749"/>
                  <a:gd name="connsiteY20" fmla="*/ 3182 h 10000"/>
                  <a:gd name="connsiteX21" fmla="*/ 362 w 9749"/>
                  <a:gd name="connsiteY21" fmla="*/ 3838 h 10000"/>
                  <a:gd name="connsiteX22" fmla="*/ 2271 w 9749"/>
                  <a:gd name="connsiteY22" fmla="*/ 6768 h 10000"/>
                  <a:gd name="connsiteX23" fmla="*/ 159 w 9749"/>
                  <a:gd name="connsiteY23" fmla="*/ 6768 h 10000"/>
                  <a:gd name="connsiteX24" fmla="*/ 0 w 9749"/>
                  <a:gd name="connsiteY24" fmla="*/ 9597 h 10000"/>
                  <a:gd name="connsiteX0" fmla="*/ 9837 w 9837"/>
                  <a:gd name="connsiteY0" fmla="*/ 10000 h 10000"/>
                  <a:gd name="connsiteX1" fmla="*/ 9349 w 9837"/>
                  <a:gd name="connsiteY1" fmla="*/ 10000 h 10000"/>
                  <a:gd name="connsiteX2" fmla="*/ 8723 w 9837"/>
                  <a:gd name="connsiteY2" fmla="*/ 9545 h 10000"/>
                  <a:gd name="connsiteX3" fmla="*/ 8723 w 9837"/>
                  <a:gd name="connsiteY3" fmla="*/ 5354 h 10000"/>
                  <a:gd name="connsiteX4" fmla="*/ 8436 w 9837"/>
                  <a:gd name="connsiteY4" fmla="*/ 5354 h 10000"/>
                  <a:gd name="connsiteX5" fmla="*/ 8436 w 9837"/>
                  <a:gd name="connsiteY5" fmla="*/ 9545 h 10000"/>
                  <a:gd name="connsiteX6" fmla="*/ 7812 w 9837"/>
                  <a:gd name="connsiteY6" fmla="*/ 10000 h 10000"/>
                  <a:gd name="connsiteX7" fmla="*/ 7253 w 9837"/>
                  <a:gd name="connsiteY7" fmla="*/ 10000 h 10000"/>
                  <a:gd name="connsiteX8" fmla="*/ 6694 w 9837"/>
                  <a:gd name="connsiteY8" fmla="*/ 9545 h 10000"/>
                  <a:gd name="connsiteX9" fmla="*/ 6694 w 9837"/>
                  <a:gd name="connsiteY9" fmla="*/ 5354 h 10000"/>
                  <a:gd name="connsiteX10" fmla="*/ 3279 w 9837"/>
                  <a:gd name="connsiteY10" fmla="*/ 5354 h 10000"/>
                  <a:gd name="connsiteX11" fmla="*/ 6349 w 9837"/>
                  <a:gd name="connsiteY11" fmla="*/ 758 h 10000"/>
                  <a:gd name="connsiteX12" fmla="*/ 6349 w 9837"/>
                  <a:gd name="connsiteY12" fmla="*/ 0 h 10000"/>
                  <a:gd name="connsiteX13" fmla="*/ 4257 w 9837"/>
                  <a:gd name="connsiteY13" fmla="*/ 2677 h 10000"/>
                  <a:gd name="connsiteX14" fmla="*/ 3347 w 9837"/>
                  <a:gd name="connsiteY14" fmla="*/ 2929 h 10000"/>
                  <a:gd name="connsiteX15" fmla="*/ 3279 w 9837"/>
                  <a:gd name="connsiteY15" fmla="*/ 2929 h 10000"/>
                  <a:gd name="connsiteX16" fmla="*/ 3209 w 9837"/>
                  <a:gd name="connsiteY16" fmla="*/ 3081 h 10000"/>
                  <a:gd name="connsiteX17" fmla="*/ 1746 w 9837"/>
                  <a:gd name="connsiteY17" fmla="*/ 4141 h 10000"/>
                  <a:gd name="connsiteX18" fmla="*/ 1538 w 9837"/>
                  <a:gd name="connsiteY18" fmla="*/ 4192 h 10000"/>
                  <a:gd name="connsiteX19" fmla="*/ 1187 w 9837"/>
                  <a:gd name="connsiteY19" fmla="*/ 4091 h 10000"/>
                  <a:gd name="connsiteX20" fmla="*/ 208 w 9837"/>
                  <a:gd name="connsiteY20" fmla="*/ 3182 h 10000"/>
                  <a:gd name="connsiteX21" fmla="*/ 208 w 9837"/>
                  <a:gd name="connsiteY21" fmla="*/ 3838 h 10000"/>
                  <a:gd name="connsiteX22" fmla="*/ 2166 w 9837"/>
                  <a:gd name="connsiteY22" fmla="*/ 6768 h 10000"/>
                  <a:gd name="connsiteX23" fmla="*/ 0 w 9837"/>
                  <a:gd name="connsiteY23" fmla="*/ 6768 h 10000"/>
                  <a:gd name="connsiteX0" fmla="*/ 9789 w 9789"/>
                  <a:gd name="connsiteY0" fmla="*/ 10000 h 10000"/>
                  <a:gd name="connsiteX1" fmla="*/ 9293 w 9789"/>
                  <a:gd name="connsiteY1" fmla="*/ 10000 h 10000"/>
                  <a:gd name="connsiteX2" fmla="*/ 8657 w 9789"/>
                  <a:gd name="connsiteY2" fmla="*/ 9545 h 10000"/>
                  <a:gd name="connsiteX3" fmla="*/ 8657 w 9789"/>
                  <a:gd name="connsiteY3" fmla="*/ 5354 h 10000"/>
                  <a:gd name="connsiteX4" fmla="*/ 8365 w 9789"/>
                  <a:gd name="connsiteY4" fmla="*/ 5354 h 10000"/>
                  <a:gd name="connsiteX5" fmla="*/ 8365 w 9789"/>
                  <a:gd name="connsiteY5" fmla="*/ 9545 h 10000"/>
                  <a:gd name="connsiteX6" fmla="*/ 7730 w 9789"/>
                  <a:gd name="connsiteY6" fmla="*/ 10000 h 10000"/>
                  <a:gd name="connsiteX7" fmla="*/ 7162 w 9789"/>
                  <a:gd name="connsiteY7" fmla="*/ 10000 h 10000"/>
                  <a:gd name="connsiteX8" fmla="*/ 6594 w 9789"/>
                  <a:gd name="connsiteY8" fmla="*/ 9545 h 10000"/>
                  <a:gd name="connsiteX9" fmla="*/ 6594 w 9789"/>
                  <a:gd name="connsiteY9" fmla="*/ 5354 h 10000"/>
                  <a:gd name="connsiteX10" fmla="*/ 3122 w 9789"/>
                  <a:gd name="connsiteY10" fmla="*/ 5354 h 10000"/>
                  <a:gd name="connsiteX11" fmla="*/ 6243 w 9789"/>
                  <a:gd name="connsiteY11" fmla="*/ 758 h 10000"/>
                  <a:gd name="connsiteX12" fmla="*/ 6243 w 9789"/>
                  <a:gd name="connsiteY12" fmla="*/ 0 h 10000"/>
                  <a:gd name="connsiteX13" fmla="*/ 4117 w 9789"/>
                  <a:gd name="connsiteY13" fmla="*/ 2677 h 10000"/>
                  <a:gd name="connsiteX14" fmla="*/ 3191 w 9789"/>
                  <a:gd name="connsiteY14" fmla="*/ 2929 h 10000"/>
                  <a:gd name="connsiteX15" fmla="*/ 3122 w 9789"/>
                  <a:gd name="connsiteY15" fmla="*/ 2929 h 10000"/>
                  <a:gd name="connsiteX16" fmla="*/ 3051 w 9789"/>
                  <a:gd name="connsiteY16" fmla="*/ 3081 h 10000"/>
                  <a:gd name="connsiteX17" fmla="*/ 1564 w 9789"/>
                  <a:gd name="connsiteY17" fmla="*/ 4141 h 10000"/>
                  <a:gd name="connsiteX18" fmla="*/ 1352 w 9789"/>
                  <a:gd name="connsiteY18" fmla="*/ 4192 h 10000"/>
                  <a:gd name="connsiteX19" fmla="*/ 996 w 9789"/>
                  <a:gd name="connsiteY19" fmla="*/ 4091 h 10000"/>
                  <a:gd name="connsiteX20" fmla="*/ 0 w 9789"/>
                  <a:gd name="connsiteY20" fmla="*/ 3182 h 10000"/>
                  <a:gd name="connsiteX21" fmla="*/ 0 w 9789"/>
                  <a:gd name="connsiteY21" fmla="*/ 3838 h 10000"/>
                  <a:gd name="connsiteX22" fmla="*/ 1991 w 9789"/>
                  <a:gd name="connsiteY22" fmla="*/ 6768 h 10000"/>
                  <a:gd name="connsiteX0" fmla="*/ 10000 w 10000"/>
                  <a:gd name="connsiteY0" fmla="*/ 10000 h 10000"/>
                  <a:gd name="connsiteX1" fmla="*/ 9493 w 10000"/>
                  <a:gd name="connsiteY1" fmla="*/ 10000 h 10000"/>
                  <a:gd name="connsiteX2" fmla="*/ 8844 w 10000"/>
                  <a:gd name="connsiteY2" fmla="*/ 9545 h 10000"/>
                  <a:gd name="connsiteX3" fmla="*/ 8844 w 10000"/>
                  <a:gd name="connsiteY3" fmla="*/ 5354 h 10000"/>
                  <a:gd name="connsiteX4" fmla="*/ 8545 w 10000"/>
                  <a:gd name="connsiteY4" fmla="*/ 5354 h 10000"/>
                  <a:gd name="connsiteX5" fmla="*/ 8545 w 10000"/>
                  <a:gd name="connsiteY5" fmla="*/ 9545 h 10000"/>
                  <a:gd name="connsiteX6" fmla="*/ 7897 w 10000"/>
                  <a:gd name="connsiteY6" fmla="*/ 10000 h 10000"/>
                  <a:gd name="connsiteX7" fmla="*/ 7316 w 10000"/>
                  <a:gd name="connsiteY7" fmla="*/ 10000 h 10000"/>
                  <a:gd name="connsiteX8" fmla="*/ 6736 w 10000"/>
                  <a:gd name="connsiteY8" fmla="*/ 9545 h 10000"/>
                  <a:gd name="connsiteX9" fmla="*/ 6736 w 10000"/>
                  <a:gd name="connsiteY9" fmla="*/ 5354 h 10000"/>
                  <a:gd name="connsiteX10" fmla="*/ 3189 w 10000"/>
                  <a:gd name="connsiteY10" fmla="*/ 5354 h 10000"/>
                  <a:gd name="connsiteX11" fmla="*/ 6378 w 10000"/>
                  <a:gd name="connsiteY11" fmla="*/ 758 h 10000"/>
                  <a:gd name="connsiteX12" fmla="*/ 6378 w 10000"/>
                  <a:gd name="connsiteY12" fmla="*/ 0 h 10000"/>
                  <a:gd name="connsiteX13" fmla="*/ 4206 w 10000"/>
                  <a:gd name="connsiteY13" fmla="*/ 2677 h 10000"/>
                  <a:gd name="connsiteX14" fmla="*/ 3260 w 10000"/>
                  <a:gd name="connsiteY14" fmla="*/ 2929 h 10000"/>
                  <a:gd name="connsiteX15" fmla="*/ 3189 w 10000"/>
                  <a:gd name="connsiteY15" fmla="*/ 2929 h 10000"/>
                  <a:gd name="connsiteX16" fmla="*/ 3117 w 10000"/>
                  <a:gd name="connsiteY16" fmla="*/ 3081 h 10000"/>
                  <a:gd name="connsiteX17" fmla="*/ 1598 w 10000"/>
                  <a:gd name="connsiteY17" fmla="*/ 4141 h 10000"/>
                  <a:gd name="connsiteX18" fmla="*/ 1381 w 10000"/>
                  <a:gd name="connsiteY18" fmla="*/ 4192 h 10000"/>
                  <a:gd name="connsiteX19" fmla="*/ 1017 w 10000"/>
                  <a:gd name="connsiteY19" fmla="*/ 4091 h 10000"/>
                  <a:gd name="connsiteX20" fmla="*/ 0 w 10000"/>
                  <a:gd name="connsiteY20" fmla="*/ 3182 h 10000"/>
                  <a:gd name="connsiteX21" fmla="*/ 0 w 10000"/>
                  <a:gd name="connsiteY21" fmla="*/ 3838 h 10000"/>
                  <a:gd name="connsiteX0" fmla="*/ 10000 w 10000"/>
                  <a:gd name="connsiteY0" fmla="*/ 10000 h 10000"/>
                  <a:gd name="connsiteX1" fmla="*/ 9493 w 10000"/>
                  <a:gd name="connsiteY1" fmla="*/ 10000 h 10000"/>
                  <a:gd name="connsiteX2" fmla="*/ 8844 w 10000"/>
                  <a:gd name="connsiteY2" fmla="*/ 9545 h 10000"/>
                  <a:gd name="connsiteX3" fmla="*/ 8844 w 10000"/>
                  <a:gd name="connsiteY3" fmla="*/ 5354 h 10000"/>
                  <a:gd name="connsiteX4" fmla="*/ 8545 w 10000"/>
                  <a:gd name="connsiteY4" fmla="*/ 5354 h 10000"/>
                  <a:gd name="connsiteX5" fmla="*/ 8545 w 10000"/>
                  <a:gd name="connsiteY5" fmla="*/ 9545 h 10000"/>
                  <a:gd name="connsiteX6" fmla="*/ 7897 w 10000"/>
                  <a:gd name="connsiteY6" fmla="*/ 10000 h 10000"/>
                  <a:gd name="connsiteX7" fmla="*/ 7316 w 10000"/>
                  <a:gd name="connsiteY7" fmla="*/ 10000 h 10000"/>
                  <a:gd name="connsiteX8" fmla="*/ 6736 w 10000"/>
                  <a:gd name="connsiteY8" fmla="*/ 9545 h 10000"/>
                  <a:gd name="connsiteX9" fmla="*/ 6736 w 10000"/>
                  <a:gd name="connsiteY9" fmla="*/ 5354 h 10000"/>
                  <a:gd name="connsiteX10" fmla="*/ 3189 w 10000"/>
                  <a:gd name="connsiteY10" fmla="*/ 5354 h 10000"/>
                  <a:gd name="connsiteX11" fmla="*/ 6378 w 10000"/>
                  <a:gd name="connsiteY11" fmla="*/ 758 h 10000"/>
                  <a:gd name="connsiteX12" fmla="*/ 6378 w 10000"/>
                  <a:gd name="connsiteY12" fmla="*/ 0 h 10000"/>
                  <a:gd name="connsiteX13" fmla="*/ 4206 w 10000"/>
                  <a:gd name="connsiteY13" fmla="*/ 2677 h 10000"/>
                  <a:gd name="connsiteX14" fmla="*/ 3260 w 10000"/>
                  <a:gd name="connsiteY14" fmla="*/ 2929 h 10000"/>
                  <a:gd name="connsiteX15" fmla="*/ 3189 w 10000"/>
                  <a:gd name="connsiteY15" fmla="*/ 2929 h 10000"/>
                  <a:gd name="connsiteX16" fmla="*/ 3117 w 10000"/>
                  <a:gd name="connsiteY16" fmla="*/ 3081 h 10000"/>
                  <a:gd name="connsiteX17" fmla="*/ 1598 w 10000"/>
                  <a:gd name="connsiteY17" fmla="*/ 4141 h 10000"/>
                  <a:gd name="connsiteX18" fmla="*/ 1381 w 10000"/>
                  <a:gd name="connsiteY18" fmla="*/ 4192 h 10000"/>
                  <a:gd name="connsiteX19" fmla="*/ 1017 w 10000"/>
                  <a:gd name="connsiteY19" fmla="*/ 4091 h 10000"/>
                  <a:gd name="connsiteX20" fmla="*/ 0 w 10000"/>
                  <a:gd name="connsiteY20" fmla="*/ 3182 h 10000"/>
                  <a:gd name="connsiteX0" fmla="*/ 8983 w 8983"/>
                  <a:gd name="connsiteY0" fmla="*/ 10000 h 10000"/>
                  <a:gd name="connsiteX1" fmla="*/ 8476 w 8983"/>
                  <a:gd name="connsiteY1" fmla="*/ 10000 h 10000"/>
                  <a:gd name="connsiteX2" fmla="*/ 7827 w 8983"/>
                  <a:gd name="connsiteY2" fmla="*/ 9545 h 10000"/>
                  <a:gd name="connsiteX3" fmla="*/ 7827 w 8983"/>
                  <a:gd name="connsiteY3" fmla="*/ 5354 h 10000"/>
                  <a:gd name="connsiteX4" fmla="*/ 7528 w 8983"/>
                  <a:gd name="connsiteY4" fmla="*/ 5354 h 10000"/>
                  <a:gd name="connsiteX5" fmla="*/ 7528 w 8983"/>
                  <a:gd name="connsiteY5" fmla="*/ 9545 h 10000"/>
                  <a:gd name="connsiteX6" fmla="*/ 6880 w 8983"/>
                  <a:gd name="connsiteY6" fmla="*/ 10000 h 10000"/>
                  <a:gd name="connsiteX7" fmla="*/ 6299 w 8983"/>
                  <a:gd name="connsiteY7" fmla="*/ 10000 h 10000"/>
                  <a:gd name="connsiteX8" fmla="*/ 5719 w 8983"/>
                  <a:gd name="connsiteY8" fmla="*/ 9545 h 10000"/>
                  <a:gd name="connsiteX9" fmla="*/ 5719 w 8983"/>
                  <a:gd name="connsiteY9" fmla="*/ 5354 h 10000"/>
                  <a:gd name="connsiteX10" fmla="*/ 2172 w 8983"/>
                  <a:gd name="connsiteY10" fmla="*/ 5354 h 10000"/>
                  <a:gd name="connsiteX11" fmla="*/ 5361 w 8983"/>
                  <a:gd name="connsiteY11" fmla="*/ 758 h 10000"/>
                  <a:gd name="connsiteX12" fmla="*/ 5361 w 8983"/>
                  <a:gd name="connsiteY12" fmla="*/ 0 h 10000"/>
                  <a:gd name="connsiteX13" fmla="*/ 3189 w 8983"/>
                  <a:gd name="connsiteY13" fmla="*/ 2677 h 10000"/>
                  <a:gd name="connsiteX14" fmla="*/ 2243 w 8983"/>
                  <a:gd name="connsiteY14" fmla="*/ 2929 h 10000"/>
                  <a:gd name="connsiteX15" fmla="*/ 2172 w 8983"/>
                  <a:gd name="connsiteY15" fmla="*/ 2929 h 10000"/>
                  <a:gd name="connsiteX16" fmla="*/ 2100 w 8983"/>
                  <a:gd name="connsiteY16" fmla="*/ 3081 h 10000"/>
                  <a:gd name="connsiteX17" fmla="*/ 581 w 8983"/>
                  <a:gd name="connsiteY17" fmla="*/ 4141 h 10000"/>
                  <a:gd name="connsiteX18" fmla="*/ 364 w 8983"/>
                  <a:gd name="connsiteY18" fmla="*/ 4192 h 10000"/>
                  <a:gd name="connsiteX19" fmla="*/ 0 w 8983"/>
                  <a:gd name="connsiteY19" fmla="*/ 4091 h 10000"/>
                  <a:gd name="connsiteX0" fmla="*/ 9595 w 9595"/>
                  <a:gd name="connsiteY0" fmla="*/ 10000 h 10000"/>
                  <a:gd name="connsiteX1" fmla="*/ 9031 w 9595"/>
                  <a:gd name="connsiteY1" fmla="*/ 10000 h 10000"/>
                  <a:gd name="connsiteX2" fmla="*/ 8308 w 9595"/>
                  <a:gd name="connsiteY2" fmla="*/ 9545 h 10000"/>
                  <a:gd name="connsiteX3" fmla="*/ 8308 w 9595"/>
                  <a:gd name="connsiteY3" fmla="*/ 5354 h 10000"/>
                  <a:gd name="connsiteX4" fmla="*/ 7975 w 9595"/>
                  <a:gd name="connsiteY4" fmla="*/ 5354 h 10000"/>
                  <a:gd name="connsiteX5" fmla="*/ 7975 w 9595"/>
                  <a:gd name="connsiteY5" fmla="*/ 9545 h 10000"/>
                  <a:gd name="connsiteX6" fmla="*/ 7254 w 9595"/>
                  <a:gd name="connsiteY6" fmla="*/ 10000 h 10000"/>
                  <a:gd name="connsiteX7" fmla="*/ 6607 w 9595"/>
                  <a:gd name="connsiteY7" fmla="*/ 10000 h 10000"/>
                  <a:gd name="connsiteX8" fmla="*/ 5961 w 9595"/>
                  <a:gd name="connsiteY8" fmla="*/ 9545 h 10000"/>
                  <a:gd name="connsiteX9" fmla="*/ 5961 w 9595"/>
                  <a:gd name="connsiteY9" fmla="*/ 5354 h 10000"/>
                  <a:gd name="connsiteX10" fmla="*/ 2013 w 9595"/>
                  <a:gd name="connsiteY10" fmla="*/ 5354 h 10000"/>
                  <a:gd name="connsiteX11" fmla="*/ 5563 w 9595"/>
                  <a:gd name="connsiteY11" fmla="*/ 758 h 10000"/>
                  <a:gd name="connsiteX12" fmla="*/ 5563 w 9595"/>
                  <a:gd name="connsiteY12" fmla="*/ 0 h 10000"/>
                  <a:gd name="connsiteX13" fmla="*/ 3145 w 9595"/>
                  <a:gd name="connsiteY13" fmla="*/ 2677 h 10000"/>
                  <a:gd name="connsiteX14" fmla="*/ 2092 w 9595"/>
                  <a:gd name="connsiteY14" fmla="*/ 2929 h 10000"/>
                  <a:gd name="connsiteX15" fmla="*/ 2013 w 9595"/>
                  <a:gd name="connsiteY15" fmla="*/ 2929 h 10000"/>
                  <a:gd name="connsiteX16" fmla="*/ 1933 w 9595"/>
                  <a:gd name="connsiteY16" fmla="*/ 3081 h 10000"/>
                  <a:gd name="connsiteX17" fmla="*/ 242 w 9595"/>
                  <a:gd name="connsiteY17" fmla="*/ 4141 h 10000"/>
                  <a:gd name="connsiteX18" fmla="*/ 0 w 9595"/>
                  <a:gd name="connsiteY18" fmla="*/ 4192 h 10000"/>
                  <a:gd name="connsiteX0" fmla="*/ 9748 w 9748"/>
                  <a:gd name="connsiteY0" fmla="*/ 10000 h 10000"/>
                  <a:gd name="connsiteX1" fmla="*/ 9160 w 9748"/>
                  <a:gd name="connsiteY1" fmla="*/ 10000 h 10000"/>
                  <a:gd name="connsiteX2" fmla="*/ 8407 w 9748"/>
                  <a:gd name="connsiteY2" fmla="*/ 9545 h 10000"/>
                  <a:gd name="connsiteX3" fmla="*/ 8407 w 9748"/>
                  <a:gd name="connsiteY3" fmla="*/ 5354 h 10000"/>
                  <a:gd name="connsiteX4" fmla="*/ 8060 w 9748"/>
                  <a:gd name="connsiteY4" fmla="*/ 5354 h 10000"/>
                  <a:gd name="connsiteX5" fmla="*/ 8060 w 9748"/>
                  <a:gd name="connsiteY5" fmla="*/ 9545 h 10000"/>
                  <a:gd name="connsiteX6" fmla="*/ 7308 w 9748"/>
                  <a:gd name="connsiteY6" fmla="*/ 10000 h 10000"/>
                  <a:gd name="connsiteX7" fmla="*/ 6634 w 9748"/>
                  <a:gd name="connsiteY7" fmla="*/ 10000 h 10000"/>
                  <a:gd name="connsiteX8" fmla="*/ 5961 w 9748"/>
                  <a:gd name="connsiteY8" fmla="*/ 9545 h 10000"/>
                  <a:gd name="connsiteX9" fmla="*/ 5961 w 9748"/>
                  <a:gd name="connsiteY9" fmla="*/ 5354 h 10000"/>
                  <a:gd name="connsiteX10" fmla="*/ 1846 w 9748"/>
                  <a:gd name="connsiteY10" fmla="*/ 5354 h 10000"/>
                  <a:gd name="connsiteX11" fmla="*/ 5546 w 9748"/>
                  <a:gd name="connsiteY11" fmla="*/ 758 h 10000"/>
                  <a:gd name="connsiteX12" fmla="*/ 5546 w 9748"/>
                  <a:gd name="connsiteY12" fmla="*/ 0 h 10000"/>
                  <a:gd name="connsiteX13" fmla="*/ 3026 w 9748"/>
                  <a:gd name="connsiteY13" fmla="*/ 2677 h 10000"/>
                  <a:gd name="connsiteX14" fmla="*/ 1928 w 9748"/>
                  <a:gd name="connsiteY14" fmla="*/ 2929 h 10000"/>
                  <a:gd name="connsiteX15" fmla="*/ 1846 w 9748"/>
                  <a:gd name="connsiteY15" fmla="*/ 2929 h 10000"/>
                  <a:gd name="connsiteX16" fmla="*/ 1763 w 9748"/>
                  <a:gd name="connsiteY16" fmla="*/ 3081 h 10000"/>
                  <a:gd name="connsiteX17" fmla="*/ 0 w 9748"/>
                  <a:gd name="connsiteY17" fmla="*/ 4141 h 10000"/>
                  <a:gd name="connsiteX0" fmla="*/ 8191 w 8191"/>
                  <a:gd name="connsiteY0" fmla="*/ 10000 h 10000"/>
                  <a:gd name="connsiteX1" fmla="*/ 7588 w 8191"/>
                  <a:gd name="connsiteY1" fmla="*/ 10000 h 10000"/>
                  <a:gd name="connsiteX2" fmla="*/ 6815 w 8191"/>
                  <a:gd name="connsiteY2" fmla="*/ 9545 h 10000"/>
                  <a:gd name="connsiteX3" fmla="*/ 6815 w 8191"/>
                  <a:gd name="connsiteY3" fmla="*/ 5354 h 10000"/>
                  <a:gd name="connsiteX4" fmla="*/ 6459 w 8191"/>
                  <a:gd name="connsiteY4" fmla="*/ 5354 h 10000"/>
                  <a:gd name="connsiteX5" fmla="*/ 6459 w 8191"/>
                  <a:gd name="connsiteY5" fmla="*/ 9545 h 10000"/>
                  <a:gd name="connsiteX6" fmla="*/ 5688 w 8191"/>
                  <a:gd name="connsiteY6" fmla="*/ 10000 h 10000"/>
                  <a:gd name="connsiteX7" fmla="*/ 4996 w 8191"/>
                  <a:gd name="connsiteY7" fmla="*/ 10000 h 10000"/>
                  <a:gd name="connsiteX8" fmla="*/ 4306 w 8191"/>
                  <a:gd name="connsiteY8" fmla="*/ 9545 h 10000"/>
                  <a:gd name="connsiteX9" fmla="*/ 4306 w 8191"/>
                  <a:gd name="connsiteY9" fmla="*/ 5354 h 10000"/>
                  <a:gd name="connsiteX10" fmla="*/ 85 w 8191"/>
                  <a:gd name="connsiteY10" fmla="*/ 5354 h 10000"/>
                  <a:gd name="connsiteX11" fmla="*/ 3880 w 8191"/>
                  <a:gd name="connsiteY11" fmla="*/ 758 h 10000"/>
                  <a:gd name="connsiteX12" fmla="*/ 3880 w 8191"/>
                  <a:gd name="connsiteY12" fmla="*/ 0 h 10000"/>
                  <a:gd name="connsiteX13" fmla="*/ 1295 w 8191"/>
                  <a:gd name="connsiteY13" fmla="*/ 2677 h 10000"/>
                  <a:gd name="connsiteX14" fmla="*/ 169 w 8191"/>
                  <a:gd name="connsiteY14" fmla="*/ 2929 h 10000"/>
                  <a:gd name="connsiteX15" fmla="*/ 85 w 8191"/>
                  <a:gd name="connsiteY15" fmla="*/ 2929 h 10000"/>
                  <a:gd name="connsiteX16" fmla="*/ 0 w 8191"/>
                  <a:gd name="connsiteY16" fmla="*/ 3081 h 10000"/>
                  <a:gd name="connsiteX0" fmla="*/ 9896 w 9896"/>
                  <a:gd name="connsiteY0" fmla="*/ 10000 h 10000"/>
                  <a:gd name="connsiteX1" fmla="*/ 9160 w 9896"/>
                  <a:gd name="connsiteY1" fmla="*/ 10000 h 10000"/>
                  <a:gd name="connsiteX2" fmla="*/ 8216 w 9896"/>
                  <a:gd name="connsiteY2" fmla="*/ 9545 h 10000"/>
                  <a:gd name="connsiteX3" fmla="*/ 8216 w 9896"/>
                  <a:gd name="connsiteY3" fmla="*/ 5354 h 10000"/>
                  <a:gd name="connsiteX4" fmla="*/ 7781 w 9896"/>
                  <a:gd name="connsiteY4" fmla="*/ 5354 h 10000"/>
                  <a:gd name="connsiteX5" fmla="*/ 7781 w 9896"/>
                  <a:gd name="connsiteY5" fmla="*/ 9545 h 10000"/>
                  <a:gd name="connsiteX6" fmla="*/ 6840 w 9896"/>
                  <a:gd name="connsiteY6" fmla="*/ 10000 h 10000"/>
                  <a:gd name="connsiteX7" fmla="*/ 5995 w 9896"/>
                  <a:gd name="connsiteY7" fmla="*/ 10000 h 10000"/>
                  <a:gd name="connsiteX8" fmla="*/ 5153 w 9896"/>
                  <a:gd name="connsiteY8" fmla="*/ 9545 h 10000"/>
                  <a:gd name="connsiteX9" fmla="*/ 5153 w 9896"/>
                  <a:gd name="connsiteY9" fmla="*/ 5354 h 10000"/>
                  <a:gd name="connsiteX10" fmla="*/ 0 w 9896"/>
                  <a:gd name="connsiteY10" fmla="*/ 5354 h 10000"/>
                  <a:gd name="connsiteX11" fmla="*/ 4633 w 9896"/>
                  <a:gd name="connsiteY11" fmla="*/ 758 h 10000"/>
                  <a:gd name="connsiteX12" fmla="*/ 4633 w 9896"/>
                  <a:gd name="connsiteY12" fmla="*/ 0 h 10000"/>
                  <a:gd name="connsiteX13" fmla="*/ 1477 w 9896"/>
                  <a:gd name="connsiteY13" fmla="*/ 2677 h 10000"/>
                  <a:gd name="connsiteX14" fmla="*/ 102 w 9896"/>
                  <a:gd name="connsiteY14" fmla="*/ 2929 h 10000"/>
                  <a:gd name="connsiteX15" fmla="*/ 0 w 9896"/>
                  <a:gd name="connsiteY15" fmla="*/ 292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896" h="10000">
                    <a:moveTo>
                      <a:pt x="9896" y="10000"/>
                    </a:moveTo>
                    <a:lnTo>
                      <a:pt x="9160" y="10000"/>
                    </a:lnTo>
                    <a:cubicBezTo>
                      <a:pt x="8639" y="10000"/>
                      <a:pt x="8216" y="9798"/>
                      <a:pt x="8216" y="9545"/>
                    </a:cubicBezTo>
                    <a:lnTo>
                      <a:pt x="8216" y="5354"/>
                    </a:lnTo>
                    <a:lnTo>
                      <a:pt x="7781" y="5354"/>
                    </a:lnTo>
                    <a:lnTo>
                      <a:pt x="7781" y="9545"/>
                    </a:lnTo>
                    <a:cubicBezTo>
                      <a:pt x="7781" y="9798"/>
                      <a:pt x="7365" y="10000"/>
                      <a:pt x="6840" y="10000"/>
                    </a:cubicBezTo>
                    <a:lnTo>
                      <a:pt x="5995" y="10000"/>
                    </a:lnTo>
                    <a:cubicBezTo>
                      <a:pt x="5579" y="10000"/>
                      <a:pt x="5153" y="9798"/>
                      <a:pt x="5153" y="9545"/>
                    </a:cubicBezTo>
                    <a:lnTo>
                      <a:pt x="5153" y="5354"/>
                    </a:lnTo>
                    <a:lnTo>
                      <a:pt x="0" y="5354"/>
                    </a:lnTo>
                    <a:lnTo>
                      <a:pt x="4633" y="758"/>
                    </a:lnTo>
                    <a:lnTo>
                      <a:pt x="4633" y="0"/>
                    </a:lnTo>
                    <a:lnTo>
                      <a:pt x="1477" y="2677"/>
                    </a:lnTo>
                    <a:cubicBezTo>
                      <a:pt x="1164" y="2980"/>
                      <a:pt x="527" y="3081"/>
                      <a:pt x="102" y="2929"/>
                    </a:cubicBezTo>
                    <a:lnTo>
                      <a:pt x="0" y="2929"/>
                    </a:lnTo>
                  </a:path>
                </a:pathLst>
              </a:custGeom>
              <a:grpFill/>
              <a:ln w="12700" cap="rnd">
                <a:solidFill>
                  <a:schemeClr val="accent5"/>
                </a:solidFill>
                <a:prstDash val="solid"/>
                <a:round/>
                <a:headEnd/>
                <a:tailEnd/>
              </a:ln>
              <a:extLst/>
            </p:spPr>
            <p:txBody>
              <a:bodyPr/>
              <a:lstStyle/>
              <a:p>
                <a:endParaRPr lang="en-GB" dirty="0">
                  <a:solidFill>
                    <a:srgbClr val="00264A"/>
                  </a:solidFill>
                </a:endParaRPr>
              </a:p>
            </p:txBody>
          </p:sp>
        </p:grpSp>
      </p:grpSp>
      <p:grpSp>
        <p:nvGrpSpPr>
          <p:cNvPr id="17" name="Group 153"/>
          <p:cNvGrpSpPr/>
          <p:nvPr/>
        </p:nvGrpSpPr>
        <p:grpSpPr>
          <a:xfrm>
            <a:off x="516164" y="4694899"/>
            <a:ext cx="874486" cy="874490"/>
            <a:chOff x="-1663700" y="2439988"/>
            <a:chExt cx="720724" cy="720725"/>
          </a:xfrm>
          <a:solidFill>
            <a:schemeClr val="bg1"/>
          </a:solidFill>
        </p:grpSpPr>
        <p:sp>
          <p:nvSpPr>
            <p:cNvPr id="155" name="Freeform 70"/>
            <p:cNvSpPr>
              <a:spLocks/>
            </p:cNvSpPr>
            <p:nvPr/>
          </p:nvSpPr>
          <p:spPr bwMode="auto">
            <a:xfrm>
              <a:off x="-1122363" y="2439988"/>
              <a:ext cx="119062" cy="150813"/>
            </a:xfrm>
            <a:custGeom>
              <a:avLst/>
              <a:gdLst/>
              <a:ahLst/>
              <a:cxnLst>
                <a:cxn ang="0">
                  <a:pos x="16" y="40"/>
                </a:cxn>
                <a:cxn ang="0">
                  <a:pos x="32" y="19"/>
                </a:cxn>
                <a:cxn ang="0">
                  <a:pos x="16" y="0"/>
                </a:cxn>
                <a:cxn ang="0">
                  <a:pos x="0" y="19"/>
                </a:cxn>
                <a:cxn ang="0">
                  <a:pos x="16" y="40"/>
                </a:cxn>
              </a:cxnLst>
              <a:rect l="0" t="0" r="r" b="b"/>
              <a:pathLst>
                <a:path w="32" h="40">
                  <a:moveTo>
                    <a:pt x="16" y="40"/>
                  </a:moveTo>
                  <a:cubicBezTo>
                    <a:pt x="25" y="40"/>
                    <a:pt x="32" y="29"/>
                    <a:pt x="32" y="19"/>
                  </a:cubicBezTo>
                  <a:cubicBezTo>
                    <a:pt x="32" y="9"/>
                    <a:pt x="25" y="0"/>
                    <a:pt x="16" y="0"/>
                  </a:cubicBezTo>
                  <a:cubicBezTo>
                    <a:pt x="7" y="0"/>
                    <a:pt x="0" y="9"/>
                    <a:pt x="0" y="19"/>
                  </a:cubicBezTo>
                  <a:cubicBezTo>
                    <a:pt x="0" y="29"/>
                    <a:pt x="6" y="40"/>
                    <a:pt x="16" y="40"/>
                  </a:cubicBezTo>
                  <a:close/>
                </a:path>
              </a:pathLst>
            </a:custGeom>
            <a:grp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en-US" b="1" dirty="0">
                <a:solidFill>
                  <a:srgbClr val="00264A"/>
                </a:solidFill>
                <a:cs typeface="Arial" charset="0"/>
              </a:endParaRPr>
            </a:p>
          </p:txBody>
        </p:sp>
        <p:sp>
          <p:nvSpPr>
            <p:cNvPr id="156" name="Freeform 71"/>
            <p:cNvSpPr>
              <a:spLocks/>
            </p:cNvSpPr>
            <p:nvPr/>
          </p:nvSpPr>
          <p:spPr bwMode="auto">
            <a:xfrm>
              <a:off x="-1182688" y="2619375"/>
              <a:ext cx="239712" cy="541338"/>
            </a:xfrm>
            <a:custGeom>
              <a:avLst/>
              <a:gdLst/>
              <a:ahLst/>
              <a:cxnLst>
                <a:cxn ang="0">
                  <a:pos x="52" y="105"/>
                </a:cxn>
                <a:cxn ang="0">
                  <a:pos x="52" y="72"/>
                </a:cxn>
                <a:cxn ang="0">
                  <a:pos x="54" y="72"/>
                </a:cxn>
                <a:cxn ang="0">
                  <a:pos x="64" y="62"/>
                </a:cxn>
                <a:cxn ang="0">
                  <a:pos x="64" y="10"/>
                </a:cxn>
                <a:cxn ang="0">
                  <a:pos x="56" y="1"/>
                </a:cxn>
                <a:cxn ang="0">
                  <a:pos x="56" y="0"/>
                </a:cxn>
                <a:cxn ang="0">
                  <a:pos x="45" y="0"/>
                </a:cxn>
                <a:cxn ang="0">
                  <a:pos x="36" y="26"/>
                </a:cxn>
                <a:cxn ang="0">
                  <a:pos x="36" y="9"/>
                </a:cxn>
                <a:cxn ang="0">
                  <a:pos x="34" y="5"/>
                </a:cxn>
                <a:cxn ang="0">
                  <a:pos x="36" y="0"/>
                </a:cxn>
                <a:cxn ang="0">
                  <a:pos x="28" y="0"/>
                </a:cxn>
                <a:cxn ang="0">
                  <a:pos x="30" y="5"/>
                </a:cxn>
                <a:cxn ang="0">
                  <a:pos x="28" y="9"/>
                </a:cxn>
                <a:cxn ang="0">
                  <a:pos x="28" y="26"/>
                </a:cxn>
                <a:cxn ang="0">
                  <a:pos x="18" y="0"/>
                </a:cxn>
                <a:cxn ang="0">
                  <a:pos x="8" y="0"/>
                </a:cxn>
                <a:cxn ang="0">
                  <a:pos x="8" y="1"/>
                </a:cxn>
                <a:cxn ang="0">
                  <a:pos x="0" y="10"/>
                </a:cxn>
                <a:cxn ang="0">
                  <a:pos x="0" y="62"/>
                </a:cxn>
                <a:cxn ang="0">
                  <a:pos x="10" y="72"/>
                </a:cxn>
                <a:cxn ang="0">
                  <a:pos x="12" y="72"/>
                </a:cxn>
                <a:cxn ang="0">
                  <a:pos x="12" y="134"/>
                </a:cxn>
                <a:cxn ang="0">
                  <a:pos x="22" y="144"/>
                </a:cxn>
                <a:cxn ang="0">
                  <a:pos x="32" y="134"/>
                </a:cxn>
                <a:cxn ang="0">
                  <a:pos x="42" y="144"/>
                </a:cxn>
                <a:cxn ang="0">
                  <a:pos x="52" y="134"/>
                </a:cxn>
              </a:cxnLst>
              <a:rect l="0" t="0" r="r" b="b"/>
              <a:pathLst>
                <a:path w="64" h="144">
                  <a:moveTo>
                    <a:pt x="52" y="105"/>
                  </a:moveTo>
                  <a:cubicBezTo>
                    <a:pt x="52" y="72"/>
                    <a:pt x="52" y="72"/>
                    <a:pt x="52" y="72"/>
                  </a:cubicBezTo>
                  <a:cubicBezTo>
                    <a:pt x="52" y="72"/>
                    <a:pt x="53" y="72"/>
                    <a:pt x="54" y="72"/>
                  </a:cubicBezTo>
                  <a:cubicBezTo>
                    <a:pt x="59" y="72"/>
                    <a:pt x="64" y="68"/>
                    <a:pt x="64" y="62"/>
                  </a:cubicBezTo>
                  <a:cubicBezTo>
                    <a:pt x="64" y="10"/>
                    <a:pt x="64" y="10"/>
                    <a:pt x="64" y="10"/>
                  </a:cubicBezTo>
                  <a:cubicBezTo>
                    <a:pt x="64" y="6"/>
                    <a:pt x="60" y="2"/>
                    <a:pt x="56" y="1"/>
                  </a:cubicBezTo>
                  <a:cubicBezTo>
                    <a:pt x="56" y="0"/>
                    <a:pt x="56" y="0"/>
                    <a:pt x="56" y="0"/>
                  </a:cubicBezTo>
                  <a:cubicBezTo>
                    <a:pt x="45" y="0"/>
                    <a:pt x="45" y="0"/>
                    <a:pt x="45" y="0"/>
                  </a:cubicBezTo>
                  <a:cubicBezTo>
                    <a:pt x="36" y="26"/>
                    <a:pt x="36" y="26"/>
                    <a:pt x="36" y="26"/>
                  </a:cubicBezTo>
                  <a:cubicBezTo>
                    <a:pt x="36" y="9"/>
                    <a:pt x="36" y="9"/>
                    <a:pt x="36" y="9"/>
                  </a:cubicBezTo>
                  <a:cubicBezTo>
                    <a:pt x="34" y="5"/>
                    <a:pt x="34" y="5"/>
                    <a:pt x="34" y="5"/>
                  </a:cubicBezTo>
                  <a:cubicBezTo>
                    <a:pt x="36" y="0"/>
                    <a:pt x="36" y="0"/>
                    <a:pt x="36" y="0"/>
                  </a:cubicBezTo>
                  <a:cubicBezTo>
                    <a:pt x="28" y="0"/>
                    <a:pt x="28" y="0"/>
                    <a:pt x="28" y="0"/>
                  </a:cubicBezTo>
                  <a:cubicBezTo>
                    <a:pt x="30" y="5"/>
                    <a:pt x="30" y="5"/>
                    <a:pt x="30" y="5"/>
                  </a:cubicBezTo>
                  <a:cubicBezTo>
                    <a:pt x="28" y="9"/>
                    <a:pt x="28" y="9"/>
                    <a:pt x="28" y="9"/>
                  </a:cubicBezTo>
                  <a:cubicBezTo>
                    <a:pt x="28" y="26"/>
                    <a:pt x="28" y="26"/>
                    <a:pt x="28" y="26"/>
                  </a:cubicBezTo>
                  <a:cubicBezTo>
                    <a:pt x="18" y="0"/>
                    <a:pt x="18" y="0"/>
                    <a:pt x="18" y="0"/>
                  </a:cubicBezTo>
                  <a:cubicBezTo>
                    <a:pt x="8" y="0"/>
                    <a:pt x="8" y="0"/>
                    <a:pt x="8" y="0"/>
                  </a:cubicBezTo>
                  <a:cubicBezTo>
                    <a:pt x="8" y="1"/>
                    <a:pt x="8" y="1"/>
                    <a:pt x="8" y="1"/>
                  </a:cubicBezTo>
                  <a:cubicBezTo>
                    <a:pt x="3" y="2"/>
                    <a:pt x="0" y="6"/>
                    <a:pt x="0" y="10"/>
                  </a:cubicBezTo>
                  <a:cubicBezTo>
                    <a:pt x="0" y="62"/>
                    <a:pt x="0" y="62"/>
                    <a:pt x="0" y="62"/>
                  </a:cubicBezTo>
                  <a:cubicBezTo>
                    <a:pt x="0" y="68"/>
                    <a:pt x="4" y="72"/>
                    <a:pt x="10" y="72"/>
                  </a:cubicBezTo>
                  <a:cubicBezTo>
                    <a:pt x="10" y="72"/>
                    <a:pt x="11" y="72"/>
                    <a:pt x="12" y="72"/>
                  </a:cubicBezTo>
                  <a:cubicBezTo>
                    <a:pt x="12" y="134"/>
                    <a:pt x="12" y="134"/>
                    <a:pt x="12" y="134"/>
                  </a:cubicBezTo>
                  <a:cubicBezTo>
                    <a:pt x="12" y="140"/>
                    <a:pt x="16" y="144"/>
                    <a:pt x="22" y="144"/>
                  </a:cubicBezTo>
                  <a:cubicBezTo>
                    <a:pt x="27" y="144"/>
                    <a:pt x="32" y="140"/>
                    <a:pt x="32" y="134"/>
                  </a:cubicBezTo>
                  <a:cubicBezTo>
                    <a:pt x="32" y="140"/>
                    <a:pt x="36" y="144"/>
                    <a:pt x="42" y="144"/>
                  </a:cubicBezTo>
                  <a:cubicBezTo>
                    <a:pt x="47" y="144"/>
                    <a:pt x="52" y="140"/>
                    <a:pt x="52" y="134"/>
                  </a:cubicBezTo>
                </a:path>
              </a:pathLst>
            </a:custGeom>
            <a:grp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en-US" b="1" dirty="0">
                <a:solidFill>
                  <a:srgbClr val="00264A"/>
                </a:solidFill>
                <a:cs typeface="Arial" charset="0"/>
              </a:endParaRPr>
            </a:p>
          </p:txBody>
        </p:sp>
        <p:sp>
          <p:nvSpPr>
            <p:cNvPr id="157" name="Freeform 72"/>
            <p:cNvSpPr>
              <a:spLocks/>
            </p:cNvSpPr>
            <p:nvPr/>
          </p:nvSpPr>
          <p:spPr bwMode="auto">
            <a:xfrm>
              <a:off x="-1663700" y="2844800"/>
              <a:ext cx="225425" cy="315913"/>
            </a:xfrm>
            <a:custGeom>
              <a:avLst/>
              <a:gdLst/>
              <a:ahLst/>
              <a:cxnLst>
                <a:cxn ang="0">
                  <a:pos x="0" y="76"/>
                </a:cxn>
                <a:cxn ang="0">
                  <a:pos x="38" y="76"/>
                </a:cxn>
                <a:cxn ang="0">
                  <a:pos x="38" y="199"/>
                </a:cxn>
                <a:cxn ang="0">
                  <a:pos x="104" y="199"/>
                </a:cxn>
                <a:cxn ang="0">
                  <a:pos x="104" y="76"/>
                </a:cxn>
                <a:cxn ang="0">
                  <a:pos x="142" y="76"/>
                </a:cxn>
                <a:cxn ang="0">
                  <a:pos x="71" y="0"/>
                </a:cxn>
                <a:cxn ang="0">
                  <a:pos x="0" y="76"/>
                </a:cxn>
              </a:cxnLst>
              <a:rect l="0" t="0" r="r" b="b"/>
              <a:pathLst>
                <a:path w="142" h="199">
                  <a:moveTo>
                    <a:pt x="0" y="76"/>
                  </a:moveTo>
                  <a:lnTo>
                    <a:pt x="38" y="76"/>
                  </a:lnTo>
                  <a:lnTo>
                    <a:pt x="38" y="199"/>
                  </a:lnTo>
                  <a:lnTo>
                    <a:pt x="104" y="199"/>
                  </a:lnTo>
                  <a:lnTo>
                    <a:pt x="104" y="76"/>
                  </a:lnTo>
                  <a:lnTo>
                    <a:pt x="142" y="76"/>
                  </a:lnTo>
                  <a:lnTo>
                    <a:pt x="71" y="0"/>
                  </a:lnTo>
                  <a:lnTo>
                    <a:pt x="0" y="76"/>
                  </a:lnTo>
                  <a:close/>
                </a:path>
              </a:pathLst>
            </a:custGeom>
            <a:grp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en-US" b="1" dirty="0">
                <a:solidFill>
                  <a:srgbClr val="00264A"/>
                </a:solidFill>
                <a:cs typeface="Arial" charset="0"/>
              </a:endParaRPr>
            </a:p>
          </p:txBody>
        </p:sp>
        <p:sp>
          <p:nvSpPr>
            <p:cNvPr id="158" name="Freeform 73"/>
            <p:cNvSpPr>
              <a:spLocks/>
            </p:cNvSpPr>
            <p:nvPr/>
          </p:nvSpPr>
          <p:spPr bwMode="auto">
            <a:xfrm>
              <a:off x="-1438275" y="2619375"/>
              <a:ext cx="225425" cy="541338"/>
            </a:xfrm>
            <a:custGeom>
              <a:avLst/>
              <a:gdLst/>
              <a:ahLst/>
              <a:cxnLst>
                <a:cxn ang="0">
                  <a:pos x="0" y="76"/>
                </a:cxn>
                <a:cxn ang="0">
                  <a:pos x="38" y="76"/>
                </a:cxn>
                <a:cxn ang="0">
                  <a:pos x="38" y="341"/>
                </a:cxn>
                <a:cxn ang="0">
                  <a:pos x="104" y="341"/>
                </a:cxn>
                <a:cxn ang="0">
                  <a:pos x="104" y="76"/>
                </a:cxn>
                <a:cxn ang="0">
                  <a:pos x="142" y="76"/>
                </a:cxn>
                <a:cxn ang="0">
                  <a:pos x="71" y="0"/>
                </a:cxn>
                <a:cxn ang="0">
                  <a:pos x="0" y="76"/>
                </a:cxn>
              </a:cxnLst>
              <a:rect l="0" t="0" r="r" b="b"/>
              <a:pathLst>
                <a:path w="142" h="341">
                  <a:moveTo>
                    <a:pt x="0" y="76"/>
                  </a:moveTo>
                  <a:lnTo>
                    <a:pt x="38" y="76"/>
                  </a:lnTo>
                  <a:lnTo>
                    <a:pt x="38" y="341"/>
                  </a:lnTo>
                  <a:lnTo>
                    <a:pt x="104" y="341"/>
                  </a:lnTo>
                  <a:lnTo>
                    <a:pt x="104" y="76"/>
                  </a:lnTo>
                  <a:lnTo>
                    <a:pt x="142" y="76"/>
                  </a:lnTo>
                  <a:lnTo>
                    <a:pt x="71" y="0"/>
                  </a:lnTo>
                  <a:lnTo>
                    <a:pt x="0" y="76"/>
                  </a:lnTo>
                  <a:close/>
                </a:path>
              </a:pathLst>
            </a:custGeom>
            <a:grp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en-US" b="1" dirty="0">
                <a:solidFill>
                  <a:srgbClr val="00264A"/>
                </a:solidFill>
                <a:cs typeface="Arial" charset="0"/>
              </a:endParaRPr>
            </a:p>
          </p:txBody>
        </p:sp>
      </p:grpSp>
      <p:sp>
        <p:nvSpPr>
          <p:cNvPr id="159" name="Right Brace 158"/>
          <p:cNvSpPr/>
          <p:nvPr/>
        </p:nvSpPr>
        <p:spPr bwMode="auto">
          <a:xfrm>
            <a:off x="1524000" y="4693209"/>
            <a:ext cx="234876" cy="877870"/>
          </a:xfrm>
          <a:prstGeom prst="rightBrace">
            <a:avLst>
              <a:gd name="adj1" fmla="val 37847"/>
              <a:gd name="adj2" fmla="val 50000"/>
            </a:avLst>
          </a:prstGeom>
          <a:solidFill>
            <a:schemeClr val="bg1">
              <a:lumMod val="85000"/>
            </a:schemeClr>
          </a:solidFill>
          <a:ln w="3175" cap="flat" cmpd="sng" algn="ctr">
            <a:noFill/>
            <a:prstDash val="solid"/>
            <a:round/>
            <a:headEnd type="none" w="med" len="med"/>
            <a:tailEnd type="none" w="med" len="med"/>
          </a:ln>
          <a:effectLst/>
        </p:spPr>
        <p:txBody>
          <a:bodyPr rtlCol="0" anchor="ctr"/>
          <a:lstStyle/>
          <a:p>
            <a:pPr algn="ctr" defTabSz="914400" eaLnBrk="0" fontAlgn="base" hangingPunct="0">
              <a:spcBef>
                <a:spcPct val="0"/>
              </a:spcBef>
              <a:spcAft>
                <a:spcPct val="0"/>
              </a:spcAft>
            </a:pPr>
            <a:endParaRPr lang="en-US" sz="1600" dirty="0">
              <a:solidFill>
                <a:srgbClr val="909090">
                  <a:lumMod val="50000"/>
                </a:srgbClr>
              </a:solidFill>
              <a:cs typeface="Arial" charset="0"/>
            </a:endParaRPr>
          </a:p>
        </p:txBody>
      </p:sp>
    </p:spTree>
    <p:extLst>
      <p:ext uri="{BB962C8B-B14F-4D97-AF65-F5344CB8AC3E}">
        <p14:creationId xmlns="" xmlns:p14="http://schemas.microsoft.com/office/powerpoint/2010/main" val="2653568480"/>
      </p:ext>
    </p:extLst>
  </p:cSld>
  <p:clrMapOvr>
    <a:masterClrMapping/>
  </p:clrMapOvr>
  <mc:AlternateContent xmlns:mc="http://schemas.openxmlformats.org/markup-compatibility/2006">
    <mc:Choice xmlns="" xmlns:p14="http://schemas.microsoft.com/office/powerpoint/2010/main" Requires="p14">
      <p:transition spd="slow" p14:dur="1400">
        <p14:doors dir="vert"/>
      </p:transition>
    </mc:Choice>
    <mc:Fallback>
      <p:transition spd="slow">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smtClean="0"/>
              <a:t>T&amp;E: Timesheet Entry Exercise</a:t>
            </a:r>
            <a:endParaRPr lang="en-US" dirty="0"/>
          </a:p>
        </p:txBody>
      </p:sp>
      <p:sp>
        <p:nvSpPr>
          <p:cNvPr id="24" name="Content Placeholder 23"/>
          <p:cNvSpPr>
            <a:spLocks noGrp="1"/>
          </p:cNvSpPr>
          <p:nvPr>
            <p:ph idx="1"/>
          </p:nvPr>
        </p:nvSpPr>
        <p:spPr/>
        <p:txBody>
          <a:bodyPr/>
          <a:lstStyle/>
          <a:p>
            <a:r>
              <a:rPr lang="en-US" dirty="0" smtClean="0"/>
              <a:t>Time sheet: 9hrs/day. 45 hrs/wk</a:t>
            </a:r>
          </a:p>
          <a:p>
            <a:endParaRPr lang="en-US" dirty="0"/>
          </a:p>
        </p:txBody>
      </p:sp>
      <p:pic>
        <p:nvPicPr>
          <p:cNvPr id="68611" name="Picture 3"/>
          <p:cNvPicPr>
            <a:picLocks noChangeAspect="1" noChangeArrowheads="1"/>
          </p:cNvPicPr>
          <p:nvPr/>
        </p:nvPicPr>
        <p:blipFill>
          <a:blip r:embed="rId3" cstate="print"/>
          <a:srcRect/>
          <a:stretch>
            <a:fillRect/>
          </a:stretch>
        </p:blipFill>
        <p:spPr bwMode="auto">
          <a:xfrm>
            <a:off x="3265886" y="4686301"/>
            <a:ext cx="3097344" cy="671513"/>
          </a:xfrm>
          <a:prstGeom prst="rect">
            <a:avLst/>
          </a:prstGeom>
          <a:noFill/>
          <a:ln w="9525">
            <a:noFill/>
            <a:round/>
            <a:headEnd/>
            <a:tailEnd/>
          </a:ln>
        </p:spPr>
      </p:pic>
      <p:sp>
        <p:nvSpPr>
          <p:cNvPr id="68612" name="Rectangle 6"/>
          <p:cNvSpPr>
            <a:spLocks/>
          </p:cNvSpPr>
          <p:nvPr/>
        </p:nvSpPr>
        <p:spPr bwMode="auto">
          <a:xfrm>
            <a:off x="851298" y="1795464"/>
            <a:ext cx="8203406" cy="2428875"/>
          </a:xfrm>
          <a:prstGeom prst="rect">
            <a:avLst/>
          </a:prstGeom>
          <a:noFill/>
          <a:ln w="12700">
            <a:noFill/>
            <a:miter lim="800000"/>
            <a:headEnd/>
            <a:tailEnd/>
          </a:ln>
        </p:spPr>
        <p:txBody>
          <a:bodyPr lIns="0" tIns="0" rIns="43349" bIns="0"/>
          <a:lstStyle/>
          <a:p>
            <a:pPr marL="42863"/>
            <a:endParaRPr lang="en-US" sz="2800">
              <a:solidFill>
                <a:srgbClr val="FFFFFF"/>
              </a:solidFill>
            </a:endParaRPr>
          </a:p>
        </p:txBody>
      </p:sp>
      <p:grpSp>
        <p:nvGrpSpPr>
          <p:cNvPr id="2" name="Group 6"/>
          <p:cNvGrpSpPr>
            <a:grpSpLocks/>
          </p:cNvGrpSpPr>
          <p:nvPr/>
        </p:nvGrpSpPr>
        <p:grpSpPr bwMode="auto">
          <a:xfrm>
            <a:off x="8941198" y="76201"/>
            <a:ext cx="889132" cy="409575"/>
            <a:chOff x="3327192" y="1750016"/>
            <a:chExt cx="820212" cy="410106"/>
          </a:xfrm>
        </p:grpSpPr>
        <p:sp>
          <p:nvSpPr>
            <p:cNvPr id="8" name="Rectangle 7"/>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0" name="Rectangle 9"/>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Time &amp; Expense</a:t>
              </a:r>
            </a:p>
          </p:txBody>
        </p:sp>
      </p:grpSp>
      <p:grpSp>
        <p:nvGrpSpPr>
          <p:cNvPr id="3" name="Group 10"/>
          <p:cNvGrpSpPr>
            <a:grpSpLocks/>
          </p:cNvGrpSpPr>
          <p:nvPr/>
        </p:nvGrpSpPr>
        <p:grpSpPr bwMode="auto">
          <a:xfrm>
            <a:off x="7035668" y="76201"/>
            <a:ext cx="887413" cy="409575"/>
            <a:chOff x="932170" y="585314"/>
            <a:chExt cx="820212" cy="410106"/>
          </a:xfrm>
        </p:grpSpPr>
        <p:sp>
          <p:nvSpPr>
            <p:cNvPr id="12" name="Rectangle 11"/>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3" name="Rectangle 12"/>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grpSp>
        <p:nvGrpSpPr>
          <p:cNvPr id="4" name="Group 13"/>
          <p:cNvGrpSpPr>
            <a:grpSpLocks/>
          </p:cNvGrpSpPr>
          <p:nvPr/>
        </p:nvGrpSpPr>
        <p:grpSpPr bwMode="auto">
          <a:xfrm>
            <a:off x="7969515" y="76201"/>
            <a:ext cx="889133" cy="409575"/>
            <a:chOff x="1137223" y="1167665"/>
            <a:chExt cx="820212" cy="410106"/>
          </a:xfrm>
        </p:grpSpPr>
        <p:sp>
          <p:nvSpPr>
            <p:cNvPr id="15" name="Rectangle 14"/>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6" name="Rectangle 15"/>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Capgemini Toolset</a:t>
              </a:r>
            </a:p>
          </p:txBody>
        </p:sp>
      </p:grpSp>
      <p:pic>
        <p:nvPicPr>
          <p:cNvPr id="553986" name="Picture 2"/>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82551" y="1957389"/>
            <a:ext cx="9740900" cy="34004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5" name="Rounded Rectangle 4"/>
          <p:cNvSpPr/>
          <p:nvPr/>
        </p:nvSpPr>
        <p:spPr>
          <a:xfrm>
            <a:off x="82551" y="4073236"/>
            <a:ext cx="891226" cy="39188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6" name="TextBox 5"/>
          <p:cNvSpPr txBox="1"/>
          <p:nvPr/>
        </p:nvSpPr>
        <p:spPr>
          <a:xfrm>
            <a:off x="1116281" y="5545777"/>
            <a:ext cx="2244436" cy="307777"/>
          </a:xfrm>
          <a:prstGeom prst="rect">
            <a:avLst/>
          </a:prstGeom>
          <a:noFill/>
          <a:ln>
            <a:solidFill>
              <a:srgbClr val="FF0000"/>
            </a:solidFill>
          </a:ln>
        </p:spPr>
        <p:txBody>
          <a:bodyPr wrap="square" rtlCol="0">
            <a:spAutoFit/>
          </a:bodyPr>
          <a:lstStyle/>
          <a:p>
            <a:r>
              <a:rPr lang="en-US" sz="1400" dirty="0" smtClean="0">
                <a:solidFill>
                  <a:schemeClr val="tx2">
                    <a:lumMod val="50000"/>
                  </a:schemeClr>
                </a:solidFill>
              </a:rPr>
              <a:t>Click on Add Task Button</a:t>
            </a:r>
          </a:p>
        </p:txBody>
      </p:sp>
      <p:cxnSp>
        <p:nvCxnSpPr>
          <p:cNvPr id="9" name="Straight Arrow Connector 8"/>
          <p:cNvCxnSpPr/>
          <p:nvPr/>
        </p:nvCxnSpPr>
        <p:spPr>
          <a:xfrm flipH="1" flipV="1">
            <a:off x="700645" y="4465122"/>
            <a:ext cx="522516" cy="1080655"/>
          </a:xfrm>
          <a:prstGeom prst="straightConnector1">
            <a:avLst/>
          </a:prstGeom>
          <a:ln cmpd="sng">
            <a:solidFill>
              <a:srgbClr val="FF0000"/>
            </a:solidFill>
            <a:prstDash val="solid"/>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7" name="Image 9" descr="Slogan_PMRC_White_W.png"/>
          <p:cNvPicPr>
            <a:picLocks noChangeAspect="1"/>
          </p:cNvPicPr>
          <p:nvPr/>
        </p:nvPicPr>
        <p:blipFill>
          <a:blip r:embed="rId3" cstate="print"/>
          <a:srcRect/>
          <a:stretch>
            <a:fillRect/>
          </a:stretch>
        </p:blipFill>
        <p:spPr bwMode="auto">
          <a:xfrm>
            <a:off x="1616604" y="3570288"/>
            <a:ext cx="6672792" cy="611187"/>
          </a:xfrm>
          <a:prstGeom prst="rect">
            <a:avLst/>
          </a:prstGeom>
          <a:noFill/>
          <a:ln w="9525">
            <a:noFill/>
            <a:miter lim="800000"/>
            <a:headEnd/>
            <a:tailEnd/>
          </a:ln>
        </p:spPr>
      </p:pic>
      <p:grpSp>
        <p:nvGrpSpPr>
          <p:cNvPr id="2" name="Group 4"/>
          <p:cNvGrpSpPr>
            <a:grpSpLocks/>
          </p:cNvGrpSpPr>
          <p:nvPr/>
        </p:nvGrpSpPr>
        <p:grpSpPr bwMode="auto">
          <a:xfrm>
            <a:off x="8941198" y="76201"/>
            <a:ext cx="889132" cy="409575"/>
            <a:chOff x="3327192" y="1750016"/>
            <a:chExt cx="820212" cy="410106"/>
          </a:xfrm>
        </p:grpSpPr>
        <p:sp>
          <p:nvSpPr>
            <p:cNvPr id="6" name="Rectangle 5"/>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7" name="Rectangle 6"/>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Time &amp; Expense</a:t>
              </a:r>
            </a:p>
          </p:txBody>
        </p:sp>
      </p:grpSp>
      <p:grpSp>
        <p:nvGrpSpPr>
          <p:cNvPr id="3" name="Group 7"/>
          <p:cNvGrpSpPr>
            <a:grpSpLocks/>
          </p:cNvGrpSpPr>
          <p:nvPr/>
        </p:nvGrpSpPr>
        <p:grpSpPr bwMode="auto">
          <a:xfrm>
            <a:off x="7035668" y="76201"/>
            <a:ext cx="887413" cy="409575"/>
            <a:chOff x="932170" y="585314"/>
            <a:chExt cx="820212" cy="410106"/>
          </a:xfrm>
        </p:grpSpPr>
        <p:sp>
          <p:nvSpPr>
            <p:cNvPr id="10" name="Rectangle 9"/>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1" name="Rectangle 10"/>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grpSp>
        <p:nvGrpSpPr>
          <p:cNvPr id="4" name="Group 11"/>
          <p:cNvGrpSpPr>
            <a:grpSpLocks/>
          </p:cNvGrpSpPr>
          <p:nvPr/>
        </p:nvGrpSpPr>
        <p:grpSpPr bwMode="auto">
          <a:xfrm>
            <a:off x="7969515" y="76201"/>
            <a:ext cx="889133" cy="409575"/>
            <a:chOff x="1137223" y="1167665"/>
            <a:chExt cx="820212" cy="410106"/>
          </a:xfrm>
        </p:grpSpPr>
        <p:sp>
          <p:nvSpPr>
            <p:cNvPr id="13" name="Rectangle 12"/>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4" name="Rectangle 13"/>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Capgemini Toolset</a:t>
              </a:r>
            </a:p>
          </p:txBody>
        </p:sp>
      </p:grpSp>
      <p:sp>
        <p:nvSpPr>
          <p:cNvPr id="15" name="TextBox 14"/>
          <p:cNvSpPr txBox="1"/>
          <p:nvPr/>
        </p:nvSpPr>
        <p:spPr>
          <a:xfrm>
            <a:off x="142505" y="1721922"/>
            <a:ext cx="9535885" cy="2985433"/>
          </a:xfrm>
          <a:prstGeom prst="rect">
            <a:avLst/>
          </a:prstGeom>
          <a:solidFill>
            <a:srgbClr val="005B7C"/>
          </a:solidFill>
        </p:spPr>
        <p:txBody>
          <a:bodyPr wrap="square" rtlCol="0">
            <a:spAutoFit/>
          </a:bodyPr>
          <a:lstStyle/>
          <a:p>
            <a:pPr algn="ctr"/>
            <a:r>
              <a:rPr lang="en-US" sz="2400" b="1" dirty="0" smtClean="0">
                <a:solidFill>
                  <a:schemeClr val="accent1">
                    <a:lumMod val="60000"/>
                    <a:lumOff val="40000"/>
                  </a:schemeClr>
                </a:solidFill>
              </a:rPr>
              <a:t>***** DON’T FORGET *****</a:t>
            </a:r>
          </a:p>
          <a:p>
            <a:pPr algn="ctr"/>
            <a:endParaRPr lang="en-US" sz="2400" b="1" dirty="0" smtClean="0">
              <a:solidFill>
                <a:schemeClr val="accent1">
                  <a:lumMod val="60000"/>
                  <a:lumOff val="40000"/>
                </a:schemeClr>
              </a:solidFill>
            </a:endParaRPr>
          </a:p>
          <a:p>
            <a:r>
              <a:rPr lang="en-US" sz="1400" b="1" dirty="0" smtClean="0">
                <a:solidFill>
                  <a:schemeClr val="bg1"/>
                </a:solidFill>
              </a:rPr>
              <a:t>Clarity Timesheet Approval Process - Mandatory training for all new hires with designation Senior Consultants and above </a:t>
            </a:r>
          </a:p>
          <a:p>
            <a:endParaRPr lang="en-US" sz="1400" b="1" dirty="0" smtClean="0">
              <a:solidFill>
                <a:schemeClr val="bg1"/>
              </a:solidFill>
            </a:endParaRPr>
          </a:p>
          <a:p>
            <a:r>
              <a:rPr lang="en-US" sz="1400" dirty="0" smtClean="0">
                <a:solidFill>
                  <a:schemeClr val="bg1"/>
                </a:solidFill>
              </a:rPr>
              <a:t>All new hires with designations Senior consultants and above are required to attend below mandatory eLearning course on </a:t>
            </a:r>
            <a:r>
              <a:rPr lang="en-US" sz="1400" dirty="0" err="1" smtClean="0">
                <a:solidFill>
                  <a:schemeClr val="bg1"/>
                </a:solidFill>
              </a:rPr>
              <a:t>MyLearning</a:t>
            </a:r>
            <a:r>
              <a:rPr lang="en-US" sz="1400" dirty="0" smtClean="0">
                <a:solidFill>
                  <a:schemeClr val="bg1"/>
                </a:solidFill>
              </a:rPr>
              <a:t> Portal as soon as they receive CORP id and password. Use below link to access the eLearning module.</a:t>
            </a:r>
          </a:p>
          <a:p>
            <a:endParaRPr lang="en-US" sz="1400" dirty="0" smtClean="0">
              <a:solidFill>
                <a:schemeClr val="bg1"/>
              </a:solidFill>
            </a:endParaRPr>
          </a:p>
          <a:p>
            <a:r>
              <a:rPr lang="en-US" sz="1400" dirty="0" smtClean="0">
                <a:solidFill>
                  <a:schemeClr val="bg1"/>
                </a:solidFill>
              </a:rPr>
              <a:t>Access Link: </a:t>
            </a:r>
            <a:r>
              <a:rPr lang="en-US" sz="1400" u="sng" dirty="0" smtClean="0">
                <a:hlinkClick r:id="rId4"/>
              </a:rPr>
              <a:t>https://capgemini.sumtotalsystems.com/sumtotal/app/management/LMS_ActDetails.aspx?UserMode=0&amp;ActivityId=302140</a:t>
            </a:r>
            <a:endParaRPr lang="en-US" sz="1600" b="1" dirty="0" smtClean="0">
              <a:solidFill>
                <a:schemeClr val="accent1">
                  <a:lumMod val="60000"/>
                  <a:lumOff val="40000"/>
                </a:schemeClr>
              </a:solidFill>
            </a:endParaRPr>
          </a:p>
        </p:txBody>
      </p:sp>
      <p:sp>
        <p:nvSpPr>
          <p:cNvPr id="17" name="Title 16"/>
          <p:cNvSpPr>
            <a:spLocks noGrp="1"/>
          </p:cNvSpPr>
          <p:nvPr>
            <p:ph type="title"/>
          </p:nvPr>
        </p:nvSpPr>
        <p:spPr/>
        <p:txBody>
          <a:bodyPr/>
          <a:lstStyle/>
          <a:p>
            <a:r>
              <a:rPr lang="en-US" dirty="0" smtClean="0"/>
              <a:t>T&amp;A: Timesheet Approval Overview</a:t>
            </a:r>
            <a:endParaRPr lang="en-US" dirty="0"/>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ompensation Structure – Bonus </a:t>
            </a:r>
            <a:endParaRPr lang="en-US" dirty="0"/>
          </a:p>
        </p:txBody>
      </p:sp>
      <p:sp>
        <p:nvSpPr>
          <p:cNvPr id="3" name="Content Placeholder 2"/>
          <p:cNvSpPr>
            <a:spLocks noGrp="1"/>
          </p:cNvSpPr>
          <p:nvPr>
            <p:ph idx="1"/>
          </p:nvPr>
        </p:nvSpPr>
        <p:spPr/>
        <p:txBody>
          <a:bodyPr/>
          <a:lstStyle/>
          <a:p>
            <a:r>
              <a:rPr lang="en-US" dirty="0" smtClean="0"/>
              <a:t>Details</a:t>
            </a:r>
          </a:p>
          <a:p>
            <a:pPr lvl="1"/>
            <a:r>
              <a:rPr lang="en-US" dirty="0" smtClean="0"/>
              <a:t>Annual performance bonus is a discretionary component and is subject to the prevailing Group and Company policies at the time of payout.</a:t>
            </a:r>
          </a:p>
          <a:p>
            <a:pPr lvl="1"/>
            <a:r>
              <a:rPr lang="en-US" dirty="0" smtClean="0"/>
              <a:t>The bonus amount and the payout date is at the sole discretion of the Company and subject to change.</a:t>
            </a:r>
          </a:p>
          <a:p>
            <a:pPr lvl="1"/>
            <a:r>
              <a:rPr lang="en-US" dirty="0" smtClean="0"/>
              <a:t>Employees who joined between Oct-Dec not eligible for bonus</a:t>
            </a:r>
          </a:p>
          <a:p>
            <a:endParaRPr lang="en-US" dirty="0" smtClean="0"/>
          </a:p>
          <a:p>
            <a:r>
              <a:rPr lang="en-US" dirty="0" smtClean="0"/>
              <a:t> Criteria and Eligibility</a:t>
            </a:r>
          </a:p>
          <a:p>
            <a:pPr lvl="1"/>
            <a:r>
              <a:rPr lang="en-US" dirty="0" smtClean="0"/>
              <a:t>An employee is eligible for bonus if he/she is not serving notice period and is on Company’s rolls as of the payout date.</a:t>
            </a:r>
          </a:p>
          <a:p>
            <a:pPr lvl="1"/>
            <a:r>
              <a:rPr lang="en-US" dirty="0" smtClean="0"/>
              <a:t>The bonus is based on individual and organization performance.</a:t>
            </a:r>
          </a:p>
          <a:p>
            <a:endParaRPr lang="en-US" dirty="0"/>
          </a:p>
        </p:txBody>
      </p:sp>
      <p:pic>
        <p:nvPicPr>
          <p:cNvPr id="4" name="Picture 3" descr="mioney.jpg"/>
          <p:cNvPicPr>
            <a:picLocks noChangeAspect="1"/>
          </p:cNvPicPr>
          <p:nvPr/>
        </p:nvPicPr>
        <p:blipFill>
          <a:blip r:embed="rId2" cstate="print"/>
          <a:stretch>
            <a:fillRect/>
          </a:stretch>
        </p:blipFill>
        <p:spPr>
          <a:xfrm>
            <a:off x="8746300" y="5284519"/>
            <a:ext cx="1159700" cy="1074655"/>
          </a:xfrm>
          <a:prstGeom prst="rect">
            <a:avLst/>
          </a:prstGeom>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6"/>
          <p:cNvSpPr>
            <a:spLocks noGrp="1"/>
          </p:cNvSpPr>
          <p:nvPr>
            <p:ph type="title"/>
          </p:nvPr>
        </p:nvSpPr>
        <p:spPr/>
        <p:txBody>
          <a:bodyPr/>
          <a:lstStyle/>
          <a:p>
            <a:r>
              <a:rPr lang="en-US" dirty="0" smtClean="0"/>
              <a:t>Career Path: Role Advancement</a:t>
            </a:r>
          </a:p>
        </p:txBody>
      </p:sp>
      <p:sp>
        <p:nvSpPr>
          <p:cNvPr id="78851" name="Rectangle 3"/>
          <p:cNvSpPr txBox="1">
            <a:spLocks noChangeArrowheads="1"/>
          </p:cNvSpPr>
          <p:nvPr/>
        </p:nvSpPr>
        <p:spPr bwMode="auto">
          <a:xfrm>
            <a:off x="264848" y="762000"/>
            <a:ext cx="9063302" cy="5715000"/>
          </a:xfrm>
          <a:prstGeom prst="rect">
            <a:avLst/>
          </a:prstGeom>
          <a:noFill/>
          <a:ln w="9525">
            <a:noFill/>
            <a:miter lim="800000"/>
            <a:headEnd/>
            <a:tailEnd/>
          </a:ln>
        </p:spPr>
        <p:txBody>
          <a:bodyPr/>
          <a:lstStyle/>
          <a:p>
            <a:endParaRPr lang="en-US" sz="1200" b="1"/>
          </a:p>
        </p:txBody>
      </p:sp>
      <p:grpSp>
        <p:nvGrpSpPr>
          <p:cNvPr id="2" name="Group 28"/>
          <p:cNvGrpSpPr>
            <a:grpSpLocks/>
          </p:cNvGrpSpPr>
          <p:nvPr/>
        </p:nvGrpSpPr>
        <p:grpSpPr bwMode="auto">
          <a:xfrm>
            <a:off x="7969515" y="76201"/>
            <a:ext cx="889133" cy="409575"/>
            <a:chOff x="1137223" y="1167665"/>
            <a:chExt cx="820212" cy="410106"/>
          </a:xfrm>
        </p:grpSpPr>
        <p:sp>
          <p:nvSpPr>
            <p:cNvPr id="30" name="Rectangle 29"/>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31" name="Rectangle 30"/>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Resource Management</a:t>
              </a:r>
            </a:p>
          </p:txBody>
        </p:sp>
      </p:grpSp>
      <p:grpSp>
        <p:nvGrpSpPr>
          <p:cNvPr id="3" name="Group 31"/>
          <p:cNvGrpSpPr>
            <a:grpSpLocks/>
          </p:cNvGrpSpPr>
          <p:nvPr/>
        </p:nvGrpSpPr>
        <p:grpSpPr bwMode="auto">
          <a:xfrm>
            <a:off x="8941198" y="76201"/>
            <a:ext cx="889132" cy="409575"/>
            <a:chOff x="3327192" y="1750016"/>
            <a:chExt cx="820212" cy="410106"/>
          </a:xfrm>
        </p:grpSpPr>
        <p:sp>
          <p:nvSpPr>
            <p:cNvPr id="33" name="Rectangle 32"/>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34" name="Rectangle 33"/>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Career Path</a:t>
              </a:r>
            </a:p>
          </p:txBody>
        </p:sp>
      </p:grpSp>
      <p:sp>
        <p:nvSpPr>
          <p:cNvPr id="45" name="TextBox 44"/>
          <p:cNvSpPr txBox="1"/>
          <p:nvPr/>
        </p:nvSpPr>
        <p:spPr>
          <a:xfrm>
            <a:off x="247650" y="5410200"/>
            <a:ext cx="1585648" cy="685800"/>
          </a:xfrm>
          <a:prstGeom prst="rect">
            <a:avLst/>
          </a:prstGeom>
          <a:solidFill>
            <a:srgbClr val="00A0D6"/>
          </a:solidFill>
          <a:ln>
            <a:solidFill>
              <a:schemeClr val="tx1"/>
            </a:solidFill>
          </a:ln>
        </p:spPr>
        <p:txBody>
          <a:bodyPr anchor="ctr"/>
          <a:lstStyle/>
          <a:p>
            <a:pPr>
              <a:defRPr/>
            </a:pPr>
            <a:r>
              <a:rPr lang="en-US" dirty="0"/>
              <a:t>Associate Consultant</a:t>
            </a:r>
          </a:p>
        </p:txBody>
      </p:sp>
      <p:sp>
        <p:nvSpPr>
          <p:cNvPr id="46" name="TextBox 45"/>
          <p:cNvSpPr txBox="1"/>
          <p:nvPr/>
        </p:nvSpPr>
        <p:spPr>
          <a:xfrm>
            <a:off x="1476975" y="4981019"/>
            <a:ext cx="1485900" cy="685800"/>
          </a:xfrm>
          <a:prstGeom prst="rect">
            <a:avLst/>
          </a:prstGeom>
          <a:solidFill>
            <a:srgbClr val="00A0D6"/>
          </a:solidFill>
          <a:ln>
            <a:solidFill>
              <a:schemeClr val="tx1"/>
            </a:solidFill>
          </a:ln>
        </p:spPr>
        <p:txBody>
          <a:bodyPr anchor="ctr"/>
          <a:lstStyle/>
          <a:p>
            <a:pPr>
              <a:defRPr/>
            </a:pPr>
            <a:r>
              <a:rPr lang="en-US" dirty="0"/>
              <a:t>Consultant</a:t>
            </a:r>
          </a:p>
        </p:txBody>
      </p:sp>
      <p:sp>
        <p:nvSpPr>
          <p:cNvPr id="47" name="TextBox 46"/>
          <p:cNvSpPr txBox="1"/>
          <p:nvPr/>
        </p:nvSpPr>
        <p:spPr>
          <a:xfrm>
            <a:off x="2523425" y="4446547"/>
            <a:ext cx="1485900" cy="685800"/>
          </a:xfrm>
          <a:prstGeom prst="rect">
            <a:avLst/>
          </a:prstGeom>
          <a:solidFill>
            <a:srgbClr val="00A0D6"/>
          </a:solidFill>
          <a:ln>
            <a:solidFill>
              <a:schemeClr val="tx1"/>
            </a:solidFill>
          </a:ln>
        </p:spPr>
        <p:txBody>
          <a:bodyPr anchor="ctr"/>
          <a:lstStyle/>
          <a:p>
            <a:pPr>
              <a:defRPr/>
            </a:pPr>
            <a:r>
              <a:rPr lang="en-US" dirty="0"/>
              <a:t>Senior Consultant</a:t>
            </a:r>
          </a:p>
        </p:txBody>
      </p:sp>
      <p:sp>
        <p:nvSpPr>
          <p:cNvPr id="48" name="TextBox 47"/>
          <p:cNvSpPr txBox="1"/>
          <p:nvPr/>
        </p:nvSpPr>
        <p:spPr>
          <a:xfrm>
            <a:off x="3367995" y="3862986"/>
            <a:ext cx="1485900" cy="685800"/>
          </a:xfrm>
          <a:prstGeom prst="rect">
            <a:avLst/>
          </a:prstGeom>
          <a:solidFill>
            <a:srgbClr val="00A0D6"/>
          </a:solidFill>
          <a:ln>
            <a:solidFill>
              <a:schemeClr val="tx1"/>
            </a:solidFill>
          </a:ln>
        </p:spPr>
        <p:txBody>
          <a:bodyPr anchor="ctr"/>
          <a:lstStyle/>
          <a:p>
            <a:pPr>
              <a:defRPr/>
            </a:pPr>
            <a:r>
              <a:rPr lang="en-US" dirty="0" smtClean="0"/>
              <a:t>Manager</a:t>
            </a:r>
            <a:endParaRPr lang="en-US" dirty="0"/>
          </a:p>
        </p:txBody>
      </p:sp>
      <p:sp>
        <p:nvSpPr>
          <p:cNvPr id="49" name="TextBox 48"/>
          <p:cNvSpPr txBox="1"/>
          <p:nvPr/>
        </p:nvSpPr>
        <p:spPr>
          <a:xfrm>
            <a:off x="4115210" y="3233511"/>
            <a:ext cx="1485900" cy="720973"/>
          </a:xfrm>
          <a:prstGeom prst="rect">
            <a:avLst/>
          </a:prstGeom>
          <a:solidFill>
            <a:srgbClr val="00A0D6"/>
          </a:solidFill>
          <a:ln>
            <a:solidFill>
              <a:schemeClr val="tx1"/>
            </a:solidFill>
          </a:ln>
        </p:spPr>
        <p:txBody>
          <a:bodyPr anchor="ctr"/>
          <a:lstStyle/>
          <a:p>
            <a:pPr>
              <a:defRPr/>
            </a:pPr>
            <a:r>
              <a:rPr lang="en-US" sz="1800" dirty="0" smtClean="0"/>
              <a:t>Senior Manager</a:t>
            </a:r>
            <a:endParaRPr lang="en-US" sz="1800" dirty="0"/>
          </a:p>
        </p:txBody>
      </p:sp>
      <p:sp>
        <p:nvSpPr>
          <p:cNvPr id="50" name="TextBox 49"/>
          <p:cNvSpPr txBox="1"/>
          <p:nvPr/>
        </p:nvSpPr>
        <p:spPr>
          <a:xfrm>
            <a:off x="5035100" y="2640426"/>
            <a:ext cx="1485900" cy="685800"/>
          </a:xfrm>
          <a:prstGeom prst="rect">
            <a:avLst/>
          </a:prstGeom>
          <a:solidFill>
            <a:srgbClr val="00A0D6"/>
          </a:solidFill>
          <a:ln>
            <a:solidFill>
              <a:schemeClr val="tx1"/>
            </a:solidFill>
          </a:ln>
        </p:spPr>
        <p:txBody>
          <a:bodyPr anchor="ctr"/>
          <a:lstStyle/>
          <a:p>
            <a:pPr>
              <a:defRPr/>
            </a:pPr>
            <a:r>
              <a:rPr lang="en-US" dirty="0" smtClean="0"/>
              <a:t>Portfolio Manager</a:t>
            </a:r>
            <a:endParaRPr lang="en-US" dirty="0"/>
          </a:p>
        </p:txBody>
      </p:sp>
      <p:sp>
        <p:nvSpPr>
          <p:cNvPr id="51" name="TextBox 50"/>
          <p:cNvSpPr txBox="1"/>
          <p:nvPr/>
        </p:nvSpPr>
        <p:spPr>
          <a:xfrm>
            <a:off x="6117177" y="2032352"/>
            <a:ext cx="1485900" cy="685800"/>
          </a:xfrm>
          <a:prstGeom prst="rect">
            <a:avLst/>
          </a:prstGeom>
          <a:solidFill>
            <a:srgbClr val="00A0D6"/>
          </a:solidFill>
          <a:ln>
            <a:solidFill>
              <a:schemeClr val="tx1"/>
            </a:solidFill>
          </a:ln>
        </p:spPr>
        <p:txBody>
          <a:bodyPr anchor="ctr"/>
          <a:lstStyle/>
          <a:p>
            <a:pPr>
              <a:defRPr/>
            </a:pPr>
            <a:r>
              <a:rPr lang="en-US" dirty="0" smtClean="0"/>
              <a:t>Director</a:t>
            </a:r>
            <a:endParaRPr lang="en-US" dirty="0"/>
          </a:p>
        </p:txBody>
      </p:sp>
      <p:sp>
        <p:nvSpPr>
          <p:cNvPr id="52" name="TextBox 51"/>
          <p:cNvSpPr txBox="1"/>
          <p:nvPr/>
        </p:nvSpPr>
        <p:spPr>
          <a:xfrm>
            <a:off x="6985495" y="1496289"/>
            <a:ext cx="1485900" cy="685800"/>
          </a:xfrm>
          <a:prstGeom prst="rect">
            <a:avLst/>
          </a:prstGeom>
          <a:solidFill>
            <a:srgbClr val="00A0D6"/>
          </a:solidFill>
          <a:ln>
            <a:solidFill>
              <a:schemeClr val="tx1"/>
            </a:solidFill>
          </a:ln>
        </p:spPr>
        <p:txBody>
          <a:bodyPr anchor="ctr"/>
          <a:lstStyle/>
          <a:p>
            <a:pPr>
              <a:defRPr/>
            </a:pPr>
            <a:r>
              <a:rPr lang="en-US" dirty="0" smtClean="0"/>
              <a:t>Senior Director</a:t>
            </a:r>
            <a:endParaRPr lang="en-US" dirty="0"/>
          </a:p>
        </p:txBody>
      </p:sp>
      <p:sp>
        <p:nvSpPr>
          <p:cNvPr id="78863" name="Curved Down Arrow 53"/>
          <p:cNvSpPr>
            <a:spLocks noChangeArrowheads="1"/>
          </p:cNvSpPr>
          <p:nvPr/>
        </p:nvSpPr>
        <p:spPr bwMode="auto">
          <a:xfrm rot="20019503">
            <a:off x="891478" y="4520157"/>
            <a:ext cx="1152121" cy="622300"/>
          </a:xfrm>
          <a:prstGeom prst="curvedDownArrow">
            <a:avLst>
              <a:gd name="adj1" fmla="val 24990"/>
              <a:gd name="adj2" fmla="val 49980"/>
              <a:gd name="adj3" fmla="val 25000"/>
            </a:avLst>
          </a:prstGeom>
          <a:solidFill>
            <a:srgbClr val="ACB7B2"/>
          </a:solidFill>
          <a:ln w="9525" algn="ctr">
            <a:solidFill>
              <a:schemeClr val="tx1"/>
            </a:solidFill>
            <a:round/>
            <a:headEnd/>
            <a:tailEnd/>
          </a:ln>
          <a:effectLst>
            <a:prstShdw prst="shdw17" dist="17961" dir="2700000">
              <a:srgbClr val="6C715F"/>
            </a:prstShdw>
          </a:effectLst>
        </p:spPr>
        <p:txBody>
          <a:bodyPr lIns="0" tIns="0" rIns="0" bIns="0" anchor="ctr"/>
          <a:lstStyle/>
          <a:p>
            <a:pPr algn="ctr" eaLnBrk="0" hangingPunct="0">
              <a:spcBef>
                <a:spcPct val="50000"/>
              </a:spcBef>
            </a:pPr>
            <a:endParaRPr lang="en-US" sz="900"/>
          </a:p>
        </p:txBody>
      </p:sp>
      <p:sp>
        <p:nvSpPr>
          <p:cNvPr id="78864" name="Curved Down Arrow 54"/>
          <p:cNvSpPr>
            <a:spLocks noChangeArrowheads="1"/>
          </p:cNvSpPr>
          <p:nvPr/>
        </p:nvSpPr>
        <p:spPr bwMode="auto">
          <a:xfrm rot="-1947587">
            <a:off x="1869295" y="3962467"/>
            <a:ext cx="1025204" cy="622300"/>
          </a:xfrm>
          <a:prstGeom prst="curvedDownArrow">
            <a:avLst>
              <a:gd name="adj1" fmla="val 24990"/>
              <a:gd name="adj2" fmla="val 49980"/>
              <a:gd name="adj3" fmla="val 25000"/>
            </a:avLst>
          </a:prstGeom>
          <a:solidFill>
            <a:srgbClr val="ACB7B2"/>
          </a:solidFill>
          <a:ln w="9525" algn="ctr">
            <a:solidFill>
              <a:schemeClr val="tx1"/>
            </a:solidFill>
            <a:round/>
            <a:headEnd/>
            <a:tailEnd/>
          </a:ln>
          <a:effectLst>
            <a:prstShdw prst="shdw17" dist="17961" dir="2700000">
              <a:srgbClr val="6C715F"/>
            </a:prstShdw>
          </a:effectLst>
        </p:spPr>
        <p:txBody>
          <a:bodyPr lIns="0" tIns="0" rIns="0" bIns="0" anchor="ctr"/>
          <a:lstStyle/>
          <a:p>
            <a:pPr algn="ctr" eaLnBrk="0" hangingPunct="0">
              <a:spcBef>
                <a:spcPct val="50000"/>
              </a:spcBef>
            </a:pPr>
            <a:endParaRPr lang="en-US" sz="900"/>
          </a:p>
        </p:txBody>
      </p:sp>
      <p:sp>
        <p:nvSpPr>
          <p:cNvPr id="78865" name="Curved Down Arrow 55"/>
          <p:cNvSpPr>
            <a:spLocks noChangeArrowheads="1"/>
          </p:cNvSpPr>
          <p:nvPr/>
        </p:nvSpPr>
        <p:spPr bwMode="auto">
          <a:xfrm rot="-1947587">
            <a:off x="2721339" y="3372146"/>
            <a:ext cx="1111937" cy="622300"/>
          </a:xfrm>
          <a:prstGeom prst="curvedDownArrow">
            <a:avLst>
              <a:gd name="adj1" fmla="val 24990"/>
              <a:gd name="adj2" fmla="val 49980"/>
              <a:gd name="adj3" fmla="val 25000"/>
            </a:avLst>
          </a:prstGeom>
          <a:solidFill>
            <a:srgbClr val="ACB7B2"/>
          </a:solidFill>
          <a:ln w="9525" algn="ctr">
            <a:solidFill>
              <a:schemeClr val="tx1"/>
            </a:solidFill>
            <a:round/>
            <a:headEnd/>
            <a:tailEnd/>
          </a:ln>
          <a:effectLst>
            <a:prstShdw prst="shdw17" dist="17961" dir="2700000">
              <a:srgbClr val="6C715F"/>
            </a:prstShdw>
          </a:effectLst>
        </p:spPr>
        <p:txBody>
          <a:bodyPr lIns="0" tIns="0" rIns="0" bIns="0" anchor="ctr"/>
          <a:lstStyle/>
          <a:p>
            <a:pPr algn="ctr" eaLnBrk="0" hangingPunct="0">
              <a:spcBef>
                <a:spcPct val="50000"/>
              </a:spcBef>
            </a:pPr>
            <a:endParaRPr lang="en-US" sz="900"/>
          </a:p>
        </p:txBody>
      </p:sp>
      <p:sp>
        <p:nvSpPr>
          <p:cNvPr id="78866" name="Curved Down Arrow 56"/>
          <p:cNvSpPr>
            <a:spLocks noChangeArrowheads="1"/>
          </p:cNvSpPr>
          <p:nvPr/>
        </p:nvSpPr>
        <p:spPr bwMode="auto">
          <a:xfrm rot="-1947587">
            <a:off x="3656136" y="2783727"/>
            <a:ext cx="1058823" cy="622300"/>
          </a:xfrm>
          <a:prstGeom prst="curvedDownArrow">
            <a:avLst>
              <a:gd name="adj1" fmla="val 24990"/>
              <a:gd name="adj2" fmla="val 49980"/>
              <a:gd name="adj3" fmla="val 25000"/>
            </a:avLst>
          </a:prstGeom>
          <a:solidFill>
            <a:srgbClr val="ACB7B2"/>
          </a:solidFill>
          <a:ln w="9525" algn="ctr">
            <a:solidFill>
              <a:schemeClr val="tx1"/>
            </a:solidFill>
            <a:round/>
            <a:headEnd/>
            <a:tailEnd/>
          </a:ln>
          <a:effectLst>
            <a:prstShdw prst="shdw17" dist="17961" dir="2700000">
              <a:srgbClr val="6C715F"/>
            </a:prstShdw>
          </a:effectLst>
        </p:spPr>
        <p:txBody>
          <a:bodyPr lIns="0" tIns="0" rIns="0" bIns="0" anchor="ctr"/>
          <a:lstStyle/>
          <a:p>
            <a:pPr algn="ctr" eaLnBrk="0" hangingPunct="0">
              <a:spcBef>
                <a:spcPct val="50000"/>
              </a:spcBef>
            </a:pPr>
            <a:endParaRPr lang="en-US" sz="900"/>
          </a:p>
        </p:txBody>
      </p:sp>
      <p:sp>
        <p:nvSpPr>
          <p:cNvPr id="78867" name="Curved Down Arrow 57"/>
          <p:cNvSpPr>
            <a:spLocks noChangeArrowheads="1"/>
          </p:cNvSpPr>
          <p:nvPr/>
        </p:nvSpPr>
        <p:spPr bwMode="auto">
          <a:xfrm rot="-1947587">
            <a:off x="4546867" y="2191023"/>
            <a:ext cx="1113712" cy="622300"/>
          </a:xfrm>
          <a:prstGeom prst="curvedDownArrow">
            <a:avLst>
              <a:gd name="adj1" fmla="val 24990"/>
              <a:gd name="adj2" fmla="val 49980"/>
              <a:gd name="adj3" fmla="val 25000"/>
            </a:avLst>
          </a:prstGeom>
          <a:solidFill>
            <a:srgbClr val="ACB7B2"/>
          </a:solidFill>
          <a:ln w="9525" algn="ctr">
            <a:solidFill>
              <a:schemeClr val="tx1"/>
            </a:solidFill>
            <a:round/>
            <a:headEnd/>
            <a:tailEnd/>
          </a:ln>
          <a:effectLst>
            <a:prstShdw prst="shdw17" dist="17961" dir="2700000">
              <a:srgbClr val="6C715F"/>
            </a:prstShdw>
          </a:effectLst>
        </p:spPr>
        <p:txBody>
          <a:bodyPr lIns="0" tIns="0" rIns="0" bIns="0" anchor="ctr"/>
          <a:lstStyle/>
          <a:p>
            <a:pPr algn="ctr" eaLnBrk="0" hangingPunct="0">
              <a:spcBef>
                <a:spcPct val="50000"/>
              </a:spcBef>
            </a:pPr>
            <a:endParaRPr lang="en-US" sz="900"/>
          </a:p>
        </p:txBody>
      </p:sp>
      <p:sp>
        <p:nvSpPr>
          <p:cNvPr id="78868" name="Curved Down Arrow 58"/>
          <p:cNvSpPr>
            <a:spLocks noChangeArrowheads="1"/>
          </p:cNvSpPr>
          <p:nvPr/>
        </p:nvSpPr>
        <p:spPr bwMode="auto">
          <a:xfrm rot="-1947587">
            <a:off x="5461737" y="1588523"/>
            <a:ext cx="1127976" cy="622300"/>
          </a:xfrm>
          <a:prstGeom prst="curvedDownArrow">
            <a:avLst>
              <a:gd name="adj1" fmla="val 24990"/>
              <a:gd name="adj2" fmla="val 49980"/>
              <a:gd name="adj3" fmla="val 25000"/>
            </a:avLst>
          </a:prstGeom>
          <a:solidFill>
            <a:srgbClr val="ACB7B2"/>
          </a:solidFill>
          <a:ln w="9525" algn="ctr">
            <a:solidFill>
              <a:schemeClr val="tx1"/>
            </a:solidFill>
            <a:round/>
            <a:headEnd/>
            <a:tailEnd/>
          </a:ln>
          <a:effectLst>
            <a:prstShdw prst="shdw17" dist="17961" dir="2700000">
              <a:srgbClr val="6C715F"/>
            </a:prstShdw>
          </a:effectLst>
        </p:spPr>
        <p:txBody>
          <a:bodyPr lIns="0" tIns="0" rIns="0" bIns="0" anchor="ctr"/>
          <a:lstStyle/>
          <a:p>
            <a:pPr algn="ctr" eaLnBrk="0" hangingPunct="0">
              <a:spcBef>
                <a:spcPct val="50000"/>
              </a:spcBef>
            </a:pPr>
            <a:endParaRPr lang="en-US" sz="900"/>
          </a:p>
        </p:txBody>
      </p:sp>
      <p:grpSp>
        <p:nvGrpSpPr>
          <p:cNvPr id="4" name="Group 7"/>
          <p:cNvGrpSpPr>
            <a:grpSpLocks/>
          </p:cNvGrpSpPr>
          <p:nvPr/>
        </p:nvGrpSpPr>
        <p:grpSpPr bwMode="auto">
          <a:xfrm>
            <a:off x="7035668" y="76201"/>
            <a:ext cx="887413" cy="409575"/>
            <a:chOff x="932170" y="585314"/>
            <a:chExt cx="820212" cy="410106"/>
          </a:xfrm>
        </p:grpSpPr>
        <p:sp>
          <p:nvSpPr>
            <p:cNvPr id="37" name="Rectangle 36"/>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38" name="Rectangle 37"/>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sp>
        <p:nvSpPr>
          <p:cNvPr id="27" name="TextBox 26"/>
          <p:cNvSpPr txBox="1"/>
          <p:nvPr/>
        </p:nvSpPr>
        <p:spPr>
          <a:xfrm>
            <a:off x="7700509" y="987179"/>
            <a:ext cx="1485900" cy="685800"/>
          </a:xfrm>
          <a:prstGeom prst="rect">
            <a:avLst/>
          </a:prstGeom>
          <a:solidFill>
            <a:srgbClr val="00A0D6"/>
          </a:solidFill>
          <a:ln>
            <a:solidFill>
              <a:schemeClr val="tx1"/>
            </a:solidFill>
          </a:ln>
        </p:spPr>
        <p:txBody>
          <a:bodyPr anchor="ctr"/>
          <a:lstStyle/>
          <a:p>
            <a:pPr>
              <a:defRPr/>
            </a:pPr>
            <a:r>
              <a:rPr lang="en-US" dirty="0" smtClean="0"/>
              <a:t>Vice President</a:t>
            </a:r>
            <a:endParaRPr lang="en-US" dirty="0"/>
          </a:p>
        </p:txBody>
      </p:sp>
      <p:sp>
        <p:nvSpPr>
          <p:cNvPr id="28" name="Curved Down Arrow 58"/>
          <p:cNvSpPr>
            <a:spLocks noChangeArrowheads="1"/>
          </p:cNvSpPr>
          <p:nvPr/>
        </p:nvSpPr>
        <p:spPr bwMode="auto">
          <a:xfrm rot="-1947587">
            <a:off x="6395018" y="999908"/>
            <a:ext cx="1119481" cy="591273"/>
          </a:xfrm>
          <a:prstGeom prst="curvedDownArrow">
            <a:avLst>
              <a:gd name="adj1" fmla="val 24990"/>
              <a:gd name="adj2" fmla="val 49980"/>
              <a:gd name="adj3" fmla="val 25000"/>
            </a:avLst>
          </a:prstGeom>
          <a:solidFill>
            <a:srgbClr val="ACB7B2"/>
          </a:solidFill>
          <a:ln w="9525" algn="ctr">
            <a:solidFill>
              <a:schemeClr val="tx1"/>
            </a:solidFill>
            <a:round/>
            <a:headEnd/>
            <a:tailEnd/>
          </a:ln>
          <a:effectLst>
            <a:prstShdw prst="shdw17" dist="17961" dir="2700000">
              <a:srgbClr val="6C715F"/>
            </a:prstShdw>
          </a:effectLst>
        </p:spPr>
        <p:txBody>
          <a:bodyPr lIns="0" tIns="0" rIns="0" bIns="0" anchor="ctr"/>
          <a:lstStyle/>
          <a:p>
            <a:pPr algn="ctr" eaLnBrk="0" hangingPunct="0">
              <a:spcBef>
                <a:spcPct val="50000"/>
              </a:spcBef>
            </a:pPr>
            <a:endParaRPr lang="en-US" sz="900"/>
          </a:p>
        </p:txBody>
      </p:sp>
    </p:spTree>
    <p:extLst>
      <p:ext uri="{BB962C8B-B14F-4D97-AF65-F5344CB8AC3E}">
        <p14:creationId xmlns="" xmlns:p14="http://schemas.microsoft.com/office/powerpoint/2010/main" val="3355053574"/>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3"/>
          <p:cNvSpPr>
            <a:spLocks noGrp="1"/>
          </p:cNvSpPr>
          <p:nvPr>
            <p:ph type="title"/>
          </p:nvPr>
        </p:nvSpPr>
        <p:spPr/>
        <p:txBody>
          <a:bodyPr/>
          <a:lstStyle/>
          <a:p>
            <a:r>
              <a:rPr lang="en-US" smtClean="0"/>
              <a:t>Business Cards</a:t>
            </a:r>
            <a:endParaRPr lang="en-US" dirty="0" smtClean="0"/>
          </a:p>
        </p:txBody>
      </p:sp>
      <p:sp>
        <p:nvSpPr>
          <p:cNvPr id="16" name="Content Placeholder 15"/>
          <p:cNvSpPr>
            <a:spLocks noGrp="1"/>
          </p:cNvSpPr>
          <p:nvPr>
            <p:ph idx="1"/>
          </p:nvPr>
        </p:nvSpPr>
        <p:spPr/>
        <p:txBody>
          <a:bodyPr/>
          <a:lstStyle/>
          <a:p>
            <a:r>
              <a:rPr lang="en-US" dirty="0" smtClean="0"/>
              <a:t>Objective: To order your business cards</a:t>
            </a:r>
          </a:p>
          <a:p>
            <a:r>
              <a:rPr lang="en-US" dirty="0" smtClean="0"/>
              <a:t>Instructions</a:t>
            </a:r>
          </a:p>
          <a:p>
            <a:pPr lvl="1"/>
            <a:r>
              <a:rPr lang="en-US" dirty="0" smtClean="0"/>
              <a:t>Visit </a:t>
            </a:r>
            <a:r>
              <a:rPr lang="en-US" dirty="0" smtClean="0">
                <a:solidFill>
                  <a:srgbClr val="00A0D6"/>
                </a:solidFill>
              </a:rPr>
              <a:t>https://iconnect.fs.capgemini.com </a:t>
            </a:r>
            <a:r>
              <a:rPr lang="en-US" dirty="0" smtClean="0"/>
              <a:t>and log into the site</a:t>
            </a:r>
          </a:p>
          <a:p>
            <a:pPr lvl="1"/>
            <a:r>
              <a:rPr lang="en-US" dirty="0" smtClean="0"/>
              <a:t>Please log in using your user ID and password</a:t>
            </a:r>
          </a:p>
          <a:p>
            <a:pPr lvl="1"/>
            <a:r>
              <a:rPr lang="en-US" dirty="0" smtClean="0"/>
              <a:t>Choose Browse Facilities </a:t>
            </a:r>
            <a:r>
              <a:rPr lang="en-US" dirty="0" smtClean="0">
                <a:sym typeface="Wingdings" pitchFamily="2" charset="2"/>
              </a:rPr>
              <a:t> Business Card Applications – For India only</a:t>
            </a:r>
          </a:p>
          <a:p>
            <a:pPr lvl="1"/>
            <a:r>
              <a:rPr lang="en-US" dirty="0" smtClean="0">
                <a:sym typeface="Wingdings" pitchFamily="2" charset="2"/>
              </a:rPr>
              <a:t>Enter Project Code , Task Code , Job title and Mobile Number</a:t>
            </a:r>
            <a:endParaRPr lang="en-US" dirty="0" smtClean="0"/>
          </a:p>
          <a:p>
            <a:pPr lvl="1"/>
            <a:r>
              <a:rPr lang="en-US" dirty="0" smtClean="0"/>
              <a:t>Click Submit</a:t>
            </a:r>
          </a:p>
          <a:p>
            <a:pPr lvl="1"/>
            <a:r>
              <a:rPr lang="en-US" dirty="0" smtClean="0"/>
              <a:t>You will receive a Confirmation ID number</a:t>
            </a:r>
          </a:p>
          <a:p>
            <a:pPr lvl="1"/>
            <a:r>
              <a:rPr lang="en-US" dirty="0" smtClean="0"/>
              <a:t>ICRES Team will process your Business Card request and will issue in 7 working days</a:t>
            </a:r>
          </a:p>
          <a:p>
            <a:endParaRPr lang="en-US" dirty="0"/>
          </a:p>
        </p:txBody>
      </p:sp>
      <p:pic>
        <p:nvPicPr>
          <p:cNvPr id="57347" name="Picture 3"/>
          <p:cNvPicPr>
            <a:picLocks noChangeAspect="1" noChangeArrowheads="1"/>
          </p:cNvPicPr>
          <p:nvPr/>
        </p:nvPicPr>
        <p:blipFill>
          <a:blip r:embed="rId3" cstate="print"/>
          <a:srcRect/>
          <a:stretch>
            <a:fillRect/>
          </a:stretch>
        </p:blipFill>
        <p:spPr bwMode="auto">
          <a:xfrm>
            <a:off x="3265886" y="4686301"/>
            <a:ext cx="3097344" cy="671513"/>
          </a:xfrm>
          <a:prstGeom prst="rect">
            <a:avLst/>
          </a:prstGeom>
          <a:noFill/>
          <a:ln w="9525">
            <a:noFill/>
            <a:round/>
            <a:headEnd/>
            <a:tailEnd/>
          </a:ln>
        </p:spPr>
      </p:pic>
      <p:sp>
        <p:nvSpPr>
          <p:cNvPr id="57348" name="Rectangle 6"/>
          <p:cNvSpPr>
            <a:spLocks/>
          </p:cNvSpPr>
          <p:nvPr/>
        </p:nvSpPr>
        <p:spPr bwMode="auto">
          <a:xfrm>
            <a:off x="851298" y="1795464"/>
            <a:ext cx="8203406" cy="2428875"/>
          </a:xfrm>
          <a:prstGeom prst="rect">
            <a:avLst/>
          </a:prstGeom>
          <a:noFill/>
          <a:ln w="12700">
            <a:noFill/>
            <a:miter lim="800000"/>
            <a:headEnd/>
            <a:tailEnd/>
          </a:ln>
        </p:spPr>
        <p:txBody>
          <a:bodyPr lIns="0" tIns="0" rIns="43349" bIns="0"/>
          <a:lstStyle/>
          <a:p>
            <a:pPr marL="42863"/>
            <a:endParaRPr lang="en-US" sz="2800">
              <a:solidFill>
                <a:srgbClr val="FFFFFF"/>
              </a:solidFill>
            </a:endParaRPr>
          </a:p>
        </p:txBody>
      </p:sp>
      <p:grpSp>
        <p:nvGrpSpPr>
          <p:cNvPr id="2" name="Group 7"/>
          <p:cNvGrpSpPr>
            <a:grpSpLocks/>
          </p:cNvGrpSpPr>
          <p:nvPr/>
        </p:nvGrpSpPr>
        <p:grpSpPr bwMode="auto">
          <a:xfrm>
            <a:off x="8941198" y="76201"/>
            <a:ext cx="889132" cy="409575"/>
            <a:chOff x="3327192" y="1750016"/>
            <a:chExt cx="820212" cy="410106"/>
          </a:xfrm>
        </p:grpSpPr>
        <p:sp>
          <p:nvSpPr>
            <p:cNvPr id="10" name="Rectangle 9"/>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2" name="Rectangle 11"/>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Business</a:t>
              </a:r>
              <a:br>
                <a:rPr lang="en-US" sz="900" dirty="0"/>
              </a:br>
              <a:r>
                <a:rPr lang="en-US" sz="900" dirty="0"/>
                <a:t>Cards</a:t>
              </a:r>
            </a:p>
          </p:txBody>
        </p:sp>
      </p:grpSp>
      <p:grpSp>
        <p:nvGrpSpPr>
          <p:cNvPr id="3" name="Group 12"/>
          <p:cNvGrpSpPr>
            <a:grpSpLocks/>
          </p:cNvGrpSpPr>
          <p:nvPr/>
        </p:nvGrpSpPr>
        <p:grpSpPr bwMode="auto">
          <a:xfrm>
            <a:off x="7035668" y="76201"/>
            <a:ext cx="887413" cy="409575"/>
            <a:chOff x="932170" y="585314"/>
            <a:chExt cx="820212" cy="410106"/>
          </a:xfrm>
        </p:grpSpPr>
        <p:sp>
          <p:nvSpPr>
            <p:cNvPr id="14" name="Rectangle 13"/>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5" name="Rectangle 14"/>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grpSp>
        <p:nvGrpSpPr>
          <p:cNvPr id="4" name="Group 15"/>
          <p:cNvGrpSpPr>
            <a:grpSpLocks/>
          </p:cNvGrpSpPr>
          <p:nvPr/>
        </p:nvGrpSpPr>
        <p:grpSpPr bwMode="auto">
          <a:xfrm>
            <a:off x="7969515" y="76201"/>
            <a:ext cx="889133" cy="409575"/>
            <a:chOff x="1137223" y="1167665"/>
            <a:chExt cx="820212" cy="410106"/>
          </a:xfrm>
        </p:grpSpPr>
        <p:sp>
          <p:nvSpPr>
            <p:cNvPr id="17" name="Rectangle 16"/>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8" name="Rectangle 17"/>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Getting</a:t>
              </a:r>
              <a:br>
                <a:rPr lang="en-US" sz="900" dirty="0"/>
              </a:br>
              <a:r>
                <a:rPr lang="en-US" sz="900" dirty="0"/>
                <a:t>Started</a:t>
              </a:r>
            </a:p>
          </p:txBody>
        </p:sp>
      </p:grpSp>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en-US" dirty="0" smtClean="0"/>
              <a:t>Company Transportation</a:t>
            </a:r>
          </a:p>
        </p:txBody>
      </p:sp>
      <p:sp>
        <p:nvSpPr>
          <p:cNvPr id="14" name="Content Placeholder 13"/>
          <p:cNvSpPr>
            <a:spLocks noGrp="1"/>
          </p:cNvSpPr>
          <p:nvPr>
            <p:ph idx="1"/>
          </p:nvPr>
        </p:nvSpPr>
        <p:spPr/>
        <p:txBody>
          <a:bodyPr/>
          <a:lstStyle/>
          <a:p>
            <a:r>
              <a:rPr lang="en-US" dirty="0" smtClean="0"/>
              <a:t>Company Transport </a:t>
            </a:r>
          </a:p>
          <a:p>
            <a:pPr lvl="1"/>
            <a:r>
              <a:rPr lang="en-US" dirty="0" smtClean="0"/>
              <a:t>The Company provides employees with transportation services to and fro from Capgemini FS SBU</a:t>
            </a:r>
          </a:p>
          <a:p>
            <a:pPr lvl="1"/>
            <a:r>
              <a:rPr lang="en-US" dirty="0" smtClean="0"/>
              <a:t>This policy is applicable for all employees of Capgemini</a:t>
            </a:r>
          </a:p>
          <a:p>
            <a:pPr lvl="1"/>
            <a:r>
              <a:rPr lang="en-US" dirty="0" smtClean="0"/>
              <a:t>To utilize the transportation services in Pune/Hyderabad, employees must possess a bus pass </a:t>
            </a:r>
          </a:p>
          <a:p>
            <a:pPr lvl="1"/>
            <a:r>
              <a:rPr lang="en-US" dirty="0" smtClean="0"/>
              <a:t>Apply for bus pass via </a:t>
            </a:r>
            <a:r>
              <a:rPr lang="en-US" dirty="0" err="1" smtClean="0"/>
              <a:t>iConnect</a:t>
            </a:r>
            <a:r>
              <a:rPr lang="en-US" dirty="0" smtClean="0"/>
              <a:t> (Facilities&gt;Bus pass) and collect from ICRES representative</a:t>
            </a:r>
          </a:p>
          <a:p>
            <a:pPr lvl="1"/>
            <a:r>
              <a:rPr lang="en-US" dirty="0" smtClean="0"/>
              <a:t>Charges:</a:t>
            </a:r>
          </a:p>
          <a:p>
            <a:pPr marL="174625" lvl="1" indent="0">
              <a:buNone/>
            </a:pPr>
            <a:r>
              <a:rPr lang="en-US" dirty="0" smtClean="0"/>
              <a:t/>
            </a:r>
            <a:br>
              <a:rPr lang="en-US" dirty="0" smtClean="0"/>
            </a:br>
            <a:endParaRPr lang="en-US" dirty="0" smtClean="0"/>
          </a:p>
          <a:p>
            <a:pPr marL="174625" lvl="1" indent="0">
              <a:buNone/>
            </a:pPr>
            <a:endParaRPr lang="en-US" dirty="0" smtClean="0"/>
          </a:p>
          <a:p>
            <a:pPr lvl="1"/>
            <a:endParaRPr lang="en-US" dirty="0" smtClean="0"/>
          </a:p>
          <a:p>
            <a:pPr lvl="1"/>
            <a:r>
              <a:rPr lang="en-US" dirty="0" smtClean="0"/>
              <a:t>ICRES contact: Bhimrao Kamble   +91 9922995640</a:t>
            </a:r>
          </a:p>
          <a:p>
            <a:endParaRPr lang="en-US" dirty="0" smtClean="0"/>
          </a:p>
          <a:p>
            <a:endParaRPr lang="en-US" dirty="0" smtClean="0"/>
          </a:p>
          <a:p>
            <a:pPr lvl="1"/>
            <a:endParaRPr lang="en-US" dirty="0" smtClean="0"/>
          </a:p>
          <a:p>
            <a:endParaRPr lang="en-US" dirty="0"/>
          </a:p>
        </p:txBody>
      </p:sp>
      <p:grpSp>
        <p:nvGrpSpPr>
          <p:cNvPr id="2" name="Group 7"/>
          <p:cNvGrpSpPr>
            <a:grpSpLocks/>
          </p:cNvGrpSpPr>
          <p:nvPr/>
        </p:nvGrpSpPr>
        <p:grpSpPr bwMode="auto">
          <a:xfrm>
            <a:off x="7035668" y="76201"/>
            <a:ext cx="887413" cy="409575"/>
            <a:chOff x="932170" y="585314"/>
            <a:chExt cx="820212" cy="410106"/>
          </a:xfrm>
        </p:grpSpPr>
        <p:sp>
          <p:nvSpPr>
            <p:cNvPr id="6" name="Rectangle 5"/>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7" name="Rectangle 6"/>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grpSp>
        <p:nvGrpSpPr>
          <p:cNvPr id="3" name="Group 15"/>
          <p:cNvGrpSpPr>
            <a:grpSpLocks/>
          </p:cNvGrpSpPr>
          <p:nvPr/>
        </p:nvGrpSpPr>
        <p:grpSpPr bwMode="auto">
          <a:xfrm>
            <a:off x="7969515" y="76201"/>
            <a:ext cx="889133" cy="409575"/>
            <a:chOff x="1137223" y="1167665"/>
            <a:chExt cx="820212" cy="410106"/>
          </a:xfrm>
        </p:grpSpPr>
        <p:sp>
          <p:nvSpPr>
            <p:cNvPr id="9" name="Rectangle 8"/>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0" name="Rectangle 9"/>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Getting</a:t>
              </a:r>
              <a:br>
                <a:rPr lang="en-US" sz="900" dirty="0"/>
              </a:br>
              <a:r>
                <a:rPr lang="en-US" sz="900" dirty="0"/>
                <a:t>Started</a:t>
              </a:r>
            </a:p>
          </p:txBody>
        </p:sp>
      </p:grpSp>
      <p:grpSp>
        <p:nvGrpSpPr>
          <p:cNvPr id="4" name="Group 6"/>
          <p:cNvGrpSpPr>
            <a:grpSpLocks/>
          </p:cNvGrpSpPr>
          <p:nvPr/>
        </p:nvGrpSpPr>
        <p:grpSpPr bwMode="auto">
          <a:xfrm>
            <a:off x="8941198" y="76201"/>
            <a:ext cx="889132" cy="409575"/>
            <a:chOff x="3327192" y="1750016"/>
            <a:chExt cx="820212" cy="410106"/>
          </a:xfrm>
        </p:grpSpPr>
        <p:sp>
          <p:nvSpPr>
            <p:cNvPr id="12" name="Rectangle 11"/>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3" name="Rectangle 12"/>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smtClean="0"/>
                <a:t>Transportation</a:t>
              </a:r>
              <a:endParaRPr lang="en-US" sz="900" dirty="0"/>
            </a:p>
          </p:txBody>
        </p:sp>
      </p:grpSp>
      <p:pic>
        <p:nvPicPr>
          <p:cNvPr id="23" name="Picture 22"/>
          <p:cNvPicPr>
            <a:picLocks noChangeAspect="1"/>
          </p:cNvPicPr>
          <p:nvPr/>
        </p:nvPicPr>
        <p:blipFill>
          <a:blip r:embed="rId3" cstate="print"/>
          <a:stretch>
            <a:fillRect/>
          </a:stretch>
        </p:blipFill>
        <p:spPr>
          <a:xfrm>
            <a:off x="1601603" y="4266792"/>
            <a:ext cx="3948805" cy="939600"/>
          </a:xfrm>
          <a:prstGeom prst="rect">
            <a:avLst/>
          </a:prstGeom>
        </p:spPr>
      </p:pic>
      <p:sp>
        <p:nvSpPr>
          <p:cNvPr id="24" name="Rectangle 3"/>
          <p:cNvSpPr>
            <a:spLocks noChangeArrowheads="1"/>
          </p:cNvSpPr>
          <p:nvPr/>
        </p:nvSpPr>
        <p:spPr bwMode="auto">
          <a:xfrm>
            <a:off x="0" y="43934"/>
            <a:ext cx="184731"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Tree>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any Transportation</a:t>
            </a:r>
            <a:endParaRPr lang="en-US" sz="1600" dirty="0"/>
          </a:p>
        </p:txBody>
      </p:sp>
      <p:sp>
        <p:nvSpPr>
          <p:cNvPr id="3" name="Content Placeholder 2"/>
          <p:cNvSpPr>
            <a:spLocks noGrp="1"/>
          </p:cNvSpPr>
          <p:nvPr>
            <p:ph idx="1"/>
          </p:nvPr>
        </p:nvSpPr>
        <p:spPr/>
        <p:txBody>
          <a:bodyPr/>
          <a:lstStyle/>
          <a:p>
            <a:pPr>
              <a:buNone/>
            </a:pPr>
            <a:r>
              <a:rPr lang="en-US" sz="1800" b="1" dirty="0" smtClean="0"/>
              <a:t>Responsibilities and Duties for New </a:t>
            </a:r>
            <a:r>
              <a:rPr lang="en-US" sz="1800" b="1" dirty="0" err="1" smtClean="0"/>
              <a:t>Joinees</a:t>
            </a:r>
            <a:r>
              <a:rPr lang="en-US" sz="1800" b="1" dirty="0" smtClean="0"/>
              <a:t> availing Company Transport Facility</a:t>
            </a:r>
            <a:endParaRPr lang="en-US" sz="1800" dirty="0" smtClean="0"/>
          </a:p>
          <a:p>
            <a:pPr lvl="0"/>
            <a:r>
              <a:rPr lang="en-GB" sz="1800" dirty="0" smtClean="0"/>
              <a:t>New </a:t>
            </a:r>
            <a:r>
              <a:rPr lang="en-GB" sz="1800" dirty="0" err="1" smtClean="0"/>
              <a:t>Joinees</a:t>
            </a:r>
            <a:r>
              <a:rPr lang="en-GB" sz="1800" dirty="0" smtClean="0"/>
              <a:t> are allowed for first 3 days of joining free transport services subject to prior authorization from Transport team </a:t>
            </a:r>
            <a:endParaRPr lang="en-US" sz="1800" dirty="0" smtClean="0"/>
          </a:p>
          <a:p>
            <a:pPr lvl="0"/>
            <a:r>
              <a:rPr lang="en-GB" sz="1800" dirty="0" smtClean="0"/>
              <a:t>Transport team will look at the seat availability and advise the associate whether to travel or not in the buses</a:t>
            </a:r>
            <a:endParaRPr lang="en-US" sz="1800" dirty="0" smtClean="0"/>
          </a:p>
          <a:p>
            <a:pPr lvl="0"/>
            <a:r>
              <a:rPr lang="en-GB" sz="1800" dirty="0" smtClean="0"/>
              <a:t>Any employee found travelling without a bus pass or an authorization will be penalized as per the policy</a:t>
            </a:r>
            <a:endParaRPr lang="en-US" sz="1800" dirty="0" smtClean="0"/>
          </a:p>
          <a:p>
            <a:pPr lvl="0"/>
            <a:r>
              <a:rPr lang="en-GB" sz="1800" dirty="0" smtClean="0"/>
              <a:t>Please reach to the pickup point 5 min prior to scheduled pick up time</a:t>
            </a:r>
            <a:endParaRPr lang="en-US" sz="1800" dirty="0" smtClean="0"/>
          </a:p>
          <a:p>
            <a:pPr lvl="0"/>
            <a:r>
              <a:rPr lang="en-GB" sz="1800" dirty="0" smtClean="0"/>
              <a:t>Bus will not wait at any pick-up point beyond the scheduled pick up time</a:t>
            </a:r>
            <a:endParaRPr lang="en-US" sz="1800" dirty="0" smtClean="0"/>
          </a:p>
          <a:p>
            <a:r>
              <a:rPr lang="en-GB" sz="1800" dirty="0" smtClean="0"/>
              <a:t>Please coordinate with route coordinator for any help or assistance</a:t>
            </a:r>
            <a:endParaRPr lang="en-US" sz="1800" dirty="0" smtClean="0"/>
          </a:p>
          <a:p>
            <a:pPr lvl="0"/>
            <a:r>
              <a:rPr lang="en-GB" sz="1800" dirty="0" smtClean="0"/>
              <a:t>Employees should not try to influence/force the driver to divert the bus from the pre-designated routes. In case of violation, the </a:t>
            </a:r>
            <a:r>
              <a:rPr lang="en-GB" sz="1800" dirty="0" err="1" smtClean="0"/>
              <a:t>employeee</a:t>
            </a:r>
            <a:r>
              <a:rPr lang="en-GB" sz="1800" dirty="0" smtClean="0"/>
              <a:t> will be liable for disciplinary action</a:t>
            </a:r>
          </a:p>
          <a:p>
            <a:pPr lvl="0">
              <a:buNone/>
            </a:pPr>
            <a:endParaRPr lang="en-US" sz="1800"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6"/>
          <p:cNvSpPr>
            <a:spLocks noGrp="1"/>
          </p:cNvSpPr>
          <p:nvPr>
            <p:ph type="title"/>
          </p:nvPr>
        </p:nvSpPr>
        <p:spPr/>
        <p:txBody>
          <a:bodyPr/>
          <a:lstStyle/>
          <a:p>
            <a:r>
              <a:rPr lang="en-US" smtClean="0"/>
              <a:t>Knowledge Management (KM)</a:t>
            </a:r>
            <a:endParaRPr lang="en-US" dirty="0" smtClean="0"/>
          </a:p>
        </p:txBody>
      </p:sp>
      <p:sp>
        <p:nvSpPr>
          <p:cNvPr id="33" name="Content Placeholder 32"/>
          <p:cNvSpPr>
            <a:spLocks noGrp="1"/>
          </p:cNvSpPr>
          <p:nvPr>
            <p:ph idx="1"/>
          </p:nvPr>
        </p:nvSpPr>
        <p:spPr/>
        <p:txBody>
          <a:bodyPr/>
          <a:lstStyle/>
          <a:p>
            <a:r>
              <a:rPr lang="en-US" dirty="0" smtClean="0"/>
              <a:t>The KM 3.0 Global Community is designed to help you navigate for global content</a:t>
            </a:r>
          </a:p>
          <a:p>
            <a:r>
              <a:rPr lang="en-US" dirty="0" smtClean="0"/>
              <a:t>It is structured along industries or sectors, service lines or offerings, software or products, enabling functions, and certification communities</a:t>
            </a:r>
          </a:p>
          <a:p>
            <a:pPr lvl="1"/>
            <a:r>
              <a:rPr lang="en-US" dirty="0" smtClean="0">
                <a:solidFill>
                  <a:srgbClr val="00A0D6"/>
                </a:solidFill>
              </a:rPr>
              <a:t>http://km3.capgemini.com</a:t>
            </a:r>
          </a:p>
          <a:p>
            <a:pPr lvl="1"/>
            <a:r>
              <a:rPr lang="en-US" dirty="0" smtClean="0"/>
              <a:t>Web link: </a:t>
            </a:r>
            <a:r>
              <a:rPr lang="en-US" dirty="0" smtClean="0">
                <a:solidFill>
                  <a:srgbClr val="00A0D6"/>
                </a:solidFill>
              </a:rPr>
              <a:t>https://km3.capgemini.com/financial-services/home</a:t>
            </a:r>
          </a:p>
          <a:p>
            <a:pPr lvl="1"/>
            <a:r>
              <a:rPr lang="en-US" dirty="0" smtClean="0"/>
              <a:t>Employee Handbook- </a:t>
            </a:r>
            <a:r>
              <a:rPr lang="en-US" dirty="0" smtClean="0">
                <a:solidFill>
                  <a:srgbClr val="00A0D6"/>
                </a:solidFill>
              </a:rPr>
              <a:t>https://km3.capgemini.com/book/585257</a:t>
            </a:r>
          </a:p>
          <a:p>
            <a:pPr lvl="1"/>
            <a:endParaRPr lang="en-US" dirty="0" smtClean="0">
              <a:solidFill>
                <a:srgbClr val="00A0D6"/>
              </a:solidFill>
            </a:endParaRPr>
          </a:p>
          <a:p>
            <a:endParaRPr lang="en-US" dirty="0"/>
          </a:p>
        </p:txBody>
      </p:sp>
      <p:grpSp>
        <p:nvGrpSpPr>
          <p:cNvPr id="2" name="Group 6"/>
          <p:cNvGrpSpPr>
            <a:grpSpLocks/>
          </p:cNvGrpSpPr>
          <p:nvPr/>
        </p:nvGrpSpPr>
        <p:grpSpPr bwMode="auto">
          <a:xfrm>
            <a:off x="8941198" y="76201"/>
            <a:ext cx="889132" cy="409575"/>
            <a:chOff x="3327192" y="1750016"/>
            <a:chExt cx="820212" cy="410106"/>
          </a:xfrm>
        </p:grpSpPr>
        <p:sp>
          <p:nvSpPr>
            <p:cNvPr id="9" name="Rectangle 8"/>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0" name="Rectangle 9"/>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Knowledge Management</a:t>
              </a:r>
            </a:p>
          </p:txBody>
        </p:sp>
      </p:grpSp>
      <p:grpSp>
        <p:nvGrpSpPr>
          <p:cNvPr id="3" name="Group 10"/>
          <p:cNvGrpSpPr>
            <a:grpSpLocks/>
          </p:cNvGrpSpPr>
          <p:nvPr/>
        </p:nvGrpSpPr>
        <p:grpSpPr bwMode="auto">
          <a:xfrm>
            <a:off x="7035668" y="76201"/>
            <a:ext cx="887413" cy="409575"/>
            <a:chOff x="932170" y="585314"/>
            <a:chExt cx="820212" cy="410106"/>
          </a:xfrm>
        </p:grpSpPr>
        <p:sp>
          <p:nvSpPr>
            <p:cNvPr id="12" name="Rectangle 11"/>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3" name="Rectangle 12"/>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grpSp>
        <p:nvGrpSpPr>
          <p:cNvPr id="4" name="Group 13"/>
          <p:cNvGrpSpPr>
            <a:grpSpLocks/>
          </p:cNvGrpSpPr>
          <p:nvPr/>
        </p:nvGrpSpPr>
        <p:grpSpPr bwMode="auto">
          <a:xfrm>
            <a:off x="7969515" y="76201"/>
            <a:ext cx="889133" cy="409575"/>
            <a:chOff x="1137223" y="1167665"/>
            <a:chExt cx="820212" cy="410106"/>
          </a:xfrm>
        </p:grpSpPr>
        <p:sp>
          <p:nvSpPr>
            <p:cNvPr id="15" name="Rectangle 14"/>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6" name="Rectangle 15"/>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Capgemini Toolset</a:t>
              </a:r>
            </a:p>
          </p:txBody>
        </p:sp>
      </p:grpSp>
      <p:sp>
        <p:nvSpPr>
          <p:cNvPr id="17" name="Rectangle 3"/>
          <p:cNvSpPr txBox="1">
            <a:spLocks noChangeArrowheads="1"/>
          </p:cNvSpPr>
          <p:nvPr/>
        </p:nvSpPr>
        <p:spPr bwMode="auto">
          <a:xfrm>
            <a:off x="331921" y="977900"/>
            <a:ext cx="9357386" cy="4838700"/>
          </a:xfrm>
          <a:prstGeom prst="rect">
            <a:avLst/>
          </a:prstGeom>
          <a:noFill/>
          <a:ln w="9525">
            <a:noFill/>
            <a:miter lim="800000"/>
            <a:headEnd/>
            <a:tailEnd/>
          </a:ln>
        </p:spPr>
        <p:txBody>
          <a:bodyPr lIns="0"/>
          <a:lstStyle/>
          <a:p>
            <a:pPr marL="461963" lvl="2" indent="-233363" eaLnBrk="0" hangingPunct="0">
              <a:spcBef>
                <a:spcPts val="600"/>
              </a:spcBef>
              <a:spcAft>
                <a:spcPts val="0"/>
              </a:spcAft>
              <a:buClr>
                <a:schemeClr val="tx1"/>
              </a:buClr>
              <a:buSzPct val="90000"/>
              <a:buFont typeface="Arial" pitchFamily="34" charset="0"/>
              <a:buChar char="•"/>
              <a:defRPr/>
            </a:pPr>
            <a:endParaRPr lang="en-US" sz="1400" kern="0" dirty="0">
              <a:latin typeface="+mn-lt"/>
            </a:endParaRPr>
          </a:p>
          <a:p>
            <a:pPr marL="342900" indent="-342900" eaLnBrk="0" hangingPunct="0">
              <a:spcBef>
                <a:spcPct val="100000"/>
              </a:spcBef>
              <a:buClr>
                <a:schemeClr val="tx1"/>
              </a:buClr>
              <a:buSzPct val="85000"/>
              <a:buFont typeface="Wingdings" pitchFamily="2" charset="2"/>
              <a:buNone/>
              <a:defRPr/>
            </a:pPr>
            <a:endParaRPr lang="en-US" sz="1400" kern="0" dirty="0">
              <a:latin typeface="+mn-lt"/>
            </a:endParaRPr>
          </a:p>
          <a:p>
            <a:pPr marL="342900" indent="-342900" eaLnBrk="0" hangingPunct="0">
              <a:spcBef>
                <a:spcPct val="100000"/>
              </a:spcBef>
              <a:buClr>
                <a:schemeClr val="tx1"/>
              </a:buClr>
              <a:buSzPct val="85000"/>
              <a:buFont typeface="Wingdings" pitchFamily="2" charset="2"/>
              <a:buNone/>
              <a:defRPr/>
            </a:pPr>
            <a:endParaRPr lang="en-US" sz="1400" kern="0" dirty="0">
              <a:latin typeface="+mn-lt"/>
            </a:endParaRPr>
          </a:p>
        </p:txBody>
      </p:sp>
    </p:spTree>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dirty="0" smtClean="0"/>
              <a:t>Referral Bonus Program</a:t>
            </a:r>
            <a:endParaRPr lang="en-US" dirty="0"/>
          </a:p>
        </p:txBody>
      </p:sp>
      <p:sp>
        <p:nvSpPr>
          <p:cNvPr id="24" name="Content Placeholder 23"/>
          <p:cNvSpPr>
            <a:spLocks noGrp="1"/>
          </p:cNvSpPr>
          <p:nvPr>
            <p:ph idx="1"/>
          </p:nvPr>
        </p:nvSpPr>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sz="2000" dirty="0" smtClean="0"/>
              <a:t>Note: Please read FS SBU Referral Bonus Policy</a:t>
            </a:r>
          </a:p>
          <a:p>
            <a:endParaRPr lang="en-US" dirty="0" smtClean="0"/>
          </a:p>
          <a:p>
            <a:endParaRPr lang="en-US" dirty="0"/>
          </a:p>
        </p:txBody>
      </p:sp>
      <p:graphicFrame>
        <p:nvGraphicFramePr>
          <p:cNvPr id="5" name="Table 4"/>
          <p:cNvGraphicFramePr>
            <a:graphicFrameLocks noGrp="1"/>
          </p:cNvGraphicFramePr>
          <p:nvPr/>
        </p:nvGraphicFramePr>
        <p:xfrm>
          <a:off x="540090" y="1610756"/>
          <a:ext cx="8244682" cy="2057400"/>
        </p:xfrm>
        <a:graphic>
          <a:graphicData uri="http://schemas.openxmlformats.org/drawingml/2006/table">
            <a:tbl>
              <a:tblPr firstRow="1" bandRow="1">
                <a:tableStyleId>{5C22544A-7EE6-4342-B048-85BDC9FD1C3A}</a:tableStyleId>
              </a:tblPr>
              <a:tblGrid>
                <a:gridCol w="4398314"/>
                <a:gridCol w="3846368"/>
              </a:tblGrid>
              <a:tr h="370840">
                <a:tc>
                  <a:txBody>
                    <a:bodyPr/>
                    <a:lstStyle/>
                    <a:p>
                      <a:pPr algn="ctr"/>
                      <a:r>
                        <a:rPr lang="en-US" sz="1600" dirty="0" smtClean="0"/>
                        <a:t>Eligibility</a:t>
                      </a:r>
                      <a:endParaRPr lang="en-US" sz="1600" dirty="0"/>
                    </a:p>
                  </a:txBody>
                  <a:tcPr marL="99060" marR="990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0D6"/>
                    </a:solidFill>
                  </a:tcPr>
                </a:tc>
                <a:tc>
                  <a:txBody>
                    <a:bodyPr/>
                    <a:lstStyle/>
                    <a:p>
                      <a:pPr algn="ctr"/>
                      <a:r>
                        <a:rPr lang="en-US" sz="1600" dirty="0" smtClean="0"/>
                        <a:t>Contact</a:t>
                      </a:r>
                      <a:endParaRPr lang="en-US" sz="1600" dirty="0"/>
                    </a:p>
                  </a:txBody>
                  <a:tcPr marL="99060" marR="990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0D6"/>
                    </a:solidFill>
                  </a:tcPr>
                </a:tc>
              </a:tr>
              <a:tr h="1686560">
                <a:tc>
                  <a:txBody>
                    <a:bodyPr/>
                    <a:lstStyle/>
                    <a:p>
                      <a:r>
                        <a:rPr lang="en-US" sz="1400" b="0" dirty="0" smtClean="0"/>
                        <a:t>For each referral that gets hired as a full-time employee, you are eligible for a bonus after the candidate completes their first 90 days</a:t>
                      </a:r>
                    </a:p>
                    <a:p>
                      <a:endParaRPr lang="en-US" sz="1400" b="0" dirty="0" smtClean="0"/>
                    </a:p>
                    <a:p>
                      <a:r>
                        <a:rPr lang="en-US" sz="1400" b="0" dirty="0" smtClean="0"/>
                        <a:t>Note: You must be employed by FS SBU at the time of the bonus payout</a:t>
                      </a:r>
                    </a:p>
                    <a:p>
                      <a:endParaRPr lang="en-US" sz="1400" b="0" dirty="0" smtClean="0"/>
                    </a:p>
                  </a:txBody>
                  <a:tcPr marL="99060" marR="990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09538" marR="0" lvl="0" indent="-109538"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smtClean="0"/>
                        <a:t>   Recruitment team/</a:t>
                      </a:r>
                      <a:r>
                        <a:rPr lang="en-US" sz="1400" baseline="0" dirty="0" smtClean="0"/>
                        <a:t>                          </a:t>
                      </a:r>
                      <a:r>
                        <a:rPr lang="en-US" sz="1400" dirty="0" smtClean="0"/>
                        <a:t>Conversion</a:t>
                      </a:r>
                      <a:r>
                        <a:rPr lang="en-US" sz="1400" baseline="0" dirty="0" smtClean="0"/>
                        <a:t> Team</a:t>
                      </a:r>
                      <a:endParaRPr lang="en-US" sz="1400" dirty="0" smtClean="0"/>
                    </a:p>
                  </a:txBody>
                  <a:tcPr marL="99060" marR="990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pSp>
        <p:nvGrpSpPr>
          <p:cNvPr id="2" name="Group 10"/>
          <p:cNvGrpSpPr>
            <a:grpSpLocks/>
          </p:cNvGrpSpPr>
          <p:nvPr/>
        </p:nvGrpSpPr>
        <p:grpSpPr bwMode="auto">
          <a:xfrm>
            <a:off x="7035668" y="76201"/>
            <a:ext cx="887413" cy="409575"/>
            <a:chOff x="932170" y="585314"/>
            <a:chExt cx="820212" cy="410106"/>
          </a:xfrm>
        </p:grpSpPr>
        <p:sp>
          <p:nvSpPr>
            <p:cNvPr id="16" name="Rectangle 15"/>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7" name="Rectangle 16"/>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ystems &amp; Tools</a:t>
              </a:r>
            </a:p>
          </p:txBody>
        </p:sp>
      </p:grpSp>
      <p:grpSp>
        <p:nvGrpSpPr>
          <p:cNvPr id="3" name="Group 13"/>
          <p:cNvGrpSpPr>
            <a:grpSpLocks/>
          </p:cNvGrpSpPr>
          <p:nvPr/>
        </p:nvGrpSpPr>
        <p:grpSpPr bwMode="auto">
          <a:xfrm>
            <a:off x="7969515" y="76201"/>
            <a:ext cx="889133" cy="409575"/>
            <a:chOff x="1137223" y="1167665"/>
            <a:chExt cx="820212" cy="410106"/>
          </a:xfrm>
        </p:grpSpPr>
        <p:sp>
          <p:nvSpPr>
            <p:cNvPr id="19" name="Rectangle 18"/>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0" name="Rectangle 19"/>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Capgemini Toolset</a:t>
              </a:r>
            </a:p>
          </p:txBody>
        </p:sp>
      </p:grpSp>
      <p:grpSp>
        <p:nvGrpSpPr>
          <p:cNvPr id="4" name="Group 6"/>
          <p:cNvGrpSpPr>
            <a:grpSpLocks/>
          </p:cNvGrpSpPr>
          <p:nvPr/>
        </p:nvGrpSpPr>
        <p:grpSpPr bwMode="auto">
          <a:xfrm>
            <a:off x="8941198" y="76201"/>
            <a:ext cx="889132" cy="409575"/>
            <a:chOff x="3327192" y="1750016"/>
            <a:chExt cx="820212" cy="410106"/>
          </a:xfrm>
        </p:grpSpPr>
        <p:sp>
          <p:nvSpPr>
            <p:cNvPr id="22" name="Rectangle 21"/>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23" name="Rectangle 22"/>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smtClean="0"/>
                <a:t>RMG</a:t>
              </a:r>
              <a:endParaRPr lang="en-US" sz="900" dirty="0"/>
            </a:p>
          </p:txBody>
        </p:sp>
      </p:grpSp>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FS SBU </a:t>
            </a:r>
            <a:r>
              <a:rPr dirty="0" smtClean="0"/>
              <a:t>People Care</a:t>
            </a:r>
            <a:endParaRPr dirty="0"/>
          </a:p>
        </p:txBody>
      </p:sp>
      <p:sp>
        <p:nvSpPr>
          <p:cNvPr id="7" name="Rectangle 6"/>
          <p:cNvSpPr/>
          <p:nvPr/>
        </p:nvSpPr>
        <p:spPr>
          <a:xfrm>
            <a:off x="8934319" y="76201"/>
            <a:ext cx="889132" cy="409575"/>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lIns="0" rIns="0" anchor="ctr"/>
          <a:lstStyle/>
          <a:p>
            <a:pPr algn="ctr">
              <a:defRPr/>
            </a:pPr>
            <a:r>
              <a:rPr lang="en-US" sz="900" dirty="0"/>
              <a:t>People</a:t>
            </a:r>
            <a:br>
              <a:rPr lang="en-US" sz="900" dirty="0"/>
            </a:br>
            <a:r>
              <a:rPr lang="en-US" sz="900" dirty="0"/>
              <a:t>Care</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Image 29"/>
          <p:cNvPicPr>
            <a:picLocks noChangeAspect="1"/>
          </p:cNvPicPr>
          <p:nvPr/>
        </p:nvPicPr>
        <p:blipFill rotWithShape="1">
          <a:blip r:embed="rId3" cstate="print">
            <a:extLst>
              <a:ext uri="{28A0092B-C50C-407E-A947-70E740481C1C}">
                <a14:useLocalDpi xmlns="" xmlns:a14="http://schemas.microsoft.com/office/drawing/2010/main" val="0"/>
              </a:ext>
            </a:extLst>
          </a:blip>
          <a:srcRect l="13876" r="27924"/>
          <a:stretch/>
        </p:blipFill>
        <p:spPr>
          <a:xfrm>
            <a:off x="2971428" y="1478756"/>
            <a:ext cx="3950434" cy="4530843"/>
          </a:xfrm>
          <a:prstGeom prst="rect">
            <a:avLst/>
          </a:prstGeom>
        </p:spPr>
      </p:pic>
      <p:grpSp>
        <p:nvGrpSpPr>
          <p:cNvPr id="9" name="Group 8"/>
          <p:cNvGrpSpPr/>
          <p:nvPr/>
        </p:nvGrpSpPr>
        <p:grpSpPr>
          <a:xfrm>
            <a:off x="1277186" y="2374103"/>
            <a:ext cx="606514" cy="606514"/>
            <a:chOff x="556081" y="1394309"/>
            <a:chExt cx="852724" cy="852724"/>
          </a:xfrm>
        </p:grpSpPr>
        <p:sp>
          <p:nvSpPr>
            <p:cNvPr id="88" name="Elipse 87"/>
            <p:cNvSpPr/>
            <p:nvPr/>
          </p:nvSpPr>
          <p:spPr>
            <a:xfrm>
              <a:off x="556081" y="1394309"/>
              <a:ext cx="852724" cy="85272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463" kern="0" dirty="0">
                <a:solidFill>
                  <a:prstClr val="white"/>
                </a:solidFill>
                <a:latin typeface="Arial" panose="020B0604020202020204" pitchFamily="34" charset="0"/>
                <a:cs typeface="Arial" panose="020B0604020202020204" pitchFamily="34" charset="0"/>
              </a:endParaRPr>
            </a:p>
          </p:txBody>
        </p:sp>
        <p:grpSp>
          <p:nvGrpSpPr>
            <p:cNvPr id="89" name="Grupo 31"/>
            <p:cNvGrpSpPr/>
            <p:nvPr/>
          </p:nvGrpSpPr>
          <p:grpSpPr>
            <a:xfrm>
              <a:off x="762295" y="1660765"/>
              <a:ext cx="440297" cy="319812"/>
              <a:chOff x="6493140" y="5028673"/>
              <a:chExt cx="438632" cy="318602"/>
            </a:xfrm>
            <a:solidFill>
              <a:schemeClr val="bg1"/>
            </a:solidFill>
          </p:grpSpPr>
          <p:sp>
            <p:nvSpPr>
              <p:cNvPr id="90" name="Freeform 7623"/>
              <p:cNvSpPr>
                <a:spLocks noEditPoints="1"/>
              </p:cNvSpPr>
              <p:nvPr/>
            </p:nvSpPr>
            <p:spPr bwMode="auto">
              <a:xfrm>
                <a:off x="6493140" y="5028673"/>
                <a:ext cx="438632" cy="318602"/>
              </a:xfrm>
              <a:custGeom>
                <a:avLst/>
                <a:gdLst>
                  <a:gd name="T0" fmla="*/ 147 w 296"/>
                  <a:gd name="T1" fmla="*/ 26 h 215"/>
                  <a:gd name="T2" fmla="*/ 116 w 296"/>
                  <a:gd name="T3" fmla="*/ 29 h 215"/>
                  <a:gd name="T4" fmla="*/ 86 w 296"/>
                  <a:gd name="T5" fmla="*/ 39 h 215"/>
                  <a:gd name="T6" fmla="*/ 62 w 296"/>
                  <a:gd name="T7" fmla="*/ 57 h 215"/>
                  <a:gd name="T8" fmla="*/ 41 w 296"/>
                  <a:gd name="T9" fmla="*/ 80 h 215"/>
                  <a:gd name="T10" fmla="*/ 27 w 296"/>
                  <a:gd name="T11" fmla="*/ 107 h 215"/>
                  <a:gd name="T12" fmla="*/ 41 w 296"/>
                  <a:gd name="T13" fmla="*/ 134 h 215"/>
                  <a:gd name="T14" fmla="*/ 62 w 296"/>
                  <a:gd name="T15" fmla="*/ 157 h 215"/>
                  <a:gd name="T16" fmla="*/ 86 w 296"/>
                  <a:gd name="T17" fmla="*/ 175 h 215"/>
                  <a:gd name="T18" fmla="*/ 116 w 296"/>
                  <a:gd name="T19" fmla="*/ 185 h 215"/>
                  <a:gd name="T20" fmla="*/ 147 w 296"/>
                  <a:gd name="T21" fmla="*/ 190 h 215"/>
                  <a:gd name="T22" fmla="*/ 180 w 296"/>
                  <a:gd name="T23" fmla="*/ 185 h 215"/>
                  <a:gd name="T24" fmla="*/ 209 w 296"/>
                  <a:gd name="T25" fmla="*/ 175 h 215"/>
                  <a:gd name="T26" fmla="*/ 234 w 296"/>
                  <a:gd name="T27" fmla="*/ 157 h 215"/>
                  <a:gd name="T28" fmla="*/ 255 w 296"/>
                  <a:gd name="T29" fmla="*/ 134 h 215"/>
                  <a:gd name="T30" fmla="*/ 269 w 296"/>
                  <a:gd name="T31" fmla="*/ 107 h 215"/>
                  <a:gd name="T32" fmla="*/ 255 w 296"/>
                  <a:gd name="T33" fmla="*/ 80 h 215"/>
                  <a:gd name="T34" fmla="*/ 234 w 296"/>
                  <a:gd name="T35" fmla="*/ 57 h 215"/>
                  <a:gd name="T36" fmla="*/ 209 w 296"/>
                  <a:gd name="T37" fmla="*/ 39 h 215"/>
                  <a:gd name="T38" fmla="*/ 180 w 296"/>
                  <a:gd name="T39" fmla="*/ 29 h 215"/>
                  <a:gd name="T40" fmla="*/ 147 w 296"/>
                  <a:gd name="T41" fmla="*/ 26 h 215"/>
                  <a:gd name="T42" fmla="*/ 147 w 296"/>
                  <a:gd name="T43" fmla="*/ 0 h 215"/>
                  <a:gd name="T44" fmla="*/ 180 w 296"/>
                  <a:gd name="T45" fmla="*/ 3 h 215"/>
                  <a:gd name="T46" fmla="*/ 212 w 296"/>
                  <a:gd name="T47" fmla="*/ 12 h 215"/>
                  <a:gd name="T48" fmla="*/ 239 w 296"/>
                  <a:gd name="T49" fmla="*/ 29 h 215"/>
                  <a:gd name="T50" fmla="*/ 263 w 296"/>
                  <a:gd name="T51" fmla="*/ 48 h 215"/>
                  <a:gd name="T52" fmla="*/ 282 w 296"/>
                  <a:gd name="T53" fmla="*/ 74 h 215"/>
                  <a:gd name="T54" fmla="*/ 294 w 296"/>
                  <a:gd name="T55" fmla="*/ 104 h 215"/>
                  <a:gd name="T56" fmla="*/ 296 w 296"/>
                  <a:gd name="T57" fmla="*/ 107 h 215"/>
                  <a:gd name="T58" fmla="*/ 294 w 296"/>
                  <a:gd name="T59" fmla="*/ 111 h 215"/>
                  <a:gd name="T60" fmla="*/ 282 w 296"/>
                  <a:gd name="T61" fmla="*/ 140 h 215"/>
                  <a:gd name="T62" fmla="*/ 263 w 296"/>
                  <a:gd name="T63" fmla="*/ 166 h 215"/>
                  <a:gd name="T64" fmla="*/ 239 w 296"/>
                  <a:gd name="T65" fmla="*/ 187 h 215"/>
                  <a:gd name="T66" fmla="*/ 212 w 296"/>
                  <a:gd name="T67" fmla="*/ 202 h 215"/>
                  <a:gd name="T68" fmla="*/ 180 w 296"/>
                  <a:gd name="T69" fmla="*/ 211 h 215"/>
                  <a:gd name="T70" fmla="*/ 147 w 296"/>
                  <a:gd name="T71" fmla="*/ 215 h 215"/>
                  <a:gd name="T72" fmla="*/ 114 w 296"/>
                  <a:gd name="T73" fmla="*/ 211 h 215"/>
                  <a:gd name="T74" fmla="*/ 84 w 296"/>
                  <a:gd name="T75" fmla="*/ 202 h 215"/>
                  <a:gd name="T76" fmla="*/ 57 w 296"/>
                  <a:gd name="T77" fmla="*/ 187 h 215"/>
                  <a:gd name="T78" fmla="*/ 33 w 296"/>
                  <a:gd name="T79" fmla="*/ 166 h 215"/>
                  <a:gd name="T80" fmla="*/ 14 w 296"/>
                  <a:gd name="T81" fmla="*/ 140 h 215"/>
                  <a:gd name="T82" fmla="*/ 0 w 296"/>
                  <a:gd name="T83" fmla="*/ 111 h 215"/>
                  <a:gd name="T84" fmla="*/ 0 w 296"/>
                  <a:gd name="T85" fmla="*/ 107 h 215"/>
                  <a:gd name="T86" fmla="*/ 0 w 296"/>
                  <a:gd name="T87" fmla="*/ 104 h 215"/>
                  <a:gd name="T88" fmla="*/ 14 w 296"/>
                  <a:gd name="T89" fmla="*/ 74 h 215"/>
                  <a:gd name="T90" fmla="*/ 33 w 296"/>
                  <a:gd name="T91" fmla="*/ 48 h 215"/>
                  <a:gd name="T92" fmla="*/ 57 w 296"/>
                  <a:gd name="T93" fmla="*/ 29 h 215"/>
                  <a:gd name="T94" fmla="*/ 84 w 296"/>
                  <a:gd name="T95" fmla="*/ 12 h 215"/>
                  <a:gd name="T96" fmla="*/ 114 w 296"/>
                  <a:gd name="T97" fmla="*/ 3 h 215"/>
                  <a:gd name="T98" fmla="*/ 147 w 296"/>
                  <a:gd name="T9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5">
                    <a:moveTo>
                      <a:pt x="147" y="26"/>
                    </a:moveTo>
                    <a:lnTo>
                      <a:pt x="116" y="29"/>
                    </a:lnTo>
                    <a:lnTo>
                      <a:pt x="86" y="39"/>
                    </a:lnTo>
                    <a:lnTo>
                      <a:pt x="62" y="57"/>
                    </a:lnTo>
                    <a:lnTo>
                      <a:pt x="41" y="80"/>
                    </a:lnTo>
                    <a:lnTo>
                      <a:pt x="27" y="107"/>
                    </a:lnTo>
                    <a:lnTo>
                      <a:pt x="41" y="134"/>
                    </a:lnTo>
                    <a:lnTo>
                      <a:pt x="62" y="157"/>
                    </a:lnTo>
                    <a:lnTo>
                      <a:pt x="86" y="175"/>
                    </a:lnTo>
                    <a:lnTo>
                      <a:pt x="116" y="185"/>
                    </a:lnTo>
                    <a:lnTo>
                      <a:pt x="147" y="190"/>
                    </a:lnTo>
                    <a:lnTo>
                      <a:pt x="180" y="185"/>
                    </a:lnTo>
                    <a:lnTo>
                      <a:pt x="209" y="175"/>
                    </a:lnTo>
                    <a:lnTo>
                      <a:pt x="234" y="157"/>
                    </a:lnTo>
                    <a:lnTo>
                      <a:pt x="255" y="134"/>
                    </a:lnTo>
                    <a:lnTo>
                      <a:pt x="269" y="107"/>
                    </a:lnTo>
                    <a:lnTo>
                      <a:pt x="255" y="80"/>
                    </a:lnTo>
                    <a:lnTo>
                      <a:pt x="234" y="57"/>
                    </a:lnTo>
                    <a:lnTo>
                      <a:pt x="209" y="39"/>
                    </a:lnTo>
                    <a:lnTo>
                      <a:pt x="180" y="29"/>
                    </a:lnTo>
                    <a:lnTo>
                      <a:pt x="147" y="26"/>
                    </a:lnTo>
                    <a:close/>
                    <a:moveTo>
                      <a:pt x="147" y="0"/>
                    </a:moveTo>
                    <a:lnTo>
                      <a:pt x="180" y="3"/>
                    </a:lnTo>
                    <a:lnTo>
                      <a:pt x="212" y="12"/>
                    </a:lnTo>
                    <a:lnTo>
                      <a:pt x="239" y="29"/>
                    </a:lnTo>
                    <a:lnTo>
                      <a:pt x="263" y="48"/>
                    </a:lnTo>
                    <a:lnTo>
                      <a:pt x="282" y="74"/>
                    </a:lnTo>
                    <a:lnTo>
                      <a:pt x="294" y="104"/>
                    </a:lnTo>
                    <a:lnTo>
                      <a:pt x="296" y="107"/>
                    </a:lnTo>
                    <a:lnTo>
                      <a:pt x="294" y="111"/>
                    </a:lnTo>
                    <a:lnTo>
                      <a:pt x="282" y="140"/>
                    </a:lnTo>
                    <a:lnTo>
                      <a:pt x="263" y="166"/>
                    </a:lnTo>
                    <a:lnTo>
                      <a:pt x="239" y="187"/>
                    </a:lnTo>
                    <a:lnTo>
                      <a:pt x="212" y="202"/>
                    </a:lnTo>
                    <a:lnTo>
                      <a:pt x="180" y="211"/>
                    </a:lnTo>
                    <a:lnTo>
                      <a:pt x="147" y="215"/>
                    </a:lnTo>
                    <a:lnTo>
                      <a:pt x="114" y="211"/>
                    </a:lnTo>
                    <a:lnTo>
                      <a:pt x="84" y="202"/>
                    </a:lnTo>
                    <a:lnTo>
                      <a:pt x="57" y="187"/>
                    </a:lnTo>
                    <a:lnTo>
                      <a:pt x="33" y="166"/>
                    </a:lnTo>
                    <a:lnTo>
                      <a:pt x="14" y="140"/>
                    </a:lnTo>
                    <a:lnTo>
                      <a:pt x="0" y="111"/>
                    </a:lnTo>
                    <a:lnTo>
                      <a:pt x="0" y="107"/>
                    </a:lnTo>
                    <a:lnTo>
                      <a:pt x="0" y="104"/>
                    </a:lnTo>
                    <a:lnTo>
                      <a:pt x="14" y="74"/>
                    </a:lnTo>
                    <a:lnTo>
                      <a:pt x="33" y="48"/>
                    </a:lnTo>
                    <a:lnTo>
                      <a:pt x="57" y="29"/>
                    </a:lnTo>
                    <a:lnTo>
                      <a:pt x="84" y="12"/>
                    </a:lnTo>
                    <a:lnTo>
                      <a:pt x="114" y="3"/>
                    </a:lnTo>
                    <a:lnTo>
                      <a:pt x="147" y="0"/>
                    </a:lnTo>
                    <a:close/>
                  </a:path>
                </a:pathLst>
              </a:custGeom>
              <a:grpFill/>
              <a:ln w="0">
                <a:noFill/>
                <a:prstDash val="solid"/>
                <a:round/>
                <a:headEnd/>
                <a:tailEnd/>
              </a:ln>
            </p:spPr>
            <p:txBody>
              <a:bodyPr vert="horz" wrap="square" lIns="74295" tIns="37148" rIns="74295" bIns="37148" numCol="1" anchor="t" anchorCtr="0" compatLnSpc="1">
                <a:prstTxWarp prst="textNoShape">
                  <a:avLst/>
                </a:prstTxWarp>
              </a:bodyPr>
              <a:lstStyle/>
              <a:p>
                <a:pPr algn="r" defTabSz="742950">
                  <a:defRPr/>
                </a:pPr>
                <a:endParaRPr lang="pt-BR" sz="1463" kern="0">
                  <a:solidFill>
                    <a:prstClr val="black"/>
                  </a:solidFill>
                  <a:latin typeface="Arial" panose="020B0604020202020204" pitchFamily="34" charset="0"/>
                  <a:cs typeface="Arial" panose="020B0604020202020204" pitchFamily="34" charset="0"/>
                </a:endParaRPr>
              </a:p>
            </p:txBody>
          </p:sp>
          <p:sp>
            <p:nvSpPr>
              <p:cNvPr id="91" name="Freeform 7624"/>
              <p:cNvSpPr>
                <a:spLocks/>
              </p:cNvSpPr>
              <p:nvPr/>
            </p:nvSpPr>
            <p:spPr bwMode="auto">
              <a:xfrm>
                <a:off x="6608726" y="5084984"/>
                <a:ext cx="207461" cy="204497"/>
              </a:xfrm>
              <a:custGeom>
                <a:avLst/>
                <a:gdLst>
                  <a:gd name="T0" fmla="*/ 69 w 140"/>
                  <a:gd name="T1" fmla="*/ 0 h 138"/>
                  <a:gd name="T2" fmla="*/ 92 w 140"/>
                  <a:gd name="T3" fmla="*/ 3 h 138"/>
                  <a:gd name="T4" fmla="*/ 111 w 140"/>
                  <a:gd name="T5" fmla="*/ 13 h 138"/>
                  <a:gd name="T6" fmla="*/ 126 w 140"/>
                  <a:gd name="T7" fmla="*/ 28 h 138"/>
                  <a:gd name="T8" fmla="*/ 135 w 140"/>
                  <a:gd name="T9" fmla="*/ 48 h 138"/>
                  <a:gd name="T10" fmla="*/ 140 w 140"/>
                  <a:gd name="T11" fmla="*/ 69 h 138"/>
                  <a:gd name="T12" fmla="*/ 135 w 140"/>
                  <a:gd name="T13" fmla="*/ 91 h 138"/>
                  <a:gd name="T14" fmla="*/ 126 w 140"/>
                  <a:gd name="T15" fmla="*/ 109 h 138"/>
                  <a:gd name="T16" fmla="*/ 111 w 140"/>
                  <a:gd name="T17" fmla="*/ 126 h 138"/>
                  <a:gd name="T18" fmla="*/ 92 w 140"/>
                  <a:gd name="T19" fmla="*/ 135 h 138"/>
                  <a:gd name="T20" fmla="*/ 69 w 140"/>
                  <a:gd name="T21" fmla="*/ 138 h 138"/>
                  <a:gd name="T22" fmla="*/ 48 w 140"/>
                  <a:gd name="T23" fmla="*/ 135 h 138"/>
                  <a:gd name="T24" fmla="*/ 29 w 140"/>
                  <a:gd name="T25" fmla="*/ 126 h 138"/>
                  <a:gd name="T26" fmla="*/ 14 w 140"/>
                  <a:gd name="T27" fmla="*/ 109 h 138"/>
                  <a:gd name="T28" fmla="*/ 3 w 140"/>
                  <a:gd name="T29" fmla="*/ 91 h 138"/>
                  <a:gd name="T30" fmla="*/ 0 w 140"/>
                  <a:gd name="T31" fmla="*/ 69 h 138"/>
                  <a:gd name="T32" fmla="*/ 2 w 140"/>
                  <a:gd name="T33" fmla="*/ 64 h 138"/>
                  <a:gd name="T34" fmla="*/ 5 w 140"/>
                  <a:gd name="T35" fmla="*/ 60 h 138"/>
                  <a:gd name="T36" fmla="*/ 8 w 140"/>
                  <a:gd name="T37" fmla="*/ 57 h 138"/>
                  <a:gd name="T38" fmla="*/ 14 w 140"/>
                  <a:gd name="T39" fmla="*/ 57 h 138"/>
                  <a:gd name="T40" fmla="*/ 18 w 140"/>
                  <a:gd name="T41" fmla="*/ 57 h 138"/>
                  <a:gd name="T42" fmla="*/ 23 w 140"/>
                  <a:gd name="T43" fmla="*/ 60 h 138"/>
                  <a:gd name="T44" fmla="*/ 26 w 140"/>
                  <a:gd name="T45" fmla="*/ 64 h 138"/>
                  <a:gd name="T46" fmla="*/ 26 w 140"/>
                  <a:gd name="T47" fmla="*/ 69 h 138"/>
                  <a:gd name="T48" fmla="*/ 29 w 140"/>
                  <a:gd name="T49" fmla="*/ 87 h 138"/>
                  <a:gd name="T50" fmla="*/ 39 w 140"/>
                  <a:gd name="T51" fmla="*/ 100 h 138"/>
                  <a:gd name="T52" fmla="*/ 53 w 140"/>
                  <a:gd name="T53" fmla="*/ 109 h 138"/>
                  <a:gd name="T54" fmla="*/ 69 w 140"/>
                  <a:gd name="T55" fmla="*/ 113 h 138"/>
                  <a:gd name="T56" fmla="*/ 87 w 140"/>
                  <a:gd name="T57" fmla="*/ 109 h 138"/>
                  <a:gd name="T58" fmla="*/ 101 w 140"/>
                  <a:gd name="T59" fmla="*/ 100 h 138"/>
                  <a:gd name="T60" fmla="*/ 110 w 140"/>
                  <a:gd name="T61" fmla="*/ 87 h 138"/>
                  <a:gd name="T62" fmla="*/ 114 w 140"/>
                  <a:gd name="T63" fmla="*/ 69 h 138"/>
                  <a:gd name="T64" fmla="*/ 110 w 140"/>
                  <a:gd name="T65" fmla="*/ 52 h 138"/>
                  <a:gd name="T66" fmla="*/ 101 w 140"/>
                  <a:gd name="T67" fmla="*/ 39 h 138"/>
                  <a:gd name="T68" fmla="*/ 87 w 140"/>
                  <a:gd name="T69" fmla="*/ 28 h 138"/>
                  <a:gd name="T70" fmla="*/ 69 w 140"/>
                  <a:gd name="T71" fmla="*/ 25 h 138"/>
                  <a:gd name="T72" fmla="*/ 65 w 140"/>
                  <a:gd name="T73" fmla="*/ 24 h 138"/>
                  <a:gd name="T74" fmla="*/ 60 w 140"/>
                  <a:gd name="T75" fmla="*/ 21 h 138"/>
                  <a:gd name="T76" fmla="*/ 57 w 140"/>
                  <a:gd name="T77" fmla="*/ 18 h 138"/>
                  <a:gd name="T78" fmla="*/ 57 w 140"/>
                  <a:gd name="T79" fmla="*/ 12 h 138"/>
                  <a:gd name="T80" fmla="*/ 57 w 140"/>
                  <a:gd name="T81" fmla="*/ 7 h 138"/>
                  <a:gd name="T82" fmla="*/ 60 w 140"/>
                  <a:gd name="T83" fmla="*/ 3 h 138"/>
                  <a:gd name="T84" fmla="*/ 65 w 140"/>
                  <a:gd name="T85" fmla="*/ 1 h 138"/>
                  <a:gd name="T86" fmla="*/ 69 w 140"/>
                  <a:gd name="T8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0" h="138">
                    <a:moveTo>
                      <a:pt x="69" y="0"/>
                    </a:moveTo>
                    <a:lnTo>
                      <a:pt x="92" y="3"/>
                    </a:lnTo>
                    <a:lnTo>
                      <a:pt x="111" y="13"/>
                    </a:lnTo>
                    <a:lnTo>
                      <a:pt x="126" y="28"/>
                    </a:lnTo>
                    <a:lnTo>
                      <a:pt x="135" y="48"/>
                    </a:lnTo>
                    <a:lnTo>
                      <a:pt x="140" y="69"/>
                    </a:lnTo>
                    <a:lnTo>
                      <a:pt x="135" y="91"/>
                    </a:lnTo>
                    <a:lnTo>
                      <a:pt x="126" y="109"/>
                    </a:lnTo>
                    <a:lnTo>
                      <a:pt x="111" y="126"/>
                    </a:lnTo>
                    <a:lnTo>
                      <a:pt x="92" y="135"/>
                    </a:lnTo>
                    <a:lnTo>
                      <a:pt x="69" y="138"/>
                    </a:lnTo>
                    <a:lnTo>
                      <a:pt x="48" y="135"/>
                    </a:lnTo>
                    <a:lnTo>
                      <a:pt x="29" y="126"/>
                    </a:lnTo>
                    <a:lnTo>
                      <a:pt x="14" y="109"/>
                    </a:lnTo>
                    <a:lnTo>
                      <a:pt x="3" y="91"/>
                    </a:lnTo>
                    <a:lnTo>
                      <a:pt x="0" y="69"/>
                    </a:lnTo>
                    <a:lnTo>
                      <a:pt x="2" y="64"/>
                    </a:lnTo>
                    <a:lnTo>
                      <a:pt x="5" y="60"/>
                    </a:lnTo>
                    <a:lnTo>
                      <a:pt x="8" y="57"/>
                    </a:lnTo>
                    <a:lnTo>
                      <a:pt x="14" y="57"/>
                    </a:lnTo>
                    <a:lnTo>
                      <a:pt x="18" y="57"/>
                    </a:lnTo>
                    <a:lnTo>
                      <a:pt x="23" y="60"/>
                    </a:lnTo>
                    <a:lnTo>
                      <a:pt x="26" y="64"/>
                    </a:lnTo>
                    <a:lnTo>
                      <a:pt x="26" y="69"/>
                    </a:lnTo>
                    <a:lnTo>
                      <a:pt x="29" y="87"/>
                    </a:lnTo>
                    <a:lnTo>
                      <a:pt x="39" y="100"/>
                    </a:lnTo>
                    <a:lnTo>
                      <a:pt x="53" y="109"/>
                    </a:lnTo>
                    <a:lnTo>
                      <a:pt x="69" y="113"/>
                    </a:lnTo>
                    <a:lnTo>
                      <a:pt x="87" y="109"/>
                    </a:lnTo>
                    <a:lnTo>
                      <a:pt x="101" y="100"/>
                    </a:lnTo>
                    <a:lnTo>
                      <a:pt x="110" y="87"/>
                    </a:lnTo>
                    <a:lnTo>
                      <a:pt x="114" y="69"/>
                    </a:lnTo>
                    <a:lnTo>
                      <a:pt x="110" y="52"/>
                    </a:lnTo>
                    <a:lnTo>
                      <a:pt x="101" y="39"/>
                    </a:lnTo>
                    <a:lnTo>
                      <a:pt x="87" y="28"/>
                    </a:lnTo>
                    <a:lnTo>
                      <a:pt x="69" y="25"/>
                    </a:lnTo>
                    <a:lnTo>
                      <a:pt x="65" y="24"/>
                    </a:lnTo>
                    <a:lnTo>
                      <a:pt x="60" y="21"/>
                    </a:lnTo>
                    <a:lnTo>
                      <a:pt x="57" y="18"/>
                    </a:lnTo>
                    <a:lnTo>
                      <a:pt x="57" y="12"/>
                    </a:lnTo>
                    <a:lnTo>
                      <a:pt x="57" y="7"/>
                    </a:lnTo>
                    <a:lnTo>
                      <a:pt x="60" y="3"/>
                    </a:lnTo>
                    <a:lnTo>
                      <a:pt x="65" y="1"/>
                    </a:lnTo>
                    <a:lnTo>
                      <a:pt x="69" y="0"/>
                    </a:lnTo>
                    <a:close/>
                  </a:path>
                </a:pathLst>
              </a:custGeom>
              <a:grpFill/>
              <a:ln w="0">
                <a:noFill/>
                <a:prstDash val="solid"/>
                <a:round/>
                <a:headEnd/>
                <a:tailEnd/>
              </a:ln>
            </p:spPr>
            <p:txBody>
              <a:bodyPr vert="horz" wrap="square" lIns="74295" tIns="37148" rIns="74295" bIns="37148" numCol="1" anchor="t" anchorCtr="0" compatLnSpc="1">
                <a:prstTxWarp prst="textNoShape">
                  <a:avLst/>
                </a:prstTxWarp>
              </a:bodyPr>
              <a:lstStyle/>
              <a:p>
                <a:pPr algn="r" defTabSz="742950">
                  <a:defRPr/>
                </a:pPr>
                <a:endParaRPr lang="pt-BR" sz="1463" kern="0">
                  <a:solidFill>
                    <a:prstClr val="black"/>
                  </a:solidFill>
                  <a:latin typeface="Arial" panose="020B0604020202020204" pitchFamily="34" charset="0"/>
                  <a:cs typeface="Arial" panose="020B0604020202020204" pitchFamily="34" charset="0"/>
                </a:endParaRPr>
              </a:p>
            </p:txBody>
          </p:sp>
        </p:grpSp>
      </p:grpSp>
      <p:sp>
        <p:nvSpPr>
          <p:cNvPr id="92" name="CaixaDeTexto 91"/>
          <p:cNvSpPr txBox="1"/>
          <p:nvPr/>
        </p:nvSpPr>
        <p:spPr>
          <a:xfrm>
            <a:off x="692486" y="3092127"/>
            <a:ext cx="1775912" cy="347403"/>
          </a:xfrm>
          <a:prstGeom prst="rect">
            <a:avLst/>
          </a:prstGeom>
          <a:noFill/>
        </p:spPr>
        <p:txBody>
          <a:bodyPr wrap="square" rtlCol="0">
            <a:spAutoFit/>
          </a:bodyPr>
          <a:lstStyle/>
          <a:p>
            <a:pPr algn="ctr" defTabSz="742950">
              <a:lnSpc>
                <a:spcPct val="85000"/>
              </a:lnSpc>
              <a:defRPr/>
            </a:pPr>
            <a:r>
              <a:rPr lang="en-US" sz="1950" b="1" kern="0" dirty="0">
                <a:solidFill>
                  <a:srgbClr val="00264A"/>
                </a:solidFill>
                <a:latin typeface="Arial" panose="020B0604020202020204" pitchFamily="34" charset="0"/>
                <a:ea typeface="Segoe UI" panose="020B0502040204020203" pitchFamily="34" charset="0"/>
                <a:cs typeface="Arial" panose="020B0604020202020204" pitchFamily="34" charset="0"/>
              </a:rPr>
              <a:t>OUR VISION</a:t>
            </a:r>
          </a:p>
        </p:txBody>
      </p:sp>
      <p:sp>
        <p:nvSpPr>
          <p:cNvPr id="94" name="CaixaDeTexto 93"/>
          <p:cNvSpPr txBox="1"/>
          <p:nvPr/>
        </p:nvSpPr>
        <p:spPr>
          <a:xfrm>
            <a:off x="373282" y="3638357"/>
            <a:ext cx="2414319" cy="942566"/>
          </a:xfrm>
          <a:prstGeom prst="rect">
            <a:avLst/>
          </a:prstGeom>
          <a:noFill/>
        </p:spPr>
        <p:txBody>
          <a:bodyPr wrap="square" rtlCol="0">
            <a:spAutoFit/>
          </a:bodyPr>
          <a:lstStyle/>
          <a:p>
            <a:pPr algn="ctr" defTabSz="742950">
              <a:lnSpc>
                <a:spcPct val="85000"/>
              </a:lnSpc>
              <a:defRPr/>
            </a:pPr>
            <a:r>
              <a:rPr lang="en-US" sz="1625" b="1" kern="0" dirty="0">
                <a:solidFill>
                  <a:srgbClr val="0098CC"/>
                </a:solidFill>
                <a:latin typeface="Arial" panose="020B0604020202020204" pitchFamily="34" charset="0"/>
                <a:ea typeface="Segoe UI" panose="020B0502040204020203" pitchFamily="34" charset="0"/>
                <a:cs typeface="Arial" panose="020B0604020202020204" pitchFamily="34" charset="0"/>
              </a:rPr>
              <a:t>The business value</a:t>
            </a:r>
            <a:br>
              <a:rPr lang="en-US" sz="1625" b="1" kern="0" dirty="0">
                <a:solidFill>
                  <a:srgbClr val="0098CC"/>
                </a:solidFill>
                <a:latin typeface="Arial" panose="020B0604020202020204" pitchFamily="34" charset="0"/>
                <a:ea typeface="Segoe UI" panose="020B0502040204020203" pitchFamily="34" charset="0"/>
                <a:cs typeface="Arial" panose="020B0604020202020204" pitchFamily="34" charset="0"/>
              </a:rPr>
            </a:br>
            <a:r>
              <a:rPr lang="en-US" sz="1625" b="1" kern="0" dirty="0">
                <a:solidFill>
                  <a:srgbClr val="0098CC"/>
                </a:solidFill>
                <a:latin typeface="Arial" panose="020B0604020202020204" pitchFamily="34" charset="0"/>
                <a:ea typeface="Segoe UI" panose="020B0502040204020203" pitchFamily="34" charset="0"/>
                <a:cs typeface="Arial" panose="020B0604020202020204" pitchFamily="34" charset="0"/>
              </a:rPr>
              <a:t>of technology </a:t>
            </a:r>
            <a:r>
              <a:rPr lang="en-US" sz="1625" kern="0" dirty="0">
                <a:solidFill>
                  <a:srgbClr val="324146"/>
                </a:solidFill>
                <a:latin typeface="Arial" panose="020B0604020202020204" pitchFamily="34" charset="0"/>
                <a:ea typeface="Segoe UI" panose="020B0502040204020203" pitchFamily="34" charset="0"/>
                <a:cs typeface="Arial" panose="020B0604020202020204" pitchFamily="34" charset="0"/>
              </a:rPr>
              <a:t>comes</a:t>
            </a:r>
          </a:p>
          <a:p>
            <a:pPr algn="ctr" defTabSz="742950">
              <a:lnSpc>
                <a:spcPct val="85000"/>
              </a:lnSpc>
              <a:defRPr/>
            </a:pPr>
            <a:r>
              <a:rPr lang="en-US" sz="1625" kern="0" dirty="0">
                <a:solidFill>
                  <a:srgbClr val="324146"/>
                </a:solidFill>
                <a:latin typeface="Arial" panose="020B0604020202020204" pitchFamily="34" charset="0"/>
                <a:ea typeface="Segoe UI" panose="020B0502040204020203" pitchFamily="34" charset="0"/>
                <a:cs typeface="Arial" panose="020B0604020202020204" pitchFamily="34" charset="0"/>
              </a:rPr>
              <a:t>from and through people</a:t>
            </a:r>
            <a:endParaRPr lang="en-US" sz="1625" b="1" kern="0" dirty="0">
              <a:solidFill>
                <a:srgbClr val="5A8E1F"/>
              </a:solidFill>
              <a:latin typeface="Arial" panose="020B0604020202020204" pitchFamily="34" charset="0"/>
              <a:ea typeface="Segoe UI" panose="020B0502040204020203" pitchFamily="34" charset="0"/>
              <a:cs typeface="Arial" panose="020B0604020202020204" pitchFamily="34" charset="0"/>
            </a:endParaRPr>
          </a:p>
        </p:txBody>
      </p:sp>
      <p:grpSp>
        <p:nvGrpSpPr>
          <p:cNvPr id="10" name="Group 9"/>
          <p:cNvGrpSpPr/>
          <p:nvPr/>
        </p:nvGrpSpPr>
        <p:grpSpPr>
          <a:xfrm>
            <a:off x="8009592" y="2372624"/>
            <a:ext cx="606514" cy="606514"/>
            <a:chOff x="3840138" y="1394309"/>
            <a:chExt cx="852724" cy="852724"/>
          </a:xfrm>
        </p:grpSpPr>
        <p:sp>
          <p:nvSpPr>
            <p:cNvPr id="83" name="Elipse 82"/>
            <p:cNvSpPr/>
            <p:nvPr/>
          </p:nvSpPr>
          <p:spPr>
            <a:xfrm>
              <a:off x="3840138" y="1394309"/>
              <a:ext cx="852724" cy="85272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463" kern="0" dirty="0">
                <a:solidFill>
                  <a:prstClr val="white"/>
                </a:solidFill>
                <a:latin typeface="Arial" panose="020B0604020202020204" pitchFamily="34" charset="0"/>
                <a:cs typeface="Arial" panose="020B0604020202020204" pitchFamily="34" charset="0"/>
              </a:endParaRPr>
            </a:p>
          </p:txBody>
        </p:sp>
        <p:grpSp>
          <p:nvGrpSpPr>
            <p:cNvPr id="84" name="Grupo 27"/>
            <p:cNvGrpSpPr/>
            <p:nvPr/>
          </p:nvGrpSpPr>
          <p:grpSpPr>
            <a:xfrm>
              <a:off x="4055113" y="1569901"/>
              <a:ext cx="422774" cy="501541"/>
              <a:chOff x="7630472" y="3751835"/>
              <a:chExt cx="389731" cy="462342"/>
            </a:xfrm>
            <a:solidFill>
              <a:schemeClr val="bg1"/>
            </a:solidFill>
          </p:grpSpPr>
          <p:sp>
            <p:nvSpPr>
              <p:cNvPr id="85" name="Freeform 6978"/>
              <p:cNvSpPr>
                <a:spLocks noEditPoints="1"/>
              </p:cNvSpPr>
              <p:nvPr/>
            </p:nvSpPr>
            <p:spPr bwMode="auto">
              <a:xfrm>
                <a:off x="7630472" y="3751835"/>
                <a:ext cx="389731" cy="462342"/>
              </a:xfrm>
              <a:custGeom>
                <a:avLst/>
                <a:gdLst>
                  <a:gd name="T0" fmla="*/ 104 w 263"/>
                  <a:gd name="T1" fmla="*/ 30 h 312"/>
                  <a:gd name="T2" fmla="*/ 57 w 263"/>
                  <a:gd name="T3" fmla="*/ 57 h 312"/>
                  <a:gd name="T4" fmla="*/ 30 w 263"/>
                  <a:gd name="T5" fmla="*/ 104 h 312"/>
                  <a:gd name="T6" fmla="*/ 30 w 263"/>
                  <a:gd name="T7" fmla="*/ 153 h 312"/>
                  <a:gd name="T8" fmla="*/ 56 w 263"/>
                  <a:gd name="T9" fmla="*/ 200 h 312"/>
                  <a:gd name="T10" fmla="*/ 95 w 263"/>
                  <a:gd name="T11" fmla="*/ 246 h 312"/>
                  <a:gd name="T12" fmla="*/ 132 w 263"/>
                  <a:gd name="T13" fmla="*/ 282 h 312"/>
                  <a:gd name="T14" fmla="*/ 168 w 263"/>
                  <a:gd name="T15" fmla="*/ 246 h 312"/>
                  <a:gd name="T16" fmla="*/ 207 w 263"/>
                  <a:gd name="T17" fmla="*/ 200 h 312"/>
                  <a:gd name="T18" fmla="*/ 234 w 263"/>
                  <a:gd name="T19" fmla="*/ 153 h 312"/>
                  <a:gd name="T20" fmla="*/ 234 w 263"/>
                  <a:gd name="T21" fmla="*/ 104 h 312"/>
                  <a:gd name="T22" fmla="*/ 207 w 263"/>
                  <a:gd name="T23" fmla="*/ 57 h 312"/>
                  <a:gd name="T24" fmla="*/ 159 w 263"/>
                  <a:gd name="T25" fmla="*/ 30 h 312"/>
                  <a:gd name="T26" fmla="*/ 132 w 263"/>
                  <a:gd name="T27" fmla="*/ 0 h 312"/>
                  <a:gd name="T28" fmla="*/ 189 w 263"/>
                  <a:gd name="T29" fmla="*/ 13 h 312"/>
                  <a:gd name="T30" fmla="*/ 234 w 263"/>
                  <a:gd name="T31" fmla="*/ 50 h 312"/>
                  <a:gd name="T32" fmla="*/ 260 w 263"/>
                  <a:gd name="T33" fmla="*/ 102 h 312"/>
                  <a:gd name="T34" fmla="*/ 260 w 263"/>
                  <a:gd name="T35" fmla="*/ 153 h 312"/>
                  <a:gd name="T36" fmla="*/ 239 w 263"/>
                  <a:gd name="T37" fmla="*/ 198 h 312"/>
                  <a:gd name="T38" fmla="*/ 206 w 263"/>
                  <a:gd name="T39" fmla="*/ 242 h 312"/>
                  <a:gd name="T40" fmla="*/ 173 w 263"/>
                  <a:gd name="T41" fmla="*/ 279 h 312"/>
                  <a:gd name="T42" fmla="*/ 147 w 263"/>
                  <a:gd name="T43" fmla="*/ 303 h 312"/>
                  <a:gd name="T44" fmla="*/ 137 w 263"/>
                  <a:gd name="T45" fmla="*/ 311 h 312"/>
                  <a:gd name="T46" fmla="*/ 128 w 263"/>
                  <a:gd name="T47" fmla="*/ 311 h 312"/>
                  <a:gd name="T48" fmla="*/ 117 w 263"/>
                  <a:gd name="T49" fmla="*/ 303 h 312"/>
                  <a:gd name="T50" fmla="*/ 92 w 263"/>
                  <a:gd name="T51" fmla="*/ 279 h 312"/>
                  <a:gd name="T52" fmla="*/ 57 w 263"/>
                  <a:gd name="T53" fmla="*/ 242 h 312"/>
                  <a:gd name="T54" fmla="*/ 24 w 263"/>
                  <a:gd name="T55" fmla="*/ 198 h 312"/>
                  <a:gd name="T56" fmla="*/ 3 w 263"/>
                  <a:gd name="T57" fmla="*/ 153 h 312"/>
                  <a:gd name="T58" fmla="*/ 3 w 263"/>
                  <a:gd name="T59" fmla="*/ 102 h 312"/>
                  <a:gd name="T60" fmla="*/ 29 w 263"/>
                  <a:gd name="T61" fmla="*/ 50 h 312"/>
                  <a:gd name="T62" fmla="*/ 74 w 263"/>
                  <a:gd name="T63" fmla="*/ 13 h 312"/>
                  <a:gd name="T64" fmla="*/ 132 w 263"/>
                  <a:gd name="T65"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3" h="312">
                    <a:moveTo>
                      <a:pt x="132" y="26"/>
                    </a:moveTo>
                    <a:lnTo>
                      <a:pt x="104" y="30"/>
                    </a:lnTo>
                    <a:lnTo>
                      <a:pt x="78" y="41"/>
                    </a:lnTo>
                    <a:lnTo>
                      <a:pt x="57" y="57"/>
                    </a:lnTo>
                    <a:lnTo>
                      <a:pt x="41" y="78"/>
                    </a:lnTo>
                    <a:lnTo>
                      <a:pt x="30" y="104"/>
                    </a:lnTo>
                    <a:lnTo>
                      <a:pt x="26" y="132"/>
                    </a:lnTo>
                    <a:lnTo>
                      <a:pt x="30" y="153"/>
                    </a:lnTo>
                    <a:lnTo>
                      <a:pt x="41" y="176"/>
                    </a:lnTo>
                    <a:lnTo>
                      <a:pt x="56" y="200"/>
                    </a:lnTo>
                    <a:lnTo>
                      <a:pt x="75" y="224"/>
                    </a:lnTo>
                    <a:lnTo>
                      <a:pt x="95" y="246"/>
                    </a:lnTo>
                    <a:lnTo>
                      <a:pt x="114" y="266"/>
                    </a:lnTo>
                    <a:lnTo>
                      <a:pt x="132" y="282"/>
                    </a:lnTo>
                    <a:lnTo>
                      <a:pt x="149" y="266"/>
                    </a:lnTo>
                    <a:lnTo>
                      <a:pt x="168" y="246"/>
                    </a:lnTo>
                    <a:lnTo>
                      <a:pt x="189" y="224"/>
                    </a:lnTo>
                    <a:lnTo>
                      <a:pt x="207" y="200"/>
                    </a:lnTo>
                    <a:lnTo>
                      <a:pt x="222" y="176"/>
                    </a:lnTo>
                    <a:lnTo>
                      <a:pt x="234" y="153"/>
                    </a:lnTo>
                    <a:lnTo>
                      <a:pt x="237" y="132"/>
                    </a:lnTo>
                    <a:lnTo>
                      <a:pt x="234" y="104"/>
                    </a:lnTo>
                    <a:lnTo>
                      <a:pt x="224" y="78"/>
                    </a:lnTo>
                    <a:lnTo>
                      <a:pt x="207" y="57"/>
                    </a:lnTo>
                    <a:lnTo>
                      <a:pt x="185" y="41"/>
                    </a:lnTo>
                    <a:lnTo>
                      <a:pt x="159" y="30"/>
                    </a:lnTo>
                    <a:lnTo>
                      <a:pt x="132" y="26"/>
                    </a:lnTo>
                    <a:close/>
                    <a:moveTo>
                      <a:pt x="132" y="0"/>
                    </a:moveTo>
                    <a:lnTo>
                      <a:pt x="162" y="4"/>
                    </a:lnTo>
                    <a:lnTo>
                      <a:pt x="189" y="13"/>
                    </a:lnTo>
                    <a:lnTo>
                      <a:pt x="213" y="30"/>
                    </a:lnTo>
                    <a:lnTo>
                      <a:pt x="234" y="50"/>
                    </a:lnTo>
                    <a:lnTo>
                      <a:pt x="249" y="74"/>
                    </a:lnTo>
                    <a:lnTo>
                      <a:pt x="260" y="102"/>
                    </a:lnTo>
                    <a:lnTo>
                      <a:pt x="263" y="132"/>
                    </a:lnTo>
                    <a:lnTo>
                      <a:pt x="260" y="153"/>
                    </a:lnTo>
                    <a:lnTo>
                      <a:pt x="252" y="176"/>
                    </a:lnTo>
                    <a:lnTo>
                      <a:pt x="239" y="198"/>
                    </a:lnTo>
                    <a:lnTo>
                      <a:pt x="224" y="221"/>
                    </a:lnTo>
                    <a:lnTo>
                      <a:pt x="206" y="242"/>
                    </a:lnTo>
                    <a:lnTo>
                      <a:pt x="189" y="261"/>
                    </a:lnTo>
                    <a:lnTo>
                      <a:pt x="173" y="279"/>
                    </a:lnTo>
                    <a:lnTo>
                      <a:pt x="158" y="293"/>
                    </a:lnTo>
                    <a:lnTo>
                      <a:pt x="147" y="303"/>
                    </a:lnTo>
                    <a:lnTo>
                      <a:pt x="140" y="308"/>
                    </a:lnTo>
                    <a:lnTo>
                      <a:pt x="137" y="311"/>
                    </a:lnTo>
                    <a:lnTo>
                      <a:pt x="132" y="312"/>
                    </a:lnTo>
                    <a:lnTo>
                      <a:pt x="128" y="311"/>
                    </a:lnTo>
                    <a:lnTo>
                      <a:pt x="123" y="308"/>
                    </a:lnTo>
                    <a:lnTo>
                      <a:pt x="117" y="303"/>
                    </a:lnTo>
                    <a:lnTo>
                      <a:pt x="105" y="293"/>
                    </a:lnTo>
                    <a:lnTo>
                      <a:pt x="92" y="279"/>
                    </a:lnTo>
                    <a:lnTo>
                      <a:pt x="75" y="261"/>
                    </a:lnTo>
                    <a:lnTo>
                      <a:pt x="57" y="242"/>
                    </a:lnTo>
                    <a:lnTo>
                      <a:pt x="41" y="221"/>
                    </a:lnTo>
                    <a:lnTo>
                      <a:pt x="24" y="198"/>
                    </a:lnTo>
                    <a:lnTo>
                      <a:pt x="12" y="176"/>
                    </a:lnTo>
                    <a:lnTo>
                      <a:pt x="3" y="153"/>
                    </a:lnTo>
                    <a:lnTo>
                      <a:pt x="0" y="132"/>
                    </a:lnTo>
                    <a:lnTo>
                      <a:pt x="3" y="102"/>
                    </a:lnTo>
                    <a:lnTo>
                      <a:pt x="14" y="74"/>
                    </a:lnTo>
                    <a:lnTo>
                      <a:pt x="29" y="50"/>
                    </a:lnTo>
                    <a:lnTo>
                      <a:pt x="50" y="30"/>
                    </a:lnTo>
                    <a:lnTo>
                      <a:pt x="74" y="13"/>
                    </a:lnTo>
                    <a:lnTo>
                      <a:pt x="102" y="4"/>
                    </a:lnTo>
                    <a:lnTo>
                      <a:pt x="132" y="0"/>
                    </a:lnTo>
                    <a:close/>
                  </a:path>
                </a:pathLst>
              </a:custGeom>
              <a:grpFill/>
              <a:ln w="0">
                <a:noFill/>
                <a:prstDash val="solid"/>
                <a:round/>
                <a:headEnd/>
                <a:tailEnd/>
              </a:ln>
            </p:spPr>
            <p:txBody>
              <a:bodyPr vert="horz" wrap="square" lIns="74295" tIns="37148" rIns="74295" bIns="37148" numCol="1" anchor="t" anchorCtr="0" compatLnSpc="1">
                <a:prstTxWarp prst="textNoShape">
                  <a:avLst/>
                </a:prstTxWarp>
              </a:bodyPr>
              <a:lstStyle/>
              <a:p>
                <a:pPr algn="r" defTabSz="742950">
                  <a:defRPr/>
                </a:pPr>
                <a:endParaRPr lang="pt-BR" sz="1463" kern="0">
                  <a:solidFill>
                    <a:prstClr val="black"/>
                  </a:solidFill>
                  <a:latin typeface="Arial" panose="020B0604020202020204" pitchFamily="34" charset="0"/>
                  <a:cs typeface="Arial" panose="020B0604020202020204" pitchFamily="34" charset="0"/>
                </a:endParaRPr>
              </a:p>
            </p:txBody>
          </p:sp>
          <p:sp>
            <p:nvSpPr>
              <p:cNvPr id="86" name="Freeform 6979"/>
              <p:cNvSpPr>
                <a:spLocks noEditPoints="1"/>
              </p:cNvSpPr>
              <p:nvPr/>
            </p:nvSpPr>
            <p:spPr bwMode="auto">
              <a:xfrm>
                <a:off x="7731238" y="3852602"/>
                <a:ext cx="188197" cy="191161"/>
              </a:xfrm>
              <a:custGeom>
                <a:avLst/>
                <a:gdLst>
                  <a:gd name="T0" fmla="*/ 64 w 127"/>
                  <a:gd name="T1" fmla="*/ 25 h 129"/>
                  <a:gd name="T2" fmla="*/ 49 w 127"/>
                  <a:gd name="T3" fmla="*/ 28 h 129"/>
                  <a:gd name="T4" fmla="*/ 37 w 127"/>
                  <a:gd name="T5" fmla="*/ 37 h 129"/>
                  <a:gd name="T6" fmla="*/ 28 w 127"/>
                  <a:gd name="T7" fmla="*/ 49 h 129"/>
                  <a:gd name="T8" fmla="*/ 25 w 127"/>
                  <a:gd name="T9" fmla="*/ 64 h 129"/>
                  <a:gd name="T10" fmla="*/ 28 w 127"/>
                  <a:gd name="T11" fmla="*/ 79 h 129"/>
                  <a:gd name="T12" fmla="*/ 37 w 127"/>
                  <a:gd name="T13" fmla="*/ 91 h 129"/>
                  <a:gd name="T14" fmla="*/ 49 w 127"/>
                  <a:gd name="T15" fmla="*/ 100 h 129"/>
                  <a:gd name="T16" fmla="*/ 64 w 127"/>
                  <a:gd name="T17" fmla="*/ 103 h 129"/>
                  <a:gd name="T18" fmla="*/ 79 w 127"/>
                  <a:gd name="T19" fmla="*/ 100 h 129"/>
                  <a:gd name="T20" fmla="*/ 91 w 127"/>
                  <a:gd name="T21" fmla="*/ 91 h 129"/>
                  <a:gd name="T22" fmla="*/ 99 w 127"/>
                  <a:gd name="T23" fmla="*/ 79 h 129"/>
                  <a:gd name="T24" fmla="*/ 102 w 127"/>
                  <a:gd name="T25" fmla="*/ 64 h 129"/>
                  <a:gd name="T26" fmla="*/ 99 w 127"/>
                  <a:gd name="T27" fmla="*/ 49 h 129"/>
                  <a:gd name="T28" fmla="*/ 91 w 127"/>
                  <a:gd name="T29" fmla="*/ 37 h 129"/>
                  <a:gd name="T30" fmla="*/ 79 w 127"/>
                  <a:gd name="T31" fmla="*/ 28 h 129"/>
                  <a:gd name="T32" fmla="*/ 64 w 127"/>
                  <a:gd name="T33" fmla="*/ 25 h 129"/>
                  <a:gd name="T34" fmla="*/ 64 w 127"/>
                  <a:gd name="T35" fmla="*/ 0 h 129"/>
                  <a:gd name="T36" fmla="*/ 84 w 127"/>
                  <a:gd name="T37" fmla="*/ 3 h 129"/>
                  <a:gd name="T38" fmla="*/ 102 w 127"/>
                  <a:gd name="T39" fmla="*/ 12 h 129"/>
                  <a:gd name="T40" fmla="*/ 115 w 127"/>
                  <a:gd name="T41" fmla="*/ 27 h 129"/>
                  <a:gd name="T42" fmla="*/ 124 w 127"/>
                  <a:gd name="T43" fmla="*/ 43 h 129"/>
                  <a:gd name="T44" fmla="*/ 127 w 127"/>
                  <a:gd name="T45" fmla="*/ 64 h 129"/>
                  <a:gd name="T46" fmla="*/ 124 w 127"/>
                  <a:gd name="T47" fmla="*/ 84 h 129"/>
                  <a:gd name="T48" fmla="*/ 115 w 127"/>
                  <a:gd name="T49" fmla="*/ 102 h 129"/>
                  <a:gd name="T50" fmla="*/ 102 w 127"/>
                  <a:gd name="T51" fmla="*/ 115 h 129"/>
                  <a:gd name="T52" fmla="*/ 84 w 127"/>
                  <a:gd name="T53" fmla="*/ 124 h 129"/>
                  <a:gd name="T54" fmla="*/ 64 w 127"/>
                  <a:gd name="T55" fmla="*/ 129 h 129"/>
                  <a:gd name="T56" fmla="*/ 43 w 127"/>
                  <a:gd name="T57" fmla="*/ 124 h 129"/>
                  <a:gd name="T58" fmla="*/ 27 w 127"/>
                  <a:gd name="T59" fmla="*/ 115 h 129"/>
                  <a:gd name="T60" fmla="*/ 12 w 127"/>
                  <a:gd name="T61" fmla="*/ 102 h 129"/>
                  <a:gd name="T62" fmla="*/ 3 w 127"/>
                  <a:gd name="T63" fmla="*/ 84 h 129"/>
                  <a:gd name="T64" fmla="*/ 0 w 127"/>
                  <a:gd name="T65" fmla="*/ 64 h 129"/>
                  <a:gd name="T66" fmla="*/ 3 w 127"/>
                  <a:gd name="T67" fmla="*/ 43 h 129"/>
                  <a:gd name="T68" fmla="*/ 12 w 127"/>
                  <a:gd name="T69" fmla="*/ 27 h 129"/>
                  <a:gd name="T70" fmla="*/ 27 w 127"/>
                  <a:gd name="T71" fmla="*/ 12 h 129"/>
                  <a:gd name="T72" fmla="*/ 43 w 127"/>
                  <a:gd name="T73" fmla="*/ 3 h 129"/>
                  <a:gd name="T74" fmla="*/ 64 w 127"/>
                  <a:gd name="T75"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7" h="129">
                    <a:moveTo>
                      <a:pt x="64" y="25"/>
                    </a:moveTo>
                    <a:lnTo>
                      <a:pt x="49" y="28"/>
                    </a:lnTo>
                    <a:lnTo>
                      <a:pt x="37" y="37"/>
                    </a:lnTo>
                    <a:lnTo>
                      <a:pt x="28" y="49"/>
                    </a:lnTo>
                    <a:lnTo>
                      <a:pt x="25" y="64"/>
                    </a:lnTo>
                    <a:lnTo>
                      <a:pt x="28" y="79"/>
                    </a:lnTo>
                    <a:lnTo>
                      <a:pt x="37" y="91"/>
                    </a:lnTo>
                    <a:lnTo>
                      <a:pt x="49" y="100"/>
                    </a:lnTo>
                    <a:lnTo>
                      <a:pt x="64" y="103"/>
                    </a:lnTo>
                    <a:lnTo>
                      <a:pt x="79" y="100"/>
                    </a:lnTo>
                    <a:lnTo>
                      <a:pt x="91" y="91"/>
                    </a:lnTo>
                    <a:lnTo>
                      <a:pt x="99" y="79"/>
                    </a:lnTo>
                    <a:lnTo>
                      <a:pt x="102" y="64"/>
                    </a:lnTo>
                    <a:lnTo>
                      <a:pt x="99" y="49"/>
                    </a:lnTo>
                    <a:lnTo>
                      <a:pt x="91" y="37"/>
                    </a:lnTo>
                    <a:lnTo>
                      <a:pt x="79" y="28"/>
                    </a:lnTo>
                    <a:lnTo>
                      <a:pt x="64" y="25"/>
                    </a:lnTo>
                    <a:close/>
                    <a:moveTo>
                      <a:pt x="64" y="0"/>
                    </a:moveTo>
                    <a:lnTo>
                      <a:pt x="84" y="3"/>
                    </a:lnTo>
                    <a:lnTo>
                      <a:pt x="102" y="12"/>
                    </a:lnTo>
                    <a:lnTo>
                      <a:pt x="115" y="27"/>
                    </a:lnTo>
                    <a:lnTo>
                      <a:pt x="124" y="43"/>
                    </a:lnTo>
                    <a:lnTo>
                      <a:pt x="127" y="64"/>
                    </a:lnTo>
                    <a:lnTo>
                      <a:pt x="124" y="84"/>
                    </a:lnTo>
                    <a:lnTo>
                      <a:pt x="115" y="102"/>
                    </a:lnTo>
                    <a:lnTo>
                      <a:pt x="102" y="115"/>
                    </a:lnTo>
                    <a:lnTo>
                      <a:pt x="84" y="124"/>
                    </a:lnTo>
                    <a:lnTo>
                      <a:pt x="64" y="129"/>
                    </a:lnTo>
                    <a:lnTo>
                      <a:pt x="43" y="124"/>
                    </a:lnTo>
                    <a:lnTo>
                      <a:pt x="27" y="115"/>
                    </a:lnTo>
                    <a:lnTo>
                      <a:pt x="12" y="102"/>
                    </a:lnTo>
                    <a:lnTo>
                      <a:pt x="3" y="84"/>
                    </a:lnTo>
                    <a:lnTo>
                      <a:pt x="0" y="64"/>
                    </a:lnTo>
                    <a:lnTo>
                      <a:pt x="3" y="43"/>
                    </a:lnTo>
                    <a:lnTo>
                      <a:pt x="12" y="27"/>
                    </a:lnTo>
                    <a:lnTo>
                      <a:pt x="27" y="12"/>
                    </a:lnTo>
                    <a:lnTo>
                      <a:pt x="43" y="3"/>
                    </a:lnTo>
                    <a:lnTo>
                      <a:pt x="64" y="0"/>
                    </a:lnTo>
                    <a:close/>
                  </a:path>
                </a:pathLst>
              </a:custGeom>
              <a:grpFill/>
              <a:ln w="0">
                <a:noFill/>
                <a:prstDash val="solid"/>
                <a:round/>
                <a:headEnd/>
                <a:tailEnd/>
              </a:ln>
            </p:spPr>
            <p:txBody>
              <a:bodyPr vert="horz" wrap="square" lIns="74295" tIns="37148" rIns="74295" bIns="37148" numCol="1" anchor="t" anchorCtr="0" compatLnSpc="1">
                <a:prstTxWarp prst="textNoShape">
                  <a:avLst/>
                </a:prstTxWarp>
              </a:bodyPr>
              <a:lstStyle/>
              <a:p>
                <a:pPr algn="r" defTabSz="742950">
                  <a:defRPr/>
                </a:pPr>
                <a:endParaRPr lang="pt-BR" sz="1463" kern="0">
                  <a:solidFill>
                    <a:prstClr val="black"/>
                  </a:solidFill>
                  <a:latin typeface="Arial" panose="020B0604020202020204" pitchFamily="34" charset="0"/>
                  <a:cs typeface="Arial" panose="020B0604020202020204" pitchFamily="34" charset="0"/>
                </a:endParaRPr>
              </a:p>
            </p:txBody>
          </p:sp>
        </p:grpSp>
      </p:grpSp>
      <p:sp>
        <p:nvSpPr>
          <p:cNvPr id="95" name="CaixaDeTexto 94"/>
          <p:cNvSpPr txBox="1"/>
          <p:nvPr/>
        </p:nvSpPr>
        <p:spPr>
          <a:xfrm>
            <a:off x="7298999" y="3088355"/>
            <a:ext cx="2027698" cy="347403"/>
          </a:xfrm>
          <a:prstGeom prst="rect">
            <a:avLst/>
          </a:prstGeom>
          <a:noFill/>
        </p:spPr>
        <p:txBody>
          <a:bodyPr wrap="square" rtlCol="0">
            <a:spAutoFit/>
          </a:bodyPr>
          <a:lstStyle/>
          <a:p>
            <a:pPr algn="ctr" defTabSz="742950">
              <a:lnSpc>
                <a:spcPct val="85000"/>
              </a:lnSpc>
              <a:defRPr/>
            </a:pPr>
            <a:r>
              <a:rPr lang="en-US" sz="1950" b="1" kern="0" dirty="0">
                <a:solidFill>
                  <a:srgbClr val="00264A"/>
                </a:solidFill>
                <a:latin typeface="Arial" panose="020B0604020202020204" pitchFamily="34" charset="0"/>
                <a:ea typeface="Segoe UI" panose="020B0502040204020203" pitchFamily="34" charset="0"/>
                <a:cs typeface="Arial" panose="020B0604020202020204" pitchFamily="34" charset="0"/>
              </a:rPr>
              <a:t>OUR MISSION</a:t>
            </a:r>
          </a:p>
        </p:txBody>
      </p:sp>
      <p:sp>
        <p:nvSpPr>
          <p:cNvPr id="97" name="CaixaDeTexto 96"/>
          <p:cNvSpPr txBox="1"/>
          <p:nvPr/>
        </p:nvSpPr>
        <p:spPr>
          <a:xfrm>
            <a:off x="7175010" y="3636873"/>
            <a:ext cx="2275685" cy="1240340"/>
          </a:xfrm>
          <a:prstGeom prst="rect">
            <a:avLst/>
          </a:prstGeom>
          <a:noFill/>
        </p:spPr>
        <p:txBody>
          <a:bodyPr wrap="square" rtlCol="0">
            <a:spAutoFit/>
          </a:bodyPr>
          <a:lstStyle/>
          <a:p>
            <a:pPr algn="ctr" defTabSz="742950">
              <a:lnSpc>
                <a:spcPct val="85000"/>
              </a:lnSpc>
              <a:defRPr/>
            </a:pPr>
            <a:r>
              <a:rPr lang="en-US" sz="1463" b="1" kern="0" dirty="0">
                <a:solidFill>
                  <a:srgbClr val="0098CC"/>
                </a:solidFill>
                <a:latin typeface="Arial" panose="020B0604020202020204" pitchFamily="34" charset="0"/>
                <a:ea typeface="Segoe UI" panose="020B0502040204020203" pitchFamily="34" charset="0"/>
                <a:cs typeface="Arial" panose="020B0604020202020204" pitchFamily="34" charset="0"/>
              </a:rPr>
              <a:t>With you, we create and deliver business and technology solutions </a:t>
            </a:r>
            <a:r>
              <a:rPr lang="en-US" sz="1463" kern="0" dirty="0">
                <a:solidFill>
                  <a:srgbClr val="324146"/>
                </a:solidFill>
                <a:latin typeface="Arial" panose="020B0604020202020204" pitchFamily="34" charset="0"/>
                <a:ea typeface="Segoe UI" panose="020B0502040204020203" pitchFamily="34" charset="0"/>
                <a:cs typeface="Arial" panose="020B0604020202020204" pitchFamily="34" charset="0"/>
              </a:rPr>
              <a:t>that fit your needs and drive the results you want</a:t>
            </a:r>
            <a:endParaRPr lang="en-US" sz="1463" b="1" kern="0" dirty="0">
              <a:solidFill>
                <a:srgbClr val="5A8E1F"/>
              </a:solidFill>
              <a:latin typeface="Arial" panose="020B0604020202020204" pitchFamily="34" charset="0"/>
              <a:ea typeface="Segoe UI" panose="020B0502040204020203" pitchFamily="34" charset="0"/>
              <a:cs typeface="Arial" panose="020B0604020202020204" pitchFamily="34" charset="0"/>
            </a:endParaRPr>
          </a:p>
        </p:txBody>
      </p:sp>
      <p:cxnSp>
        <p:nvCxnSpPr>
          <p:cNvPr id="102" name="Straight Connector 101"/>
          <p:cNvCxnSpPr/>
          <p:nvPr/>
        </p:nvCxnSpPr>
        <p:spPr>
          <a:xfrm>
            <a:off x="8072557" y="3469001"/>
            <a:ext cx="480591" cy="0"/>
          </a:xfrm>
          <a:prstGeom prst="line">
            <a:avLst/>
          </a:prstGeom>
          <a:ln w="57150">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340150" y="3453816"/>
            <a:ext cx="480591" cy="0"/>
          </a:xfrm>
          <a:prstGeom prst="line">
            <a:avLst/>
          </a:prstGeom>
          <a:ln w="57150">
            <a:solidFill>
              <a:schemeClr val="accent5"/>
            </a:solidFill>
            <a:prstDash val="solid"/>
          </a:ln>
        </p:spPr>
        <p:style>
          <a:lnRef idx="1">
            <a:schemeClr val="accent1"/>
          </a:lnRef>
          <a:fillRef idx="0">
            <a:schemeClr val="accent1"/>
          </a:fillRef>
          <a:effectRef idx="0">
            <a:schemeClr val="accent1"/>
          </a:effectRef>
          <a:fontRef idx="minor">
            <a:schemeClr val="tx1"/>
          </a:fontRef>
        </p:style>
      </p:cxnSp>
      <p:pic>
        <p:nvPicPr>
          <p:cNvPr id="24" name="Imagem 17"/>
          <p:cNvPicPr>
            <a:picLocks noChangeAspect="1"/>
          </p:cNvPicPr>
          <p:nvPr/>
        </p:nvPicPr>
        <p:blipFill rotWithShape="1">
          <a:blip r:embed="rId4" cstate="print">
            <a:extLst>
              <a:ext uri="{28A0092B-C50C-407E-A947-70E740481C1C}">
                <a14:useLocalDpi xmlns="" xmlns:a14="http://schemas.microsoft.com/office/drawing/2010/main" val="0"/>
              </a:ext>
            </a:extLst>
          </a:blip>
          <a:srcRect b="79030"/>
          <a:stretch/>
        </p:blipFill>
        <p:spPr>
          <a:xfrm>
            <a:off x="0" y="642941"/>
            <a:ext cx="9904762" cy="1168598"/>
          </a:xfrm>
          <a:prstGeom prst="rect">
            <a:avLst/>
          </a:prstGeom>
        </p:spPr>
      </p:pic>
      <p:sp>
        <p:nvSpPr>
          <p:cNvPr id="26" name="CaixaDeTexto 19"/>
          <p:cNvSpPr txBox="1"/>
          <p:nvPr/>
        </p:nvSpPr>
        <p:spPr>
          <a:xfrm>
            <a:off x="219707" y="848289"/>
            <a:ext cx="4810932" cy="442429"/>
          </a:xfrm>
          <a:prstGeom prst="rect">
            <a:avLst/>
          </a:prstGeom>
          <a:noFill/>
          <a:effectLst/>
        </p:spPr>
        <p:txBody>
          <a:bodyPr wrap="none" rtlCol="0">
            <a:spAutoFit/>
          </a:bodyPr>
          <a:lstStyle/>
          <a:p>
            <a:pPr defTabSz="742950">
              <a:defRPr/>
            </a:pPr>
            <a:r>
              <a:rPr lang="pt-PT" sz="2275" kern="0" dirty="0">
                <a:solidFill>
                  <a:schemeClr val="bg1"/>
                </a:solidFill>
                <a:latin typeface="Arial" panose="020B0604020202020204" pitchFamily="34" charset="0"/>
                <a:ea typeface="Segoe UI" panose="020B0502040204020203" pitchFamily="34" charset="0"/>
                <a:cs typeface="Arial" panose="020B0604020202020204" pitchFamily="34" charset="0"/>
              </a:rPr>
              <a:t>From purpose ... to </a:t>
            </a:r>
            <a:r>
              <a:rPr lang="pt-PT" sz="2275" b="1" kern="0" dirty="0">
                <a:solidFill>
                  <a:schemeClr val="bg1"/>
                </a:solidFill>
                <a:latin typeface="Arial" panose="020B0604020202020204" pitchFamily="34" charset="0"/>
                <a:ea typeface="Segoe UI" panose="020B0502040204020203" pitchFamily="34" charset="0"/>
                <a:cs typeface="Arial" panose="020B0604020202020204" pitchFamily="34" charset="0"/>
              </a:rPr>
              <a:t>creating</a:t>
            </a:r>
            <a:r>
              <a:rPr lang="pt-PT" sz="2275" kern="0" dirty="0">
                <a:solidFill>
                  <a:schemeClr val="bg1"/>
                </a:solidFill>
                <a:latin typeface="Arial" panose="020B0604020202020204" pitchFamily="34" charset="0"/>
                <a:ea typeface="Segoe UI" panose="020B0502040204020203" pitchFamily="34" charset="0"/>
                <a:cs typeface="Arial" panose="020B0604020202020204" pitchFamily="34" charset="0"/>
              </a:rPr>
              <a:t> impact</a:t>
            </a:r>
          </a:p>
        </p:txBody>
      </p:sp>
      <p:grpSp>
        <p:nvGrpSpPr>
          <p:cNvPr id="31" name="Group 30"/>
          <p:cNvGrpSpPr/>
          <p:nvPr/>
        </p:nvGrpSpPr>
        <p:grpSpPr>
          <a:xfrm>
            <a:off x="1238" y="5758463"/>
            <a:ext cx="9903525" cy="456605"/>
            <a:chOff x="1524" y="6296025"/>
            <a:chExt cx="12188954" cy="561975"/>
          </a:xfrm>
        </p:grpSpPr>
        <p:pic>
          <p:nvPicPr>
            <p:cNvPr id="32" name="Imagem 21"/>
            <p:cNvPicPr>
              <a:picLocks noChangeAspect="1"/>
            </p:cNvPicPr>
            <p:nvPr/>
          </p:nvPicPr>
          <p:blipFill rotWithShape="1">
            <a:blip r:embed="rId5" cstate="print">
              <a:extLst>
                <a:ext uri="{28A0092B-C50C-407E-A947-70E740481C1C}">
                  <a14:useLocalDpi xmlns="" xmlns:a14="http://schemas.microsoft.com/office/drawing/2010/main" val="0"/>
                </a:ext>
              </a:extLst>
            </a:blip>
            <a:srcRect t="91806"/>
            <a:stretch/>
          </p:blipFill>
          <p:spPr>
            <a:xfrm>
              <a:off x="1524" y="6296025"/>
              <a:ext cx="12188954" cy="561975"/>
            </a:xfrm>
            <a:prstGeom prst="rect">
              <a:avLst/>
            </a:prstGeom>
          </p:spPr>
        </p:pic>
        <p:sp>
          <p:nvSpPr>
            <p:cNvPr id="33" name="Retângulo 43"/>
            <p:cNvSpPr/>
            <p:nvPr/>
          </p:nvSpPr>
          <p:spPr>
            <a:xfrm>
              <a:off x="10192035" y="6491446"/>
              <a:ext cx="1983188" cy="236751"/>
            </a:xfrm>
            <a:prstGeom prst="rect">
              <a:avLst/>
            </a:prstGeom>
          </p:spPr>
          <p:txBody>
            <a:bodyPr wrap="none">
              <a:spAutoFit/>
            </a:bodyPr>
            <a:lstStyle/>
            <a:p>
              <a:pPr algn="r"/>
              <a:r>
                <a:rPr lang="en-US" sz="650" dirty="0">
                  <a:solidFill>
                    <a:prstClr val="black">
                      <a:lumMod val="50000"/>
                      <a:lumOff val="50000"/>
                    </a:prstClr>
                  </a:solidFill>
                  <a:cs typeface="Arial" panose="020B0604020202020204" pitchFamily="34" charset="0"/>
                </a:rPr>
                <a:t>© 2017 Capgemini. All rights reserved.</a:t>
              </a:r>
            </a:p>
          </p:txBody>
        </p:sp>
        <p:sp>
          <p:nvSpPr>
            <p:cNvPr id="34" name="Retângulo 43"/>
            <p:cNvSpPr/>
            <p:nvPr/>
          </p:nvSpPr>
          <p:spPr>
            <a:xfrm>
              <a:off x="5865610" y="6491446"/>
              <a:ext cx="351577" cy="236751"/>
            </a:xfrm>
            <a:prstGeom prst="rect">
              <a:avLst/>
            </a:prstGeom>
          </p:spPr>
          <p:txBody>
            <a:bodyPr wrap="none">
              <a:spAutoFit/>
            </a:bodyPr>
            <a:lstStyle/>
            <a:p>
              <a:pPr algn="r"/>
              <a:fld id="{0502E5A9-B53C-401E-A0E0-4A359BB0A9E5}" type="slidenum">
                <a:rPr lang="en-US" sz="650">
                  <a:solidFill>
                    <a:prstClr val="black">
                      <a:lumMod val="50000"/>
                      <a:lumOff val="50000"/>
                    </a:prstClr>
                  </a:solidFill>
                  <a:cs typeface="Arial" panose="020B0604020202020204" pitchFamily="34" charset="0"/>
                </a:rPr>
                <a:pPr algn="r"/>
                <a:t>4</a:t>
              </a:fld>
              <a:endParaRPr lang="en-US" sz="650" dirty="0">
                <a:solidFill>
                  <a:prstClr val="black">
                    <a:lumMod val="50000"/>
                    <a:lumOff val="50000"/>
                  </a:prstClr>
                </a:solidFill>
                <a:cs typeface="Arial" panose="020B0604020202020204" pitchFamily="34" charset="0"/>
              </a:endParaRPr>
            </a:p>
          </p:txBody>
        </p:sp>
      </p:grpSp>
    </p:spTree>
    <p:extLst>
      <p:ext uri="{BB962C8B-B14F-4D97-AF65-F5344CB8AC3E}">
        <p14:creationId xmlns="" xmlns:p14="http://schemas.microsoft.com/office/powerpoint/2010/main" val="398329077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750"/>
                                        <p:tgtEl>
                                          <p:spTgt spid="26"/>
                                        </p:tgtEl>
                                      </p:cBhvr>
                                    </p:animEffect>
                                  </p:childTnLst>
                                </p:cTn>
                              </p:par>
                              <p:par>
                                <p:cTn id="8" presetID="22" presetClass="entr" presetSubtype="1" fill="hold" nodeType="withEffect">
                                  <p:stCondLst>
                                    <p:cond delay="500"/>
                                  </p:stCondLst>
                                  <p:childTnLst>
                                    <p:set>
                                      <p:cBhvr>
                                        <p:cTn id="9" dur="1" fill="hold">
                                          <p:stCondLst>
                                            <p:cond delay="0"/>
                                          </p:stCondLst>
                                        </p:cTn>
                                        <p:tgtEl>
                                          <p:spTgt spid="30"/>
                                        </p:tgtEl>
                                        <p:attrNameLst>
                                          <p:attrName>style.visibility</p:attrName>
                                        </p:attrNameLst>
                                      </p:cBhvr>
                                      <p:to>
                                        <p:strVal val="visible"/>
                                      </p:to>
                                    </p:set>
                                    <p:animEffect transition="in" filter="wipe(up)">
                                      <p:cBhvr>
                                        <p:cTn id="10" dur="500"/>
                                        <p:tgtEl>
                                          <p:spTgt spid="30"/>
                                        </p:tgtEl>
                                      </p:cBhvr>
                                    </p:animEffect>
                                  </p:childTnLst>
                                </p:cTn>
                              </p:par>
                              <p:par>
                                <p:cTn id="11" presetID="53" presetClass="entr" presetSubtype="16" fill="hold" nodeType="withEffect">
                                  <p:stCondLst>
                                    <p:cond delay="750"/>
                                  </p:stCondLst>
                                  <p:childTnLst>
                                    <p:set>
                                      <p:cBhvr>
                                        <p:cTn id="12" dur="1" fill="hold">
                                          <p:stCondLst>
                                            <p:cond delay="0"/>
                                          </p:stCondLst>
                                        </p:cTn>
                                        <p:tgtEl>
                                          <p:spTgt spid="9"/>
                                        </p:tgtEl>
                                        <p:attrNameLst>
                                          <p:attrName>style.visibility</p:attrName>
                                        </p:attrNameLst>
                                      </p:cBhvr>
                                      <p:to>
                                        <p:strVal val="visible"/>
                                      </p:to>
                                    </p:set>
                                    <p:anim calcmode="lin" valueType="num">
                                      <p:cBhvr>
                                        <p:cTn id="13" dur="500" fill="hold"/>
                                        <p:tgtEl>
                                          <p:spTgt spid="9"/>
                                        </p:tgtEl>
                                        <p:attrNameLst>
                                          <p:attrName>ppt_w</p:attrName>
                                        </p:attrNameLst>
                                      </p:cBhvr>
                                      <p:tavLst>
                                        <p:tav tm="0">
                                          <p:val>
                                            <p:fltVal val="0"/>
                                          </p:val>
                                        </p:tav>
                                        <p:tav tm="100000">
                                          <p:val>
                                            <p:strVal val="#ppt_w"/>
                                          </p:val>
                                        </p:tav>
                                      </p:tavLst>
                                    </p:anim>
                                    <p:anim calcmode="lin" valueType="num">
                                      <p:cBhvr>
                                        <p:cTn id="14" dur="500" fill="hold"/>
                                        <p:tgtEl>
                                          <p:spTgt spid="9"/>
                                        </p:tgtEl>
                                        <p:attrNameLst>
                                          <p:attrName>ppt_h</p:attrName>
                                        </p:attrNameLst>
                                      </p:cBhvr>
                                      <p:tavLst>
                                        <p:tav tm="0">
                                          <p:val>
                                            <p:fltVal val="0"/>
                                          </p:val>
                                        </p:tav>
                                        <p:tav tm="100000">
                                          <p:val>
                                            <p:strVal val="#ppt_h"/>
                                          </p:val>
                                        </p:tav>
                                      </p:tavLst>
                                    </p:anim>
                                    <p:animEffect transition="in" filter="fade">
                                      <p:cBhvr>
                                        <p:cTn id="15" dur="500"/>
                                        <p:tgtEl>
                                          <p:spTgt spid="9"/>
                                        </p:tgtEl>
                                      </p:cBhvr>
                                    </p:animEffect>
                                  </p:childTnLst>
                                </p:cTn>
                              </p:par>
                              <p:par>
                                <p:cTn id="16" presetID="10" presetClass="entr" presetSubtype="0" fill="hold" grpId="0" nodeType="withEffect">
                                  <p:stCondLst>
                                    <p:cond delay="750"/>
                                  </p:stCondLst>
                                  <p:childTnLst>
                                    <p:set>
                                      <p:cBhvr>
                                        <p:cTn id="17" dur="1" fill="hold">
                                          <p:stCondLst>
                                            <p:cond delay="0"/>
                                          </p:stCondLst>
                                        </p:cTn>
                                        <p:tgtEl>
                                          <p:spTgt spid="92"/>
                                        </p:tgtEl>
                                        <p:attrNameLst>
                                          <p:attrName>style.visibility</p:attrName>
                                        </p:attrNameLst>
                                      </p:cBhvr>
                                      <p:to>
                                        <p:strVal val="visible"/>
                                      </p:to>
                                    </p:set>
                                    <p:animEffect transition="in" filter="fade">
                                      <p:cBhvr>
                                        <p:cTn id="18" dur="500"/>
                                        <p:tgtEl>
                                          <p:spTgt spid="92"/>
                                        </p:tgtEl>
                                      </p:cBhvr>
                                    </p:animEffect>
                                  </p:childTnLst>
                                </p:cTn>
                              </p:par>
                              <p:par>
                                <p:cTn id="19" presetID="22" presetClass="entr" presetSubtype="8" fill="hold" nodeType="withEffect">
                                  <p:stCondLst>
                                    <p:cond delay="750"/>
                                  </p:stCondLst>
                                  <p:childTnLst>
                                    <p:set>
                                      <p:cBhvr>
                                        <p:cTn id="20" dur="1" fill="hold">
                                          <p:stCondLst>
                                            <p:cond delay="0"/>
                                          </p:stCondLst>
                                        </p:cTn>
                                        <p:tgtEl>
                                          <p:spTgt spid="27"/>
                                        </p:tgtEl>
                                        <p:attrNameLst>
                                          <p:attrName>style.visibility</p:attrName>
                                        </p:attrNameLst>
                                      </p:cBhvr>
                                      <p:to>
                                        <p:strVal val="visible"/>
                                      </p:to>
                                    </p:set>
                                    <p:animEffect transition="in" filter="wipe(left)">
                                      <p:cBhvr>
                                        <p:cTn id="21" dur="500"/>
                                        <p:tgtEl>
                                          <p:spTgt spid="27"/>
                                        </p:tgtEl>
                                      </p:cBhvr>
                                    </p:animEffect>
                                  </p:childTnLst>
                                </p:cTn>
                              </p:par>
                              <p:par>
                                <p:cTn id="22" presetID="10" presetClass="entr" presetSubtype="0" fill="hold" grpId="0" nodeType="withEffect">
                                  <p:stCondLst>
                                    <p:cond delay="1000"/>
                                  </p:stCondLst>
                                  <p:childTnLst>
                                    <p:set>
                                      <p:cBhvr>
                                        <p:cTn id="23" dur="1" fill="hold">
                                          <p:stCondLst>
                                            <p:cond delay="0"/>
                                          </p:stCondLst>
                                        </p:cTn>
                                        <p:tgtEl>
                                          <p:spTgt spid="94"/>
                                        </p:tgtEl>
                                        <p:attrNameLst>
                                          <p:attrName>style.visibility</p:attrName>
                                        </p:attrNameLst>
                                      </p:cBhvr>
                                      <p:to>
                                        <p:strVal val="visible"/>
                                      </p:to>
                                    </p:set>
                                    <p:animEffect transition="in" filter="fade">
                                      <p:cBhvr>
                                        <p:cTn id="24" dur="500"/>
                                        <p:tgtEl>
                                          <p:spTgt spid="94"/>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95"/>
                                        </p:tgtEl>
                                        <p:attrNameLst>
                                          <p:attrName>style.visibility</p:attrName>
                                        </p:attrNameLst>
                                      </p:cBhvr>
                                      <p:to>
                                        <p:strVal val="visible"/>
                                      </p:to>
                                    </p:set>
                                    <p:animEffect transition="in" filter="fade">
                                      <p:cBhvr>
                                        <p:cTn id="28" dur="500"/>
                                        <p:tgtEl>
                                          <p:spTgt spid="95"/>
                                        </p:tgtEl>
                                      </p:cBhvr>
                                    </p:animEffect>
                                  </p:childTnLst>
                                </p:cTn>
                              </p:par>
                              <p:par>
                                <p:cTn id="29" presetID="53" presetClass="entr" presetSubtype="16" fill="hold" nodeType="with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p:cTn id="31" dur="500" fill="hold"/>
                                        <p:tgtEl>
                                          <p:spTgt spid="10"/>
                                        </p:tgtEl>
                                        <p:attrNameLst>
                                          <p:attrName>ppt_w</p:attrName>
                                        </p:attrNameLst>
                                      </p:cBhvr>
                                      <p:tavLst>
                                        <p:tav tm="0">
                                          <p:val>
                                            <p:fltVal val="0"/>
                                          </p:val>
                                        </p:tav>
                                        <p:tav tm="100000">
                                          <p:val>
                                            <p:strVal val="#ppt_w"/>
                                          </p:val>
                                        </p:tav>
                                      </p:tavLst>
                                    </p:anim>
                                    <p:anim calcmode="lin" valueType="num">
                                      <p:cBhvr>
                                        <p:cTn id="32" dur="500" fill="hold"/>
                                        <p:tgtEl>
                                          <p:spTgt spid="10"/>
                                        </p:tgtEl>
                                        <p:attrNameLst>
                                          <p:attrName>ppt_h</p:attrName>
                                        </p:attrNameLst>
                                      </p:cBhvr>
                                      <p:tavLst>
                                        <p:tav tm="0">
                                          <p:val>
                                            <p:fltVal val="0"/>
                                          </p:val>
                                        </p:tav>
                                        <p:tav tm="100000">
                                          <p:val>
                                            <p:strVal val="#ppt_h"/>
                                          </p:val>
                                        </p:tav>
                                      </p:tavLst>
                                    </p:anim>
                                    <p:animEffect transition="in" filter="fade">
                                      <p:cBhvr>
                                        <p:cTn id="33" dur="500"/>
                                        <p:tgtEl>
                                          <p:spTgt spid="10"/>
                                        </p:tgtEl>
                                      </p:cBhvr>
                                    </p:animEffect>
                                  </p:childTnLst>
                                </p:cTn>
                              </p:par>
                              <p:par>
                                <p:cTn id="34" presetID="22" presetClass="entr" presetSubtype="8" fill="hold" nodeType="withEffect">
                                  <p:stCondLst>
                                    <p:cond delay="0"/>
                                  </p:stCondLst>
                                  <p:childTnLst>
                                    <p:set>
                                      <p:cBhvr>
                                        <p:cTn id="35" dur="1" fill="hold">
                                          <p:stCondLst>
                                            <p:cond delay="0"/>
                                          </p:stCondLst>
                                        </p:cTn>
                                        <p:tgtEl>
                                          <p:spTgt spid="102"/>
                                        </p:tgtEl>
                                        <p:attrNameLst>
                                          <p:attrName>style.visibility</p:attrName>
                                        </p:attrNameLst>
                                      </p:cBhvr>
                                      <p:to>
                                        <p:strVal val="visible"/>
                                      </p:to>
                                    </p:set>
                                    <p:animEffect transition="in" filter="wipe(left)">
                                      <p:cBhvr>
                                        <p:cTn id="36" dur="500"/>
                                        <p:tgtEl>
                                          <p:spTgt spid="102"/>
                                        </p:tgtEl>
                                      </p:cBhvr>
                                    </p:animEffect>
                                  </p:childTnLst>
                                </p:cTn>
                              </p:par>
                              <p:par>
                                <p:cTn id="37" presetID="10" presetClass="entr" presetSubtype="0" fill="hold" grpId="0" nodeType="withEffect">
                                  <p:stCondLst>
                                    <p:cond delay="250"/>
                                  </p:stCondLst>
                                  <p:childTnLst>
                                    <p:set>
                                      <p:cBhvr>
                                        <p:cTn id="38" dur="1" fill="hold">
                                          <p:stCondLst>
                                            <p:cond delay="0"/>
                                          </p:stCondLst>
                                        </p:cTn>
                                        <p:tgtEl>
                                          <p:spTgt spid="97"/>
                                        </p:tgtEl>
                                        <p:attrNameLst>
                                          <p:attrName>style.visibility</p:attrName>
                                        </p:attrNameLst>
                                      </p:cBhvr>
                                      <p:to>
                                        <p:strVal val="visible"/>
                                      </p:to>
                                    </p:set>
                                    <p:animEffect transition="in" filter="fade">
                                      <p:cBhvr>
                                        <p:cTn id="39" dur="500"/>
                                        <p:tgtEl>
                                          <p:spTgt spid="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94" grpId="0"/>
      <p:bldP spid="95" grpId="0"/>
      <p:bldP spid="97" grpId="0"/>
      <p:bldP spid="2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Diagram 51"/>
          <p:cNvGraphicFramePr/>
          <p:nvPr/>
        </p:nvGraphicFramePr>
        <p:xfrm>
          <a:off x="908050" y="1016000"/>
          <a:ext cx="8007350" cy="5080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1684" name="TextBox 52"/>
          <p:cNvSpPr txBox="1">
            <a:spLocks noChangeArrowheads="1"/>
          </p:cNvSpPr>
          <p:nvPr/>
        </p:nvSpPr>
        <p:spPr bwMode="auto">
          <a:xfrm>
            <a:off x="990600" y="4038600"/>
            <a:ext cx="2146300" cy="1384300"/>
          </a:xfrm>
          <a:prstGeom prst="rect">
            <a:avLst/>
          </a:prstGeom>
          <a:noFill/>
          <a:ln w="9525">
            <a:noFill/>
            <a:miter lim="800000"/>
            <a:headEnd/>
            <a:tailEnd/>
          </a:ln>
        </p:spPr>
        <p:txBody>
          <a:bodyPr>
            <a:spAutoFit/>
          </a:bodyPr>
          <a:lstStyle/>
          <a:p>
            <a:pPr marL="109538" indent="-109538">
              <a:buFont typeface="Arial" pitchFamily="34" charset="0"/>
              <a:buChar char="•"/>
            </a:pPr>
            <a:r>
              <a:rPr lang="en-US" sz="1200" dirty="0"/>
              <a:t>Technical competence</a:t>
            </a:r>
          </a:p>
          <a:p>
            <a:pPr marL="109538" indent="-109538">
              <a:buFont typeface="Arial" pitchFamily="34" charset="0"/>
              <a:buChar char="•"/>
            </a:pPr>
            <a:r>
              <a:rPr lang="en-US" sz="1200" dirty="0"/>
              <a:t>Industry knowledge building </a:t>
            </a:r>
          </a:p>
          <a:p>
            <a:pPr marL="109538" indent="-109538">
              <a:buFont typeface="Arial" pitchFamily="34" charset="0"/>
              <a:buChar char="•"/>
            </a:pPr>
            <a:r>
              <a:rPr lang="en-US" sz="1200" dirty="0"/>
              <a:t>Leadership capability development </a:t>
            </a:r>
          </a:p>
          <a:p>
            <a:pPr marL="109538" indent="-109538">
              <a:buFont typeface="Arial" pitchFamily="34" charset="0"/>
              <a:buChar char="•"/>
            </a:pPr>
            <a:r>
              <a:rPr lang="en-US" sz="1200" dirty="0"/>
              <a:t>E-learning </a:t>
            </a:r>
          </a:p>
          <a:p>
            <a:pPr marL="109538" indent="-109538">
              <a:buFont typeface="Arial" pitchFamily="34" charset="0"/>
              <a:buChar char="•"/>
            </a:pPr>
            <a:r>
              <a:rPr lang="en-US" sz="1200" dirty="0"/>
              <a:t>Learning infrastructure </a:t>
            </a:r>
          </a:p>
        </p:txBody>
      </p:sp>
      <p:sp>
        <p:nvSpPr>
          <p:cNvPr id="71685" name="TextBox 53"/>
          <p:cNvSpPr txBox="1">
            <a:spLocks noChangeArrowheads="1"/>
          </p:cNvSpPr>
          <p:nvPr/>
        </p:nvSpPr>
        <p:spPr bwMode="auto">
          <a:xfrm>
            <a:off x="6686550" y="4038600"/>
            <a:ext cx="2146300" cy="1384995"/>
          </a:xfrm>
          <a:prstGeom prst="rect">
            <a:avLst/>
          </a:prstGeom>
          <a:noFill/>
          <a:ln w="9525">
            <a:noFill/>
            <a:miter lim="800000"/>
            <a:headEnd/>
            <a:tailEnd/>
          </a:ln>
        </p:spPr>
        <p:txBody>
          <a:bodyPr>
            <a:spAutoFit/>
          </a:bodyPr>
          <a:lstStyle/>
          <a:p>
            <a:pPr marL="109538" indent="-109538">
              <a:buFont typeface="Arial" pitchFamily="34" charset="0"/>
              <a:buChar char="•"/>
            </a:pPr>
            <a:r>
              <a:rPr lang="en-US" sz="1200" dirty="0"/>
              <a:t>Compensation and benefits </a:t>
            </a:r>
          </a:p>
          <a:p>
            <a:pPr marL="109538" indent="-109538">
              <a:buFont typeface="Arial" pitchFamily="34" charset="0"/>
              <a:buChar char="•"/>
            </a:pPr>
            <a:r>
              <a:rPr lang="en-US" sz="1200" dirty="0"/>
              <a:t>Performance management </a:t>
            </a:r>
          </a:p>
          <a:p>
            <a:pPr marL="109538" indent="-109538">
              <a:buFont typeface="Arial" pitchFamily="34" charset="0"/>
              <a:buChar char="•"/>
            </a:pPr>
            <a:r>
              <a:rPr lang="en-US" sz="1200" dirty="0"/>
              <a:t>Career development </a:t>
            </a:r>
          </a:p>
          <a:p>
            <a:pPr marL="109538" indent="-109538">
              <a:buFont typeface="Arial" pitchFamily="34" charset="0"/>
              <a:buChar char="•"/>
            </a:pPr>
            <a:r>
              <a:rPr lang="en-US" sz="1200" dirty="0"/>
              <a:t>Employee relations and communication </a:t>
            </a:r>
          </a:p>
          <a:p>
            <a:pPr marL="109538" indent="-109538">
              <a:buFont typeface="Arial" pitchFamily="34" charset="0"/>
              <a:buChar char="•"/>
            </a:pPr>
            <a:r>
              <a:rPr lang="en-US" sz="1200" dirty="0"/>
              <a:t>Employee information systems </a:t>
            </a:r>
          </a:p>
        </p:txBody>
      </p:sp>
      <p:pic>
        <p:nvPicPr>
          <p:cNvPr id="71687" name="Picture 3" descr="C:\Documents and Settings\grayehlocal\Local Settings\Temporary Internet Files\Content.IE5\HJ1Y9LEA\MC900383550[1].wmf"/>
          <p:cNvPicPr>
            <a:picLocks noChangeAspect="1" noChangeArrowheads="1"/>
          </p:cNvPicPr>
          <p:nvPr/>
        </p:nvPicPr>
        <p:blipFill>
          <a:blip r:embed="rId8" cstate="print"/>
          <a:srcRect/>
          <a:stretch>
            <a:fillRect/>
          </a:stretch>
        </p:blipFill>
        <p:spPr bwMode="auto">
          <a:xfrm>
            <a:off x="4717390" y="5486401"/>
            <a:ext cx="471223" cy="955675"/>
          </a:xfrm>
          <a:prstGeom prst="rect">
            <a:avLst/>
          </a:prstGeom>
          <a:noFill/>
          <a:ln w="9525">
            <a:noFill/>
            <a:miter lim="800000"/>
            <a:headEnd/>
            <a:tailEnd/>
          </a:ln>
        </p:spPr>
      </p:pic>
      <p:grpSp>
        <p:nvGrpSpPr>
          <p:cNvPr id="2" name="Group 10"/>
          <p:cNvGrpSpPr>
            <a:grpSpLocks/>
          </p:cNvGrpSpPr>
          <p:nvPr/>
        </p:nvGrpSpPr>
        <p:grpSpPr bwMode="auto">
          <a:xfrm>
            <a:off x="8000471" y="76201"/>
            <a:ext cx="887413" cy="409575"/>
            <a:chOff x="932170" y="585314"/>
            <a:chExt cx="820212" cy="410106"/>
          </a:xfrm>
        </p:grpSpPr>
        <p:sp>
          <p:nvSpPr>
            <p:cNvPr id="12" name="Rectangle 11"/>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3" name="Rectangle 12"/>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People Care</a:t>
              </a:r>
            </a:p>
          </p:txBody>
        </p:sp>
      </p:grpSp>
      <p:grpSp>
        <p:nvGrpSpPr>
          <p:cNvPr id="3" name="Group 13"/>
          <p:cNvGrpSpPr>
            <a:grpSpLocks/>
          </p:cNvGrpSpPr>
          <p:nvPr/>
        </p:nvGrpSpPr>
        <p:grpSpPr bwMode="auto">
          <a:xfrm>
            <a:off x="8934319" y="76201"/>
            <a:ext cx="889132" cy="409575"/>
            <a:chOff x="1137223" y="1167665"/>
            <a:chExt cx="820212" cy="410106"/>
          </a:xfrm>
        </p:grpSpPr>
        <p:sp>
          <p:nvSpPr>
            <p:cNvPr id="15" name="Rectangle 14"/>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6" name="Rectangle 15"/>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Learning &amp; Development</a:t>
              </a:r>
            </a:p>
          </p:txBody>
        </p:sp>
      </p:grpSp>
      <p:sp>
        <p:nvSpPr>
          <p:cNvPr id="17" name="Title 16"/>
          <p:cNvSpPr>
            <a:spLocks noGrp="1"/>
          </p:cNvSpPr>
          <p:nvPr>
            <p:ph type="title"/>
          </p:nvPr>
        </p:nvSpPr>
        <p:spPr/>
        <p:txBody>
          <a:bodyPr/>
          <a:lstStyle/>
          <a:p>
            <a:r>
              <a:rPr lang="en-US" dirty="0" smtClean="0"/>
              <a:t>FS SBU People Care Organization</a:t>
            </a:r>
            <a:endParaRPr lang="en-US" dirty="0"/>
          </a:p>
        </p:txBody>
      </p:sp>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err="1" smtClean="0"/>
              <a:t>MyLearning</a:t>
            </a:r>
            <a:r>
              <a:rPr lang="en-US" dirty="0" smtClean="0"/>
              <a:t>: Learning on Demand</a:t>
            </a:r>
            <a:endParaRPr lang="en-US" dirty="0"/>
          </a:p>
        </p:txBody>
      </p:sp>
      <p:sp>
        <p:nvSpPr>
          <p:cNvPr id="18" name="Content Placeholder 17"/>
          <p:cNvSpPr>
            <a:spLocks noGrp="1"/>
          </p:cNvSpPr>
          <p:nvPr>
            <p:ph idx="1"/>
          </p:nvPr>
        </p:nvSpPr>
        <p:spPr/>
        <p:txBody>
          <a:bodyPr/>
          <a:lstStyle/>
          <a:p>
            <a:pPr marL="190500" indent="-190500" eaLnBrk="0" hangingPunct="0">
              <a:spcBef>
                <a:spcPct val="50000"/>
              </a:spcBef>
              <a:defRPr/>
            </a:pPr>
            <a:r>
              <a:rPr lang="en-GB" kern="0" dirty="0" err="1" smtClean="0">
                <a:solidFill>
                  <a:srgbClr val="000000"/>
                </a:solidFill>
              </a:rPr>
              <a:t>MyLearning</a:t>
            </a:r>
            <a:r>
              <a:rPr lang="en-GB" kern="0" dirty="0" smtClean="0">
                <a:solidFill>
                  <a:srgbClr val="000000"/>
                </a:solidFill>
              </a:rPr>
              <a:t> gives you access to </a:t>
            </a:r>
            <a:r>
              <a:rPr lang="en-GB" b="1" kern="0" dirty="0" smtClean="0">
                <a:solidFill>
                  <a:srgbClr val="000000"/>
                </a:solidFill>
              </a:rPr>
              <a:t>a wealth of learning</a:t>
            </a:r>
            <a:r>
              <a:rPr lang="en-GB" kern="0" dirty="0" smtClean="0">
                <a:solidFill>
                  <a:srgbClr val="000000"/>
                </a:solidFill>
              </a:rPr>
              <a:t> to enhance your professional development (classroom training, on-line training, etc.)</a:t>
            </a:r>
          </a:p>
          <a:p>
            <a:pPr marL="190500" indent="-190500" eaLnBrk="0" hangingPunct="0">
              <a:spcBef>
                <a:spcPct val="50000"/>
              </a:spcBef>
              <a:defRPr/>
            </a:pPr>
            <a:r>
              <a:rPr lang="en-GB" kern="0" dirty="0" err="1" smtClean="0">
                <a:solidFill>
                  <a:srgbClr val="000000"/>
                </a:solidFill>
              </a:rPr>
              <a:t>MyLearning</a:t>
            </a:r>
            <a:r>
              <a:rPr lang="en-GB" kern="0" dirty="0" smtClean="0">
                <a:solidFill>
                  <a:srgbClr val="000000"/>
                </a:solidFill>
              </a:rPr>
              <a:t> allows you to </a:t>
            </a:r>
            <a:r>
              <a:rPr lang="en-GB" b="1" kern="0" dirty="0" smtClean="0">
                <a:solidFill>
                  <a:srgbClr val="000000"/>
                </a:solidFill>
              </a:rPr>
              <a:t>create</a:t>
            </a:r>
            <a:r>
              <a:rPr lang="en-GB" kern="0" dirty="0" smtClean="0">
                <a:solidFill>
                  <a:srgbClr val="000000"/>
                </a:solidFill>
              </a:rPr>
              <a:t> a clear training plan, to </a:t>
            </a:r>
            <a:r>
              <a:rPr lang="en-GB" b="1" kern="0" dirty="0" smtClean="0">
                <a:solidFill>
                  <a:srgbClr val="000000"/>
                </a:solidFill>
              </a:rPr>
              <a:t>view</a:t>
            </a:r>
            <a:r>
              <a:rPr lang="en-GB" kern="0" dirty="0" smtClean="0">
                <a:solidFill>
                  <a:srgbClr val="000000"/>
                </a:solidFill>
              </a:rPr>
              <a:t>, </a:t>
            </a:r>
            <a:r>
              <a:rPr lang="en-GB" b="1" kern="0" dirty="0" smtClean="0">
                <a:solidFill>
                  <a:srgbClr val="000000"/>
                </a:solidFill>
              </a:rPr>
              <a:t>manage</a:t>
            </a:r>
            <a:r>
              <a:rPr lang="en-GB" kern="0" dirty="0" smtClean="0">
                <a:solidFill>
                  <a:srgbClr val="000000"/>
                </a:solidFill>
              </a:rPr>
              <a:t> &amp; </a:t>
            </a:r>
            <a:r>
              <a:rPr lang="en-GB" b="1" kern="0" dirty="0" smtClean="0">
                <a:solidFill>
                  <a:srgbClr val="000000"/>
                </a:solidFill>
              </a:rPr>
              <a:t>track</a:t>
            </a:r>
            <a:r>
              <a:rPr lang="en-GB" kern="0" dirty="0" smtClean="0">
                <a:solidFill>
                  <a:srgbClr val="000000"/>
                </a:solidFill>
              </a:rPr>
              <a:t> your learning activities online </a:t>
            </a:r>
            <a:r>
              <a:rPr lang="en-GB" kern="0" dirty="0" smtClean="0">
                <a:solidFill>
                  <a:srgbClr val="0085B3"/>
                </a:solidFill>
              </a:rPr>
              <a:t>(</a:t>
            </a:r>
            <a:r>
              <a:rPr lang="en-CA" kern="0" dirty="0" smtClean="0">
                <a:solidFill>
                  <a:srgbClr val="0085B3"/>
                </a:solidFill>
              </a:rPr>
              <a:t>http://mylearning.capgemini.com)</a:t>
            </a:r>
            <a:endParaRPr lang="fr-FR" kern="0" dirty="0" smtClean="0">
              <a:solidFill>
                <a:srgbClr val="0085B3"/>
              </a:solidFill>
            </a:endParaRPr>
          </a:p>
          <a:p>
            <a:pPr marL="190500" indent="-190500" eaLnBrk="0" hangingPunct="0">
              <a:spcBef>
                <a:spcPct val="50000"/>
              </a:spcBef>
              <a:defRPr/>
            </a:pPr>
            <a:r>
              <a:rPr lang="en-GB" kern="0" dirty="0" smtClean="0">
                <a:solidFill>
                  <a:srgbClr val="000000"/>
                </a:solidFill>
              </a:rPr>
              <a:t> </a:t>
            </a:r>
            <a:r>
              <a:rPr lang="en-GB" kern="0" dirty="0" err="1" smtClean="0">
                <a:solidFill>
                  <a:srgbClr val="000000"/>
                </a:solidFill>
              </a:rPr>
              <a:t>MyLearning</a:t>
            </a:r>
            <a:r>
              <a:rPr lang="en-GB" kern="0" dirty="0" smtClean="0">
                <a:solidFill>
                  <a:srgbClr val="000000"/>
                </a:solidFill>
              </a:rPr>
              <a:t> is </a:t>
            </a:r>
            <a:r>
              <a:rPr lang="en-GB" b="1" kern="0" dirty="0" smtClean="0">
                <a:solidFill>
                  <a:srgbClr val="000000"/>
                </a:solidFill>
              </a:rPr>
              <a:t>accessible to anybody</a:t>
            </a:r>
            <a:r>
              <a:rPr lang="en-GB" kern="0" dirty="0" smtClean="0">
                <a:solidFill>
                  <a:srgbClr val="000000"/>
                </a:solidFill>
              </a:rPr>
              <a:t> within the Group, from anywhere, at anytime via the web</a:t>
            </a:r>
          </a:p>
          <a:p>
            <a:endParaRPr lang="en-US" dirty="0"/>
          </a:p>
        </p:txBody>
      </p:sp>
      <p:pic>
        <p:nvPicPr>
          <p:cNvPr id="37891" name="Picture 3"/>
          <p:cNvPicPr>
            <a:picLocks noChangeAspect="1" noChangeArrowheads="1"/>
          </p:cNvPicPr>
          <p:nvPr/>
        </p:nvPicPr>
        <p:blipFill>
          <a:blip r:embed="rId3" cstate="print"/>
          <a:srcRect/>
          <a:stretch>
            <a:fillRect/>
          </a:stretch>
        </p:blipFill>
        <p:spPr bwMode="auto">
          <a:xfrm>
            <a:off x="4817270" y="3884781"/>
            <a:ext cx="4516735" cy="2313784"/>
          </a:xfrm>
          <a:prstGeom prst="rect">
            <a:avLst/>
          </a:prstGeom>
          <a:noFill/>
          <a:ln w="9525">
            <a:solidFill>
              <a:schemeClr val="bg1">
                <a:lumMod val="50000"/>
              </a:schemeClr>
            </a:solidFill>
            <a:miter lim="800000"/>
            <a:headEnd/>
            <a:tailEnd/>
          </a:ln>
        </p:spPr>
      </p:pic>
      <p:grpSp>
        <p:nvGrpSpPr>
          <p:cNvPr id="2" name="Group 5"/>
          <p:cNvGrpSpPr>
            <a:grpSpLocks/>
          </p:cNvGrpSpPr>
          <p:nvPr/>
        </p:nvGrpSpPr>
        <p:grpSpPr bwMode="auto">
          <a:xfrm>
            <a:off x="7035668" y="76201"/>
            <a:ext cx="887413" cy="409575"/>
            <a:chOff x="932170" y="585314"/>
            <a:chExt cx="820212" cy="410106"/>
          </a:xfrm>
        </p:grpSpPr>
        <p:sp>
          <p:nvSpPr>
            <p:cNvPr id="7" name="Rectangle 6"/>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8" name="Rectangle 7"/>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People Care</a:t>
              </a:r>
            </a:p>
          </p:txBody>
        </p:sp>
      </p:grpSp>
      <p:grpSp>
        <p:nvGrpSpPr>
          <p:cNvPr id="3" name="Group 8"/>
          <p:cNvGrpSpPr>
            <a:grpSpLocks/>
          </p:cNvGrpSpPr>
          <p:nvPr/>
        </p:nvGrpSpPr>
        <p:grpSpPr bwMode="auto">
          <a:xfrm>
            <a:off x="7969515" y="76201"/>
            <a:ext cx="889133" cy="409575"/>
            <a:chOff x="1137223" y="1167665"/>
            <a:chExt cx="820212" cy="410106"/>
          </a:xfrm>
        </p:grpSpPr>
        <p:sp>
          <p:nvSpPr>
            <p:cNvPr id="12" name="Rectangle 11"/>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3" name="Rectangle 12"/>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Learning &amp; Development</a:t>
              </a:r>
            </a:p>
          </p:txBody>
        </p:sp>
      </p:grpSp>
      <p:grpSp>
        <p:nvGrpSpPr>
          <p:cNvPr id="4" name="Group 13"/>
          <p:cNvGrpSpPr>
            <a:grpSpLocks/>
          </p:cNvGrpSpPr>
          <p:nvPr/>
        </p:nvGrpSpPr>
        <p:grpSpPr bwMode="auto">
          <a:xfrm>
            <a:off x="8941198" y="76201"/>
            <a:ext cx="889132" cy="409575"/>
            <a:chOff x="3327192" y="1750016"/>
            <a:chExt cx="820212" cy="410106"/>
          </a:xfrm>
        </p:grpSpPr>
        <p:sp>
          <p:nvSpPr>
            <p:cNvPr id="15" name="Rectangle 14"/>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6" name="Rectangle 15"/>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MyLearning</a:t>
              </a:r>
            </a:p>
          </p:txBody>
        </p:sp>
      </p:gr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dirty="0" smtClean="0"/>
              <a:t>Benefits Overview</a:t>
            </a:r>
            <a:endParaRPr lang="en-US" dirty="0"/>
          </a:p>
        </p:txBody>
      </p:sp>
      <p:sp>
        <p:nvSpPr>
          <p:cNvPr id="14" name="Content Placeholder 5"/>
          <p:cNvSpPr>
            <a:spLocks noGrp="1"/>
          </p:cNvSpPr>
          <p:nvPr>
            <p:ph idx="1"/>
          </p:nvPr>
        </p:nvSpPr>
        <p:spPr/>
        <p:txBody>
          <a:bodyPr/>
          <a:lstStyle/>
          <a:p>
            <a:r>
              <a:rPr lang="en-US" dirty="0" smtClean="0"/>
              <a:t>Salary A/c – CITI Bank/HDFC Bank/ICICI Bank/IDBI Bank (Features - Zero Balance)</a:t>
            </a:r>
          </a:p>
          <a:p>
            <a:pPr lvl="1"/>
            <a:r>
              <a:rPr lang="en-US" dirty="0" smtClean="0"/>
              <a:t>Payroll – Salary  Processing : Please update your Account No. at </a:t>
            </a:r>
            <a:r>
              <a:rPr lang="en-US" dirty="0" err="1" smtClean="0"/>
              <a:t>iConnect</a:t>
            </a:r>
            <a:r>
              <a:rPr lang="en-US" dirty="0" smtClean="0"/>
              <a:t>&gt; My Information &gt; Personal Information&gt;Bank Account No/ &amp; PAN Card details. This is an one time activity.</a:t>
            </a:r>
          </a:p>
          <a:p>
            <a:pPr lvl="1"/>
            <a:r>
              <a:rPr lang="en-US" dirty="0" smtClean="0"/>
              <a:t>Please update your PAN details on </a:t>
            </a:r>
            <a:r>
              <a:rPr lang="en-US" dirty="0" smtClean="0">
                <a:solidFill>
                  <a:srgbClr val="0085B3"/>
                </a:solidFill>
              </a:rPr>
              <a:t>https://ess.excelityglobal.com</a:t>
            </a:r>
            <a:r>
              <a:rPr lang="en-US" dirty="0" smtClean="0"/>
              <a:t> after processing of the first salary, else there would tax deduction reflecting in the second salary</a:t>
            </a:r>
          </a:p>
          <a:p>
            <a:pPr lvl="1"/>
            <a:endParaRPr lang="en-US" dirty="0" smtClean="0"/>
          </a:p>
          <a:p>
            <a:r>
              <a:rPr lang="en-US" dirty="0" smtClean="0"/>
              <a:t>Corporate Credit Card – American Express (Amex Card)</a:t>
            </a:r>
          </a:p>
          <a:p>
            <a:pPr lvl="1"/>
            <a:r>
              <a:rPr lang="en-US" dirty="0" smtClean="0"/>
              <a:t>POC- Richa </a:t>
            </a:r>
            <a:r>
              <a:rPr lang="en-US" dirty="0" err="1" smtClean="0"/>
              <a:t>Kulshreshtha</a:t>
            </a:r>
            <a:r>
              <a:rPr lang="en-US" dirty="0" smtClean="0"/>
              <a:t> </a:t>
            </a:r>
          </a:p>
          <a:p>
            <a:pPr lvl="1"/>
            <a:r>
              <a:rPr lang="en-US" dirty="0" smtClean="0"/>
              <a:t>For all official travel expenses only</a:t>
            </a:r>
          </a:p>
          <a:p>
            <a:pPr lvl="1"/>
            <a:endParaRPr lang="en-US" dirty="0" smtClean="0"/>
          </a:p>
        </p:txBody>
      </p:sp>
      <p:grpSp>
        <p:nvGrpSpPr>
          <p:cNvPr id="2" name="Group 5"/>
          <p:cNvGrpSpPr>
            <a:grpSpLocks/>
          </p:cNvGrpSpPr>
          <p:nvPr/>
        </p:nvGrpSpPr>
        <p:grpSpPr bwMode="auto">
          <a:xfrm>
            <a:off x="8000471" y="76201"/>
            <a:ext cx="887413" cy="409575"/>
            <a:chOff x="932170" y="585314"/>
            <a:chExt cx="820212" cy="410106"/>
          </a:xfrm>
        </p:grpSpPr>
        <p:sp>
          <p:nvSpPr>
            <p:cNvPr id="7" name="Rectangle 6"/>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8" name="Rectangle 7"/>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People Care</a:t>
              </a:r>
            </a:p>
          </p:txBody>
        </p:sp>
      </p:grpSp>
      <p:grpSp>
        <p:nvGrpSpPr>
          <p:cNvPr id="3" name="Group 8"/>
          <p:cNvGrpSpPr>
            <a:grpSpLocks/>
          </p:cNvGrpSpPr>
          <p:nvPr/>
        </p:nvGrpSpPr>
        <p:grpSpPr bwMode="auto">
          <a:xfrm>
            <a:off x="8934319" y="76201"/>
            <a:ext cx="889132" cy="409575"/>
            <a:chOff x="1137223" y="1167665"/>
            <a:chExt cx="820212" cy="410106"/>
          </a:xfrm>
        </p:grpSpPr>
        <p:sp>
          <p:nvSpPr>
            <p:cNvPr id="10" name="Rectangle 9"/>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1" name="Rectangle 10"/>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Benefits / Compensation</a:t>
              </a:r>
            </a:p>
          </p:txBody>
        </p:sp>
      </p:grpSp>
      <p:graphicFrame>
        <p:nvGraphicFramePr>
          <p:cNvPr id="12" name="Table 11"/>
          <p:cNvGraphicFramePr>
            <a:graphicFrameLocks noGrp="1"/>
          </p:cNvGraphicFramePr>
          <p:nvPr/>
        </p:nvGraphicFramePr>
        <p:xfrm>
          <a:off x="1104405" y="4940134"/>
          <a:ext cx="7659587" cy="1047404"/>
        </p:xfrm>
        <a:graphic>
          <a:graphicData uri="http://schemas.openxmlformats.org/drawingml/2006/table">
            <a:tbl>
              <a:tblPr firstRow="1" bandRow="1">
                <a:tableStyleId>{5C22544A-7EE6-4342-B048-85BDC9FD1C3A}</a:tableStyleId>
              </a:tblPr>
              <a:tblGrid>
                <a:gridCol w="1914131"/>
                <a:gridCol w="1915662"/>
                <a:gridCol w="1914897"/>
                <a:gridCol w="1914897"/>
              </a:tblGrid>
              <a:tr h="213756">
                <a:tc>
                  <a:txBody>
                    <a:bodyPr/>
                    <a:lstStyle/>
                    <a:p>
                      <a:r>
                        <a:rPr lang="en-US" sz="1200" b="1" kern="1200" dirty="0" smtClean="0">
                          <a:solidFill>
                            <a:schemeClr val="lt1"/>
                          </a:solidFill>
                          <a:latin typeface="+mn-lt"/>
                          <a:ea typeface="+mn-ea"/>
                          <a:cs typeface="+mn-cs"/>
                        </a:rPr>
                        <a:t>Global Grade</a:t>
                      </a:r>
                      <a:endParaRPr lang="en-US" sz="1200" dirty="0"/>
                    </a:p>
                  </a:txBody>
                  <a:tcPr anchor="ctr"/>
                </a:tc>
                <a:tc>
                  <a:txBody>
                    <a:bodyPr/>
                    <a:lstStyle/>
                    <a:p>
                      <a:r>
                        <a:rPr lang="en-US" sz="1200" b="1" kern="1200" dirty="0" smtClean="0">
                          <a:solidFill>
                            <a:schemeClr val="lt1"/>
                          </a:solidFill>
                          <a:latin typeface="+mn-lt"/>
                          <a:ea typeface="+mn-ea"/>
                          <a:cs typeface="+mn-cs"/>
                        </a:rPr>
                        <a:t>ACIS</a:t>
                      </a:r>
                      <a:endParaRPr lang="en-US" sz="1200" dirty="0"/>
                    </a:p>
                  </a:txBody>
                  <a:tcPr anchor="ctr"/>
                </a:tc>
                <a:tc>
                  <a:txBody>
                    <a:bodyPr/>
                    <a:lstStyle/>
                    <a:p>
                      <a:r>
                        <a:rPr lang="en-US" sz="1200" b="1" kern="1200" dirty="0" err="1" smtClean="0">
                          <a:solidFill>
                            <a:schemeClr val="lt1"/>
                          </a:solidFill>
                          <a:latin typeface="+mn-lt"/>
                          <a:ea typeface="+mn-ea"/>
                          <a:cs typeface="+mn-cs"/>
                        </a:rPr>
                        <a:t>BSv</a:t>
                      </a:r>
                      <a:endParaRPr lang="en-US" sz="1200" dirty="0"/>
                    </a:p>
                  </a:txBody>
                  <a:tcPr anchor="ctr"/>
                </a:tc>
                <a:tc>
                  <a:txBody>
                    <a:bodyPr/>
                    <a:lstStyle/>
                    <a:p>
                      <a:r>
                        <a:rPr lang="en-US" sz="1200" b="1" kern="1200" dirty="0" smtClean="0">
                          <a:solidFill>
                            <a:schemeClr val="lt1"/>
                          </a:solidFill>
                          <a:latin typeface="+mn-lt"/>
                          <a:ea typeface="+mn-ea"/>
                          <a:cs typeface="+mn-cs"/>
                        </a:rPr>
                        <a:t>FS</a:t>
                      </a:r>
                      <a:endParaRPr lang="en-US" sz="1200" dirty="0"/>
                    </a:p>
                  </a:txBody>
                  <a:tcPr anchor="ctr"/>
                </a:tc>
              </a:tr>
              <a:tr h="213756">
                <a:tc>
                  <a:txBody>
                    <a:bodyPr/>
                    <a:lstStyle/>
                    <a:p>
                      <a:r>
                        <a:rPr lang="en-US" sz="1200" b="1" kern="1200" dirty="0" smtClean="0">
                          <a:solidFill>
                            <a:schemeClr val="dk1"/>
                          </a:solidFill>
                          <a:latin typeface="+mn-lt"/>
                          <a:ea typeface="+mn-ea"/>
                          <a:cs typeface="+mn-cs"/>
                        </a:rPr>
                        <a:t>F</a:t>
                      </a:r>
                      <a:endParaRPr lang="en-US" sz="1200" dirty="0"/>
                    </a:p>
                  </a:txBody>
                  <a:tcPr anchor="ctr"/>
                </a:tc>
                <a:tc>
                  <a:txBody>
                    <a:bodyPr/>
                    <a:lstStyle/>
                    <a:p>
                      <a:r>
                        <a:rPr lang="en-US" sz="1200" kern="1200" dirty="0" smtClean="0">
                          <a:solidFill>
                            <a:schemeClr val="dk1"/>
                          </a:solidFill>
                          <a:latin typeface="+mn-lt"/>
                          <a:ea typeface="+mn-ea"/>
                          <a:cs typeface="+mn-cs"/>
                        </a:rPr>
                        <a:t>VP</a:t>
                      </a:r>
                      <a:endParaRPr lang="en-US" sz="1200" dirty="0"/>
                    </a:p>
                  </a:txBody>
                  <a:tcPr anchor="ctr"/>
                </a:tc>
                <a:tc>
                  <a:txBody>
                    <a:bodyPr/>
                    <a:lstStyle/>
                    <a:p>
                      <a:r>
                        <a:rPr lang="en-US" sz="1200" kern="1200" dirty="0" smtClean="0">
                          <a:solidFill>
                            <a:schemeClr val="dk1"/>
                          </a:solidFill>
                          <a:latin typeface="+mn-lt"/>
                          <a:ea typeface="+mn-ea"/>
                          <a:cs typeface="+mn-cs"/>
                        </a:rPr>
                        <a:t>VP</a:t>
                      </a:r>
                      <a:endParaRPr lang="en-US" sz="1200" dirty="0"/>
                    </a:p>
                  </a:txBody>
                  <a:tcPr anchor="ctr"/>
                </a:tc>
                <a:tc>
                  <a:txBody>
                    <a:bodyPr/>
                    <a:lstStyle/>
                    <a:p>
                      <a:r>
                        <a:rPr lang="en-US" sz="1200" kern="1200" dirty="0" smtClean="0">
                          <a:solidFill>
                            <a:schemeClr val="dk1"/>
                          </a:solidFill>
                          <a:latin typeface="+mn-lt"/>
                          <a:ea typeface="+mn-ea"/>
                          <a:cs typeface="+mn-cs"/>
                        </a:rPr>
                        <a:t>VP</a:t>
                      </a:r>
                      <a:endParaRPr lang="en-US" sz="1200" dirty="0"/>
                    </a:p>
                  </a:txBody>
                  <a:tcPr anchor="ctr"/>
                </a:tc>
              </a:tr>
              <a:tr h="498764">
                <a:tc>
                  <a:txBody>
                    <a:bodyPr/>
                    <a:lstStyle/>
                    <a:p>
                      <a:r>
                        <a:rPr lang="en-US" sz="1200" b="1" kern="1200" dirty="0" smtClean="0">
                          <a:solidFill>
                            <a:schemeClr val="dk1"/>
                          </a:solidFill>
                          <a:latin typeface="+mn-lt"/>
                          <a:ea typeface="+mn-ea"/>
                          <a:cs typeface="+mn-cs"/>
                        </a:rPr>
                        <a:t>E</a:t>
                      </a:r>
                      <a:endParaRPr lang="en-US" sz="1200" dirty="0"/>
                    </a:p>
                  </a:txBody>
                  <a:tcPr anchor="ctr"/>
                </a:tc>
                <a:tc>
                  <a:txBody>
                    <a:bodyPr/>
                    <a:lstStyle/>
                    <a:p>
                      <a:r>
                        <a:rPr lang="en-US" sz="1200" kern="1200" dirty="0" smtClean="0">
                          <a:solidFill>
                            <a:schemeClr val="dk1"/>
                          </a:solidFill>
                          <a:latin typeface="+mn-lt"/>
                          <a:ea typeface="+mn-ea"/>
                          <a:cs typeface="+mn-cs"/>
                        </a:rPr>
                        <a:t>Associate Director and Director (M5, M6)</a:t>
                      </a:r>
                      <a:endParaRPr lang="en-US" sz="1200" dirty="0"/>
                    </a:p>
                  </a:txBody>
                  <a:tcPr anchor="ctr"/>
                </a:tc>
                <a:tc>
                  <a:txBody>
                    <a:bodyPr/>
                    <a:lstStyle/>
                    <a:p>
                      <a:r>
                        <a:rPr lang="en-US" sz="1200" kern="1200" dirty="0" smtClean="0">
                          <a:solidFill>
                            <a:schemeClr val="dk1"/>
                          </a:solidFill>
                          <a:latin typeface="+mn-lt"/>
                          <a:ea typeface="+mn-ea"/>
                          <a:cs typeface="+mn-cs"/>
                        </a:rPr>
                        <a:t>Director (O10)</a:t>
                      </a:r>
                      <a:endParaRPr lang="en-US" sz="1200" dirty="0"/>
                    </a:p>
                  </a:txBody>
                  <a:tcPr anchor="ctr"/>
                </a:tc>
                <a:tc>
                  <a:txBody>
                    <a:bodyPr/>
                    <a:lstStyle/>
                    <a:p>
                      <a:r>
                        <a:rPr lang="en-US" sz="1200" kern="1200" dirty="0" smtClean="0">
                          <a:solidFill>
                            <a:schemeClr val="dk1"/>
                          </a:solidFill>
                          <a:latin typeface="+mn-lt"/>
                          <a:ea typeface="+mn-ea"/>
                          <a:cs typeface="+mn-cs"/>
                        </a:rPr>
                        <a:t>Director</a:t>
                      </a:r>
                      <a:r>
                        <a:rPr lang="en-US" sz="1200" kern="1200" baseline="0" dirty="0" smtClean="0">
                          <a:solidFill>
                            <a:schemeClr val="dk1"/>
                          </a:solidFill>
                          <a:latin typeface="+mn-lt"/>
                          <a:ea typeface="+mn-ea"/>
                          <a:cs typeface="+mn-cs"/>
                        </a:rPr>
                        <a:t> </a:t>
                      </a:r>
                      <a:r>
                        <a:rPr lang="en-US" sz="1200" kern="1200" dirty="0" smtClean="0">
                          <a:solidFill>
                            <a:schemeClr val="dk1"/>
                          </a:solidFill>
                          <a:latin typeface="+mn-lt"/>
                          <a:ea typeface="+mn-ea"/>
                          <a:cs typeface="+mn-cs"/>
                        </a:rPr>
                        <a:t>and Senior Director</a:t>
                      </a:r>
                      <a:endParaRPr lang="en-US" sz="1200" dirty="0"/>
                    </a:p>
                  </a:txBody>
                  <a:tcPr anchor="ctr"/>
                </a:tc>
              </a:tr>
            </a:tbl>
          </a:graphicData>
        </a:graphic>
      </p:graphicFrame>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dirty="0" smtClean="0"/>
              <a:t>Benefits Overview</a:t>
            </a:r>
            <a:endParaRPr lang="en-US" dirty="0"/>
          </a:p>
        </p:txBody>
      </p:sp>
      <p:sp>
        <p:nvSpPr>
          <p:cNvPr id="15363" name="Content Placeholder 5"/>
          <p:cNvSpPr>
            <a:spLocks noGrp="1"/>
          </p:cNvSpPr>
          <p:nvPr>
            <p:ph idx="1"/>
          </p:nvPr>
        </p:nvSpPr>
        <p:spPr/>
        <p:txBody>
          <a:bodyPr/>
          <a:lstStyle/>
          <a:p>
            <a:r>
              <a:rPr lang="en-US" dirty="0" smtClean="0"/>
              <a:t>Provident Fund (PF)</a:t>
            </a:r>
          </a:p>
          <a:p>
            <a:pPr lvl="1"/>
            <a:r>
              <a:rPr lang="en-US" dirty="0" smtClean="0"/>
              <a:t>SPOC –Sonal Daundkar</a:t>
            </a:r>
          </a:p>
          <a:p>
            <a:pPr lvl="1"/>
            <a:r>
              <a:rPr lang="en-US" dirty="0" smtClean="0"/>
              <a:t>Helpdesk: </a:t>
            </a:r>
            <a:r>
              <a:rPr lang="en-US" u="sng" dirty="0" smtClean="0">
                <a:hlinkClick r:id="rId2"/>
              </a:rPr>
              <a:t>cgretiralsservices@excelityglobal.com</a:t>
            </a:r>
            <a:endParaRPr lang="en-US" u="sng" dirty="0" smtClean="0"/>
          </a:p>
          <a:p>
            <a:pPr lvl="1"/>
            <a:r>
              <a:rPr lang="en-US" dirty="0" smtClean="0"/>
              <a:t>PF Transfer</a:t>
            </a:r>
          </a:p>
          <a:p>
            <a:pPr lvl="2"/>
            <a:r>
              <a:rPr lang="en-US" dirty="0" smtClean="0"/>
              <a:t>Normal waiting period – 90 days</a:t>
            </a:r>
          </a:p>
          <a:p>
            <a:pPr lvl="2"/>
            <a:r>
              <a:rPr lang="en-US" dirty="0" smtClean="0"/>
              <a:t>Necessary forms</a:t>
            </a:r>
          </a:p>
          <a:p>
            <a:pPr lvl="3"/>
            <a:r>
              <a:rPr lang="en-US" dirty="0" smtClean="0"/>
              <a:t>Nomination &amp; Declaration form</a:t>
            </a:r>
          </a:p>
          <a:p>
            <a:pPr lvl="3"/>
            <a:r>
              <a:rPr lang="en-US" dirty="0" smtClean="0"/>
              <a:t>PF Transfer form</a:t>
            </a:r>
          </a:p>
          <a:p>
            <a:pPr lvl="1"/>
            <a:r>
              <a:rPr lang="en-US" dirty="0" smtClean="0"/>
              <a:t>Info required </a:t>
            </a:r>
          </a:p>
          <a:p>
            <a:pPr lvl="2"/>
            <a:r>
              <a:rPr lang="en-US" sz="1400" dirty="0" smtClean="0"/>
              <a:t>Name of the trust/ Company Name</a:t>
            </a:r>
          </a:p>
          <a:p>
            <a:pPr lvl="2"/>
            <a:r>
              <a:rPr lang="en-US" sz="1400" dirty="0" smtClean="0"/>
              <a:t>Account No.</a:t>
            </a:r>
          </a:p>
          <a:p>
            <a:pPr lvl="2"/>
            <a:r>
              <a:rPr lang="en-US" sz="1400" dirty="0" smtClean="0"/>
              <a:t>Filled up Form 13 (Revised)</a:t>
            </a:r>
          </a:p>
          <a:p>
            <a:pPr lvl="2"/>
            <a:r>
              <a:rPr lang="en-US" sz="1400" dirty="0" smtClean="0"/>
              <a:t>Form 3A</a:t>
            </a:r>
          </a:p>
        </p:txBody>
      </p:sp>
      <p:grpSp>
        <p:nvGrpSpPr>
          <p:cNvPr id="2" name="Group 5"/>
          <p:cNvGrpSpPr>
            <a:grpSpLocks/>
          </p:cNvGrpSpPr>
          <p:nvPr/>
        </p:nvGrpSpPr>
        <p:grpSpPr bwMode="auto">
          <a:xfrm>
            <a:off x="8000471" y="76201"/>
            <a:ext cx="887413" cy="409575"/>
            <a:chOff x="932170" y="585314"/>
            <a:chExt cx="820212" cy="410106"/>
          </a:xfrm>
        </p:grpSpPr>
        <p:sp>
          <p:nvSpPr>
            <p:cNvPr id="8" name="Rectangle 7"/>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9" name="Rectangle 8"/>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People Care</a:t>
              </a:r>
            </a:p>
          </p:txBody>
        </p:sp>
      </p:grpSp>
      <p:grpSp>
        <p:nvGrpSpPr>
          <p:cNvPr id="3" name="Group 8"/>
          <p:cNvGrpSpPr>
            <a:grpSpLocks/>
          </p:cNvGrpSpPr>
          <p:nvPr/>
        </p:nvGrpSpPr>
        <p:grpSpPr bwMode="auto">
          <a:xfrm>
            <a:off x="8934319" y="76201"/>
            <a:ext cx="889132" cy="409575"/>
            <a:chOff x="1137223" y="1167665"/>
            <a:chExt cx="820212" cy="410106"/>
          </a:xfrm>
        </p:grpSpPr>
        <p:sp>
          <p:nvSpPr>
            <p:cNvPr id="11" name="Rectangle 10"/>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2" name="Rectangle 11"/>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Benefits / Compensation</a:t>
              </a:r>
            </a:p>
          </p:txBody>
        </p:sp>
      </p:grpSp>
    </p:spTree>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dirty="0" smtClean="0"/>
              <a:t>Benefits Overview</a:t>
            </a:r>
            <a:endParaRPr lang="en-US" dirty="0"/>
          </a:p>
        </p:txBody>
      </p:sp>
      <p:sp>
        <p:nvSpPr>
          <p:cNvPr id="6" name="Content Placeholder 5"/>
          <p:cNvSpPr>
            <a:spLocks noGrp="1"/>
          </p:cNvSpPr>
          <p:nvPr>
            <p:ph idx="1"/>
          </p:nvPr>
        </p:nvSpPr>
        <p:spPr/>
        <p:txBody>
          <a:bodyPr/>
          <a:lstStyle/>
          <a:p>
            <a:r>
              <a:rPr lang="en-US" dirty="0" smtClean="0"/>
              <a:t>Gratuity</a:t>
            </a:r>
          </a:p>
          <a:p>
            <a:pPr lvl="1"/>
            <a:r>
              <a:rPr lang="en-US" dirty="0" smtClean="0"/>
              <a:t> For continuous service of 5 years or more at the time of separation </a:t>
            </a:r>
          </a:p>
          <a:p>
            <a:pPr lvl="1"/>
            <a:r>
              <a:rPr lang="en-US" dirty="0" smtClean="0"/>
              <a:t> No contribution by employees</a:t>
            </a:r>
          </a:p>
          <a:p>
            <a:pPr lvl="1"/>
            <a:r>
              <a:rPr lang="en-US" dirty="0" smtClean="0"/>
              <a:t> Gratuity nomination form to be filled during </a:t>
            </a:r>
            <a:r>
              <a:rPr lang="en-US" dirty="0" err="1" smtClean="0"/>
              <a:t>Onboarding</a:t>
            </a:r>
            <a:r>
              <a:rPr lang="en-US" dirty="0" smtClean="0"/>
              <a:t> </a:t>
            </a:r>
          </a:p>
          <a:p>
            <a:pPr lvl="1"/>
            <a:endParaRPr lang="en-US" dirty="0" smtClean="0"/>
          </a:p>
          <a:p>
            <a:r>
              <a:rPr lang="en-US" dirty="0" smtClean="0"/>
              <a:t>Wedding Gift Policy</a:t>
            </a:r>
          </a:p>
          <a:p>
            <a:pPr lvl="1"/>
            <a:r>
              <a:rPr lang="en-US" dirty="0" smtClean="0"/>
              <a:t>All employees who get married after joining </a:t>
            </a:r>
            <a:r>
              <a:rPr lang="en-US" dirty="0" err="1" smtClean="0"/>
              <a:t>Capgemini</a:t>
            </a:r>
            <a:r>
              <a:rPr lang="en-US" dirty="0" smtClean="0"/>
              <a:t> are eligible for a wedding gift worth Rs.2000</a:t>
            </a:r>
          </a:p>
          <a:p>
            <a:pPr lvl="1"/>
            <a:r>
              <a:rPr lang="en-US" dirty="0" smtClean="0"/>
              <a:t>The wedding application is available on </a:t>
            </a:r>
            <a:r>
              <a:rPr lang="en-US" dirty="0" err="1" smtClean="0"/>
              <a:t>iConnect</a:t>
            </a:r>
            <a:r>
              <a:rPr lang="en-US" dirty="0" smtClean="0"/>
              <a:t>. Fill in details and submit your wedding invitation or marriage certificate.</a:t>
            </a:r>
          </a:p>
          <a:p>
            <a:pPr lvl="1"/>
            <a:r>
              <a:rPr lang="en-US" dirty="0" smtClean="0"/>
              <a:t>The gift is valid for 2 months from the date of your marriage</a:t>
            </a:r>
          </a:p>
          <a:p>
            <a:pPr lvl="1"/>
            <a:r>
              <a:rPr lang="en-US" dirty="0" smtClean="0"/>
              <a:t>Process will take 15 days to one month from the date of submission. Your wedding gift will reflect in the next months payroll.</a:t>
            </a:r>
          </a:p>
        </p:txBody>
      </p:sp>
      <p:grpSp>
        <p:nvGrpSpPr>
          <p:cNvPr id="2" name="Group 5"/>
          <p:cNvGrpSpPr>
            <a:grpSpLocks/>
          </p:cNvGrpSpPr>
          <p:nvPr/>
        </p:nvGrpSpPr>
        <p:grpSpPr bwMode="auto">
          <a:xfrm>
            <a:off x="8000471" y="76201"/>
            <a:ext cx="887413" cy="409575"/>
            <a:chOff x="932170" y="585314"/>
            <a:chExt cx="820212" cy="410106"/>
          </a:xfrm>
        </p:grpSpPr>
        <p:sp>
          <p:nvSpPr>
            <p:cNvPr id="8" name="Rectangle 7"/>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9" name="Rectangle 8"/>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People Care</a:t>
              </a:r>
            </a:p>
          </p:txBody>
        </p:sp>
      </p:grpSp>
      <p:grpSp>
        <p:nvGrpSpPr>
          <p:cNvPr id="3" name="Group 8"/>
          <p:cNvGrpSpPr>
            <a:grpSpLocks/>
          </p:cNvGrpSpPr>
          <p:nvPr/>
        </p:nvGrpSpPr>
        <p:grpSpPr bwMode="auto">
          <a:xfrm>
            <a:off x="8934319" y="76201"/>
            <a:ext cx="889132" cy="409575"/>
            <a:chOff x="1137223" y="1167665"/>
            <a:chExt cx="820212" cy="410106"/>
          </a:xfrm>
        </p:grpSpPr>
        <p:sp>
          <p:nvSpPr>
            <p:cNvPr id="11" name="Rectangle 10"/>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2" name="Rectangle 11"/>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Benefits / Compensation</a:t>
              </a:r>
            </a:p>
          </p:txBody>
        </p:sp>
      </p:grpSp>
    </p:spTree>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p:cNvSpPr>
            <a:spLocks noGrp="1"/>
          </p:cNvSpPr>
          <p:nvPr>
            <p:ph type="title"/>
          </p:nvPr>
        </p:nvSpPr>
        <p:spPr/>
        <p:txBody>
          <a:bodyPr/>
          <a:lstStyle/>
          <a:p>
            <a:r>
              <a:rPr lang="en-US" dirty="0" smtClean="0"/>
              <a:t>Benefits Overview</a:t>
            </a:r>
            <a:endParaRPr lang="en-US" dirty="0"/>
          </a:p>
        </p:txBody>
      </p:sp>
      <p:sp>
        <p:nvSpPr>
          <p:cNvPr id="3" name="Content Placeholder 2"/>
          <p:cNvSpPr>
            <a:spLocks noGrp="1"/>
          </p:cNvSpPr>
          <p:nvPr>
            <p:ph idx="1"/>
          </p:nvPr>
        </p:nvSpPr>
        <p:spPr/>
        <p:txBody>
          <a:bodyPr>
            <a:normAutofit/>
          </a:bodyPr>
          <a:lstStyle/>
          <a:p>
            <a:pPr algn="ctr">
              <a:buNone/>
            </a:pPr>
            <a:r>
              <a:rPr lang="en-US" sz="1600" b="1" dirty="0" smtClean="0"/>
              <a:t>Providing an environment of wellness and care for employees is a priority at the FS GBU</a:t>
            </a:r>
          </a:p>
          <a:p>
            <a:pPr algn="ctr">
              <a:buNone/>
            </a:pPr>
            <a:endParaRPr lang="en-US" sz="1200" b="1" dirty="0" smtClean="0"/>
          </a:p>
        </p:txBody>
      </p:sp>
      <p:grpSp>
        <p:nvGrpSpPr>
          <p:cNvPr id="2" name="Group 5"/>
          <p:cNvGrpSpPr>
            <a:grpSpLocks/>
          </p:cNvGrpSpPr>
          <p:nvPr/>
        </p:nvGrpSpPr>
        <p:grpSpPr bwMode="auto">
          <a:xfrm>
            <a:off x="8000472" y="76201"/>
            <a:ext cx="887413" cy="409575"/>
            <a:chOff x="932170" y="585314"/>
            <a:chExt cx="820212" cy="410106"/>
          </a:xfrm>
        </p:grpSpPr>
        <p:sp>
          <p:nvSpPr>
            <p:cNvPr id="13" name="Rectangle 12"/>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4" name="Rectangle 13"/>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People Care</a:t>
              </a:r>
            </a:p>
          </p:txBody>
        </p:sp>
      </p:grpSp>
      <p:grpSp>
        <p:nvGrpSpPr>
          <p:cNvPr id="4" name="Group 8"/>
          <p:cNvGrpSpPr>
            <a:grpSpLocks/>
          </p:cNvGrpSpPr>
          <p:nvPr/>
        </p:nvGrpSpPr>
        <p:grpSpPr bwMode="auto">
          <a:xfrm>
            <a:off x="8934320" y="76201"/>
            <a:ext cx="889132" cy="409575"/>
            <a:chOff x="1137223" y="1167665"/>
            <a:chExt cx="820212" cy="410106"/>
          </a:xfrm>
        </p:grpSpPr>
        <p:sp>
          <p:nvSpPr>
            <p:cNvPr id="16" name="Rectangle 15"/>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7" name="Rectangle 16"/>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Benefits / Compensation</a:t>
              </a:r>
            </a:p>
          </p:txBody>
        </p:sp>
      </p:grpSp>
      <p:pic>
        <p:nvPicPr>
          <p:cNvPr id="18" name="Picture 5" descr="D:\1_Live Jobs\2_2014 P&amp;P\29\Manish\untitled.bmp"/>
          <p:cNvPicPr>
            <a:picLocks noChangeArrowheads="1"/>
          </p:cNvPicPr>
          <p:nvPr/>
        </p:nvPicPr>
        <p:blipFill>
          <a:blip r:embed="rId2" cstate="email">
            <a:extLst>
              <a:ext uri="{28A0092B-C50C-407E-A947-70E740481C1C}">
                <a14:useLocalDpi xmlns="" xmlns:a14="http://schemas.microsoft.com/office/drawing/2010/main" val="0"/>
              </a:ext>
            </a:extLst>
          </a:blip>
          <a:srcRect/>
          <a:stretch>
            <a:fillRect/>
          </a:stretch>
        </p:blipFill>
        <p:spPr bwMode="auto">
          <a:xfrm>
            <a:off x="4283851" y="3276601"/>
            <a:ext cx="1186140" cy="1100139"/>
          </a:xfrm>
          <a:prstGeom prst="ellipse">
            <a:avLst/>
          </a:prstGeom>
          <a:noFill/>
          <a:extLst>
            <a:ext uri="{909E8E84-426E-40DD-AFC4-6F175D3DCCD1}">
              <a14:hiddenFill xmlns="" xmlns:a14="http://schemas.microsoft.com/office/drawing/2010/main">
                <a:solidFill>
                  <a:srgbClr val="FFFFFF"/>
                </a:solidFill>
              </a14:hiddenFill>
            </a:ext>
          </a:extLst>
        </p:spPr>
      </p:pic>
      <p:pic>
        <p:nvPicPr>
          <p:cNvPr id="19" name="Picture 6" descr="D:\1_Live Jobs\2_2014 P&amp;P\29\Manish\2.bmp"/>
          <p:cNvPicPr>
            <a:picLocks noChangeArrowheads="1"/>
          </p:cNvPicPr>
          <p:nvPr/>
        </p:nvPicPr>
        <p:blipFill>
          <a:blip r:embed="rId3" cstate="email">
            <a:extLst>
              <a:ext uri="{28A0092B-C50C-407E-A947-70E740481C1C}">
                <a14:useLocalDpi xmlns="" xmlns:a14="http://schemas.microsoft.com/office/drawing/2010/main" val="0"/>
              </a:ext>
            </a:extLst>
          </a:blip>
          <a:srcRect/>
          <a:stretch>
            <a:fillRect/>
          </a:stretch>
        </p:blipFill>
        <p:spPr bwMode="auto">
          <a:xfrm>
            <a:off x="7697973" y="3300884"/>
            <a:ext cx="1178197" cy="1092770"/>
          </a:xfrm>
          <a:prstGeom prst="ellipse">
            <a:avLst/>
          </a:prstGeom>
          <a:noFill/>
          <a:extLst>
            <a:ext uri="{909E8E84-426E-40DD-AFC4-6F175D3DCCD1}">
              <a14:hiddenFill xmlns="" xmlns:a14="http://schemas.microsoft.com/office/drawing/2010/main">
                <a:solidFill>
                  <a:srgbClr val="FFFFFF"/>
                </a:solidFill>
              </a14:hiddenFill>
            </a:ext>
          </a:extLst>
        </p:spPr>
      </p:pic>
      <p:sp>
        <p:nvSpPr>
          <p:cNvPr id="20" name="Oval 19"/>
          <p:cNvSpPr>
            <a:spLocks/>
          </p:cNvSpPr>
          <p:nvPr/>
        </p:nvSpPr>
        <p:spPr>
          <a:xfrm>
            <a:off x="981851" y="3276601"/>
            <a:ext cx="1078309" cy="1000125"/>
          </a:xfrm>
          <a:prstGeom prst="ellipse">
            <a:avLst/>
          </a:prstGeom>
          <a:blipFill>
            <a:blip r:embed="rId4" cstate="email">
              <a:extLst>
                <a:ext uri="{28A0092B-C50C-407E-A947-70E740481C1C}">
                  <a14:useLocalDpi xmlns="" xmlns:a14="http://schemas.microsoft.com/office/drawing/2010/main"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20"/>
          <p:cNvGrpSpPr>
            <a:grpSpLocks/>
          </p:cNvGrpSpPr>
          <p:nvPr/>
        </p:nvGrpSpPr>
        <p:grpSpPr bwMode="auto">
          <a:xfrm>
            <a:off x="569101" y="2895601"/>
            <a:ext cx="1889541" cy="1750939"/>
            <a:chOff x="1091" y="1505"/>
            <a:chExt cx="517" cy="519"/>
          </a:xfrm>
          <a:solidFill>
            <a:schemeClr val="accent6">
              <a:lumMod val="75000"/>
            </a:schemeClr>
          </a:solidFill>
        </p:grpSpPr>
        <p:sp>
          <p:nvSpPr>
            <p:cNvPr id="22" name="Freeform 21"/>
            <p:cNvSpPr>
              <a:spLocks/>
            </p:cNvSpPr>
            <p:nvPr/>
          </p:nvSpPr>
          <p:spPr bwMode="auto">
            <a:xfrm>
              <a:off x="1181" y="1596"/>
              <a:ext cx="336" cy="336"/>
            </a:xfrm>
            <a:custGeom>
              <a:avLst/>
              <a:gdLst>
                <a:gd name="T0" fmla="*/ 194 w 1323"/>
                <a:gd name="T1" fmla="*/ 306 h 1323"/>
                <a:gd name="T2" fmla="*/ 224 w 1323"/>
                <a:gd name="T3" fmla="*/ 296 h 1323"/>
                <a:gd name="T4" fmla="*/ 251 w 1323"/>
                <a:gd name="T5" fmla="*/ 280 h 1323"/>
                <a:gd name="T6" fmla="*/ 274 w 1323"/>
                <a:gd name="T7" fmla="*/ 259 h 1323"/>
                <a:gd name="T8" fmla="*/ 292 w 1323"/>
                <a:gd name="T9" fmla="*/ 233 h 1323"/>
                <a:gd name="T10" fmla="*/ 304 w 1323"/>
                <a:gd name="T11" fmla="*/ 204 h 1323"/>
                <a:gd name="T12" fmla="*/ 309 w 1323"/>
                <a:gd name="T13" fmla="*/ 172 h 1323"/>
                <a:gd name="T14" fmla="*/ 307 w 1323"/>
                <a:gd name="T15" fmla="*/ 140 h 1323"/>
                <a:gd name="T16" fmla="*/ 299 w 1323"/>
                <a:gd name="T17" fmla="*/ 111 h 1323"/>
                <a:gd name="T18" fmla="*/ 284 w 1323"/>
                <a:gd name="T19" fmla="*/ 84 h 1323"/>
                <a:gd name="T20" fmla="*/ 266 w 1323"/>
                <a:gd name="T21" fmla="*/ 61 h 1323"/>
                <a:gd name="T22" fmla="*/ 242 w 1323"/>
                <a:gd name="T23" fmla="*/ 42 h 1323"/>
                <a:gd name="T24" fmla="*/ 215 w 1323"/>
                <a:gd name="T25" fmla="*/ 29 h 1323"/>
                <a:gd name="T26" fmla="*/ 185 w 1323"/>
                <a:gd name="T27" fmla="*/ 21 h 1323"/>
                <a:gd name="T28" fmla="*/ 176 w 1323"/>
                <a:gd name="T29" fmla="*/ 13 h 1323"/>
                <a:gd name="T30" fmla="*/ 182 w 1323"/>
                <a:gd name="T31" fmla="*/ 0 h 1323"/>
                <a:gd name="T32" fmla="*/ 217 w 1323"/>
                <a:gd name="T33" fmla="*/ 7 h 1323"/>
                <a:gd name="T34" fmla="*/ 250 w 1323"/>
                <a:gd name="T35" fmla="*/ 20 h 1323"/>
                <a:gd name="T36" fmla="*/ 279 w 1323"/>
                <a:gd name="T37" fmla="*/ 41 h 1323"/>
                <a:gd name="T38" fmla="*/ 302 w 1323"/>
                <a:gd name="T39" fmla="*/ 67 h 1323"/>
                <a:gd name="T40" fmla="*/ 320 w 1323"/>
                <a:gd name="T41" fmla="*/ 97 h 1323"/>
                <a:gd name="T42" fmla="*/ 332 w 1323"/>
                <a:gd name="T43" fmla="*/ 131 h 1323"/>
                <a:gd name="T44" fmla="*/ 336 w 1323"/>
                <a:gd name="T45" fmla="*/ 168 h 1323"/>
                <a:gd name="T46" fmla="*/ 331 w 1323"/>
                <a:gd name="T47" fmla="*/ 205 h 1323"/>
                <a:gd name="T48" fmla="*/ 319 w 1323"/>
                <a:gd name="T49" fmla="*/ 241 h 1323"/>
                <a:gd name="T50" fmla="*/ 300 w 1323"/>
                <a:gd name="T51" fmla="*/ 271 h 1323"/>
                <a:gd name="T52" fmla="*/ 275 w 1323"/>
                <a:gd name="T53" fmla="*/ 297 h 1323"/>
                <a:gd name="T54" fmla="*/ 244 w 1323"/>
                <a:gd name="T55" fmla="*/ 317 h 1323"/>
                <a:gd name="T56" fmla="*/ 210 w 1323"/>
                <a:gd name="T57" fmla="*/ 330 h 1323"/>
                <a:gd name="T58" fmla="*/ 172 w 1323"/>
                <a:gd name="T59" fmla="*/ 336 h 1323"/>
                <a:gd name="T60" fmla="*/ 134 w 1323"/>
                <a:gd name="T61" fmla="*/ 333 h 1323"/>
                <a:gd name="T62" fmla="*/ 99 w 1323"/>
                <a:gd name="T63" fmla="*/ 321 h 1323"/>
                <a:gd name="T64" fmla="*/ 68 w 1323"/>
                <a:gd name="T65" fmla="*/ 302 h 1323"/>
                <a:gd name="T66" fmla="*/ 41 w 1323"/>
                <a:gd name="T67" fmla="*/ 278 h 1323"/>
                <a:gd name="T68" fmla="*/ 20 w 1323"/>
                <a:gd name="T69" fmla="*/ 248 h 1323"/>
                <a:gd name="T70" fmla="*/ 6 w 1323"/>
                <a:gd name="T71" fmla="*/ 213 h 1323"/>
                <a:gd name="T72" fmla="*/ 0 w 1323"/>
                <a:gd name="T73" fmla="*/ 176 h 1323"/>
                <a:gd name="T74" fmla="*/ 3 w 1323"/>
                <a:gd name="T75" fmla="*/ 139 h 1323"/>
                <a:gd name="T76" fmla="*/ 13 w 1323"/>
                <a:gd name="T77" fmla="*/ 104 h 1323"/>
                <a:gd name="T78" fmla="*/ 29 w 1323"/>
                <a:gd name="T79" fmla="*/ 72 h 1323"/>
                <a:gd name="T80" fmla="*/ 53 w 1323"/>
                <a:gd name="T81" fmla="*/ 45 h 1323"/>
                <a:gd name="T82" fmla="*/ 81 w 1323"/>
                <a:gd name="T83" fmla="*/ 24 h 1323"/>
                <a:gd name="T84" fmla="*/ 113 w 1323"/>
                <a:gd name="T85" fmla="*/ 9 h 1323"/>
                <a:gd name="T86" fmla="*/ 149 w 1323"/>
                <a:gd name="T87" fmla="*/ 1 h 1323"/>
                <a:gd name="T88" fmla="*/ 163 w 1323"/>
                <a:gd name="T89" fmla="*/ 10 h 1323"/>
                <a:gd name="T90" fmla="*/ 153 w 1323"/>
                <a:gd name="T91" fmla="*/ 20 h 1323"/>
                <a:gd name="T92" fmla="*/ 121 w 1323"/>
                <a:gd name="T93" fmla="*/ 27 h 1323"/>
                <a:gd name="T94" fmla="*/ 92 w 1323"/>
                <a:gd name="T95" fmla="*/ 39 h 1323"/>
                <a:gd name="T96" fmla="*/ 67 w 1323"/>
                <a:gd name="T97" fmla="*/ 57 h 1323"/>
                <a:gd name="T98" fmla="*/ 46 w 1323"/>
                <a:gd name="T99" fmla="*/ 81 h 1323"/>
                <a:gd name="T100" fmla="*/ 31 w 1323"/>
                <a:gd name="T101" fmla="*/ 108 h 1323"/>
                <a:gd name="T102" fmla="*/ 22 w 1323"/>
                <a:gd name="T103" fmla="*/ 139 h 1323"/>
                <a:gd name="T104" fmla="*/ 20 w 1323"/>
                <a:gd name="T105" fmla="*/ 172 h 1323"/>
                <a:gd name="T106" fmla="*/ 25 w 1323"/>
                <a:gd name="T107" fmla="*/ 204 h 1323"/>
                <a:gd name="T108" fmla="*/ 37 w 1323"/>
                <a:gd name="T109" fmla="*/ 233 h 1323"/>
                <a:gd name="T110" fmla="*/ 55 w 1323"/>
                <a:gd name="T111" fmla="*/ 259 h 1323"/>
                <a:gd name="T112" fmla="*/ 78 w 1323"/>
                <a:gd name="T113" fmla="*/ 280 h 1323"/>
                <a:gd name="T114" fmla="*/ 105 w 1323"/>
                <a:gd name="T115" fmla="*/ 296 h 1323"/>
                <a:gd name="T116" fmla="*/ 135 w 1323"/>
                <a:gd name="T117" fmla="*/ 306 h 1323"/>
                <a:gd name="T118" fmla="*/ 165 w 1323"/>
                <a:gd name="T119" fmla="*/ 310 h 132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323" h="1323">
                  <a:moveTo>
                    <a:pt x="649" y="1219"/>
                  </a:moveTo>
                  <a:lnTo>
                    <a:pt x="664" y="1217"/>
                  </a:lnTo>
                  <a:lnTo>
                    <a:pt x="677" y="1217"/>
                  </a:lnTo>
                  <a:lnTo>
                    <a:pt x="692" y="1215"/>
                  </a:lnTo>
                  <a:lnTo>
                    <a:pt x="707" y="1215"/>
                  </a:lnTo>
                  <a:lnTo>
                    <a:pt x="721" y="1213"/>
                  </a:lnTo>
                  <a:lnTo>
                    <a:pt x="736" y="1211"/>
                  </a:lnTo>
                  <a:lnTo>
                    <a:pt x="749" y="1207"/>
                  </a:lnTo>
                  <a:lnTo>
                    <a:pt x="763" y="1205"/>
                  </a:lnTo>
                  <a:lnTo>
                    <a:pt x="778" y="1202"/>
                  </a:lnTo>
                  <a:lnTo>
                    <a:pt x="789" y="1200"/>
                  </a:lnTo>
                  <a:lnTo>
                    <a:pt x="804" y="1196"/>
                  </a:lnTo>
                  <a:lnTo>
                    <a:pt x="818" y="1192"/>
                  </a:lnTo>
                  <a:lnTo>
                    <a:pt x="829" y="1186"/>
                  </a:lnTo>
                  <a:lnTo>
                    <a:pt x="842" y="1183"/>
                  </a:lnTo>
                  <a:lnTo>
                    <a:pt x="856" y="1177"/>
                  </a:lnTo>
                  <a:lnTo>
                    <a:pt x="869" y="1173"/>
                  </a:lnTo>
                  <a:lnTo>
                    <a:pt x="882" y="1166"/>
                  </a:lnTo>
                  <a:lnTo>
                    <a:pt x="894" y="1160"/>
                  </a:lnTo>
                  <a:lnTo>
                    <a:pt x="907" y="1154"/>
                  </a:lnTo>
                  <a:lnTo>
                    <a:pt x="918" y="1148"/>
                  </a:lnTo>
                  <a:lnTo>
                    <a:pt x="930" y="1141"/>
                  </a:lnTo>
                  <a:lnTo>
                    <a:pt x="943" y="1133"/>
                  </a:lnTo>
                  <a:lnTo>
                    <a:pt x="955" y="1128"/>
                  </a:lnTo>
                  <a:lnTo>
                    <a:pt x="966" y="1120"/>
                  </a:lnTo>
                  <a:lnTo>
                    <a:pt x="977" y="1112"/>
                  </a:lnTo>
                  <a:lnTo>
                    <a:pt x="989" y="1103"/>
                  </a:lnTo>
                  <a:lnTo>
                    <a:pt x="998" y="1095"/>
                  </a:lnTo>
                  <a:lnTo>
                    <a:pt x="1010" y="1088"/>
                  </a:lnTo>
                  <a:lnTo>
                    <a:pt x="1019" y="1078"/>
                  </a:lnTo>
                  <a:lnTo>
                    <a:pt x="1031" y="1069"/>
                  </a:lnTo>
                  <a:lnTo>
                    <a:pt x="1040" y="1059"/>
                  </a:lnTo>
                  <a:lnTo>
                    <a:pt x="1052" y="1051"/>
                  </a:lnTo>
                  <a:lnTo>
                    <a:pt x="1059" y="1040"/>
                  </a:lnTo>
                  <a:lnTo>
                    <a:pt x="1069" y="1031"/>
                  </a:lnTo>
                  <a:lnTo>
                    <a:pt x="1078" y="1019"/>
                  </a:lnTo>
                  <a:lnTo>
                    <a:pt x="1088" y="1010"/>
                  </a:lnTo>
                  <a:lnTo>
                    <a:pt x="1095" y="998"/>
                  </a:lnTo>
                  <a:lnTo>
                    <a:pt x="1103" y="987"/>
                  </a:lnTo>
                  <a:lnTo>
                    <a:pt x="1112" y="975"/>
                  </a:lnTo>
                  <a:lnTo>
                    <a:pt x="1120" y="966"/>
                  </a:lnTo>
                  <a:lnTo>
                    <a:pt x="1128" y="953"/>
                  </a:lnTo>
                  <a:lnTo>
                    <a:pt x="1133" y="941"/>
                  </a:lnTo>
                  <a:lnTo>
                    <a:pt x="1141" y="930"/>
                  </a:lnTo>
                  <a:lnTo>
                    <a:pt x="1148" y="918"/>
                  </a:lnTo>
                  <a:lnTo>
                    <a:pt x="1154" y="905"/>
                  </a:lnTo>
                  <a:lnTo>
                    <a:pt x="1160" y="894"/>
                  </a:lnTo>
                  <a:lnTo>
                    <a:pt x="1166" y="880"/>
                  </a:lnTo>
                  <a:lnTo>
                    <a:pt x="1173" y="869"/>
                  </a:lnTo>
                  <a:lnTo>
                    <a:pt x="1177" y="856"/>
                  </a:lnTo>
                  <a:lnTo>
                    <a:pt x="1183" y="842"/>
                  </a:lnTo>
                  <a:lnTo>
                    <a:pt x="1187" y="829"/>
                  </a:lnTo>
                  <a:lnTo>
                    <a:pt x="1192" y="816"/>
                  </a:lnTo>
                  <a:lnTo>
                    <a:pt x="1196" y="802"/>
                  </a:lnTo>
                  <a:lnTo>
                    <a:pt x="1200" y="789"/>
                  </a:lnTo>
                  <a:lnTo>
                    <a:pt x="1202" y="776"/>
                  </a:lnTo>
                  <a:lnTo>
                    <a:pt x="1206" y="763"/>
                  </a:lnTo>
                  <a:lnTo>
                    <a:pt x="1207" y="747"/>
                  </a:lnTo>
                  <a:lnTo>
                    <a:pt x="1209" y="734"/>
                  </a:lnTo>
                  <a:lnTo>
                    <a:pt x="1211" y="719"/>
                  </a:lnTo>
                  <a:lnTo>
                    <a:pt x="1215" y="705"/>
                  </a:lnTo>
                  <a:lnTo>
                    <a:pt x="1215" y="690"/>
                  </a:lnTo>
                  <a:lnTo>
                    <a:pt x="1217" y="677"/>
                  </a:lnTo>
                  <a:lnTo>
                    <a:pt x="1217" y="662"/>
                  </a:lnTo>
                  <a:lnTo>
                    <a:pt x="1219" y="648"/>
                  </a:lnTo>
                  <a:lnTo>
                    <a:pt x="1217" y="633"/>
                  </a:lnTo>
                  <a:lnTo>
                    <a:pt x="1217" y="620"/>
                  </a:lnTo>
                  <a:lnTo>
                    <a:pt x="1217" y="605"/>
                  </a:lnTo>
                  <a:lnTo>
                    <a:pt x="1215" y="591"/>
                  </a:lnTo>
                  <a:lnTo>
                    <a:pt x="1213" y="576"/>
                  </a:lnTo>
                  <a:lnTo>
                    <a:pt x="1211" y="563"/>
                  </a:lnTo>
                  <a:lnTo>
                    <a:pt x="1209" y="550"/>
                  </a:lnTo>
                  <a:lnTo>
                    <a:pt x="1207" y="536"/>
                  </a:lnTo>
                  <a:lnTo>
                    <a:pt x="1202" y="523"/>
                  </a:lnTo>
                  <a:lnTo>
                    <a:pt x="1200" y="510"/>
                  </a:lnTo>
                  <a:lnTo>
                    <a:pt x="1196" y="496"/>
                  </a:lnTo>
                  <a:lnTo>
                    <a:pt x="1194" y="485"/>
                  </a:lnTo>
                  <a:lnTo>
                    <a:pt x="1188" y="470"/>
                  </a:lnTo>
                  <a:lnTo>
                    <a:pt x="1185" y="458"/>
                  </a:lnTo>
                  <a:lnTo>
                    <a:pt x="1181" y="445"/>
                  </a:lnTo>
                  <a:lnTo>
                    <a:pt x="1177" y="436"/>
                  </a:lnTo>
                  <a:lnTo>
                    <a:pt x="1171" y="422"/>
                  </a:lnTo>
                  <a:lnTo>
                    <a:pt x="1166" y="409"/>
                  </a:lnTo>
                  <a:lnTo>
                    <a:pt x="1160" y="397"/>
                  </a:lnTo>
                  <a:lnTo>
                    <a:pt x="1154" y="386"/>
                  </a:lnTo>
                  <a:lnTo>
                    <a:pt x="1147" y="375"/>
                  </a:lnTo>
                  <a:lnTo>
                    <a:pt x="1141" y="363"/>
                  </a:lnTo>
                  <a:lnTo>
                    <a:pt x="1135" y="352"/>
                  </a:lnTo>
                  <a:lnTo>
                    <a:pt x="1128" y="340"/>
                  </a:lnTo>
                  <a:lnTo>
                    <a:pt x="1120" y="329"/>
                  </a:lnTo>
                  <a:lnTo>
                    <a:pt x="1112" y="318"/>
                  </a:lnTo>
                  <a:lnTo>
                    <a:pt x="1105" y="308"/>
                  </a:lnTo>
                  <a:lnTo>
                    <a:pt x="1097" y="299"/>
                  </a:lnTo>
                  <a:lnTo>
                    <a:pt x="1090" y="287"/>
                  </a:lnTo>
                  <a:lnTo>
                    <a:pt x="1080" y="278"/>
                  </a:lnTo>
                  <a:lnTo>
                    <a:pt x="1072" y="268"/>
                  </a:lnTo>
                  <a:lnTo>
                    <a:pt x="1065" y="259"/>
                  </a:lnTo>
                  <a:lnTo>
                    <a:pt x="1055" y="249"/>
                  </a:lnTo>
                  <a:lnTo>
                    <a:pt x="1046" y="240"/>
                  </a:lnTo>
                  <a:lnTo>
                    <a:pt x="1036" y="230"/>
                  </a:lnTo>
                  <a:lnTo>
                    <a:pt x="1027" y="223"/>
                  </a:lnTo>
                  <a:lnTo>
                    <a:pt x="1015" y="213"/>
                  </a:lnTo>
                  <a:lnTo>
                    <a:pt x="1006" y="204"/>
                  </a:lnTo>
                  <a:lnTo>
                    <a:pt x="995" y="196"/>
                  </a:lnTo>
                  <a:lnTo>
                    <a:pt x="985" y="188"/>
                  </a:lnTo>
                  <a:lnTo>
                    <a:pt x="974" y="181"/>
                  </a:lnTo>
                  <a:lnTo>
                    <a:pt x="964" y="173"/>
                  </a:lnTo>
                  <a:lnTo>
                    <a:pt x="953" y="166"/>
                  </a:lnTo>
                  <a:lnTo>
                    <a:pt x="941" y="160"/>
                  </a:lnTo>
                  <a:lnTo>
                    <a:pt x="930" y="152"/>
                  </a:lnTo>
                  <a:lnTo>
                    <a:pt x="918" y="147"/>
                  </a:lnTo>
                  <a:lnTo>
                    <a:pt x="907" y="141"/>
                  </a:lnTo>
                  <a:lnTo>
                    <a:pt x="896" y="135"/>
                  </a:lnTo>
                  <a:lnTo>
                    <a:pt x="882" y="129"/>
                  </a:lnTo>
                  <a:lnTo>
                    <a:pt x="871" y="124"/>
                  </a:lnTo>
                  <a:lnTo>
                    <a:pt x="858" y="118"/>
                  </a:lnTo>
                  <a:lnTo>
                    <a:pt x="846" y="114"/>
                  </a:lnTo>
                  <a:lnTo>
                    <a:pt x="833" y="108"/>
                  </a:lnTo>
                  <a:lnTo>
                    <a:pt x="822" y="105"/>
                  </a:lnTo>
                  <a:lnTo>
                    <a:pt x="808" y="101"/>
                  </a:lnTo>
                  <a:lnTo>
                    <a:pt x="795" y="99"/>
                  </a:lnTo>
                  <a:lnTo>
                    <a:pt x="782" y="95"/>
                  </a:lnTo>
                  <a:lnTo>
                    <a:pt x="770" y="91"/>
                  </a:lnTo>
                  <a:lnTo>
                    <a:pt x="757" y="89"/>
                  </a:lnTo>
                  <a:lnTo>
                    <a:pt x="744" y="88"/>
                  </a:lnTo>
                  <a:lnTo>
                    <a:pt x="728" y="84"/>
                  </a:lnTo>
                  <a:lnTo>
                    <a:pt x="715" y="84"/>
                  </a:lnTo>
                  <a:lnTo>
                    <a:pt x="702" y="82"/>
                  </a:lnTo>
                  <a:lnTo>
                    <a:pt x="688" y="82"/>
                  </a:lnTo>
                  <a:lnTo>
                    <a:pt x="688" y="76"/>
                  </a:lnTo>
                  <a:lnTo>
                    <a:pt x="690" y="70"/>
                  </a:lnTo>
                  <a:lnTo>
                    <a:pt x="690" y="65"/>
                  </a:lnTo>
                  <a:lnTo>
                    <a:pt x="692" y="59"/>
                  </a:lnTo>
                  <a:lnTo>
                    <a:pt x="692" y="53"/>
                  </a:lnTo>
                  <a:lnTo>
                    <a:pt x="692" y="50"/>
                  </a:lnTo>
                  <a:lnTo>
                    <a:pt x="694" y="44"/>
                  </a:lnTo>
                  <a:lnTo>
                    <a:pt x="694" y="38"/>
                  </a:lnTo>
                  <a:lnTo>
                    <a:pt x="694" y="32"/>
                  </a:lnTo>
                  <a:lnTo>
                    <a:pt x="694" y="27"/>
                  </a:lnTo>
                  <a:lnTo>
                    <a:pt x="696" y="23"/>
                  </a:lnTo>
                  <a:lnTo>
                    <a:pt x="696" y="17"/>
                  </a:lnTo>
                  <a:lnTo>
                    <a:pt x="698" y="8"/>
                  </a:lnTo>
                  <a:lnTo>
                    <a:pt x="700" y="0"/>
                  </a:lnTo>
                  <a:lnTo>
                    <a:pt x="715" y="0"/>
                  </a:lnTo>
                  <a:lnTo>
                    <a:pt x="732" y="2"/>
                  </a:lnTo>
                  <a:lnTo>
                    <a:pt x="747" y="2"/>
                  </a:lnTo>
                  <a:lnTo>
                    <a:pt x="763" y="6"/>
                  </a:lnTo>
                  <a:lnTo>
                    <a:pt x="780" y="8"/>
                  </a:lnTo>
                  <a:lnTo>
                    <a:pt x="795" y="12"/>
                  </a:lnTo>
                  <a:lnTo>
                    <a:pt x="810" y="13"/>
                  </a:lnTo>
                  <a:lnTo>
                    <a:pt x="825" y="19"/>
                  </a:lnTo>
                  <a:lnTo>
                    <a:pt x="841" y="21"/>
                  </a:lnTo>
                  <a:lnTo>
                    <a:pt x="856" y="27"/>
                  </a:lnTo>
                  <a:lnTo>
                    <a:pt x="871" y="31"/>
                  </a:lnTo>
                  <a:lnTo>
                    <a:pt x="886" y="36"/>
                  </a:lnTo>
                  <a:lnTo>
                    <a:pt x="899" y="42"/>
                  </a:lnTo>
                  <a:lnTo>
                    <a:pt x="915" y="48"/>
                  </a:lnTo>
                  <a:lnTo>
                    <a:pt x="928" y="53"/>
                  </a:lnTo>
                  <a:lnTo>
                    <a:pt x="943" y="61"/>
                  </a:lnTo>
                  <a:lnTo>
                    <a:pt x="956" y="67"/>
                  </a:lnTo>
                  <a:lnTo>
                    <a:pt x="970" y="74"/>
                  </a:lnTo>
                  <a:lnTo>
                    <a:pt x="983" y="80"/>
                  </a:lnTo>
                  <a:lnTo>
                    <a:pt x="998" y="89"/>
                  </a:lnTo>
                  <a:lnTo>
                    <a:pt x="1010" y="97"/>
                  </a:lnTo>
                  <a:lnTo>
                    <a:pt x="1023" y="105"/>
                  </a:lnTo>
                  <a:lnTo>
                    <a:pt x="1036" y="114"/>
                  </a:lnTo>
                  <a:lnTo>
                    <a:pt x="1050" y="124"/>
                  </a:lnTo>
                  <a:lnTo>
                    <a:pt x="1061" y="131"/>
                  </a:lnTo>
                  <a:lnTo>
                    <a:pt x="1072" y="141"/>
                  </a:lnTo>
                  <a:lnTo>
                    <a:pt x="1084" y="150"/>
                  </a:lnTo>
                  <a:lnTo>
                    <a:pt x="1097" y="162"/>
                  </a:lnTo>
                  <a:lnTo>
                    <a:pt x="1109" y="171"/>
                  </a:lnTo>
                  <a:lnTo>
                    <a:pt x="1120" y="183"/>
                  </a:lnTo>
                  <a:lnTo>
                    <a:pt x="1131" y="194"/>
                  </a:lnTo>
                  <a:lnTo>
                    <a:pt x="1143" y="205"/>
                  </a:lnTo>
                  <a:lnTo>
                    <a:pt x="1152" y="215"/>
                  </a:lnTo>
                  <a:lnTo>
                    <a:pt x="1162" y="226"/>
                  </a:lnTo>
                  <a:lnTo>
                    <a:pt x="1171" y="238"/>
                  </a:lnTo>
                  <a:lnTo>
                    <a:pt x="1181" y="251"/>
                  </a:lnTo>
                  <a:lnTo>
                    <a:pt x="1190" y="262"/>
                  </a:lnTo>
                  <a:lnTo>
                    <a:pt x="1200" y="276"/>
                  </a:lnTo>
                  <a:lnTo>
                    <a:pt x="1207" y="287"/>
                  </a:lnTo>
                  <a:lnTo>
                    <a:pt x="1217" y="301"/>
                  </a:lnTo>
                  <a:lnTo>
                    <a:pt x="1225" y="314"/>
                  </a:lnTo>
                  <a:lnTo>
                    <a:pt x="1234" y="327"/>
                  </a:lnTo>
                  <a:lnTo>
                    <a:pt x="1242" y="340"/>
                  </a:lnTo>
                  <a:lnTo>
                    <a:pt x="1247" y="354"/>
                  </a:lnTo>
                  <a:lnTo>
                    <a:pt x="1255" y="367"/>
                  </a:lnTo>
                  <a:lnTo>
                    <a:pt x="1261" y="382"/>
                  </a:lnTo>
                  <a:lnTo>
                    <a:pt x="1268" y="396"/>
                  </a:lnTo>
                  <a:lnTo>
                    <a:pt x="1274" y="411"/>
                  </a:lnTo>
                  <a:lnTo>
                    <a:pt x="1280" y="426"/>
                  </a:lnTo>
                  <a:lnTo>
                    <a:pt x="1285" y="439"/>
                  </a:lnTo>
                  <a:lnTo>
                    <a:pt x="1289" y="453"/>
                  </a:lnTo>
                  <a:lnTo>
                    <a:pt x="1295" y="470"/>
                  </a:lnTo>
                  <a:lnTo>
                    <a:pt x="1299" y="485"/>
                  </a:lnTo>
                  <a:lnTo>
                    <a:pt x="1302" y="500"/>
                  </a:lnTo>
                  <a:lnTo>
                    <a:pt x="1306" y="515"/>
                  </a:lnTo>
                  <a:lnTo>
                    <a:pt x="1310" y="531"/>
                  </a:lnTo>
                  <a:lnTo>
                    <a:pt x="1312" y="546"/>
                  </a:lnTo>
                  <a:lnTo>
                    <a:pt x="1316" y="563"/>
                  </a:lnTo>
                  <a:lnTo>
                    <a:pt x="1318" y="578"/>
                  </a:lnTo>
                  <a:lnTo>
                    <a:pt x="1320" y="595"/>
                  </a:lnTo>
                  <a:lnTo>
                    <a:pt x="1321" y="610"/>
                  </a:lnTo>
                  <a:lnTo>
                    <a:pt x="1321" y="628"/>
                  </a:lnTo>
                  <a:lnTo>
                    <a:pt x="1323" y="645"/>
                  </a:lnTo>
                  <a:lnTo>
                    <a:pt x="1323" y="662"/>
                  </a:lnTo>
                  <a:lnTo>
                    <a:pt x="1323" y="677"/>
                  </a:lnTo>
                  <a:lnTo>
                    <a:pt x="1321" y="694"/>
                  </a:lnTo>
                  <a:lnTo>
                    <a:pt x="1321" y="711"/>
                  </a:lnTo>
                  <a:lnTo>
                    <a:pt x="1320" y="728"/>
                  </a:lnTo>
                  <a:lnTo>
                    <a:pt x="1318" y="744"/>
                  </a:lnTo>
                  <a:lnTo>
                    <a:pt x="1316" y="761"/>
                  </a:lnTo>
                  <a:lnTo>
                    <a:pt x="1312" y="776"/>
                  </a:lnTo>
                  <a:lnTo>
                    <a:pt x="1310" y="793"/>
                  </a:lnTo>
                  <a:lnTo>
                    <a:pt x="1304" y="808"/>
                  </a:lnTo>
                  <a:lnTo>
                    <a:pt x="1301" y="825"/>
                  </a:lnTo>
                  <a:lnTo>
                    <a:pt x="1297" y="840"/>
                  </a:lnTo>
                  <a:lnTo>
                    <a:pt x="1293" y="858"/>
                  </a:lnTo>
                  <a:lnTo>
                    <a:pt x="1287" y="871"/>
                  </a:lnTo>
                  <a:lnTo>
                    <a:pt x="1282" y="888"/>
                  </a:lnTo>
                  <a:lnTo>
                    <a:pt x="1276" y="901"/>
                  </a:lnTo>
                  <a:lnTo>
                    <a:pt x="1270" y="918"/>
                  </a:lnTo>
                  <a:lnTo>
                    <a:pt x="1263" y="932"/>
                  </a:lnTo>
                  <a:lnTo>
                    <a:pt x="1257" y="947"/>
                  </a:lnTo>
                  <a:lnTo>
                    <a:pt x="1249" y="960"/>
                  </a:lnTo>
                  <a:lnTo>
                    <a:pt x="1244" y="975"/>
                  </a:lnTo>
                  <a:lnTo>
                    <a:pt x="1234" y="989"/>
                  </a:lnTo>
                  <a:lnTo>
                    <a:pt x="1226" y="1002"/>
                  </a:lnTo>
                  <a:lnTo>
                    <a:pt x="1219" y="1015"/>
                  </a:lnTo>
                  <a:lnTo>
                    <a:pt x="1209" y="1031"/>
                  </a:lnTo>
                  <a:lnTo>
                    <a:pt x="1202" y="1042"/>
                  </a:lnTo>
                  <a:lnTo>
                    <a:pt x="1192" y="1055"/>
                  </a:lnTo>
                  <a:lnTo>
                    <a:pt x="1181" y="1069"/>
                  </a:lnTo>
                  <a:lnTo>
                    <a:pt x="1171" y="1082"/>
                  </a:lnTo>
                  <a:lnTo>
                    <a:pt x="1162" y="1093"/>
                  </a:lnTo>
                  <a:lnTo>
                    <a:pt x="1150" y="1105"/>
                  </a:lnTo>
                  <a:lnTo>
                    <a:pt x="1141" y="1116"/>
                  </a:lnTo>
                  <a:lnTo>
                    <a:pt x="1129" y="1129"/>
                  </a:lnTo>
                  <a:lnTo>
                    <a:pt x="1118" y="1139"/>
                  </a:lnTo>
                  <a:lnTo>
                    <a:pt x="1107" y="1150"/>
                  </a:lnTo>
                  <a:lnTo>
                    <a:pt x="1093" y="1160"/>
                  </a:lnTo>
                  <a:lnTo>
                    <a:pt x="1082" y="1171"/>
                  </a:lnTo>
                  <a:lnTo>
                    <a:pt x="1069" y="1181"/>
                  </a:lnTo>
                  <a:lnTo>
                    <a:pt x="1055" y="1190"/>
                  </a:lnTo>
                  <a:lnTo>
                    <a:pt x="1044" y="1200"/>
                  </a:lnTo>
                  <a:lnTo>
                    <a:pt x="1031" y="1209"/>
                  </a:lnTo>
                  <a:lnTo>
                    <a:pt x="1017" y="1217"/>
                  </a:lnTo>
                  <a:lnTo>
                    <a:pt x="1004" y="1226"/>
                  </a:lnTo>
                  <a:lnTo>
                    <a:pt x="989" y="1234"/>
                  </a:lnTo>
                  <a:lnTo>
                    <a:pt x="975" y="1244"/>
                  </a:lnTo>
                  <a:lnTo>
                    <a:pt x="962" y="1249"/>
                  </a:lnTo>
                  <a:lnTo>
                    <a:pt x="947" y="1257"/>
                  </a:lnTo>
                  <a:lnTo>
                    <a:pt x="934" y="1264"/>
                  </a:lnTo>
                  <a:lnTo>
                    <a:pt x="918" y="1272"/>
                  </a:lnTo>
                  <a:lnTo>
                    <a:pt x="903" y="1276"/>
                  </a:lnTo>
                  <a:lnTo>
                    <a:pt x="888" y="1282"/>
                  </a:lnTo>
                  <a:lnTo>
                    <a:pt x="873" y="1287"/>
                  </a:lnTo>
                  <a:lnTo>
                    <a:pt x="858" y="1293"/>
                  </a:lnTo>
                  <a:lnTo>
                    <a:pt x="841" y="1297"/>
                  </a:lnTo>
                  <a:lnTo>
                    <a:pt x="825" y="1301"/>
                  </a:lnTo>
                  <a:lnTo>
                    <a:pt x="810" y="1304"/>
                  </a:lnTo>
                  <a:lnTo>
                    <a:pt x="795" y="1310"/>
                  </a:lnTo>
                  <a:lnTo>
                    <a:pt x="778" y="1312"/>
                  </a:lnTo>
                  <a:lnTo>
                    <a:pt x="763" y="1316"/>
                  </a:lnTo>
                  <a:lnTo>
                    <a:pt x="745" y="1318"/>
                  </a:lnTo>
                  <a:lnTo>
                    <a:pt x="728" y="1320"/>
                  </a:lnTo>
                  <a:lnTo>
                    <a:pt x="711" y="1321"/>
                  </a:lnTo>
                  <a:lnTo>
                    <a:pt x="696" y="1321"/>
                  </a:lnTo>
                  <a:lnTo>
                    <a:pt x="679" y="1323"/>
                  </a:lnTo>
                  <a:lnTo>
                    <a:pt x="662" y="1323"/>
                  </a:lnTo>
                  <a:lnTo>
                    <a:pt x="645" y="1323"/>
                  </a:lnTo>
                  <a:lnTo>
                    <a:pt x="628" y="1321"/>
                  </a:lnTo>
                  <a:lnTo>
                    <a:pt x="610" y="1321"/>
                  </a:lnTo>
                  <a:lnTo>
                    <a:pt x="593" y="1320"/>
                  </a:lnTo>
                  <a:lnTo>
                    <a:pt x="576" y="1318"/>
                  </a:lnTo>
                  <a:lnTo>
                    <a:pt x="561" y="1316"/>
                  </a:lnTo>
                  <a:lnTo>
                    <a:pt x="544" y="1312"/>
                  </a:lnTo>
                  <a:lnTo>
                    <a:pt x="529" y="1310"/>
                  </a:lnTo>
                  <a:lnTo>
                    <a:pt x="512" y="1304"/>
                  </a:lnTo>
                  <a:lnTo>
                    <a:pt x="496" y="1301"/>
                  </a:lnTo>
                  <a:lnTo>
                    <a:pt x="479" y="1297"/>
                  </a:lnTo>
                  <a:lnTo>
                    <a:pt x="464" y="1293"/>
                  </a:lnTo>
                  <a:lnTo>
                    <a:pt x="449" y="1287"/>
                  </a:lnTo>
                  <a:lnTo>
                    <a:pt x="434" y="1282"/>
                  </a:lnTo>
                  <a:lnTo>
                    <a:pt x="418" y="1276"/>
                  </a:lnTo>
                  <a:lnTo>
                    <a:pt x="403" y="1272"/>
                  </a:lnTo>
                  <a:lnTo>
                    <a:pt x="388" y="1264"/>
                  </a:lnTo>
                  <a:lnTo>
                    <a:pt x="373" y="1257"/>
                  </a:lnTo>
                  <a:lnTo>
                    <a:pt x="360" y="1249"/>
                  </a:lnTo>
                  <a:lnTo>
                    <a:pt x="346" y="1244"/>
                  </a:lnTo>
                  <a:lnTo>
                    <a:pt x="331" y="1234"/>
                  </a:lnTo>
                  <a:lnTo>
                    <a:pt x="318" y="1226"/>
                  </a:lnTo>
                  <a:lnTo>
                    <a:pt x="304" y="1217"/>
                  </a:lnTo>
                  <a:lnTo>
                    <a:pt x="293" y="1209"/>
                  </a:lnTo>
                  <a:lnTo>
                    <a:pt x="278" y="1200"/>
                  </a:lnTo>
                  <a:lnTo>
                    <a:pt x="266" y="1190"/>
                  </a:lnTo>
                  <a:lnTo>
                    <a:pt x="253" y="1181"/>
                  </a:lnTo>
                  <a:lnTo>
                    <a:pt x="242" y="1171"/>
                  </a:lnTo>
                  <a:lnTo>
                    <a:pt x="228" y="1160"/>
                  </a:lnTo>
                  <a:lnTo>
                    <a:pt x="217" y="1150"/>
                  </a:lnTo>
                  <a:lnTo>
                    <a:pt x="206" y="1139"/>
                  </a:lnTo>
                  <a:lnTo>
                    <a:pt x="194" y="1129"/>
                  </a:lnTo>
                  <a:lnTo>
                    <a:pt x="183" y="1116"/>
                  </a:lnTo>
                  <a:lnTo>
                    <a:pt x="171" y="1105"/>
                  </a:lnTo>
                  <a:lnTo>
                    <a:pt x="162" y="1093"/>
                  </a:lnTo>
                  <a:lnTo>
                    <a:pt x="150" y="1082"/>
                  </a:lnTo>
                  <a:lnTo>
                    <a:pt x="141" y="1069"/>
                  </a:lnTo>
                  <a:lnTo>
                    <a:pt x="131" y="1055"/>
                  </a:lnTo>
                  <a:lnTo>
                    <a:pt x="122" y="1042"/>
                  </a:lnTo>
                  <a:lnTo>
                    <a:pt x="112" y="1031"/>
                  </a:lnTo>
                  <a:lnTo>
                    <a:pt x="103" y="1015"/>
                  </a:lnTo>
                  <a:lnTo>
                    <a:pt x="95" y="1002"/>
                  </a:lnTo>
                  <a:lnTo>
                    <a:pt x="88" y="989"/>
                  </a:lnTo>
                  <a:lnTo>
                    <a:pt x="80" y="975"/>
                  </a:lnTo>
                  <a:lnTo>
                    <a:pt x="71" y="960"/>
                  </a:lnTo>
                  <a:lnTo>
                    <a:pt x="65" y="947"/>
                  </a:lnTo>
                  <a:lnTo>
                    <a:pt x="57" y="932"/>
                  </a:lnTo>
                  <a:lnTo>
                    <a:pt x="52" y="918"/>
                  </a:lnTo>
                  <a:lnTo>
                    <a:pt x="46" y="901"/>
                  </a:lnTo>
                  <a:lnTo>
                    <a:pt x="40" y="888"/>
                  </a:lnTo>
                  <a:lnTo>
                    <a:pt x="34" y="871"/>
                  </a:lnTo>
                  <a:lnTo>
                    <a:pt x="29" y="858"/>
                  </a:lnTo>
                  <a:lnTo>
                    <a:pt x="23" y="840"/>
                  </a:lnTo>
                  <a:lnTo>
                    <a:pt x="19" y="825"/>
                  </a:lnTo>
                  <a:lnTo>
                    <a:pt x="15" y="808"/>
                  </a:lnTo>
                  <a:lnTo>
                    <a:pt x="14" y="793"/>
                  </a:lnTo>
                  <a:lnTo>
                    <a:pt x="10" y="776"/>
                  </a:lnTo>
                  <a:lnTo>
                    <a:pt x="6" y="761"/>
                  </a:lnTo>
                  <a:lnTo>
                    <a:pt x="4" y="744"/>
                  </a:lnTo>
                  <a:lnTo>
                    <a:pt x="4" y="728"/>
                  </a:lnTo>
                  <a:lnTo>
                    <a:pt x="2" y="711"/>
                  </a:lnTo>
                  <a:lnTo>
                    <a:pt x="0" y="694"/>
                  </a:lnTo>
                  <a:lnTo>
                    <a:pt x="0" y="677"/>
                  </a:lnTo>
                  <a:lnTo>
                    <a:pt x="0" y="662"/>
                  </a:lnTo>
                  <a:lnTo>
                    <a:pt x="0" y="645"/>
                  </a:lnTo>
                  <a:lnTo>
                    <a:pt x="0" y="628"/>
                  </a:lnTo>
                  <a:lnTo>
                    <a:pt x="2" y="610"/>
                  </a:lnTo>
                  <a:lnTo>
                    <a:pt x="4" y="595"/>
                  </a:lnTo>
                  <a:lnTo>
                    <a:pt x="4" y="578"/>
                  </a:lnTo>
                  <a:lnTo>
                    <a:pt x="6" y="561"/>
                  </a:lnTo>
                  <a:lnTo>
                    <a:pt x="10" y="546"/>
                  </a:lnTo>
                  <a:lnTo>
                    <a:pt x="14" y="531"/>
                  </a:lnTo>
                  <a:lnTo>
                    <a:pt x="15" y="513"/>
                  </a:lnTo>
                  <a:lnTo>
                    <a:pt x="19" y="498"/>
                  </a:lnTo>
                  <a:lnTo>
                    <a:pt x="23" y="483"/>
                  </a:lnTo>
                  <a:lnTo>
                    <a:pt x="29" y="468"/>
                  </a:lnTo>
                  <a:lnTo>
                    <a:pt x="33" y="453"/>
                  </a:lnTo>
                  <a:lnTo>
                    <a:pt x="38" y="437"/>
                  </a:lnTo>
                  <a:lnTo>
                    <a:pt x="44" y="424"/>
                  </a:lnTo>
                  <a:lnTo>
                    <a:pt x="50" y="409"/>
                  </a:lnTo>
                  <a:lnTo>
                    <a:pt x="55" y="394"/>
                  </a:lnTo>
                  <a:lnTo>
                    <a:pt x="61" y="380"/>
                  </a:lnTo>
                  <a:lnTo>
                    <a:pt x="69" y="365"/>
                  </a:lnTo>
                  <a:lnTo>
                    <a:pt x="76" y="352"/>
                  </a:lnTo>
                  <a:lnTo>
                    <a:pt x="82" y="339"/>
                  </a:lnTo>
                  <a:lnTo>
                    <a:pt x="92" y="323"/>
                  </a:lnTo>
                  <a:lnTo>
                    <a:pt x="99" y="310"/>
                  </a:lnTo>
                  <a:lnTo>
                    <a:pt x="109" y="299"/>
                  </a:lnTo>
                  <a:lnTo>
                    <a:pt x="116" y="285"/>
                  </a:lnTo>
                  <a:lnTo>
                    <a:pt x="126" y="272"/>
                  </a:lnTo>
                  <a:lnTo>
                    <a:pt x="133" y="259"/>
                  </a:lnTo>
                  <a:lnTo>
                    <a:pt x="145" y="247"/>
                  </a:lnTo>
                  <a:lnTo>
                    <a:pt x="154" y="236"/>
                  </a:lnTo>
                  <a:lnTo>
                    <a:pt x="164" y="224"/>
                  </a:lnTo>
                  <a:lnTo>
                    <a:pt x="175" y="213"/>
                  </a:lnTo>
                  <a:lnTo>
                    <a:pt x="187" y="202"/>
                  </a:lnTo>
                  <a:lnTo>
                    <a:pt x="196" y="190"/>
                  </a:lnTo>
                  <a:lnTo>
                    <a:pt x="207" y="179"/>
                  </a:lnTo>
                  <a:lnTo>
                    <a:pt x="219" y="167"/>
                  </a:lnTo>
                  <a:lnTo>
                    <a:pt x="230" y="158"/>
                  </a:lnTo>
                  <a:lnTo>
                    <a:pt x="242" y="148"/>
                  </a:lnTo>
                  <a:lnTo>
                    <a:pt x="253" y="139"/>
                  </a:lnTo>
                  <a:lnTo>
                    <a:pt x="266" y="129"/>
                  </a:lnTo>
                  <a:lnTo>
                    <a:pt x="280" y="120"/>
                  </a:lnTo>
                  <a:lnTo>
                    <a:pt x="291" y="110"/>
                  </a:lnTo>
                  <a:lnTo>
                    <a:pt x="304" y="103"/>
                  </a:lnTo>
                  <a:lnTo>
                    <a:pt x="318" y="93"/>
                  </a:lnTo>
                  <a:lnTo>
                    <a:pt x="331" y="86"/>
                  </a:lnTo>
                  <a:lnTo>
                    <a:pt x="344" y="78"/>
                  </a:lnTo>
                  <a:lnTo>
                    <a:pt x="358" y="70"/>
                  </a:lnTo>
                  <a:lnTo>
                    <a:pt x="373" y="63"/>
                  </a:lnTo>
                  <a:lnTo>
                    <a:pt x="386" y="57"/>
                  </a:lnTo>
                  <a:lnTo>
                    <a:pt x="401" y="51"/>
                  </a:lnTo>
                  <a:lnTo>
                    <a:pt x="415" y="44"/>
                  </a:lnTo>
                  <a:lnTo>
                    <a:pt x="430" y="38"/>
                  </a:lnTo>
                  <a:lnTo>
                    <a:pt x="445" y="34"/>
                  </a:lnTo>
                  <a:lnTo>
                    <a:pt x="458" y="29"/>
                  </a:lnTo>
                  <a:lnTo>
                    <a:pt x="476" y="25"/>
                  </a:lnTo>
                  <a:lnTo>
                    <a:pt x="491" y="19"/>
                  </a:lnTo>
                  <a:lnTo>
                    <a:pt x="506" y="17"/>
                  </a:lnTo>
                  <a:lnTo>
                    <a:pt x="521" y="12"/>
                  </a:lnTo>
                  <a:lnTo>
                    <a:pt x="538" y="10"/>
                  </a:lnTo>
                  <a:lnTo>
                    <a:pt x="553" y="6"/>
                  </a:lnTo>
                  <a:lnTo>
                    <a:pt x="571" y="4"/>
                  </a:lnTo>
                  <a:lnTo>
                    <a:pt x="586" y="2"/>
                  </a:lnTo>
                  <a:lnTo>
                    <a:pt x="603" y="0"/>
                  </a:lnTo>
                  <a:lnTo>
                    <a:pt x="620" y="0"/>
                  </a:lnTo>
                  <a:lnTo>
                    <a:pt x="637" y="0"/>
                  </a:lnTo>
                  <a:lnTo>
                    <a:pt x="637" y="8"/>
                  </a:lnTo>
                  <a:lnTo>
                    <a:pt x="637" y="17"/>
                  </a:lnTo>
                  <a:lnTo>
                    <a:pt x="637" y="21"/>
                  </a:lnTo>
                  <a:lnTo>
                    <a:pt x="639" y="27"/>
                  </a:lnTo>
                  <a:lnTo>
                    <a:pt x="639" y="32"/>
                  </a:lnTo>
                  <a:lnTo>
                    <a:pt x="641" y="38"/>
                  </a:lnTo>
                  <a:lnTo>
                    <a:pt x="641" y="42"/>
                  </a:lnTo>
                  <a:lnTo>
                    <a:pt x="641" y="48"/>
                  </a:lnTo>
                  <a:lnTo>
                    <a:pt x="641" y="53"/>
                  </a:lnTo>
                  <a:lnTo>
                    <a:pt x="643" y="59"/>
                  </a:lnTo>
                  <a:lnTo>
                    <a:pt x="643" y="69"/>
                  </a:lnTo>
                  <a:lnTo>
                    <a:pt x="645" y="78"/>
                  </a:lnTo>
                  <a:lnTo>
                    <a:pt x="630" y="78"/>
                  </a:lnTo>
                  <a:lnTo>
                    <a:pt x="614" y="78"/>
                  </a:lnTo>
                  <a:lnTo>
                    <a:pt x="601" y="80"/>
                  </a:lnTo>
                  <a:lnTo>
                    <a:pt x="586" y="82"/>
                  </a:lnTo>
                  <a:lnTo>
                    <a:pt x="572" y="82"/>
                  </a:lnTo>
                  <a:lnTo>
                    <a:pt x="557" y="84"/>
                  </a:lnTo>
                  <a:lnTo>
                    <a:pt x="544" y="88"/>
                  </a:lnTo>
                  <a:lnTo>
                    <a:pt x="531" y="89"/>
                  </a:lnTo>
                  <a:lnTo>
                    <a:pt x="515" y="93"/>
                  </a:lnTo>
                  <a:lnTo>
                    <a:pt x="502" y="95"/>
                  </a:lnTo>
                  <a:lnTo>
                    <a:pt x="489" y="99"/>
                  </a:lnTo>
                  <a:lnTo>
                    <a:pt x="476" y="105"/>
                  </a:lnTo>
                  <a:lnTo>
                    <a:pt x="462" y="108"/>
                  </a:lnTo>
                  <a:lnTo>
                    <a:pt x="449" y="112"/>
                  </a:lnTo>
                  <a:lnTo>
                    <a:pt x="436" y="118"/>
                  </a:lnTo>
                  <a:lnTo>
                    <a:pt x="424" y="124"/>
                  </a:lnTo>
                  <a:lnTo>
                    <a:pt x="411" y="129"/>
                  </a:lnTo>
                  <a:lnTo>
                    <a:pt x="398" y="135"/>
                  </a:lnTo>
                  <a:lnTo>
                    <a:pt x="384" y="141"/>
                  </a:lnTo>
                  <a:lnTo>
                    <a:pt x="373" y="148"/>
                  </a:lnTo>
                  <a:lnTo>
                    <a:pt x="361" y="154"/>
                  </a:lnTo>
                  <a:lnTo>
                    <a:pt x="350" y="162"/>
                  </a:lnTo>
                  <a:lnTo>
                    <a:pt x="339" y="167"/>
                  </a:lnTo>
                  <a:lnTo>
                    <a:pt x="329" y="177"/>
                  </a:lnTo>
                  <a:lnTo>
                    <a:pt x="318" y="185"/>
                  </a:lnTo>
                  <a:lnTo>
                    <a:pt x="306" y="192"/>
                  </a:lnTo>
                  <a:lnTo>
                    <a:pt x="295" y="200"/>
                  </a:lnTo>
                  <a:lnTo>
                    <a:pt x="285" y="209"/>
                  </a:lnTo>
                  <a:lnTo>
                    <a:pt x="274" y="219"/>
                  </a:lnTo>
                  <a:lnTo>
                    <a:pt x="265" y="226"/>
                  </a:lnTo>
                  <a:lnTo>
                    <a:pt x="253" y="236"/>
                  </a:lnTo>
                  <a:lnTo>
                    <a:pt x="245" y="247"/>
                  </a:lnTo>
                  <a:lnTo>
                    <a:pt x="234" y="255"/>
                  </a:lnTo>
                  <a:lnTo>
                    <a:pt x="225" y="266"/>
                  </a:lnTo>
                  <a:lnTo>
                    <a:pt x="217" y="276"/>
                  </a:lnTo>
                  <a:lnTo>
                    <a:pt x="207" y="287"/>
                  </a:lnTo>
                  <a:lnTo>
                    <a:pt x="200" y="297"/>
                  </a:lnTo>
                  <a:lnTo>
                    <a:pt x="190" y="308"/>
                  </a:lnTo>
                  <a:lnTo>
                    <a:pt x="183" y="320"/>
                  </a:lnTo>
                  <a:lnTo>
                    <a:pt x="175" y="331"/>
                  </a:lnTo>
                  <a:lnTo>
                    <a:pt x="168" y="342"/>
                  </a:lnTo>
                  <a:lnTo>
                    <a:pt x="160" y="354"/>
                  </a:lnTo>
                  <a:lnTo>
                    <a:pt x="152" y="365"/>
                  </a:lnTo>
                  <a:lnTo>
                    <a:pt x="147" y="377"/>
                  </a:lnTo>
                  <a:lnTo>
                    <a:pt x="139" y="388"/>
                  </a:lnTo>
                  <a:lnTo>
                    <a:pt x="133" y="401"/>
                  </a:lnTo>
                  <a:lnTo>
                    <a:pt x="128" y="415"/>
                  </a:lnTo>
                  <a:lnTo>
                    <a:pt x="124" y="426"/>
                  </a:lnTo>
                  <a:lnTo>
                    <a:pt x="118" y="439"/>
                  </a:lnTo>
                  <a:lnTo>
                    <a:pt x="112" y="453"/>
                  </a:lnTo>
                  <a:lnTo>
                    <a:pt x="107" y="466"/>
                  </a:lnTo>
                  <a:lnTo>
                    <a:pt x="103" y="477"/>
                  </a:lnTo>
                  <a:lnTo>
                    <a:pt x="99" y="493"/>
                  </a:lnTo>
                  <a:lnTo>
                    <a:pt x="95" y="504"/>
                  </a:lnTo>
                  <a:lnTo>
                    <a:pt x="93" y="519"/>
                  </a:lnTo>
                  <a:lnTo>
                    <a:pt x="90" y="532"/>
                  </a:lnTo>
                  <a:lnTo>
                    <a:pt x="88" y="546"/>
                  </a:lnTo>
                  <a:lnTo>
                    <a:pt x="84" y="561"/>
                  </a:lnTo>
                  <a:lnTo>
                    <a:pt x="82" y="574"/>
                  </a:lnTo>
                  <a:lnTo>
                    <a:pt x="82" y="590"/>
                  </a:lnTo>
                  <a:lnTo>
                    <a:pt x="80" y="603"/>
                  </a:lnTo>
                  <a:lnTo>
                    <a:pt x="80" y="618"/>
                  </a:lnTo>
                  <a:lnTo>
                    <a:pt x="80" y="633"/>
                  </a:lnTo>
                  <a:lnTo>
                    <a:pt x="80" y="648"/>
                  </a:lnTo>
                  <a:lnTo>
                    <a:pt x="80" y="662"/>
                  </a:lnTo>
                  <a:lnTo>
                    <a:pt x="80" y="677"/>
                  </a:lnTo>
                  <a:lnTo>
                    <a:pt x="80" y="690"/>
                  </a:lnTo>
                  <a:lnTo>
                    <a:pt x="82" y="705"/>
                  </a:lnTo>
                  <a:lnTo>
                    <a:pt x="82" y="719"/>
                  </a:lnTo>
                  <a:lnTo>
                    <a:pt x="84" y="734"/>
                  </a:lnTo>
                  <a:lnTo>
                    <a:pt x="88" y="747"/>
                  </a:lnTo>
                  <a:lnTo>
                    <a:pt x="90" y="763"/>
                  </a:lnTo>
                  <a:lnTo>
                    <a:pt x="93" y="776"/>
                  </a:lnTo>
                  <a:lnTo>
                    <a:pt x="95" y="789"/>
                  </a:lnTo>
                  <a:lnTo>
                    <a:pt x="99" y="802"/>
                  </a:lnTo>
                  <a:lnTo>
                    <a:pt x="105" y="816"/>
                  </a:lnTo>
                  <a:lnTo>
                    <a:pt x="109" y="829"/>
                  </a:lnTo>
                  <a:lnTo>
                    <a:pt x="112" y="842"/>
                  </a:lnTo>
                  <a:lnTo>
                    <a:pt x="118" y="856"/>
                  </a:lnTo>
                  <a:lnTo>
                    <a:pt x="124" y="869"/>
                  </a:lnTo>
                  <a:lnTo>
                    <a:pt x="130" y="880"/>
                  </a:lnTo>
                  <a:lnTo>
                    <a:pt x="135" y="894"/>
                  </a:lnTo>
                  <a:lnTo>
                    <a:pt x="141" y="905"/>
                  </a:lnTo>
                  <a:lnTo>
                    <a:pt x="147" y="918"/>
                  </a:lnTo>
                  <a:lnTo>
                    <a:pt x="154" y="930"/>
                  </a:lnTo>
                  <a:lnTo>
                    <a:pt x="162" y="941"/>
                  </a:lnTo>
                  <a:lnTo>
                    <a:pt x="168" y="953"/>
                  </a:lnTo>
                  <a:lnTo>
                    <a:pt x="177" y="966"/>
                  </a:lnTo>
                  <a:lnTo>
                    <a:pt x="183" y="975"/>
                  </a:lnTo>
                  <a:lnTo>
                    <a:pt x="192" y="987"/>
                  </a:lnTo>
                  <a:lnTo>
                    <a:pt x="200" y="998"/>
                  </a:lnTo>
                  <a:lnTo>
                    <a:pt x="209" y="1010"/>
                  </a:lnTo>
                  <a:lnTo>
                    <a:pt x="217" y="1019"/>
                  </a:lnTo>
                  <a:lnTo>
                    <a:pt x="226" y="1031"/>
                  </a:lnTo>
                  <a:lnTo>
                    <a:pt x="236" y="1040"/>
                  </a:lnTo>
                  <a:lnTo>
                    <a:pt x="245" y="1051"/>
                  </a:lnTo>
                  <a:lnTo>
                    <a:pt x="255" y="1059"/>
                  </a:lnTo>
                  <a:lnTo>
                    <a:pt x="265" y="1069"/>
                  </a:lnTo>
                  <a:lnTo>
                    <a:pt x="274" y="1078"/>
                  </a:lnTo>
                  <a:lnTo>
                    <a:pt x="285" y="1088"/>
                  </a:lnTo>
                  <a:lnTo>
                    <a:pt x="295" y="1095"/>
                  </a:lnTo>
                  <a:lnTo>
                    <a:pt x="306" y="1103"/>
                  </a:lnTo>
                  <a:lnTo>
                    <a:pt x="318" y="1112"/>
                  </a:lnTo>
                  <a:lnTo>
                    <a:pt x="329" y="1120"/>
                  </a:lnTo>
                  <a:lnTo>
                    <a:pt x="341" y="1128"/>
                  </a:lnTo>
                  <a:lnTo>
                    <a:pt x="352" y="1133"/>
                  </a:lnTo>
                  <a:lnTo>
                    <a:pt x="363" y="1141"/>
                  </a:lnTo>
                  <a:lnTo>
                    <a:pt x="377" y="1148"/>
                  </a:lnTo>
                  <a:lnTo>
                    <a:pt x="388" y="1154"/>
                  </a:lnTo>
                  <a:lnTo>
                    <a:pt x="401" y="1160"/>
                  </a:lnTo>
                  <a:lnTo>
                    <a:pt x="413" y="1166"/>
                  </a:lnTo>
                  <a:lnTo>
                    <a:pt x="426" y="1173"/>
                  </a:lnTo>
                  <a:lnTo>
                    <a:pt x="439" y="1177"/>
                  </a:lnTo>
                  <a:lnTo>
                    <a:pt x="453" y="1183"/>
                  </a:lnTo>
                  <a:lnTo>
                    <a:pt x="464" y="1186"/>
                  </a:lnTo>
                  <a:lnTo>
                    <a:pt x="477" y="1192"/>
                  </a:lnTo>
                  <a:lnTo>
                    <a:pt x="491" y="1196"/>
                  </a:lnTo>
                  <a:lnTo>
                    <a:pt x="504" y="1200"/>
                  </a:lnTo>
                  <a:lnTo>
                    <a:pt x="519" y="1202"/>
                  </a:lnTo>
                  <a:lnTo>
                    <a:pt x="533" y="1205"/>
                  </a:lnTo>
                  <a:lnTo>
                    <a:pt x="548" y="1207"/>
                  </a:lnTo>
                  <a:lnTo>
                    <a:pt x="561" y="1211"/>
                  </a:lnTo>
                  <a:lnTo>
                    <a:pt x="576" y="1213"/>
                  </a:lnTo>
                  <a:lnTo>
                    <a:pt x="590" y="1215"/>
                  </a:lnTo>
                  <a:lnTo>
                    <a:pt x="605" y="1215"/>
                  </a:lnTo>
                  <a:lnTo>
                    <a:pt x="618" y="1217"/>
                  </a:lnTo>
                  <a:lnTo>
                    <a:pt x="633" y="1217"/>
                  </a:lnTo>
                  <a:lnTo>
                    <a:pt x="649" y="12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3" name="Freeform 22"/>
            <p:cNvSpPr>
              <a:spLocks/>
            </p:cNvSpPr>
            <p:nvPr/>
          </p:nvSpPr>
          <p:spPr bwMode="auto">
            <a:xfrm>
              <a:off x="1091" y="1505"/>
              <a:ext cx="517" cy="519"/>
            </a:xfrm>
            <a:custGeom>
              <a:avLst/>
              <a:gdLst>
                <a:gd name="T0" fmla="*/ 223 w 1666"/>
                <a:gd name="T1" fmla="*/ 37 h 1673"/>
                <a:gd name="T2" fmla="*/ 234 w 1666"/>
                <a:gd name="T3" fmla="*/ 36 h 1673"/>
                <a:gd name="T4" fmla="*/ 223 w 1666"/>
                <a:gd name="T5" fmla="*/ 65 h 1673"/>
                <a:gd name="T6" fmla="*/ 196 w 1666"/>
                <a:gd name="T7" fmla="*/ 71 h 1673"/>
                <a:gd name="T8" fmla="*/ 171 w 1666"/>
                <a:gd name="T9" fmla="*/ 81 h 1673"/>
                <a:gd name="T10" fmla="*/ 147 w 1666"/>
                <a:gd name="T11" fmla="*/ 95 h 1673"/>
                <a:gd name="T12" fmla="*/ 126 w 1666"/>
                <a:gd name="T13" fmla="*/ 111 h 1673"/>
                <a:gd name="T14" fmla="*/ 107 w 1666"/>
                <a:gd name="T15" fmla="*/ 131 h 1673"/>
                <a:gd name="T16" fmla="*/ 90 w 1666"/>
                <a:gd name="T17" fmla="*/ 152 h 1673"/>
                <a:gd name="T18" fmla="*/ 77 w 1666"/>
                <a:gd name="T19" fmla="*/ 176 h 1673"/>
                <a:gd name="T20" fmla="*/ 67 w 1666"/>
                <a:gd name="T21" fmla="*/ 201 h 1673"/>
                <a:gd name="T22" fmla="*/ 61 w 1666"/>
                <a:gd name="T23" fmla="*/ 228 h 1673"/>
                <a:gd name="T24" fmla="*/ 59 w 1666"/>
                <a:gd name="T25" fmla="*/ 257 h 1673"/>
                <a:gd name="T26" fmla="*/ 60 w 1666"/>
                <a:gd name="T27" fmla="*/ 286 h 1673"/>
                <a:gd name="T28" fmla="*/ 65 w 1666"/>
                <a:gd name="T29" fmla="*/ 315 h 1673"/>
                <a:gd name="T30" fmla="*/ 76 w 1666"/>
                <a:gd name="T31" fmla="*/ 343 h 1673"/>
                <a:gd name="T32" fmla="*/ 90 w 1666"/>
                <a:gd name="T33" fmla="*/ 369 h 1673"/>
                <a:gd name="T34" fmla="*/ 107 w 1666"/>
                <a:gd name="T35" fmla="*/ 391 h 1673"/>
                <a:gd name="T36" fmla="*/ 128 w 1666"/>
                <a:gd name="T37" fmla="*/ 412 h 1673"/>
                <a:gd name="T38" fmla="*/ 151 w 1666"/>
                <a:gd name="T39" fmla="*/ 429 h 1673"/>
                <a:gd name="T40" fmla="*/ 176 w 1666"/>
                <a:gd name="T41" fmla="*/ 443 h 1673"/>
                <a:gd name="T42" fmla="*/ 203 w 1666"/>
                <a:gd name="T43" fmla="*/ 453 h 1673"/>
                <a:gd name="T44" fmla="*/ 232 w 1666"/>
                <a:gd name="T45" fmla="*/ 459 h 1673"/>
                <a:gd name="T46" fmla="*/ 263 w 1666"/>
                <a:gd name="T47" fmla="*/ 461 h 1673"/>
                <a:gd name="T48" fmla="*/ 293 w 1666"/>
                <a:gd name="T49" fmla="*/ 458 h 1673"/>
                <a:gd name="T50" fmla="*/ 321 w 1666"/>
                <a:gd name="T51" fmla="*/ 450 h 1673"/>
                <a:gd name="T52" fmla="*/ 349 w 1666"/>
                <a:gd name="T53" fmla="*/ 439 h 1673"/>
                <a:gd name="T54" fmla="*/ 374 w 1666"/>
                <a:gd name="T55" fmla="*/ 423 h 1673"/>
                <a:gd name="T56" fmla="*/ 395 w 1666"/>
                <a:gd name="T57" fmla="*/ 405 h 1673"/>
                <a:gd name="T58" fmla="*/ 415 w 1666"/>
                <a:gd name="T59" fmla="*/ 384 h 1673"/>
                <a:gd name="T60" fmla="*/ 430 w 1666"/>
                <a:gd name="T61" fmla="*/ 360 h 1673"/>
                <a:gd name="T62" fmla="*/ 443 w 1666"/>
                <a:gd name="T63" fmla="*/ 334 h 1673"/>
                <a:gd name="T64" fmla="*/ 452 w 1666"/>
                <a:gd name="T65" fmla="*/ 306 h 1673"/>
                <a:gd name="T66" fmla="*/ 457 w 1666"/>
                <a:gd name="T67" fmla="*/ 276 h 1673"/>
                <a:gd name="T68" fmla="*/ 457 w 1666"/>
                <a:gd name="T69" fmla="*/ 246 h 1673"/>
                <a:gd name="T70" fmla="*/ 452 w 1666"/>
                <a:gd name="T71" fmla="*/ 217 h 1673"/>
                <a:gd name="T72" fmla="*/ 443 w 1666"/>
                <a:gd name="T73" fmla="*/ 188 h 1673"/>
                <a:gd name="T74" fmla="*/ 430 w 1666"/>
                <a:gd name="T75" fmla="*/ 162 h 1673"/>
                <a:gd name="T76" fmla="*/ 415 w 1666"/>
                <a:gd name="T77" fmla="*/ 138 h 1673"/>
                <a:gd name="T78" fmla="*/ 395 w 1666"/>
                <a:gd name="T79" fmla="*/ 117 h 1673"/>
                <a:gd name="T80" fmla="*/ 374 w 1666"/>
                <a:gd name="T81" fmla="*/ 98 h 1673"/>
                <a:gd name="T82" fmla="*/ 349 w 1666"/>
                <a:gd name="T83" fmla="*/ 84 h 1673"/>
                <a:gd name="T84" fmla="*/ 321 w 1666"/>
                <a:gd name="T85" fmla="*/ 73 h 1673"/>
                <a:gd name="T86" fmla="*/ 293 w 1666"/>
                <a:gd name="T87" fmla="*/ 65 h 1673"/>
                <a:gd name="T88" fmla="*/ 263 w 1666"/>
                <a:gd name="T89" fmla="*/ 62 h 1673"/>
                <a:gd name="T90" fmla="*/ 250 w 1666"/>
                <a:gd name="T91" fmla="*/ 35 h 1673"/>
                <a:gd name="T92" fmla="*/ 259 w 1666"/>
                <a:gd name="T93" fmla="*/ 34 h 1673"/>
                <a:gd name="T94" fmla="*/ 267 w 1666"/>
                <a:gd name="T95" fmla="*/ 34 h 1673"/>
                <a:gd name="T96" fmla="*/ 421 w 1666"/>
                <a:gd name="T97" fmla="*/ 56 h 1673"/>
                <a:gd name="T98" fmla="*/ 474 w 1666"/>
                <a:gd name="T99" fmla="*/ 181 h 1673"/>
                <a:gd name="T100" fmla="*/ 507 w 1666"/>
                <a:gd name="T101" fmla="*/ 321 h 1673"/>
                <a:gd name="T102" fmla="*/ 427 w 1666"/>
                <a:gd name="T103" fmla="*/ 422 h 1673"/>
                <a:gd name="T104" fmla="*/ 330 w 1666"/>
                <a:gd name="T105" fmla="*/ 510 h 1673"/>
                <a:gd name="T106" fmla="*/ 199 w 1666"/>
                <a:gd name="T107" fmla="*/ 480 h 1673"/>
                <a:gd name="T108" fmla="*/ 75 w 1666"/>
                <a:gd name="T109" fmla="*/ 445 h 1673"/>
                <a:gd name="T110" fmla="*/ 33 w 1666"/>
                <a:gd name="T111" fmla="*/ 295 h 1673"/>
                <a:gd name="T112" fmla="*/ 23 w 1666"/>
                <a:gd name="T113" fmla="*/ 149 h 1673"/>
                <a:gd name="T114" fmla="*/ 160 w 1666"/>
                <a:gd name="T115" fmla="*/ 55 h 167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666" h="1673">
                  <a:moveTo>
                    <a:pt x="662" y="13"/>
                  </a:moveTo>
                  <a:lnTo>
                    <a:pt x="696" y="122"/>
                  </a:lnTo>
                  <a:lnTo>
                    <a:pt x="698" y="120"/>
                  </a:lnTo>
                  <a:lnTo>
                    <a:pt x="702" y="120"/>
                  </a:lnTo>
                  <a:lnTo>
                    <a:pt x="709" y="120"/>
                  </a:lnTo>
                  <a:lnTo>
                    <a:pt x="719" y="120"/>
                  </a:lnTo>
                  <a:lnTo>
                    <a:pt x="723" y="118"/>
                  </a:lnTo>
                  <a:lnTo>
                    <a:pt x="728" y="118"/>
                  </a:lnTo>
                  <a:lnTo>
                    <a:pt x="734" y="116"/>
                  </a:lnTo>
                  <a:lnTo>
                    <a:pt x="742" y="116"/>
                  </a:lnTo>
                  <a:lnTo>
                    <a:pt x="747" y="116"/>
                  </a:lnTo>
                  <a:lnTo>
                    <a:pt x="755" y="116"/>
                  </a:lnTo>
                  <a:lnTo>
                    <a:pt x="763" y="114"/>
                  </a:lnTo>
                  <a:lnTo>
                    <a:pt x="770" y="114"/>
                  </a:lnTo>
                  <a:lnTo>
                    <a:pt x="763" y="203"/>
                  </a:lnTo>
                  <a:lnTo>
                    <a:pt x="747" y="203"/>
                  </a:lnTo>
                  <a:lnTo>
                    <a:pt x="732" y="205"/>
                  </a:lnTo>
                  <a:lnTo>
                    <a:pt x="717" y="209"/>
                  </a:lnTo>
                  <a:lnTo>
                    <a:pt x="702" y="211"/>
                  </a:lnTo>
                  <a:lnTo>
                    <a:pt x="689" y="215"/>
                  </a:lnTo>
                  <a:lnTo>
                    <a:pt x="673" y="217"/>
                  </a:lnTo>
                  <a:lnTo>
                    <a:pt x="660" y="220"/>
                  </a:lnTo>
                  <a:lnTo>
                    <a:pt x="645" y="226"/>
                  </a:lnTo>
                  <a:lnTo>
                    <a:pt x="632" y="230"/>
                  </a:lnTo>
                  <a:lnTo>
                    <a:pt x="616" y="234"/>
                  </a:lnTo>
                  <a:lnTo>
                    <a:pt x="603" y="239"/>
                  </a:lnTo>
                  <a:lnTo>
                    <a:pt x="590" y="245"/>
                  </a:lnTo>
                  <a:lnTo>
                    <a:pt x="574" y="251"/>
                  </a:lnTo>
                  <a:lnTo>
                    <a:pt x="563" y="257"/>
                  </a:lnTo>
                  <a:lnTo>
                    <a:pt x="550" y="262"/>
                  </a:lnTo>
                  <a:lnTo>
                    <a:pt x="536" y="270"/>
                  </a:lnTo>
                  <a:lnTo>
                    <a:pt x="523" y="276"/>
                  </a:lnTo>
                  <a:lnTo>
                    <a:pt x="512" y="283"/>
                  </a:lnTo>
                  <a:lnTo>
                    <a:pt x="498" y="291"/>
                  </a:lnTo>
                  <a:lnTo>
                    <a:pt x="487" y="298"/>
                  </a:lnTo>
                  <a:lnTo>
                    <a:pt x="474" y="306"/>
                  </a:lnTo>
                  <a:lnTo>
                    <a:pt x="462" y="314"/>
                  </a:lnTo>
                  <a:lnTo>
                    <a:pt x="451" y="323"/>
                  </a:lnTo>
                  <a:lnTo>
                    <a:pt x="440" y="333"/>
                  </a:lnTo>
                  <a:lnTo>
                    <a:pt x="428" y="340"/>
                  </a:lnTo>
                  <a:lnTo>
                    <a:pt x="417" y="350"/>
                  </a:lnTo>
                  <a:lnTo>
                    <a:pt x="405" y="359"/>
                  </a:lnTo>
                  <a:lnTo>
                    <a:pt x="396" y="369"/>
                  </a:lnTo>
                  <a:lnTo>
                    <a:pt x="384" y="378"/>
                  </a:lnTo>
                  <a:lnTo>
                    <a:pt x="375" y="390"/>
                  </a:lnTo>
                  <a:lnTo>
                    <a:pt x="363" y="399"/>
                  </a:lnTo>
                  <a:lnTo>
                    <a:pt x="356" y="411"/>
                  </a:lnTo>
                  <a:lnTo>
                    <a:pt x="344" y="422"/>
                  </a:lnTo>
                  <a:lnTo>
                    <a:pt x="335" y="431"/>
                  </a:lnTo>
                  <a:lnTo>
                    <a:pt x="325" y="443"/>
                  </a:lnTo>
                  <a:lnTo>
                    <a:pt x="318" y="454"/>
                  </a:lnTo>
                  <a:lnTo>
                    <a:pt x="308" y="466"/>
                  </a:lnTo>
                  <a:lnTo>
                    <a:pt x="301" y="477"/>
                  </a:lnTo>
                  <a:lnTo>
                    <a:pt x="291" y="490"/>
                  </a:lnTo>
                  <a:lnTo>
                    <a:pt x="286" y="504"/>
                  </a:lnTo>
                  <a:lnTo>
                    <a:pt x="276" y="515"/>
                  </a:lnTo>
                  <a:lnTo>
                    <a:pt x="270" y="527"/>
                  </a:lnTo>
                  <a:lnTo>
                    <a:pt x="263" y="540"/>
                  </a:lnTo>
                  <a:lnTo>
                    <a:pt x="255" y="553"/>
                  </a:lnTo>
                  <a:lnTo>
                    <a:pt x="249" y="566"/>
                  </a:lnTo>
                  <a:lnTo>
                    <a:pt x="244" y="580"/>
                  </a:lnTo>
                  <a:lnTo>
                    <a:pt x="238" y="593"/>
                  </a:lnTo>
                  <a:lnTo>
                    <a:pt x="232" y="606"/>
                  </a:lnTo>
                  <a:lnTo>
                    <a:pt x="227" y="620"/>
                  </a:lnTo>
                  <a:lnTo>
                    <a:pt x="221" y="633"/>
                  </a:lnTo>
                  <a:lnTo>
                    <a:pt x="217" y="648"/>
                  </a:lnTo>
                  <a:lnTo>
                    <a:pt x="213" y="662"/>
                  </a:lnTo>
                  <a:lnTo>
                    <a:pt x="209" y="675"/>
                  </a:lnTo>
                  <a:lnTo>
                    <a:pt x="206" y="690"/>
                  </a:lnTo>
                  <a:lnTo>
                    <a:pt x="202" y="705"/>
                  </a:lnTo>
                  <a:lnTo>
                    <a:pt x="200" y="720"/>
                  </a:lnTo>
                  <a:lnTo>
                    <a:pt x="196" y="734"/>
                  </a:lnTo>
                  <a:lnTo>
                    <a:pt x="194" y="749"/>
                  </a:lnTo>
                  <a:lnTo>
                    <a:pt x="192" y="764"/>
                  </a:lnTo>
                  <a:lnTo>
                    <a:pt x="190" y="779"/>
                  </a:lnTo>
                  <a:lnTo>
                    <a:pt x="190" y="795"/>
                  </a:lnTo>
                  <a:lnTo>
                    <a:pt x="189" y="812"/>
                  </a:lnTo>
                  <a:lnTo>
                    <a:pt x="189" y="827"/>
                  </a:lnTo>
                  <a:lnTo>
                    <a:pt x="189" y="842"/>
                  </a:lnTo>
                  <a:lnTo>
                    <a:pt x="189" y="857"/>
                  </a:lnTo>
                  <a:lnTo>
                    <a:pt x="189" y="874"/>
                  </a:lnTo>
                  <a:lnTo>
                    <a:pt x="190" y="890"/>
                  </a:lnTo>
                  <a:lnTo>
                    <a:pt x="192" y="907"/>
                  </a:lnTo>
                  <a:lnTo>
                    <a:pt x="192" y="922"/>
                  </a:lnTo>
                  <a:lnTo>
                    <a:pt x="194" y="939"/>
                  </a:lnTo>
                  <a:lnTo>
                    <a:pt x="198" y="954"/>
                  </a:lnTo>
                  <a:lnTo>
                    <a:pt x="202" y="971"/>
                  </a:lnTo>
                  <a:lnTo>
                    <a:pt x="204" y="987"/>
                  </a:lnTo>
                  <a:lnTo>
                    <a:pt x="208" y="1002"/>
                  </a:lnTo>
                  <a:lnTo>
                    <a:pt x="211" y="1017"/>
                  </a:lnTo>
                  <a:lnTo>
                    <a:pt x="217" y="1032"/>
                  </a:lnTo>
                  <a:lnTo>
                    <a:pt x="221" y="1046"/>
                  </a:lnTo>
                  <a:lnTo>
                    <a:pt x="227" y="1061"/>
                  </a:lnTo>
                  <a:lnTo>
                    <a:pt x="232" y="1076"/>
                  </a:lnTo>
                  <a:lnTo>
                    <a:pt x="238" y="1091"/>
                  </a:lnTo>
                  <a:lnTo>
                    <a:pt x="244" y="1105"/>
                  </a:lnTo>
                  <a:lnTo>
                    <a:pt x="251" y="1120"/>
                  </a:lnTo>
                  <a:lnTo>
                    <a:pt x="257" y="1133"/>
                  </a:lnTo>
                  <a:lnTo>
                    <a:pt x="265" y="1148"/>
                  </a:lnTo>
                  <a:lnTo>
                    <a:pt x="272" y="1162"/>
                  </a:lnTo>
                  <a:lnTo>
                    <a:pt x="280" y="1175"/>
                  </a:lnTo>
                  <a:lnTo>
                    <a:pt x="289" y="1188"/>
                  </a:lnTo>
                  <a:lnTo>
                    <a:pt x="297" y="1201"/>
                  </a:lnTo>
                  <a:lnTo>
                    <a:pt x="306" y="1213"/>
                  </a:lnTo>
                  <a:lnTo>
                    <a:pt x="314" y="1226"/>
                  </a:lnTo>
                  <a:lnTo>
                    <a:pt x="324" y="1238"/>
                  </a:lnTo>
                  <a:lnTo>
                    <a:pt x="335" y="1251"/>
                  </a:lnTo>
                  <a:lnTo>
                    <a:pt x="344" y="1262"/>
                  </a:lnTo>
                  <a:lnTo>
                    <a:pt x="354" y="1274"/>
                  </a:lnTo>
                  <a:lnTo>
                    <a:pt x="365" y="1285"/>
                  </a:lnTo>
                  <a:lnTo>
                    <a:pt x="377" y="1297"/>
                  </a:lnTo>
                  <a:lnTo>
                    <a:pt x="388" y="1306"/>
                  </a:lnTo>
                  <a:lnTo>
                    <a:pt x="400" y="1317"/>
                  </a:lnTo>
                  <a:lnTo>
                    <a:pt x="411" y="1327"/>
                  </a:lnTo>
                  <a:lnTo>
                    <a:pt x="422" y="1338"/>
                  </a:lnTo>
                  <a:lnTo>
                    <a:pt x="434" y="1348"/>
                  </a:lnTo>
                  <a:lnTo>
                    <a:pt x="447" y="1357"/>
                  </a:lnTo>
                  <a:lnTo>
                    <a:pt x="459" y="1365"/>
                  </a:lnTo>
                  <a:lnTo>
                    <a:pt x="472" y="1374"/>
                  </a:lnTo>
                  <a:lnTo>
                    <a:pt x="485" y="1382"/>
                  </a:lnTo>
                  <a:lnTo>
                    <a:pt x="498" y="1392"/>
                  </a:lnTo>
                  <a:lnTo>
                    <a:pt x="512" y="1399"/>
                  </a:lnTo>
                  <a:lnTo>
                    <a:pt x="525" y="1407"/>
                  </a:lnTo>
                  <a:lnTo>
                    <a:pt x="538" y="1414"/>
                  </a:lnTo>
                  <a:lnTo>
                    <a:pt x="552" y="1422"/>
                  </a:lnTo>
                  <a:lnTo>
                    <a:pt x="567" y="1428"/>
                  </a:lnTo>
                  <a:lnTo>
                    <a:pt x="582" y="1435"/>
                  </a:lnTo>
                  <a:lnTo>
                    <a:pt x="595" y="1439"/>
                  </a:lnTo>
                  <a:lnTo>
                    <a:pt x="611" y="1445"/>
                  </a:lnTo>
                  <a:lnTo>
                    <a:pt x="624" y="1451"/>
                  </a:lnTo>
                  <a:lnTo>
                    <a:pt x="641" y="1456"/>
                  </a:lnTo>
                  <a:lnTo>
                    <a:pt x="654" y="1460"/>
                  </a:lnTo>
                  <a:lnTo>
                    <a:pt x="671" y="1464"/>
                  </a:lnTo>
                  <a:lnTo>
                    <a:pt x="687" y="1468"/>
                  </a:lnTo>
                  <a:lnTo>
                    <a:pt x="702" y="1473"/>
                  </a:lnTo>
                  <a:lnTo>
                    <a:pt x="717" y="1475"/>
                  </a:lnTo>
                  <a:lnTo>
                    <a:pt x="734" y="1477"/>
                  </a:lnTo>
                  <a:lnTo>
                    <a:pt x="749" y="1479"/>
                  </a:lnTo>
                  <a:lnTo>
                    <a:pt x="766" y="1483"/>
                  </a:lnTo>
                  <a:lnTo>
                    <a:pt x="784" y="1483"/>
                  </a:lnTo>
                  <a:lnTo>
                    <a:pt x="799" y="1485"/>
                  </a:lnTo>
                  <a:lnTo>
                    <a:pt x="816" y="1485"/>
                  </a:lnTo>
                  <a:lnTo>
                    <a:pt x="833" y="1487"/>
                  </a:lnTo>
                  <a:lnTo>
                    <a:pt x="848" y="1485"/>
                  </a:lnTo>
                  <a:lnTo>
                    <a:pt x="865" y="1485"/>
                  </a:lnTo>
                  <a:lnTo>
                    <a:pt x="881" y="1483"/>
                  </a:lnTo>
                  <a:lnTo>
                    <a:pt x="898" y="1483"/>
                  </a:lnTo>
                  <a:lnTo>
                    <a:pt x="913" y="1479"/>
                  </a:lnTo>
                  <a:lnTo>
                    <a:pt x="928" y="1477"/>
                  </a:lnTo>
                  <a:lnTo>
                    <a:pt x="945" y="1475"/>
                  </a:lnTo>
                  <a:lnTo>
                    <a:pt x="962" y="1473"/>
                  </a:lnTo>
                  <a:lnTo>
                    <a:pt x="976" y="1468"/>
                  </a:lnTo>
                  <a:lnTo>
                    <a:pt x="991" y="1464"/>
                  </a:lnTo>
                  <a:lnTo>
                    <a:pt x="1006" y="1460"/>
                  </a:lnTo>
                  <a:lnTo>
                    <a:pt x="1021" y="1456"/>
                  </a:lnTo>
                  <a:lnTo>
                    <a:pt x="1036" y="1451"/>
                  </a:lnTo>
                  <a:lnTo>
                    <a:pt x="1052" y="1445"/>
                  </a:lnTo>
                  <a:lnTo>
                    <a:pt x="1067" y="1439"/>
                  </a:lnTo>
                  <a:lnTo>
                    <a:pt x="1082" y="1435"/>
                  </a:lnTo>
                  <a:lnTo>
                    <a:pt x="1095" y="1428"/>
                  </a:lnTo>
                  <a:lnTo>
                    <a:pt x="1109" y="1422"/>
                  </a:lnTo>
                  <a:lnTo>
                    <a:pt x="1124" y="1414"/>
                  </a:lnTo>
                  <a:lnTo>
                    <a:pt x="1137" y="1407"/>
                  </a:lnTo>
                  <a:lnTo>
                    <a:pt x="1150" y="1399"/>
                  </a:lnTo>
                  <a:lnTo>
                    <a:pt x="1164" y="1392"/>
                  </a:lnTo>
                  <a:lnTo>
                    <a:pt x="1177" y="1382"/>
                  </a:lnTo>
                  <a:lnTo>
                    <a:pt x="1190" y="1374"/>
                  </a:lnTo>
                  <a:lnTo>
                    <a:pt x="1204" y="1365"/>
                  </a:lnTo>
                  <a:lnTo>
                    <a:pt x="1215" y="1357"/>
                  </a:lnTo>
                  <a:lnTo>
                    <a:pt x="1227" y="1348"/>
                  </a:lnTo>
                  <a:lnTo>
                    <a:pt x="1240" y="1338"/>
                  </a:lnTo>
                  <a:lnTo>
                    <a:pt x="1251" y="1327"/>
                  </a:lnTo>
                  <a:lnTo>
                    <a:pt x="1263" y="1317"/>
                  </a:lnTo>
                  <a:lnTo>
                    <a:pt x="1274" y="1306"/>
                  </a:lnTo>
                  <a:lnTo>
                    <a:pt x="1285" y="1297"/>
                  </a:lnTo>
                  <a:lnTo>
                    <a:pt x="1295" y="1285"/>
                  </a:lnTo>
                  <a:lnTo>
                    <a:pt x="1306" y="1274"/>
                  </a:lnTo>
                  <a:lnTo>
                    <a:pt x="1316" y="1262"/>
                  </a:lnTo>
                  <a:lnTo>
                    <a:pt x="1327" y="1251"/>
                  </a:lnTo>
                  <a:lnTo>
                    <a:pt x="1337" y="1238"/>
                  </a:lnTo>
                  <a:lnTo>
                    <a:pt x="1346" y="1226"/>
                  </a:lnTo>
                  <a:lnTo>
                    <a:pt x="1354" y="1213"/>
                  </a:lnTo>
                  <a:lnTo>
                    <a:pt x="1363" y="1201"/>
                  </a:lnTo>
                  <a:lnTo>
                    <a:pt x="1371" y="1188"/>
                  </a:lnTo>
                  <a:lnTo>
                    <a:pt x="1381" y="1175"/>
                  </a:lnTo>
                  <a:lnTo>
                    <a:pt x="1386" y="1162"/>
                  </a:lnTo>
                  <a:lnTo>
                    <a:pt x="1396" y="1148"/>
                  </a:lnTo>
                  <a:lnTo>
                    <a:pt x="1401" y="1133"/>
                  </a:lnTo>
                  <a:lnTo>
                    <a:pt x="1411" y="1120"/>
                  </a:lnTo>
                  <a:lnTo>
                    <a:pt x="1417" y="1105"/>
                  </a:lnTo>
                  <a:lnTo>
                    <a:pt x="1422" y="1091"/>
                  </a:lnTo>
                  <a:lnTo>
                    <a:pt x="1428" y="1076"/>
                  </a:lnTo>
                  <a:lnTo>
                    <a:pt x="1434" y="1061"/>
                  </a:lnTo>
                  <a:lnTo>
                    <a:pt x="1439" y="1046"/>
                  </a:lnTo>
                  <a:lnTo>
                    <a:pt x="1445" y="1032"/>
                  </a:lnTo>
                  <a:lnTo>
                    <a:pt x="1449" y="1017"/>
                  </a:lnTo>
                  <a:lnTo>
                    <a:pt x="1453" y="1002"/>
                  </a:lnTo>
                  <a:lnTo>
                    <a:pt x="1457" y="987"/>
                  </a:lnTo>
                  <a:lnTo>
                    <a:pt x="1460" y="971"/>
                  </a:lnTo>
                  <a:lnTo>
                    <a:pt x="1462" y="954"/>
                  </a:lnTo>
                  <a:lnTo>
                    <a:pt x="1466" y="939"/>
                  </a:lnTo>
                  <a:lnTo>
                    <a:pt x="1468" y="922"/>
                  </a:lnTo>
                  <a:lnTo>
                    <a:pt x="1470" y="907"/>
                  </a:lnTo>
                  <a:lnTo>
                    <a:pt x="1472" y="890"/>
                  </a:lnTo>
                  <a:lnTo>
                    <a:pt x="1472" y="874"/>
                  </a:lnTo>
                  <a:lnTo>
                    <a:pt x="1474" y="857"/>
                  </a:lnTo>
                  <a:lnTo>
                    <a:pt x="1474" y="842"/>
                  </a:lnTo>
                  <a:lnTo>
                    <a:pt x="1474" y="825"/>
                  </a:lnTo>
                  <a:lnTo>
                    <a:pt x="1472" y="808"/>
                  </a:lnTo>
                  <a:lnTo>
                    <a:pt x="1472" y="793"/>
                  </a:lnTo>
                  <a:lnTo>
                    <a:pt x="1470" y="776"/>
                  </a:lnTo>
                  <a:lnTo>
                    <a:pt x="1468" y="758"/>
                  </a:lnTo>
                  <a:lnTo>
                    <a:pt x="1466" y="743"/>
                  </a:lnTo>
                  <a:lnTo>
                    <a:pt x="1462" y="728"/>
                  </a:lnTo>
                  <a:lnTo>
                    <a:pt x="1460" y="713"/>
                  </a:lnTo>
                  <a:lnTo>
                    <a:pt x="1457" y="698"/>
                  </a:lnTo>
                  <a:lnTo>
                    <a:pt x="1453" y="682"/>
                  </a:lnTo>
                  <a:lnTo>
                    <a:pt x="1449" y="665"/>
                  </a:lnTo>
                  <a:lnTo>
                    <a:pt x="1445" y="650"/>
                  </a:lnTo>
                  <a:lnTo>
                    <a:pt x="1439" y="635"/>
                  </a:lnTo>
                  <a:lnTo>
                    <a:pt x="1434" y="622"/>
                  </a:lnTo>
                  <a:lnTo>
                    <a:pt x="1428" y="606"/>
                  </a:lnTo>
                  <a:lnTo>
                    <a:pt x="1422" y="593"/>
                  </a:lnTo>
                  <a:lnTo>
                    <a:pt x="1417" y="578"/>
                  </a:lnTo>
                  <a:lnTo>
                    <a:pt x="1411" y="563"/>
                  </a:lnTo>
                  <a:lnTo>
                    <a:pt x="1401" y="549"/>
                  </a:lnTo>
                  <a:lnTo>
                    <a:pt x="1396" y="536"/>
                  </a:lnTo>
                  <a:lnTo>
                    <a:pt x="1386" y="521"/>
                  </a:lnTo>
                  <a:lnTo>
                    <a:pt x="1381" y="509"/>
                  </a:lnTo>
                  <a:lnTo>
                    <a:pt x="1371" y="496"/>
                  </a:lnTo>
                  <a:lnTo>
                    <a:pt x="1363" y="483"/>
                  </a:lnTo>
                  <a:lnTo>
                    <a:pt x="1354" y="470"/>
                  </a:lnTo>
                  <a:lnTo>
                    <a:pt x="1346" y="458"/>
                  </a:lnTo>
                  <a:lnTo>
                    <a:pt x="1337" y="445"/>
                  </a:lnTo>
                  <a:lnTo>
                    <a:pt x="1327" y="433"/>
                  </a:lnTo>
                  <a:lnTo>
                    <a:pt x="1316" y="422"/>
                  </a:lnTo>
                  <a:lnTo>
                    <a:pt x="1306" y="411"/>
                  </a:lnTo>
                  <a:lnTo>
                    <a:pt x="1295" y="399"/>
                  </a:lnTo>
                  <a:lnTo>
                    <a:pt x="1285" y="390"/>
                  </a:lnTo>
                  <a:lnTo>
                    <a:pt x="1274" y="378"/>
                  </a:lnTo>
                  <a:lnTo>
                    <a:pt x="1263" y="367"/>
                  </a:lnTo>
                  <a:lnTo>
                    <a:pt x="1251" y="355"/>
                  </a:lnTo>
                  <a:lnTo>
                    <a:pt x="1240" y="346"/>
                  </a:lnTo>
                  <a:lnTo>
                    <a:pt x="1227" y="336"/>
                  </a:lnTo>
                  <a:lnTo>
                    <a:pt x="1215" y="327"/>
                  </a:lnTo>
                  <a:lnTo>
                    <a:pt x="1204" y="317"/>
                  </a:lnTo>
                  <a:lnTo>
                    <a:pt x="1190" y="310"/>
                  </a:lnTo>
                  <a:lnTo>
                    <a:pt x="1177" y="300"/>
                  </a:lnTo>
                  <a:lnTo>
                    <a:pt x="1164" y="293"/>
                  </a:lnTo>
                  <a:lnTo>
                    <a:pt x="1150" y="283"/>
                  </a:lnTo>
                  <a:lnTo>
                    <a:pt x="1137" y="277"/>
                  </a:lnTo>
                  <a:lnTo>
                    <a:pt x="1124" y="270"/>
                  </a:lnTo>
                  <a:lnTo>
                    <a:pt x="1109" y="262"/>
                  </a:lnTo>
                  <a:lnTo>
                    <a:pt x="1095" y="257"/>
                  </a:lnTo>
                  <a:lnTo>
                    <a:pt x="1082" y="251"/>
                  </a:lnTo>
                  <a:lnTo>
                    <a:pt x="1067" y="243"/>
                  </a:lnTo>
                  <a:lnTo>
                    <a:pt x="1052" y="238"/>
                  </a:lnTo>
                  <a:lnTo>
                    <a:pt x="1036" y="234"/>
                  </a:lnTo>
                  <a:lnTo>
                    <a:pt x="1021" y="228"/>
                  </a:lnTo>
                  <a:lnTo>
                    <a:pt x="1006" y="224"/>
                  </a:lnTo>
                  <a:lnTo>
                    <a:pt x="991" y="220"/>
                  </a:lnTo>
                  <a:lnTo>
                    <a:pt x="976" y="217"/>
                  </a:lnTo>
                  <a:lnTo>
                    <a:pt x="962" y="213"/>
                  </a:lnTo>
                  <a:lnTo>
                    <a:pt x="945" y="209"/>
                  </a:lnTo>
                  <a:lnTo>
                    <a:pt x="928" y="207"/>
                  </a:lnTo>
                  <a:lnTo>
                    <a:pt x="913" y="205"/>
                  </a:lnTo>
                  <a:lnTo>
                    <a:pt x="898" y="203"/>
                  </a:lnTo>
                  <a:lnTo>
                    <a:pt x="881" y="201"/>
                  </a:lnTo>
                  <a:lnTo>
                    <a:pt x="865" y="201"/>
                  </a:lnTo>
                  <a:lnTo>
                    <a:pt x="848" y="201"/>
                  </a:lnTo>
                  <a:lnTo>
                    <a:pt x="833" y="201"/>
                  </a:lnTo>
                  <a:lnTo>
                    <a:pt x="825" y="201"/>
                  </a:lnTo>
                  <a:lnTo>
                    <a:pt x="820" y="201"/>
                  </a:lnTo>
                  <a:lnTo>
                    <a:pt x="814" y="201"/>
                  </a:lnTo>
                  <a:lnTo>
                    <a:pt x="808" y="201"/>
                  </a:lnTo>
                  <a:lnTo>
                    <a:pt x="805" y="112"/>
                  </a:lnTo>
                  <a:lnTo>
                    <a:pt x="810" y="112"/>
                  </a:lnTo>
                  <a:lnTo>
                    <a:pt x="816" y="112"/>
                  </a:lnTo>
                  <a:lnTo>
                    <a:pt x="820" y="110"/>
                  </a:lnTo>
                  <a:lnTo>
                    <a:pt x="825" y="110"/>
                  </a:lnTo>
                  <a:lnTo>
                    <a:pt x="831" y="110"/>
                  </a:lnTo>
                  <a:lnTo>
                    <a:pt x="835" y="110"/>
                  </a:lnTo>
                  <a:lnTo>
                    <a:pt x="841" y="110"/>
                  </a:lnTo>
                  <a:lnTo>
                    <a:pt x="844" y="110"/>
                  </a:lnTo>
                  <a:lnTo>
                    <a:pt x="852" y="108"/>
                  </a:lnTo>
                  <a:lnTo>
                    <a:pt x="858" y="108"/>
                  </a:lnTo>
                  <a:lnTo>
                    <a:pt x="860" y="108"/>
                  </a:lnTo>
                  <a:lnTo>
                    <a:pt x="862" y="108"/>
                  </a:lnTo>
                  <a:lnTo>
                    <a:pt x="871" y="0"/>
                  </a:lnTo>
                  <a:lnTo>
                    <a:pt x="1074" y="36"/>
                  </a:lnTo>
                  <a:lnTo>
                    <a:pt x="1042" y="133"/>
                  </a:lnTo>
                  <a:lnTo>
                    <a:pt x="1183" y="186"/>
                  </a:lnTo>
                  <a:lnTo>
                    <a:pt x="1238" y="99"/>
                  </a:lnTo>
                  <a:lnTo>
                    <a:pt x="1358" y="181"/>
                  </a:lnTo>
                  <a:lnTo>
                    <a:pt x="1299" y="253"/>
                  </a:lnTo>
                  <a:lnTo>
                    <a:pt x="1394" y="346"/>
                  </a:lnTo>
                  <a:lnTo>
                    <a:pt x="1464" y="316"/>
                  </a:lnTo>
                  <a:lnTo>
                    <a:pt x="1538" y="431"/>
                  </a:lnTo>
                  <a:lnTo>
                    <a:pt x="1472" y="475"/>
                  </a:lnTo>
                  <a:lnTo>
                    <a:pt x="1529" y="585"/>
                  </a:lnTo>
                  <a:lnTo>
                    <a:pt x="1611" y="555"/>
                  </a:lnTo>
                  <a:lnTo>
                    <a:pt x="1654" y="696"/>
                  </a:lnTo>
                  <a:lnTo>
                    <a:pt x="1571" y="717"/>
                  </a:lnTo>
                  <a:lnTo>
                    <a:pt x="1578" y="861"/>
                  </a:lnTo>
                  <a:lnTo>
                    <a:pt x="1666" y="878"/>
                  </a:lnTo>
                  <a:lnTo>
                    <a:pt x="1635" y="1036"/>
                  </a:lnTo>
                  <a:lnTo>
                    <a:pt x="1563" y="1023"/>
                  </a:lnTo>
                  <a:lnTo>
                    <a:pt x="1514" y="1156"/>
                  </a:lnTo>
                  <a:lnTo>
                    <a:pt x="1595" y="1200"/>
                  </a:lnTo>
                  <a:lnTo>
                    <a:pt x="1512" y="1325"/>
                  </a:lnTo>
                  <a:lnTo>
                    <a:pt x="1451" y="1279"/>
                  </a:lnTo>
                  <a:lnTo>
                    <a:pt x="1377" y="1361"/>
                  </a:lnTo>
                  <a:lnTo>
                    <a:pt x="1426" y="1433"/>
                  </a:lnTo>
                  <a:lnTo>
                    <a:pt x="1314" y="1511"/>
                  </a:lnTo>
                  <a:lnTo>
                    <a:pt x="1280" y="1454"/>
                  </a:lnTo>
                  <a:lnTo>
                    <a:pt x="1152" y="1523"/>
                  </a:lnTo>
                  <a:lnTo>
                    <a:pt x="1190" y="1599"/>
                  </a:lnTo>
                  <a:lnTo>
                    <a:pt x="1063" y="1643"/>
                  </a:lnTo>
                  <a:lnTo>
                    <a:pt x="1029" y="1557"/>
                  </a:lnTo>
                  <a:lnTo>
                    <a:pt x="903" y="1578"/>
                  </a:lnTo>
                  <a:lnTo>
                    <a:pt x="913" y="1673"/>
                  </a:lnTo>
                  <a:lnTo>
                    <a:pt x="770" y="1671"/>
                  </a:lnTo>
                  <a:lnTo>
                    <a:pt x="776" y="1574"/>
                  </a:lnTo>
                  <a:lnTo>
                    <a:pt x="641" y="1547"/>
                  </a:lnTo>
                  <a:lnTo>
                    <a:pt x="611" y="1650"/>
                  </a:lnTo>
                  <a:lnTo>
                    <a:pt x="474" y="1591"/>
                  </a:lnTo>
                  <a:lnTo>
                    <a:pt x="523" y="1506"/>
                  </a:lnTo>
                  <a:lnTo>
                    <a:pt x="405" y="1447"/>
                  </a:lnTo>
                  <a:lnTo>
                    <a:pt x="352" y="1525"/>
                  </a:lnTo>
                  <a:lnTo>
                    <a:pt x="242" y="1433"/>
                  </a:lnTo>
                  <a:lnTo>
                    <a:pt x="312" y="1350"/>
                  </a:lnTo>
                  <a:lnTo>
                    <a:pt x="211" y="1245"/>
                  </a:lnTo>
                  <a:lnTo>
                    <a:pt x="133" y="1306"/>
                  </a:lnTo>
                  <a:lnTo>
                    <a:pt x="57" y="1156"/>
                  </a:lnTo>
                  <a:lnTo>
                    <a:pt x="145" y="1105"/>
                  </a:lnTo>
                  <a:lnTo>
                    <a:pt x="105" y="951"/>
                  </a:lnTo>
                  <a:lnTo>
                    <a:pt x="10" y="971"/>
                  </a:lnTo>
                  <a:lnTo>
                    <a:pt x="0" y="810"/>
                  </a:lnTo>
                  <a:lnTo>
                    <a:pt x="97" y="802"/>
                  </a:lnTo>
                  <a:lnTo>
                    <a:pt x="124" y="667"/>
                  </a:lnTo>
                  <a:lnTo>
                    <a:pt x="27" y="648"/>
                  </a:lnTo>
                  <a:lnTo>
                    <a:pt x="75" y="481"/>
                  </a:lnTo>
                  <a:lnTo>
                    <a:pt x="177" y="515"/>
                  </a:lnTo>
                  <a:lnTo>
                    <a:pt x="261" y="382"/>
                  </a:lnTo>
                  <a:lnTo>
                    <a:pt x="190" y="316"/>
                  </a:lnTo>
                  <a:lnTo>
                    <a:pt x="301" y="205"/>
                  </a:lnTo>
                  <a:lnTo>
                    <a:pt x="356" y="264"/>
                  </a:lnTo>
                  <a:lnTo>
                    <a:pt x="514" y="177"/>
                  </a:lnTo>
                  <a:lnTo>
                    <a:pt x="462" y="89"/>
                  </a:lnTo>
                  <a:lnTo>
                    <a:pt x="662"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grpSp>
      <p:grpSp>
        <p:nvGrpSpPr>
          <p:cNvPr id="6" name="Group 23"/>
          <p:cNvGrpSpPr>
            <a:grpSpLocks/>
          </p:cNvGrpSpPr>
          <p:nvPr/>
        </p:nvGrpSpPr>
        <p:grpSpPr bwMode="auto">
          <a:xfrm>
            <a:off x="3953651" y="2971801"/>
            <a:ext cx="1889541" cy="1750939"/>
            <a:chOff x="1313" y="1865"/>
            <a:chExt cx="517" cy="519"/>
          </a:xfrm>
          <a:solidFill>
            <a:schemeClr val="accent5"/>
          </a:solidFill>
        </p:grpSpPr>
        <p:sp>
          <p:nvSpPr>
            <p:cNvPr id="25" name="Freeform 24"/>
            <p:cNvSpPr>
              <a:spLocks/>
            </p:cNvSpPr>
            <p:nvPr/>
          </p:nvSpPr>
          <p:spPr bwMode="auto">
            <a:xfrm rot="263996">
              <a:off x="1392" y="1945"/>
              <a:ext cx="358" cy="358"/>
            </a:xfrm>
            <a:custGeom>
              <a:avLst/>
              <a:gdLst>
                <a:gd name="T0" fmla="*/ 206 w 1323"/>
                <a:gd name="T1" fmla="*/ 326 h 1323"/>
                <a:gd name="T2" fmla="*/ 239 w 1323"/>
                <a:gd name="T3" fmla="*/ 316 h 1323"/>
                <a:gd name="T4" fmla="*/ 268 w 1323"/>
                <a:gd name="T5" fmla="*/ 298 h 1323"/>
                <a:gd name="T6" fmla="*/ 292 w 1323"/>
                <a:gd name="T7" fmla="*/ 276 h 1323"/>
                <a:gd name="T8" fmla="*/ 311 w 1323"/>
                <a:gd name="T9" fmla="*/ 248 h 1323"/>
                <a:gd name="T10" fmla="*/ 324 w 1323"/>
                <a:gd name="T11" fmla="*/ 217 h 1323"/>
                <a:gd name="T12" fmla="*/ 329 w 1323"/>
                <a:gd name="T13" fmla="*/ 183 h 1323"/>
                <a:gd name="T14" fmla="*/ 327 w 1323"/>
                <a:gd name="T15" fmla="*/ 149 h 1323"/>
                <a:gd name="T16" fmla="*/ 318 w 1323"/>
                <a:gd name="T17" fmla="*/ 118 h 1323"/>
                <a:gd name="T18" fmla="*/ 303 w 1323"/>
                <a:gd name="T19" fmla="*/ 89 h 1323"/>
                <a:gd name="T20" fmla="*/ 283 w 1323"/>
                <a:gd name="T21" fmla="*/ 65 h 1323"/>
                <a:gd name="T22" fmla="*/ 258 w 1323"/>
                <a:gd name="T23" fmla="*/ 45 h 1323"/>
                <a:gd name="T24" fmla="*/ 229 w 1323"/>
                <a:gd name="T25" fmla="*/ 31 h 1323"/>
                <a:gd name="T26" fmla="*/ 197 w 1323"/>
                <a:gd name="T27" fmla="*/ 23 h 1323"/>
                <a:gd name="T28" fmla="*/ 187 w 1323"/>
                <a:gd name="T29" fmla="*/ 14 h 1323"/>
                <a:gd name="T30" fmla="*/ 193 w 1323"/>
                <a:gd name="T31" fmla="*/ 0 h 1323"/>
                <a:gd name="T32" fmla="*/ 232 w 1323"/>
                <a:gd name="T33" fmla="*/ 7 h 1323"/>
                <a:gd name="T34" fmla="*/ 266 w 1323"/>
                <a:gd name="T35" fmla="*/ 22 h 1323"/>
                <a:gd name="T36" fmla="*/ 297 w 1323"/>
                <a:gd name="T37" fmla="*/ 44 h 1323"/>
                <a:gd name="T38" fmla="*/ 322 w 1323"/>
                <a:gd name="T39" fmla="*/ 71 h 1323"/>
                <a:gd name="T40" fmla="*/ 341 w 1323"/>
                <a:gd name="T41" fmla="*/ 103 h 1323"/>
                <a:gd name="T42" fmla="*/ 353 w 1323"/>
                <a:gd name="T43" fmla="*/ 139 h 1323"/>
                <a:gd name="T44" fmla="*/ 358 w 1323"/>
                <a:gd name="T45" fmla="*/ 179 h 1323"/>
                <a:gd name="T46" fmla="*/ 353 w 1323"/>
                <a:gd name="T47" fmla="*/ 219 h 1323"/>
                <a:gd name="T48" fmla="*/ 340 w 1323"/>
                <a:gd name="T49" fmla="*/ 256 h 1323"/>
                <a:gd name="T50" fmla="*/ 320 w 1323"/>
                <a:gd name="T51" fmla="*/ 289 h 1323"/>
                <a:gd name="T52" fmla="*/ 293 w 1323"/>
                <a:gd name="T53" fmla="*/ 317 h 1323"/>
                <a:gd name="T54" fmla="*/ 260 w 1323"/>
                <a:gd name="T55" fmla="*/ 338 h 1323"/>
                <a:gd name="T56" fmla="*/ 223 w 1323"/>
                <a:gd name="T57" fmla="*/ 352 h 1323"/>
                <a:gd name="T58" fmla="*/ 184 w 1323"/>
                <a:gd name="T59" fmla="*/ 358 h 1323"/>
                <a:gd name="T60" fmla="*/ 143 w 1323"/>
                <a:gd name="T61" fmla="*/ 354 h 1323"/>
                <a:gd name="T62" fmla="*/ 105 w 1323"/>
                <a:gd name="T63" fmla="*/ 342 h 1323"/>
                <a:gd name="T64" fmla="*/ 72 w 1323"/>
                <a:gd name="T65" fmla="*/ 322 h 1323"/>
                <a:gd name="T66" fmla="*/ 44 w 1323"/>
                <a:gd name="T67" fmla="*/ 296 h 1323"/>
                <a:gd name="T68" fmla="*/ 22 w 1323"/>
                <a:gd name="T69" fmla="*/ 264 h 1323"/>
                <a:gd name="T70" fmla="*/ 6 w 1323"/>
                <a:gd name="T71" fmla="*/ 227 h 1323"/>
                <a:gd name="T72" fmla="*/ 0 w 1323"/>
                <a:gd name="T73" fmla="*/ 188 h 1323"/>
                <a:gd name="T74" fmla="*/ 3 w 1323"/>
                <a:gd name="T75" fmla="*/ 148 h 1323"/>
                <a:gd name="T76" fmla="*/ 14 w 1323"/>
                <a:gd name="T77" fmla="*/ 111 h 1323"/>
                <a:gd name="T78" fmla="*/ 31 w 1323"/>
                <a:gd name="T79" fmla="*/ 77 h 1323"/>
                <a:gd name="T80" fmla="*/ 56 w 1323"/>
                <a:gd name="T81" fmla="*/ 48 h 1323"/>
                <a:gd name="T82" fmla="*/ 86 w 1323"/>
                <a:gd name="T83" fmla="*/ 25 h 1323"/>
                <a:gd name="T84" fmla="*/ 120 w 1323"/>
                <a:gd name="T85" fmla="*/ 9 h 1323"/>
                <a:gd name="T86" fmla="*/ 159 w 1323"/>
                <a:gd name="T87" fmla="*/ 1 h 1323"/>
                <a:gd name="T88" fmla="*/ 173 w 1323"/>
                <a:gd name="T89" fmla="*/ 10 h 1323"/>
                <a:gd name="T90" fmla="*/ 163 w 1323"/>
                <a:gd name="T91" fmla="*/ 22 h 1323"/>
                <a:gd name="T92" fmla="*/ 129 w 1323"/>
                <a:gd name="T93" fmla="*/ 28 h 1323"/>
                <a:gd name="T94" fmla="*/ 98 w 1323"/>
                <a:gd name="T95" fmla="*/ 42 h 1323"/>
                <a:gd name="T96" fmla="*/ 72 w 1323"/>
                <a:gd name="T97" fmla="*/ 61 h 1323"/>
                <a:gd name="T98" fmla="*/ 50 w 1323"/>
                <a:gd name="T99" fmla="*/ 87 h 1323"/>
                <a:gd name="T100" fmla="*/ 34 w 1323"/>
                <a:gd name="T101" fmla="*/ 115 h 1323"/>
                <a:gd name="T102" fmla="*/ 24 w 1323"/>
                <a:gd name="T103" fmla="*/ 148 h 1323"/>
                <a:gd name="T104" fmla="*/ 22 w 1323"/>
                <a:gd name="T105" fmla="*/ 183 h 1323"/>
                <a:gd name="T106" fmla="*/ 27 w 1323"/>
                <a:gd name="T107" fmla="*/ 217 h 1323"/>
                <a:gd name="T108" fmla="*/ 40 w 1323"/>
                <a:gd name="T109" fmla="*/ 248 h 1323"/>
                <a:gd name="T110" fmla="*/ 59 w 1323"/>
                <a:gd name="T111" fmla="*/ 276 h 1323"/>
                <a:gd name="T112" fmla="*/ 83 w 1323"/>
                <a:gd name="T113" fmla="*/ 298 h 1323"/>
                <a:gd name="T114" fmla="*/ 112 w 1323"/>
                <a:gd name="T115" fmla="*/ 316 h 1323"/>
                <a:gd name="T116" fmla="*/ 144 w 1323"/>
                <a:gd name="T117" fmla="*/ 326 h 1323"/>
                <a:gd name="T118" fmla="*/ 176 w 1323"/>
                <a:gd name="T119" fmla="*/ 330 h 132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323" h="1323">
                  <a:moveTo>
                    <a:pt x="649" y="1219"/>
                  </a:moveTo>
                  <a:lnTo>
                    <a:pt x="664" y="1217"/>
                  </a:lnTo>
                  <a:lnTo>
                    <a:pt x="677" y="1217"/>
                  </a:lnTo>
                  <a:lnTo>
                    <a:pt x="692" y="1215"/>
                  </a:lnTo>
                  <a:lnTo>
                    <a:pt x="707" y="1215"/>
                  </a:lnTo>
                  <a:lnTo>
                    <a:pt x="721" y="1213"/>
                  </a:lnTo>
                  <a:lnTo>
                    <a:pt x="736" y="1211"/>
                  </a:lnTo>
                  <a:lnTo>
                    <a:pt x="749" y="1207"/>
                  </a:lnTo>
                  <a:lnTo>
                    <a:pt x="763" y="1205"/>
                  </a:lnTo>
                  <a:lnTo>
                    <a:pt x="778" y="1202"/>
                  </a:lnTo>
                  <a:lnTo>
                    <a:pt x="789" y="1200"/>
                  </a:lnTo>
                  <a:lnTo>
                    <a:pt x="804" y="1196"/>
                  </a:lnTo>
                  <a:lnTo>
                    <a:pt x="818" y="1192"/>
                  </a:lnTo>
                  <a:lnTo>
                    <a:pt x="829" y="1186"/>
                  </a:lnTo>
                  <a:lnTo>
                    <a:pt x="842" y="1183"/>
                  </a:lnTo>
                  <a:lnTo>
                    <a:pt x="856" y="1177"/>
                  </a:lnTo>
                  <a:lnTo>
                    <a:pt x="869" y="1173"/>
                  </a:lnTo>
                  <a:lnTo>
                    <a:pt x="882" y="1166"/>
                  </a:lnTo>
                  <a:lnTo>
                    <a:pt x="894" y="1160"/>
                  </a:lnTo>
                  <a:lnTo>
                    <a:pt x="907" y="1154"/>
                  </a:lnTo>
                  <a:lnTo>
                    <a:pt x="918" y="1148"/>
                  </a:lnTo>
                  <a:lnTo>
                    <a:pt x="930" y="1141"/>
                  </a:lnTo>
                  <a:lnTo>
                    <a:pt x="943" y="1133"/>
                  </a:lnTo>
                  <a:lnTo>
                    <a:pt x="955" y="1128"/>
                  </a:lnTo>
                  <a:lnTo>
                    <a:pt x="966" y="1120"/>
                  </a:lnTo>
                  <a:lnTo>
                    <a:pt x="977" y="1112"/>
                  </a:lnTo>
                  <a:lnTo>
                    <a:pt x="989" y="1103"/>
                  </a:lnTo>
                  <a:lnTo>
                    <a:pt x="998" y="1095"/>
                  </a:lnTo>
                  <a:lnTo>
                    <a:pt x="1010" y="1088"/>
                  </a:lnTo>
                  <a:lnTo>
                    <a:pt x="1019" y="1078"/>
                  </a:lnTo>
                  <a:lnTo>
                    <a:pt x="1031" y="1069"/>
                  </a:lnTo>
                  <a:lnTo>
                    <a:pt x="1040" y="1059"/>
                  </a:lnTo>
                  <a:lnTo>
                    <a:pt x="1052" y="1051"/>
                  </a:lnTo>
                  <a:lnTo>
                    <a:pt x="1059" y="1040"/>
                  </a:lnTo>
                  <a:lnTo>
                    <a:pt x="1069" y="1031"/>
                  </a:lnTo>
                  <a:lnTo>
                    <a:pt x="1078" y="1019"/>
                  </a:lnTo>
                  <a:lnTo>
                    <a:pt x="1088" y="1010"/>
                  </a:lnTo>
                  <a:lnTo>
                    <a:pt x="1095" y="998"/>
                  </a:lnTo>
                  <a:lnTo>
                    <a:pt x="1103" y="987"/>
                  </a:lnTo>
                  <a:lnTo>
                    <a:pt x="1112" y="975"/>
                  </a:lnTo>
                  <a:lnTo>
                    <a:pt x="1120" y="966"/>
                  </a:lnTo>
                  <a:lnTo>
                    <a:pt x="1128" y="953"/>
                  </a:lnTo>
                  <a:lnTo>
                    <a:pt x="1133" y="941"/>
                  </a:lnTo>
                  <a:lnTo>
                    <a:pt x="1141" y="930"/>
                  </a:lnTo>
                  <a:lnTo>
                    <a:pt x="1148" y="918"/>
                  </a:lnTo>
                  <a:lnTo>
                    <a:pt x="1154" y="905"/>
                  </a:lnTo>
                  <a:lnTo>
                    <a:pt x="1160" y="894"/>
                  </a:lnTo>
                  <a:lnTo>
                    <a:pt x="1166" y="880"/>
                  </a:lnTo>
                  <a:lnTo>
                    <a:pt x="1173" y="869"/>
                  </a:lnTo>
                  <a:lnTo>
                    <a:pt x="1177" y="856"/>
                  </a:lnTo>
                  <a:lnTo>
                    <a:pt x="1183" y="842"/>
                  </a:lnTo>
                  <a:lnTo>
                    <a:pt x="1187" y="829"/>
                  </a:lnTo>
                  <a:lnTo>
                    <a:pt x="1192" y="816"/>
                  </a:lnTo>
                  <a:lnTo>
                    <a:pt x="1196" y="802"/>
                  </a:lnTo>
                  <a:lnTo>
                    <a:pt x="1200" y="789"/>
                  </a:lnTo>
                  <a:lnTo>
                    <a:pt x="1202" y="776"/>
                  </a:lnTo>
                  <a:lnTo>
                    <a:pt x="1206" y="763"/>
                  </a:lnTo>
                  <a:lnTo>
                    <a:pt x="1207" y="747"/>
                  </a:lnTo>
                  <a:lnTo>
                    <a:pt x="1209" y="734"/>
                  </a:lnTo>
                  <a:lnTo>
                    <a:pt x="1211" y="719"/>
                  </a:lnTo>
                  <a:lnTo>
                    <a:pt x="1215" y="705"/>
                  </a:lnTo>
                  <a:lnTo>
                    <a:pt x="1215" y="690"/>
                  </a:lnTo>
                  <a:lnTo>
                    <a:pt x="1217" y="677"/>
                  </a:lnTo>
                  <a:lnTo>
                    <a:pt x="1217" y="662"/>
                  </a:lnTo>
                  <a:lnTo>
                    <a:pt x="1219" y="648"/>
                  </a:lnTo>
                  <a:lnTo>
                    <a:pt x="1217" y="633"/>
                  </a:lnTo>
                  <a:lnTo>
                    <a:pt x="1217" y="620"/>
                  </a:lnTo>
                  <a:lnTo>
                    <a:pt x="1217" y="605"/>
                  </a:lnTo>
                  <a:lnTo>
                    <a:pt x="1215" y="591"/>
                  </a:lnTo>
                  <a:lnTo>
                    <a:pt x="1213" y="576"/>
                  </a:lnTo>
                  <a:lnTo>
                    <a:pt x="1211" y="563"/>
                  </a:lnTo>
                  <a:lnTo>
                    <a:pt x="1209" y="550"/>
                  </a:lnTo>
                  <a:lnTo>
                    <a:pt x="1207" y="536"/>
                  </a:lnTo>
                  <a:lnTo>
                    <a:pt x="1202" y="523"/>
                  </a:lnTo>
                  <a:lnTo>
                    <a:pt x="1200" y="510"/>
                  </a:lnTo>
                  <a:lnTo>
                    <a:pt x="1196" y="496"/>
                  </a:lnTo>
                  <a:lnTo>
                    <a:pt x="1194" y="485"/>
                  </a:lnTo>
                  <a:lnTo>
                    <a:pt x="1188" y="470"/>
                  </a:lnTo>
                  <a:lnTo>
                    <a:pt x="1185" y="458"/>
                  </a:lnTo>
                  <a:lnTo>
                    <a:pt x="1181" y="445"/>
                  </a:lnTo>
                  <a:lnTo>
                    <a:pt x="1177" y="436"/>
                  </a:lnTo>
                  <a:lnTo>
                    <a:pt x="1171" y="422"/>
                  </a:lnTo>
                  <a:lnTo>
                    <a:pt x="1166" y="409"/>
                  </a:lnTo>
                  <a:lnTo>
                    <a:pt x="1160" y="397"/>
                  </a:lnTo>
                  <a:lnTo>
                    <a:pt x="1154" y="386"/>
                  </a:lnTo>
                  <a:lnTo>
                    <a:pt x="1147" y="375"/>
                  </a:lnTo>
                  <a:lnTo>
                    <a:pt x="1141" y="363"/>
                  </a:lnTo>
                  <a:lnTo>
                    <a:pt x="1135" y="352"/>
                  </a:lnTo>
                  <a:lnTo>
                    <a:pt x="1128" y="340"/>
                  </a:lnTo>
                  <a:lnTo>
                    <a:pt x="1120" y="329"/>
                  </a:lnTo>
                  <a:lnTo>
                    <a:pt x="1112" y="318"/>
                  </a:lnTo>
                  <a:lnTo>
                    <a:pt x="1105" y="308"/>
                  </a:lnTo>
                  <a:lnTo>
                    <a:pt x="1097" y="299"/>
                  </a:lnTo>
                  <a:lnTo>
                    <a:pt x="1090" y="287"/>
                  </a:lnTo>
                  <a:lnTo>
                    <a:pt x="1080" y="278"/>
                  </a:lnTo>
                  <a:lnTo>
                    <a:pt x="1072" y="268"/>
                  </a:lnTo>
                  <a:lnTo>
                    <a:pt x="1065" y="259"/>
                  </a:lnTo>
                  <a:lnTo>
                    <a:pt x="1055" y="249"/>
                  </a:lnTo>
                  <a:lnTo>
                    <a:pt x="1046" y="240"/>
                  </a:lnTo>
                  <a:lnTo>
                    <a:pt x="1036" y="230"/>
                  </a:lnTo>
                  <a:lnTo>
                    <a:pt x="1027" y="223"/>
                  </a:lnTo>
                  <a:lnTo>
                    <a:pt x="1015" y="213"/>
                  </a:lnTo>
                  <a:lnTo>
                    <a:pt x="1006" y="204"/>
                  </a:lnTo>
                  <a:lnTo>
                    <a:pt x="995" y="196"/>
                  </a:lnTo>
                  <a:lnTo>
                    <a:pt x="985" y="188"/>
                  </a:lnTo>
                  <a:lnTo>
                    <a:pt x="974" y="181"/>
                  </a:lnTo>
                  <a:lnTo>
                    <a:pt x="964" y="173"/>
                  </a:lnTo>
                  <a:lnTo>
                    <a:pt x="953" y="166"/>
                  </a:lnTo>
                  <a:lnTo>
                    <a:pt x="941" y="160"/>
                  </a:lnTo>
                  <a:lnTo>
                    <a:pt x="930" y="152"/>
                  </a:lnTo>
                  <a:lnTo>
                    <a:pt x="918" y="147"/>
                  </a:lnTo>
                  <a:lnTo>
                    <a:pt x="907" y="141"/>
                  </a:lnTo>
                  <a:lnTo>
                    <a:pt x="896" y="135"/>
                  </a:lnTo>
                  <a:lnTo>
                    <a:pt x="882" y="129"/>
                  </a:lnTo>
                  <a:lnTo>
                    <a:pt x="871" y="124"/>
                  </a:lnTo>
                  <a:lnTo>
                    <a:pt x="858" y="118"/>
                  </a:lnTo>
                  <a:lnTo>
                    <a:pt x="846" y="114"/>
                  </a:lnTo>
                  <a:lnTo>
                    <a:pt x="833" y="108"/>
                  </a:lnTo>
                  <a:lnTo>
                    <a:pt x="822" y="105"/>
                  </a:lnTo>
                  <a:lnTo>
                    <a:pt x="808" y="101"/>
                  </a:lnTo>
                  <a:lnTo>
                    <a:pt x="795" y="99"/>
                  </a:lnTo>
                  <a:lnTo>
                    <a:pt x="782" y="95"/>
                  </a:lnTo>
                  <a:lnTo>
                    <a:pt x="770" y="91"/>
                  </a:lnTo>
                  <a:lnTo>
                    <a:pt x="757" y="89"/>
                  </a:lnTo>
                  <a:lnTo>
                    <a:pt x="744" y="88"/>
                  </a:lnTo>
                  <a:lnTo>
                    <a:pt x="728" y="84"/>
                  </a:lnTo>
                  <a:lnTo>
                    <a:pt x="715" y="84"/>
                  </a:lnTo>
                  <a:lnTo>
                    <a:pt x="702" y="82"/>
                  </a:lnTo>
                  <a:lnTo>
                    <a:pt x="688" y="82"/>
                  </a:lnTo>
                  <a:lnTo>
                    <a:pt x="688" y="76"/>
                  </a:lnTo>
                  <a:lnTo>
                    <a:pt x="690" y="70"/>
                  </a:lnTo>
                  <a:lnTo>
                    <a:pt x="690" y="65"/>
                  </a:lnTo>
                  <a:lnTo>
                    <a:pt x="692" y="59"/>
                  </a:lnTo>
                  <a:lnTo>
                    <a:pt x="692" y="53"/>
                  </a:lnTo>
                  <a:lnTo>
                    <a:pt x="692" y="50"/>
                  </a:lnTo>
                  <a:lnTo>
                    <a:pt x="694" y="44"/>
                  </a:lnTo>
                  <a:lnTo>
                    <a:pt x="694" y="38"/>
                  </a:lnTo>
                  <a:lnTo>
                    <a:pt x="694" y="32"/>
                  </a:lnTo>
                  <a:lnTo>
                    <a:pt x="694" y="27"/>
                  </a:lnTo>
                  <a:lnTo>
                    <a:pt x="696" y="23"/>
                  </a:lnTo>
                  <a:lnTo>
                    <a:pt x="696" y="17"/>
                  </a:lnTo>
                  <a:lnTo>
                    <a:pt x="698" y="8"/>
                  </a:lnTo>
                  <a:lnTo>
                    <a:pt x="700" y="0"/>
                  </a:lnTo>
                  <a:lnTo>
                    <a:pt x="715" y="0"/>
                  </a:lnTo>
                  <a:lnTo>
                    <a:pt x="732" y="2"/>
                  </a:lnTo>
                  <a:lnTo>
                    <a:pt x="747" y="2"/>
                  </a:lnTo>
                  <a:lnTo>
                    <a:pt x="763" y="6"/>
                  </a:lnTo>
                  <a:lnTo>
                    <a:pt x="780" y="8"/>
                  </a:lnTo>
                  <a:lnTo>
                    <a:pt x="795" y="12"/>
                  </a:lnTo>
                  <a:lnTo>
                    <a:pt x="810" y="13"/>
                  </a:lnTo>
                  <a:lnTo>
                    <a:pt x="825" y="19"/>
                  </a:lnTo>
                  <a:lnTo>
                    <a:pt x="841" y="21"/>
                  </a:lnTo>
                  <a:lnTo>
                    <a:pt x="856" y="27"/>
                  </a:lnTo>
                  <a:lnTo>
                    <a:pt x="871" y="31"/>
                  </a:lnTo>
                  <a:lnTo>
                    <a:pt x="886" y="36"/>
                  </a:lnTo>
                  <a:lnTo>
                    <a:pt x="899" y="42"/>
                  </a:lnTo>
                  <a:lnTo>
                    <a:pt x="915" y="48"/>
                  </a:lnTo>
                  <a:lnTo>
                    <a:pt x="928" y="53"/>
                  </a:lnTo>
                  <a:lnTo>
                    <a:pt x="943" y="61"/>
                  </a:lnTo>
                  <a:lnTo>
                    <a:pt x="956" y="67"/>
                  </a:lnTo>
                  <a:lnTo>
                    <a:pt x="970" y="74"/>
                  </a:lnTo>
                  <a:lnTo>
                    <a:pt x="983" y="80"/>
                  </a:lnTo>
                  <a:lnTo>
                    <a:pt x="998" y="89"/>
                  </a:lnTo>
                  <a:lnTo>
                    <a:pt x="1010" y="97"/>
                  </a:lnTo>
                  <a:lnTo>
                    <a:pt x="1023" y="105"/>
                  </a:lnTo>
                  <a:lnTo>
                    <a:pt x="1036" y="114"/>
                  </a:lnTo>
                  <a:lnTo>
                    <a:pt x="1050" y="124"/>
                  </a:lnTo>
                  <a:lnTo>
                    <a:pt x="1061" y="131"/>
                  </a:lnTo>
                  <a:lnTo>
                    <a:pt x="1072" y="141"/>
                  </a:lnTo>
                  <a:lnTo>
                    <a:pt x="1084" y="150"/>
                  </a:lnTo>
                  <a:lnTo>
                    <a:pt x="1097" y="162"/>
                  </a:lnTo>
                  <a:lnTo>
                    <a:pt x="1109" y="171"/>
                  </a:lnTo>
                  <a:lnTo>
                    <a:pt x="1120" y="183"/>
                  </a:lnTo>
                  <a:lnTo>
                    <a:pt x="1131" y="194"/>
                  </a:lnTo>
                  <a:lnTo>
                    <a:pt x="1143" y="205"/>
                  </a:lnTo>
                  <a:lnTo>
                    <a:pt x="1152" y="215"/>
                  </a:lnTo>
                  <a:lnTo>
                    <a:pt x="1162" y="226"/>
                  </a:lnTo>
                  <a:lnTo>
                    <a:pt x="1171" y="238"/>
                  </a:lnTo>
                  <a:lnTo>
                    <a:pt x="1181" y="251"/>
                  </a:lnTo>
                  <a:lnTo>
                    <a:pt x="1190" y="262"/>
                  </a:lnTo>
                  <a:lnTo>
                    <a:pt x="1200" y="276"/>
                  </a:lnTo>
                  <a:lnTo>
                    <a:pt x="1207" y="287"/>
                  </a:lnTo>
                  <a:lnTo>
                    <a:pt x="1217" y="301"/>
                  </a:lnTo>
                  <a:lnTo>
                    <a:pt x="1225" y="314"/>
                  </a:lnTo>
                  <a:lnTo>
                    <a:pt x="1234" y="327"/>
                  </a:lnTo>
                  <a:lnTo>
                    <a:pt x="1242" y="340"/>
                  </a:lnTo>
                  <a:lnTo>
                    <a:pt x="1247" y="354"/>
                  </a:lnTo>
                  <a:lnTo>
                    <a:pt x="1255" y="367"/>
                  </a:lnTo>
                  <a:lnTo>
                    <a:pt x="1261" y="382"/>
                  </a:lnTo>
                  <a:lnTo>
                    <a:pt x="1268" y="396"/>
                  </a:lnTo>
                  <a:lnTo>
                    <a:pt x="1274" y="411"/>
                  </a:lnTo>
                  <a:lnTo>
                    <a:pt x="1280" y="426"/>
                  </a:lnTo>
                  <a:lnTo>
                    <a:pt x="1285" y="439"/>
                  </a:lnTo>
                  <a:lnTo>
                    <a:pt x="1289" y="453"/>
                  </a:lnTo>
                  <a:lnTo>
                    <a:pt x="1295" y="470"/>
                  </a:lnTo>
                  <a:lnTo>
                    <a:pt x="1299" y="485"/>
                  </a:lnTo>
                  <a:lnTo>
                    <a:pt x="1302" y="500"/>
                  </a:lnTo>
                  <a:lnTo>
                    <a:pt x="1306" y="515"/>
                  </a:lnTo>
                  <a:lnTo>
                    <a:pt x="1310" y="531"/>
                  </a:lnTo>
                  <a:lnTo>
                    <a:pt x="1312" y="546"/>
                  </a:lnTo>
                  <a:lnTo>
                    <a:pt x="1316" y="563"/>
                  </a:lnTo>
                  <a:lnTo>
                    <a:pt x="1318" y="578"/>
                  </a:lnTo>
                  <a:lnTo>
                    <a:pt x="1320" y="595"/>
                  </a:lnTo>
                  <a:lnTo>
                    <a:pt x="1321" y="610"/>
                  </a:lnTo>
                  <a:lnTo>
                    <a:pt x="1321" y="628"/>
                  </a:lnTo>
                  <a:lnTo>
                    <a:pt x="1323" y="645"/>
                  </a:lnTo>
                  <a:lnTo>
                    <a:pt x="1323" y="662"/>
                  </a:lnTo>
                  <a:lnTo>
                    <a:pt x="1323" y="677"/>
                  </a:lnTo>
                  <a:lnTo>
                    <a:pt x="1321" y="694"/>
                  </a:lnTo>
                  <a:lnTo>
                    <a:pt x="1321" y="711"/>
                  </a:lnTo>
                  <a:lnTo>
                    <a:pt x="1320" y="728"/>
                  </a:lnTo>
                  <a:lnTo>
                    <a:pt x="1318" y="744"/>
                  </a:lnTo>
                  <a:lnTo>
                    <a:pt x="1316" y="761"/>
                  </a:lnTo>
                  <a:lnTo>
                    <a:pt x="1312" y="776"/>
                  </a:lnTo>
                  <a:lnTo>
                    <a:pt x="1310" y="793"/>
                  </a:lnTo>
                  <a:lnTo>
                    <a:pt x="1304" y="808"/>
                  </a:lnTo>
                  <a:lnTo>
                    <a:pt x="1301" y="825"/>
                  </a:lnTo>
                  <a:lnTo>
                    <a:pt x="1297" y="840"/>
                  </a:lnTo>
                  <a:lnTo>
                    <a:pt x="1293" y="858"/>
                  </a:lnTo>
                  <a:lnTo>
                    <a:pt x="1287" y="871"/>
                  </a:lnTo>
                  <a:lnTo>
                    <a:pt x="1282" y="888"/>
                  </a:lnTo>
                  <a:lnTo>
                    <a:pt x="1276" y="901"/>
                  </a:lnTo>
                  <a:lnTo>
                    <a:pt x="1270" y="918"/>
                  </a:lnTo>
                  <a:lnTo>
                    <a:pt x="1263" y="932"/>
                  </a:lnTo>
                  <a:lnTo>
                    <a:pt x="1257" y="947"/>
                  </a:lnTo>
                  <a:lnTo>
                    <a:pt x="1249" y="960"/>
                  </a:lnTo>
                  <a:lnTo>
                    <a:pt x="1244" y="975"/>
                  </a:lnTo>
                  <a:lnTo>
                    <a:pt x="1234" y="989"/>
                  </a:lnTo>
                  <a:lnTo>
                    <a:pt x="1226" y="1002"/>
                  </a:lnTo>
                  <a:lnTo>
                    <a:pt x="1219" y="1015"/>
                  </a:lnTo>
                  <a:lnTo>
                    <a:pt x="1209" y="1031"/>
                  </a:lnTo>
                  <a:lnTo>
                    <a:pt x="1202" y="1042"/>
                  </a:lnTo>
                  <a:lnTo>
                    <a:pt x="1192" y="1055"/>
                  </a:lnTo>
                  <a:lnTo>
                    <a:pt x="1181" y="1069"/>
                  </a:lnTo>
                  <a:lnTo>
                    <a:pt x="1171" y="1082"/>
                  </a:lnTo>
                  <a:lnTo>
                    <a:pt x="1162" y="1093"/>
                  </a:lnTo>
                  <a:lnTo>
                    <a:pt x="1150" y="1105"/>
                  </a:lnTo>
                  <a:lnTo>
                    <a:pt x="1141" y="1116"/>
                  </a:lnTo>
                  <a:lnTo>
                    <a:pt x="1129" y="1129"/>
                  </a:lnTo>
                  <a:lnTo>
                    <a:pt x="1118" y="1139"/>
                  </a:lnTo>
                  <a:lnTo>
                    <a:pt x="1107" y="1150"/>
                  </a:lnTo>
                  <a:lnTo>
                    <a:pt x="1093" y="1160"/>
                  </a:lnTo>
                  <a:lnTo>
                    <a:pt x="1082" y="1171"/>
                  </a:lnTo>
                  <a:lnTo>
                    <a:pt x="1069" y="1181"/>
                  </a:lnTo>
                  <a:lnTo>
                    <a:pt x="1055" y="1190"/>
                  </a:lnTo>
                  <a:lnTo>
                    <a:pt x="1044" y="1200"/>
                  </a:lnTo>
                  <a:lnTo>
                    <a:pt x="1031" y="1209"/>
                  </a:lnTo>
                  <a:lnTo>
                    <a:pt x="1017" y="1217"/>
                  </a:lnTo>
                  <a:lnTo>
                    <a:pt x="1004" y="1226"/>
                  </a:lnTo>
                  <a:lnTo>
                    <a:pt x="989" y="1234"/>
                  </a:lnTo>
                  <a:lnTo>
                    <a:pt x="975" y="1244"/>
                  </a:lnTo>
                  <a:lnTo>
                    <a:pt x="962" y="1249"/>
                  </a:lnTo>
                  <a:lnTo>
                    <a:pt x="947" y="1257"/>
                  </a:lnTo>
                  <a:lnTo>
                    <a:pt x="934" y="1264"/>
                  </a:lnTo>
                  <a:lnTo>
                    <a:pt x="918" y="1272"/>
                  </a:lnTo>
                  <a:lnTo>
                    <a:pt x="903" y="1276"/>
                  </a:lnTo>
                  <a:lnTo>
                    <a:pt x="888" y="1282"/>
                  </a:lnTo>
                  <a:lnTo>
                    <a:pt x="873" y="1287"/>
                  </a:lnTo>
                  <a:lnTo>
                    <a:pt x="858" y="1293"/>
                  </a:lnTo>
                  <a:lnTo>
                    <a:pt x="841" y="1297"/>
                  </a:lnTo>
                  <a:lnTo>
                    <a:pt x="825" y="1301"/>
                  </a:lnTo>
                  <a:lnTo>
                    <a:pt x="810" y="1304"/>
                  </a:lnTo>
                  <a:lnTo>
                    <a:pt x="795" y="1310"/>
                  </a:lnTo>
                  <a:lnTo>
                    <a:pt x="778" y="1312"/>
                  </a:lnTo>
                  <a:lnTo>
                    <a:pt x="763" y="1316"/>
                  </a:lnTo>
                  <a:lnTo>
                    <a:pt x="745" y="1318"/>
                  </a:lnTo>
                  <a:lnTo>
                    <a:pt x="728" y="1320"/>
                  </a:lnTo>
                  <a:lnTo>
                    <a:pt x="711" y="1321"/>
                  </a:lnTo>
                  <a:lnTo>
                    <a:pt x="696" y="1321"/>
                  </a:lnTo>
                  <a:lnTo>
                    <a:pt x="679" y="1323"/>
                  </a:lnTo>
                  <a:lnTo>
                    <a:pt x="662" y="1323"/>
                  </a:lnTo>
                  <a:lnTo>
                    <a:pt x="645" y="1323"/>
                  </a:lnTo>
                  <a:lnTo>
                    <a:pt x="628" y="1321"/>
                  </a:lnTo>
                  <a:lnTo>
                    <a:pt x="610" y="1321"/>
                  </a:lnTo>
                  <a:lnTo>
                    <a:pt x="593" y="1320"/>
                  </a:lnTo>
                  <a:lnTo>
                    <a:pt x="576" y="1318"/>
                  </a:lnTo>
                  <a:lnTo>
                    <a:pt x="561" y="1316"/>
                  </a:lnTo>
                  <a:lnTo>
                    <a:pt x="544" y="1312"/>
                  </a:lnTo>
                  <a:lnTo>
                    <a:pt x="529" y="1310"/>
                  </a:lnTo>
                  <a:lnTo>
                    <a:pt x="512" y="1304"/>
                  </a:lnTo>
                  <a:lnTo>
                    <a:pt x="496" y="1301"/>
                  </a:lnTo>
                  <a:lnTo>
                    <a:pt x="479" y="1297"/>
                  </a:lnTo>
                  <a:lnTo>
                    <a:pt x="464" y="1293"/>
                  </a:lnTo>
                  <a:lnTo>
                    <a:pt x="449" y="1287"/>
                  </a:lnTo>
                  <a:lnTo>
                    <a:pt x="434" y="1282"/>
                  </a:lnTo>
                  <a:lnTo>
                    <a:pt x="418" y="1276"/>
                  </a:lnTo>
                  <a:lnTo>
                    <a:pt x="403" y="1272"/>
                  </a:lnTo>
                  <a:lnTo>
                    <a:pt x="388" y="1264"/>
                  </a:lnTo>
                  <a:lnTo>
                    <a:pt x="373" y="1257"/>
                  </a:lnTo>
                  <a:lnTo>
                    <a:pt x="360" y="1249"/>
                  </a:lnTo>
                  <a:lnTo>
                    <a:pt x="346" y="1244"/>
                  </a:lnTo>
                  <a:lnTo>
                    <a:pt x="331" y="1234"/>
                  </a:lnTo>
                  <a:lnTo>
                    <a:pt x="318" y="1226"/>
                  </a:lnTo>
                  <a:lnTo>
                    <a:pt x="304" y="1217"/>
                  </a:lnTo>
                  <a:lnTo>
                    <a:pt x="293" y="1209"/>
                  </a:lnTo>
                  <a:lnTo>
                    <a:pt x="278" y="1200"/>
                  </a:lnTo>
                  <a:lnTo>
                    <a:pt x="266" y="1190"/>
                  </a:lnTo>
                  <a:lnTo>
                    <a:pt x="253" y="1181"/>
                  </a:lnTo>
                  <a:lnTo>
                    <a:pt x="242" y="1171"/>
                  </a:lnTo>
                  <a:lnTo>
                    <a:pt x="228" y="1160"/>
                  </a:lnTo>
                  <a:lnTo>
                    <a:pt x="217" y="1150"/>
                  </a:lnTo>
                  <a:lnTo>
                    <a:pt x="206" y="1139"/>
                  </a:lnTo>
                  <a:lnTo>
                    <a:pt x="194" y="1129"/>
                  </a:lnTo>
                  <a:lnTo>
                    <a:pt x="183" y="1116"/>
                  </a:lnTo>
                  <a:lnTo>
                    <a:pt x="171" y="1105"/>
                  </a:lnTo>
                  <a:lnTo>
                    <a:pt x="162" y="1093"/>
                  </a:lnTo>
                  <a:lnTo>
                    <a:pt x="150" y="1082"/>
                  </a:lnTo>
                  <a:lnTo>
                    <a:pt x="141" y="1069"/>
                  </a:lnTo>
                  <a:lnTo>
                    <a:pt x="131" y="1055"/>
                  </a:lnTo>
                  <a:lnTo>
                    <a:pt x="122" y="1042"/>
                  </a:lnTo>
                  <a:lnTo>
                    <a:pt x="112" y="1031"/>
                  </a:lnTo>
                  <a:lnTo>
                    <a:pt x="103" y="1015"/>
                  </a:lnTo>
                  <a:lnTo>
                    <a:pt x="95" y="1002"/>
                  </a:lnTo>
                  <a:lnTo>
                    <a:pt x="88" y="989"/>
                  </a:lnTo>
                  <a:lnTo>
                    <a:pt x="80" y="975"/>
                  </a:lnTo>
                  <a:lnTo>
                    <a:pt x="71" y="960"/>
                  </a:lnTo>
                  <a:lnTo>
                    <a:pt x="65" y="947"/>
                  </a:lnTo>
                  <a:lnTo>
                    <a:pt x="57" y="932"/>
                  </a:lnTo>
                  <a:lnTo>
                    <a:pt x="52" y="918"/>
                  </a:lnTo>
                  <a:lnTo>
                    <a:pt x="46" y="901"/>
                  </a:lnTo>
                  <a:lnTo>
                    <a:pt x="40" y="888"/>
                  </a:lnTo>
                  <a:lnTo>
                    <a:pt x="34" y="871"/>
                  </a:lnTo>
                  <a:lnTo>
                    <a:pt x="29" y="858"/>
                  </a:lnTo>
                  <a:lnTo>
                    <a:pt x="23" y="840"/>
                  </a:lnTo>
                  <a:lnTo>
                    <a:pt x="19" y="825"/>
                  </a:lnTo>
                  <a:lnTo>
                    <a:pt x="15" y="808"/>
                  </a:lnTo>
                  <a:lnTo>
                    <a:pt x="14" y="793"/>
                  </a:lnTo>
                  <a:lnTo>
                    <a:pt x="10" y="776"/>
                  </a:lnTo>
                  <a:lnTo>
                    <a:pt x="6" y="761"/>
                  </a:lnTo>
                  <a:lnTo>
                    <a:pt x="4" y="744"/>
                  </a:lnTo>
                  <a:lnTo>
                    <a:pt x="4" y="728"/>
                  </a:lnTo>
                  <a:lnTo>
                    <a:pt x="2" y="711"/>
                  </a:lnTo>
                  <a:lnTo>
                    <a:pt x="0" y="694"/>
                  </a:lnTo>
                  <a:lnTo>
                    <a:pt x="0" y="677"/>
                  </a:lnTo>
                  <a:lnTo>
                    <a:pt x="0" y="662"/>
                  </a:lnTo>
                  <a:lnTo>
                    <a:pt x="0" y="645"/>
                  </a:lnTo>
                  <a:lnTo>
                    <a:pt x="0" y="628"/>
                  </a:lnTo>
                  <a:lnTo>
                    <a:pt x="2" y="610"/>
                  </a:lnTo>
                  <a:lnTo>
                    <a:pt x="4" y="595"/>
                  </a:lnTo>
                  <a:lnTo>
                    <a:pt x="4" y="578"/>
                  </a:lnTo>
                  <a:lnTo>
                    <a:pt x="6" y="561"/>
                  </a:lnTo>
                  <a:lnTo>
                    <a:pt x="10" y="546"/>
                  </a:lnTo>
                  <a:lnTo>
                    <a:pt x="14" y="531"/>
                  </a:lnTo>
                  <a:lnTo>
                    <a:pt x="15" y="513"/>
                  </a:lnTo>
                  <a:lnTo>
                    <a:pt x="19" y="498"/>
                  </a:lnTo>
                  <a:lnTo>
                    <a:pt x="23" y="483"/>
                  </a:lnTo>
                  <a:lnTo>
                    <a:pt x="29" y="468"/>
                  </a:lnTo>
                  <a:lnTo>
                    <a:pt x="33" y="453"/>
                  </a:lnTo>
                  <a:lnTo>
                    <a:pt x="38" y="437"/>
                  </a:lnTo>
                  <a:lnTo>
                    <a:pt x="44" y="424"/>
                  </a:lnTo>
                  <a:lnTo>
                    <a:pt x="50" y="409"/>
                  </a:lnTo>
                  <a:lnTo>
                    <a:pt x="55" y="394"/>
                  </a:lnTo>
                  <a:lnTo>
                    <a:pt x="61" y="380"/>
                  </a:lnTo>
                  <a:lnTo>
                    <a:pt x="69" y="365"/>
                  </a:lnTo>
                  <a:lnTo>
                    <a:pt x="76" y="352"/>
                  </a:lnTo>
                  <a:lnTo>
                    <a:pt x="82" y="339"/>
                  </a:lnTo>
                  <a:lnTo>
                    <a:pt x="92" y="323"/>
                  </a:lnTo>
                  <a:lnTo>
                    <a:pt x="99" y="310"/>
                  </a:lnTo>
                  <a:lnTo>
                    <a:pt x="109" y="299"/>
                  </a:lnTo>
                  <a:lnTo>
                    <a:pt x="116" y="285"/>
                  </a:lnTo>
                  <a:lnTo>
                    <a:pt x="126" y="272"/>
                  </a:lnTo>
                  <a:lnTo>
                    <a:pt x="133" y="259"/>
                  </a:lnTo>
                  <a:lnTo>
                    <a:pt x="145" y="247"/>
                  </a:lnTo>
                  <a:lnTo>
                    <a:pt x="154" y="236"/>
                  </a:lnTo>
                  <a:lnTo>
                    <a:pt x="164" y="224"/>
                  </a:lnTo>
                  <a:lnTo>
                    <a:pt x="175" y="213"/>
                  </a:lnTo>
                  <a:lnTo>
                    <a:pt x="187" y="202"/>
                  </a:lnTo>
                  <a:lnTo>
                    <a:pt x="196" y="190"/>
                  </a:lnTo>
                  <a:lnTo>
                    <a:pt x="207" y="179"/>
                  </a:lnTo>
                  <a:lnTo>
                    <a:pt x="219" y="167"/>
                  </a:lnTo>
                  <a:lnTo>
                    <a:pt x="230" y="158"/>
                  </a:lnTo>
                  <a:lnTo>
                    <a:pt x="242" y="148"/>
                  </a:lnTo>
                  <a:lnTo>
                    <a:pt x="253" y="139"/>
                  </a:lnTo>
                  <a:lnTo>
                    <a:pt x="266" y="129"/>
                  </a:lnTo>
                  <a:lnTo>
                    <a:pt x="280" y="120"/>
                  </a:lnTo>
                  <a:lnTo>
                    <a:pt x="291" y="110"/>
                  </a:lnTo>
                  <a:lnTo>
                    <a:pt x="304" y="103"/>
                  </a:lnTo>
                  <a:lnTo>
                    <a:pt x="318" y="93"/>
                  </a:lnTo>
                  <a:lnTo>
                    <a:pt x="331" y="86"/>
                  </a:lnTo>
                  <a:lnTo>
                    <a:pt x="344" y="78"/>
                  </a:lnTo>
                  <a:lnTo>
                    <a:pt x="358" y="70"/>
                  </a:lnTo>
                  <a:lnTo>
                    <a:pt x="373" y="63"/>
                  </a:lnTo>
                  <a:lnTo>
                    <a:pt x="386" y="57"/>
                  </a:lnTo>
                  <a:lnTo>
                    <a:pt x="401" y="51"/>
                  </a:lnTo>
                  <a:lnTo>
                    <a:pt x="415" y="44"/>
                  </a:lnTo>
                  <a:lnTo>
                    <a:pt x="430" y="38"/>
                  </a:lnTo>
                  <a:lnTo>
                    <a:pt x="445" y="34"/>
                  </a:lnTo>
                  <a:lnTo>
                    <a:pt x="458" y="29"/>
                  </a:lnTo>
                  <a:lnTo>
                    <a:pt x="476" y="25"/>
                  </a:lnTo>
                  <a:lnTo>
                    <a:pt x="491" y="19"/>
                  </a:lnTo>
                  <a:lnTo>
                    <a:pt x="506" y="17"/>
                  </a:lnTo>
                  <a:lnTo>
                    <a:pt x="521" y="12"/>
                  </a:lnTo>
                  <a:lnTo>
                    <a:pt x="538" y="10"/>
                  </a:lnTo>
                  <a:lnTo>
                    <a:pt x="553" y="6"/>
                  </a:lnTo>
                  <a:lnTo>
                    <a:pt x="571" y="4"/>
                  </a:lnTo>
                  <a:lnTo>
                    <a:pt x="586" y="2"/>
                  </a:lnTo>
                  <a:lnTo>
                    <a:pt x="603" y="0"/>
                  </a:lnTo>
                  <a:lnTo>
                    <a:pt x="620" y="0"/>
                  </a:lnTo>
                  <a:lnTo>
                    <a:pt x="637" y="0"/>
                  </a:lnTo>
                  <a:lnTo>
                    <a:pt x="637" y="8"/>
                  </a:lnTo>
                  <a:lnTo>
                    <a:pt x="637" y="17"/>
                  </a:lnTo>
                  <a:lnTo>
                    <a:pt x="637" y="21"/>
                  </a:lnTo>
                  <a:lnTo>
                    <a:pt x="639" y="27"/>
                  </a:lnTo>
                  <a:lnTo>
                    <a:pt x="639" y="32"/>
                  </a:lnTo>
                  <a:lnTo>
                    <a:pt x="641" y="38"/>
                  </a:lnTo>
                  <a:lnTo>
                    <a:pt x="641" y="42"/>
                  </a:lnTo>
                  <a:lnTo>
                    <a:pt x="641" y="48"/>
                  </a:lnTo>
                  <a:lnTo>
                    <a:pt x="641" y="53"/>
                  </a:lnTo>
                  <a:lnTo>
                    <a:pt x="643" y="59"/>
                  </a:lnTo>
                  <a:lnTo>
                    <a:pt x="643" y="69"/>
                  </a:lnTo>
                  <a:lnTo>
                    <a:pt x="645" y="78"/>
                  </a:lnTo>
                  <a:lnTo>
                    <a:pt x="630" y="78"/>
                  </a:lnTo>
                  <a:lnTo>
                    <a:pt x="614" y="78"/>
                  </a:lnTo>
                  <a:lnTo>
                    <a:pt x="601" y="80"/>
                  </a:lnTo>
                  <a:lnTo>
                    <a:pt x="586" y="82"/>
                  </a:lnTo>
                  <a:lnTo>
                    <a:pt x="572" y="82"/>
                  </a:lnTo>
                  <a:lnTo>
                    <a:pt x="557" y="84"/>
                  </a:lnTo>
                  <a:lnTo>
                    <a:pt x="544" y="88"/>
                  </a:lnTo>
                  <a:lnTo>
                    <a:pt x="531" y="89"/>
                  </a:lnTo>
                  <a:lnTo>
                    <a:pt x="515" y="93"/>
                  </a:lnTo>
                  <a:lnTo>
                    <a:pt x="502" y="95"/>
                  </a:lnTo>
                  <a:lnTo>
                    <a:pt x="489" y="99"/>
                  </a:lnTo>
                  <a:lnTo>
                    <a:pt x="476" y="105"/>
                  </a:lnTo>
                  <a:lnTo>
                    <a:pt x="462" y="108"/>
                  </a:lnTo>
                  <a:lnTo>
                    <a:pt x="449" y="112"/>
                  </a:lnTo>
                  <a:lnTo>
                    <a:pt x="436" y="118"/>
                  </a:lnTo>
                  <a:lnTo>
                    <a:pt x="424" y="124"/>
                  </a:lnTo>
                  <a:lnTo>
                    <a:pt x="411" y="129"/>
                  </a:lnTo>
                  <a:lnTo>
                    <a:pt x="398" y="135"/>
                  </a:lnTo>
                  <a:lnTo>
                    <a:pt x="384" y="141"/>
                  </a:lnTo>
                  <a:lnTo>
                    <a:pt x="373" y="148"/>
                  </a:lnTo>
                  <a:lnTo>
                    <a:pt x="361" y="154"/>
                  </a:lnTo>
                  <a:lnTo>
                    <a:pt x="350" y="162"/>
                  </a:lnTo>
                  <a:lnTo>
                    <a:pt x="339" y="167"/>
                  </a:lnTo>
                  <a:lnTo>
                    <a:pt x="329" y="177"/>
                  </a:lnTo>
                  <a:lnTo>
                    <a:pt x="318" y="185"/>
                  </a:lnTo>
                  <a:lnTo>
                    <a:pt x="306" y="192"/>
                  </a:lnTo>
                  <a:lnTo>
                    <a:pt x="295" y="200"/>
                  </a:lnTo>
                  <a:lnTo>
                    <a:pt x="285" y="209"/>
                  </a:lnTo>
                  <a:lnTo>
                    <a:pt x="274" y="219"/>
                  </a:lnTo>
                  <a:lnTo>
                    <a:pt x="265" y="226"/>
                  </a:lnTo>
                  <a:lnTo>
                    <a:pt x="253" y="236"/>
                  </a:lnTo>
                  <a:lnTo>
                    <a:pt x="245" y="247"/>
                  </a:lnTo>
                  <a:lnTo>
                    <a:pt x="234" y="255"/>
                  </a:lnTo>
                  <a:lnTo>
                    <a:pt x="225" y="266"/>
                  </a:lnTo>
                  <a:lnTo>
                    <a:pt x="217" y="276"/>
                  </a:lnTo>
                  <a:lnTo>
                    <a:pt x="207" y="287"/>
                  </a:lnTo>
                  <a:lnTo>
                    <a:pt x="200" y="297"/>
                  </a:lnTo>
                  <a:lnTo>
                    <a:pt x="190" y="308"/>
                  </a:lnTo>
                  <a:lnTo>
                    <a:pt x="183" y="320"/>
                  </a:lnTo>
                  <a:lnTo>
                    <a:pt x="175" y="331"/>
                  </a:lnTo>
                  <a:lnTo>
                    <a:pt x="168" y="342"/>
                  </a:lnTo>
                  <a:lnTo>
                    <a:pt x="160" y="354"/>
                  </a:lnTo>
                  <a:lnTo>
                    <a:pt x="152" y="365"/>
                  </a:lnTo>
                  <a:lnTo>
                    <a:pt x="147" y="377"/>
                  </a:lnTo>
                  <a:lnTo>
                    <a:pt x="139" y="388"/>
                  </a:lnTo>
                  <a:lnTo>
                    <a:pt x="133" y="401"/>
                  </a:lnTo>
                  <a:lnTo>
                    <a:pt x="128" y="415"/>
                  </a:lnTo>
                  <a:lnTo>
                    <a:pt x="124" y="426"/>
                  </a:lnTo>
                  <a:lnTo>
                    <a:pt x="118" y="439"/>
                  </a:lnTo>
                  <a:lnTo>
                    <a:pt x="112" y="453"/>
                  </a:lnTo>
                  <a:lnTo>
                    <a:pt x="107" y="466"/>
                  </a:lnTo>
                  <a:lnTo>
                    <a:pt x="103" y="477"/>
                  </a:lnTo>
                  <a:lnTo>
                    <a:pt x="99" y="493"/>
                  </a:lnTo>
                  <a:lnTo>
                    <a:pt x="95" y="504"/>
                  </a:lnTo>
                  <a:lnTo>
                    <a:pt x="93" y="519"/>
                  </a:lnTo>
                  <a:lnTo>
                    <a:pt x="90" y="532"/>
                  </a:lnTo>
                  <a:lnTo>
                    <a:pt x="88" y="546"/>
                  </a:lnTo>
                  <a:lnTo>
                    <a:pt x="84" y="561"/>
                  </a:lnTo>
                  <a:lnTo>
                    <a:pt x="82" y="574"/>
                  </a:lnTo>
                  <a:lnTo>
                    <a:pt x="82" y="590"/>
                  </a:lnTo>
                  <a:lnTo>
                    <a:pt x="80" y="603"/>
                  </a:lnTo>
                  <a:lnTo>
                    <a:pt x="80" y="618"/>
                  </a:lnTo>
                  <a:lnTo>
                    <a:pt x="80" y="633"/>
                  </a:lnTo>
                  <a:lnTo>
                    <a:pt x="80" y="648"/>
                  </a:lnTo>
                  <a:lnTo>
                    <a:pt x="80" y="662"/>
                  </a:lnTo>
                  <a:lnTo>
                    <a:pt x="80" y="677"/>
                  </a:lnTo>
                  <a:lnTo>
                    <a:pt x="80" y="690"/>
                  </a:lnTo>
                  <a:lnTo>
                    <a:pt x="82" y="705"/>
                  </a:lnTo>
                  <a:lnTo>
                    <a:pt x="82" y="719"/>
                  </a:lnTo>
                  <a:lnTo>
                    <a:pt x="84" y="734"/>
                  </a:lnTo>
                  <a:lnTo>
                    <a:pt x="88" y="747"/>
                  </a:lnTo>
                  <a:lnTo>
                    <a:pt x="90" y="763"/>
                  </a:lnTo>
                  <a:lnTo>
                    <a:pt x="93" y="776"/>
                  </a:lnTo>
                  <a:lnTo>
                    <a:pt x="95" y="789"/>
                  </a:lnTo>
                  <a:lnTo>
                    <a:pt x="99" y="802"/>
                  </a:lnTo>
                  <a:lnTo>
                    <a:pt x="105" y="816"/>
                  </a:lnTo>
                  <a:lnTo>
                    <a:pt x="109" y="829"/>
                  </a:lnTo>
                  <a:lnTo>
                    <a:pt x="112" y="842"/>
                  </a:lnTo>
                  <a:lnTo>
                    <a:pt x="118" y="856"/>
                  </a:lnTo>
                  <a:lnTo>
                    <a:pt x="124" y="869"/>
                  </a:lnTo>
                  <a:lnTo>
                    <a:pt x="130" y="880"/>
                  </a:lnTo>
                  <a:lnTo>
                    <a:pt x="135" y="894"/>
                  </a:lnTo>
                  <a:lnTo>
                    <a:pt x="141" y="905"/>
                  </a:lnTo>
                  <a:lnTo>
                    <a:pt x="147" y="918"/>
                  </a:lnTo>
                  <a:lnTo>
                    <a:pt x="154" y="930"/>
                  </a:lnTo>
                  <a:lnTo>
                    <a:pt x="162" y="941"/>
                  </a:lnTo>
                  <a:lnTo>
                    <a:pt x="168" y="953"/>
                  </a:lnTo>
                  <a:lnTo>
                    <a:pt x="177" y="966"/>
                  </a:lnTo>
                  <a:lnTo>
                    <a:pt x="183" y="975"/>
                  </a:lnTo>
                  <a:lnTo>
                    <a:pt x="192" y="987"/>
                  </a:lnTo>
                  <a:lnTo>
                    <a:pt x="200" y="998"/>
                  </a:lnTo>
                  <a:lnTo>
                    <a:pt x="209" y="1010"/>
                  </a:lnTo>
                  <a:lnTo>
                    <a:pt x="217" y="1019"/>
                  </a:lnTo>
                  <a:lnTo>
                    <a:pt x="226" y="1031"/>
                  </a:lnTo>
                  <a:lnTo>
                    <a:pt x="236" y="1040"/>
                  </a:lnTo>
                  <a:lnTo>
                    <a:pt x="245" y="1051"/>
                  </a:lnTo>
                  <a:lnTo>
                    <a:pt x="255" y="1059"/>
                  </a:lnTo>
                  <a:lnTo>
                    <a:pt x="265" y="1069"/>
                  </a:lnTo>
                  <a:lnTo>
                    <a:pt x="274" y="1078"/>
                  </a:lnTo>
                  <a:lnTo>
                    <a:pt x="285" y="1088"/>
                  </a:lnTo>
                  <a:lnTo>
                    <a:pt x="295" y="1095"/>
                  </a:lnTo>
                  <a:lnTo>
                    <a:pt x="306" y="1103"/>
                  </a:lnTo>
                  <a:lnTo>
                    <a:pt x="318" y="1112"/>
                  </a:lnTo>
                  <a:lnTo>
                    <a:pt x="329" y="1120"/>
                  </a:lnTo>
                  <a:lnTo>
                    <a:pt x="341" y="1128"/>
                  </a:lnTo>
                  <a:lnTo>
                    <a:pt x="352" y="1133"/>
                  </a:lnTo>
                  <a:lnTo>
                    <a:pt x="363" y="1141"/>
                  </a:lnTo>
                  <a:lnTo>
                    <a:pt x="377" y="1148"/>
                  </a:lnTo>
                  <a:lnTo>
                    <a:pt x="388" y="1154"/>
                  </a:lnTo>
                  <a:lnTo>
                    <a:pt x="401" y="1160"/>
                  </a:lnTo>
                  <a:lnTo>
                    <a:pt x="413" y="1166"/>
                  </a:lnTo>
                  <a:lnTo>
                    <a:pt x="426" y="1173"/>
                  </a:lnTo>
                  <a:lnTo>
                    <a:pt x="439" y="1177"/>
                  </a:lnTo>
                  <a:lnTo>
                    <a:pt x="453" y="1183"/>
                  </a:lnTo>
                  <a:lnTo>
                    <a:pt x="464" y="1186"/>
                  </a:lnTo>
                  <a:lnTo>
                    <a:pt x="477" y="1192"/>
                  </a:lnTo>
                  <a:lnTo>
                    <a:pt x="491" y="1196"/>
                  </a:lnTo>
                  <a:lnTo>
                    <a:pt x="504" y="1200"/>
                  </a:lnTo>
                  <a:lnTo>
                    <a:pt x="519" y="1202"/>
                  </a:lnTo>
                  <a:lnTo>
                    <a:pt x="533" y="1205"/>
                  </a:lnTo>
                  <a:lnTo>
                    <a:pt x="548" y="1207"/>
                  </a:lnTo>
                  <a:lnTo>
                    <a:pt x="561" y="1211"/>
                  </a:lnTo>
                  <a:lnTo>
                    <a:pt x="576" y="1213"/>
                  </a:lnTo>
                  <a:lnTo>
                    <a:pt x="590" y="1215"/>
                  </a:lnTo>
                  <a:lnTo>
                    <a:pt x="605" y="1215"/>
                  </a:lnTo>
                  <a:lnTo>
                    <a:pt x="618" y="1217"/>
                  </a:lnTo>
                  <a:lnTo>
                    <a:pt x="633" y="1217"/>
                  </a:lnTo>
                  <a:lnTo>
                    <a:pt x="649" y="12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6" name="Freeform 25"/>
            <p:cNvSpPr>
              <a:spLocks/>
            </p:cNvSpPr>
            <p:nvPr/>
          </p:nvSpPr>
          <p:spPr bwMode="auto">
            <a:xfrm rot="263996">
              <a:off x="1313" y="1865"/>
              <a:ext cx="517" cy="519"/>
            </a:xfrm>
            <a:custGeom>
              <a:avLst/>
              <a:gdLst>
                <a:gd name="T0" fmla="*/ 223 w 1666"/>
                <a:gd name="T1" fmla="*/ 37 h 1673"/>
                <a:gd name="T2" fmla="*/ 234 w 1666"/>
                <a:gd name="T3" fmla="*/ 36 h 1673"/>
                <a:gd name="T4" fmla="*/ 223 w 1666"/>
                <a:gd name="T5" fmla="*/ 65 h 1673"/>
                <a:gd name="T6" fmla="*/ 196 w 1666"/>
                <a:gd name="T7" fmla="*/ 71 h 1673"/>
                <a:gd name="T8" fmla="*/ 171 w 1666"/>
                <a:gd name="T9" fmla="*/ 81 h 1673"/>
                <a:gd name="T10" fmla="*/ 147 w 1666"/>
                <a:gd name="T11" fmla="*/ 95 h 1673"/>
                <a:gd name="T12" fmla="*/ 126 w 1666"/>
                <a:gd name="T13" fmla="*/ 111 h 1673"/>
                <a:gd name="T14" fmla="*/ 107 w 1666"/>
                <a:gd name="T15" fmla="*/ 131 h 1673"/>
                <a:gd name="T16" fmla="*/ 90 w 1666"/>
                <a:gd name="T17" fmla="*/ 152 h 1673"/>
                <a:gd name="T18" fmla="*/ 77 w 1666"/>
                <a:gd name="T19" fmla="*/ 176 h 1673"/>
                <a:gd name="T20" fmla="*/ 67 w 1666"/>
                <a:gd name="T21" fmla="*/ 201 h 1673"/>
                <a:gd name="T22" fmla="*/ 61 w 1666"/>
                <a:gd name="T23" fmla="*/ 228 h 1673"/>
                <a:gd name="T24" fmla="*/ 59 w 1666"/>
                <a:gd name="T25" fmla="*/ 257 h 1673"/>
                <a:gd name="T26" fmla="*/ 60 w 1666"/>
                <a:gd name="T27" fmla="*/ 286 h 1673"/>
                <a:gd name="T28" fmla="*/ 65 w 1666"/>
                <a:gd name="T29" fmla="*/ 315 h 1673"/>
                <a:gd name="T30" fmla="*/ 76 w 1666"/>
                <a:gd name="T31" fmla="*/ 343 h 1673"/>
                <a:gd name="T32" fmla="*/ 90 w 1666"/>
                <a:gd name="T33" fmla="*/ 369 h 1673"/>
                <a:gd name="T34" fmla="*/ 107 w 1666"/>
                <a:gd name="T35" fmla="*/ 391 h 1673"/>
                <a:gd name="T36" fmla="*/ 128 w 1666"/>
                <a:gd name="T37" fmla="*/ 412 h 1673"/>
                <a:gd name="T38" fmla="*/ 151 w 1666"/>
                <a:gd name="T39" fmla="*/ 429 h 1673"/>
                <a:gd name="T40" fmla="*/ 176 w 1666"/>
                <a:gd name="T41" fmla="*/ 443 h 1673"/>
                <a:gd name="T42" fmla="*/ 203 w 1666"/>
                <a:gd name="T43" fmla="*/ 453 h 1673"/>
                <a:gd name="T44" fmla="*/ 232 w 1666"/>
                <a:gd name="T45" fmla="*/ 459 h 1673"/>
                <a:gd name="T46" fmla="*/ 263 w 1666"/>
                <a:gd name="T47" fmla="*/ 461 h 1673"/>
                <a:gd name="T48" fmla="*/ 293 w 1666"/>
                <a:gd name="T49" fmla="*/ 458 h 1673"/>
                <a:gd name="T50" fmla="*/ 321 w 1666"/>
                <a:gd name="T51" fmla="*/ 450 h 1673"/>
                <a:gd name="T52" fmla="*/ 349 w 1666"/>
                <a:gd name="T53" fmla="*/ 439 h 1673"/>
                <a:gd name="T54" fmla="*/ 374 w 1666"/>
                <a:gd name="T55" fmla="*/ 423 h 1673"/>
                <a:gd name="T56" fmla="*/ 395 w 1666"/>
                <a:gd name="T57" fmla="*/ 405 h 1673"/>
                <a:gd name="T58" fmla="*/ 415 w 1666"/>
                <a:gd name="T59" fmla="*/ 384 h 1673"/>
                <a:gd name="T60" fmla="*/ 430 w 1666"/>
                <a:gd name="T61" fmla="*/ 360 h 1673"/>
                <a:gd name="T62" fmla="*/ 443 w 1666"/>
                <a:gd name="T63" fmla="*/ 334 h 1673"/>
                <a:gd name="T64" fmla="*/ 452 w 1666"/>
                <a:gd name="T65" fmla="*/ 306 h 1673"/>
                <a:gd name="T66" fmla="*/ 457 w 1666"/>
                <a:gd name="T67" fmla="*/ 276 h 1673"/>
                <a:gd name="T68" fmla="*/ 457 w 1666"/>
                <a:gd name="T69" fmla="*/ 246 h 1673"/>
                <a:gd name="T70" fmla="*/ 452 w 1666"/>
                <a:gd name="T71" fmla="*/ 217 h 1673"/>
                <a:gd name="T72" fmla="*/ 443 w 1666"/>
                <a:gd name="T73" fmla="*/ 188 h 1673"/>
                <a:gd name="T74" fmla="*/ 430 w 1666"/>
                <a:gd name="T75" fmla="*/ 162 h 1673"/>
                <a:gd name="T76" fmla="*/ 415 w 1666"/>
                <a:gd name="T77" fmla="*/ 138 h 1673"/>
                <a:gd name="T78" fmla="*/ 395 w 1666"/>
                <a:gd name="T79" fmla="*/ 117 h 1673"/>
                <a:gd name="T80" fmla="*/ 374 w 1666"/>
                <a:gd name="T81" fmla="*/ 98 h 1673"/>
                <a:gd name="T82" fmla="*/ 349 w 1666"/>
                <a:gd name="T83" fmla="*/ 84 h 1673"/>
                <a:gd name="T84" fmla="*/ 321 w 1666"/>
                <a:gd name="T85" fmla="*/ 73 h 1673"/>
                <a:gd name="T86" fmla="*/ 293 w 1666"/>
                <a:gd name="T87" fmla="*/ 65 h 1673"/>
                <a:gd name="T88" fmla="*/ 263 w 1666"/>
                <a:gd name="T89" fmla="*/ 62 h 1673"/>
                <a:gd name="T90" fmla="*/ 250 w 1666"/>
                <a:gd name="T91" fmla="*/ 35 h 1673"/>
                <a:gd name="T92" fmla="*/ 259 w 1666"/>
                <a:gd name="T93" fmla="*/ 34 h 1673"/>
                <a:gd name="T94" fmla="*/ 267 w 1666"/>
                <a:gd name="T95" fmla="*/ 34 h 1673"/>
                <a:gd name="T96" fmla="*/ 421 w 1666"/>
                <a:gd name="T97" fmla="*/ 56 h 1673"/>
                <a:gd name="T98" fmla="*/ 474 w 1666"/>
                <a:gd name="T99" fmla="*/ 181 h 1673"/>
                <a:gd name="T100" fmla="*/ 507 w 1666"/>
                <a:gd name="T101" fmla="*/ 321 h 1673"/>
                <a:gd name="T102" fmla="*/ 427 w 1666"/>
                <a:gd name="T103" fmla="*/ 422 h 1673"/>
                <a:gd name="T104" fmla="*/ 330 w 1666"/>
                <a:gd name="T105" fmla="*/ 510 h 1673"/>
                <a:gd name="T106" fmla="*/ 199 w 1666"/>
                <a:gd name="T107" fmla="*/ 480 h 1673"/>
                <a:gd name="T108" fmla="*/ 75 w 1666"/>
                <a:gd name="T109" fmla="*/ 445 h 1673"/>
                <a:gd name="T110" fmla="*/ 33 w 1666"/>
                <a:gd name="T111" fmla="*/ 295 h 1673"/>
                <a:gd name="T112" fmla="*/ 23 w 1666"/>
                <a:gd name="T113" fmla="*/ 149 h 1673"/>
                <a:gd name="T114" fmla="*/ 160 w 1666"/>
                <a:gd name="T115" fmla="*/ 55 h 167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666" h="1673">
                  <a:moveTo>
                    <a:pt x="662" y="13"/>
                  </a:moveTo>
                  <a:lnTo>
                    <a:pt x="696" y="122"/>
                  </a:lnTo>
                  <a:lnTo>
                    <a:pt x="698" y="120"/>
                  </a:lnTo>
                  <a:lnTo>
                    <a:pt x="702" y="120"/>
                  </a:lnTo>
                  <a:lnTo>
                    <a:pt x="709" y="120"/>
                  </a:lnTo>
                  <a:lnTo>
                    <a:pt x="719" y="120"/>
                  </a:lnTo>
                  <a:lnTo>
                    <a:pt x="723" y="118"/>
                  </a:lnTo>
                  <a:lnTo>
                    <a:pt x="728" y="118"/>
                  </a:lnTo>
                  <a:lnTo>
                    <a:pt x="734" y="116"/>
                  </a:lnTo>
                  <a:lnTo>
                    <a:pt x="742" y="116"/>
                  </a:lnTo>
                  <a:lnTo>
                    <a:pt x="747" y="116"/>
                  </a:lnTo>
                  <a:lnTo>
                    <a:pt x="755" y="116"/>
                  </a:lnTo>
                  <a:lnTo>
                    <a:pt x="763" y="114"/>
                  </a:lnTo>
                  <a:lnTo>
                    <a:pt x="770" y="114"/>
                  </a:lnTo>
                  <a:lnTo>
                    <a:pt x="763" y="203"/>
                  </a:lnTo>
                  <a:lnTo>
                    <a:pt x="747" y="203"/>
                  </a:lnTo>
                  <a:lnTo>
                    <a:pt x="732" y="205"/>
                  </a:lnTo>
                  <a:lnTo>
                    <a:pt x="717" y="209"/>
                  </a:lnTo>
                  <a:lnTo>
                    <a:pt x="702" y="211"/>
                  </a:lnTo>
                  <a:lnTo>
                    <a:pt x="689" y="215"/>
                  </a:lnTo>
                  <a:lnTo>
                    <a:pt x="673" y="217"/>
                  </a:lnTo>
                  <a:lnTo>
                    <a:pt x="660" y="220"/>
                  </a:lnTo>
                  <a:lnTo>
                    <a:pt x="645" y="226"/>
                  </a:lnTo>
                  <a:lnTo>
                    <a:pt x="632" y="230"/>
                  </a:lnTo>
                  <a:lnTo>
                    <a:pt x="616" y="234"/>
                  </a:lnTo>
                  <a:lnTo>
                    <a:pt x="603" y="239"/>
                  </a:lnTo>
                  <a:lnTo>
                    <a:pt x="590" y="245"/>
                  </a:lnTo>
                  <a:lnTo>
                    <a:pt x="574" y="251"/>
                  </a:lnTo>
                  <a:lnTo>
                    <a:pt x="563" y="257"/>
                  </a:lnTo>
                  <a:lnTo>
                    <a:pt x="550" y="262"/>
                  </a:lnTo>
                  <a:lnTo>
                    <a:pt x="536" y="270"/>
                  </a:lnTo>
                  <a:lnTo>
                    <a:pt x="523" y="276"/>
                  </a:lnTo>
                  <a:lnTo>
                    <a:pt x="512" y="283"/>
                  </a:lnTo>
                  <a:lnTo>
                    <a:pt x="498" y="291"/>
                  </a:lnTo>
                  <a:lnTo>
                    <a:pt x="487" y="298"/>
                  </a:lnTo>
                  <a:lnTo>
                    <a:pt x="474" y="306"/>
                  </a:lnTo>
                  <a:lnTo>
                    <a:pt x="462" y="314"/>
                  </a:lnTo>
                  <a:lnTo>
                    <a:pt x="451" y="323"/>
                  </a:lnTo>
                  <a:lnTo>
                    <a:pt x="440" y="333"/>
                  </a:lnTo>
                  <a:lnTo>
                    <a:pt x="428" y="340"/>
                  </a:lnTo>
                  <a:lnTo>
                    <a:pt x="417" y="350"/>
                  </a:lnTo>
                  <a:lnTo>
                    <a:pt x="405" y="359"/>
                  </a:lnTo>
                  <a:lnTo>
                    <a:pt x="396" y="369"/>
                  </a:lnTo>
                  <a:lnTo>
                    <a:pt x="384" y="378"/>
                  </a:lnTo>
                  <a:lnTo>
                    <a:pt x="375" y="390"/>
                  </a:lnTo>
                  <a:lnTo>
                    <a:pt x="363" y="399"/>
                  </a:lnTo>
                  <a:lnTo>
                    <a:pt x="356" y="411"/>
                  </a:lnTo>
                  <a:lnTo>
                    <a:pt x="344" y="422"/>
                  </a:lnTo>
                  <a:lnTo>
                    <a:pt x="335" y="431"/>
                  </a:lnTo>
                  <a:lnTo>
                    <a:pt x="325" y="443"/>
                  </a:lnTo>
                  <a:lnTo>
                    <a:pt x="318" y="454"/>
                  </a:lnTo>
                  <a:lnTo>
                    <a:pt x="308" y="466"/>
                  </a:lnTo>
                  <a:lnTo>
                    <a:pt x="301" y="477"/>
                  </a:lnTo>
                  <a:lnTo>
                    <a:pt x="291" y="490"/>
                  </a:lnTo>
                  <a:lnTo>
                    <a:pt x="286" y="504"/>
                  </a:lnTo>
                  <a:lnTo>
                    <a:pt x="276" y="515"/>
                  </a:lnTo>
                  <a:lnTo>
                    <a:pt x="270" y="527"/>
                  </a:lnTo>
                  <a:lnTo>
                    <a:pt x="263" y="540"/>
                  </a:lnTo>
                  <a:lnTo>
                    <a:pt x="255" y="553"/>
                  </a:lnTo>
                  <a:lnTo>
                    <a:pt x="249" y="566"/>
                  </a:lnTo>
                  <a:lnTo>
                    <a:pt x="244" y="580"/>
                  </a:lnTo>
                  <a:lnTo>
                    <a:pt x="238" y="593"/>
                  </a:lnTo>
                  <a:lnTo>
                    <a:pt x="232" y="606"/>
                  </a:lnTo>
                  <a:lnTo>
                    <a:pt x="227" y="620"/>
                  </a:lnTo>
                  <a:lnTo>
                    <a:pt x="221" y="633"/>
                  </a:lnTo>
                  <a:lnTo>
                    <a:pt x="217" y="648"/>
                  </a:lnTo>
                  <a:lnTo>
                    <a:pt x="213" y="662"/>
                  </a:lnTo>
                  <a:lnTo>
                    <a:pt x="209" y="675"/>
                  </a:lnTo>
                  <a:lnTo>
                    <a:pt x="206" y="690"/>
                  </a:lnTo>
                  <a:lnTo>
                    <a:pt x="202" y="705"/>
                  </a:lnTo>
                  <a:lnTo>
                    <a:pt x="200" y="720"/>
                  </a:lnTo>
                  <a:lnTo>
                    <a:pt x="196" y="734"/>
                  </a:lnTo>
                  <a:lnTo>
                    <a:pt x="194" y="749"/>
                  </a:lnTo>
                  <a:lnTo>
                    <a:pt x="192" y="764"/>
                  </a:lnTo>
                  <a:lnTo>
                    <a:pt x="190" y="779"/>
                  </a:lnTo>
                  <a:lnTo>
                    <a:pt x="190" y="795"/>
                  </a:lnTo>
                  <a:lnTo>
                    <a:pt x="189" y="812"/>
                  </a:lnTo>
                  <a:lnTo>
                    <a:pt x="189" y="827"/>
                  </a:lnTo>
                  <a:lnTo>
                    <a:pt x="189" y="842"/>
                  </a:lnTo>
                  <a:lnTo>
                    <a:pt x="189" y="857"/>
                  </a:lnTo>
                  <a:lnTo>
                    <a:pt x="189" y="874"/>
                  </a:lnTo>
                  <a:lnTo>
                    <a:pt x="190" y="890"/>
                  </a:lnTo>
                  <a:lnTo>
                    <a:pt x="192" y="907"/>
                  </a:lnTo>
                  <a:lnTo>
                    <a:pt x="192" y="922"/>
                  </a:lnTo>
                  <a:lnTo>
                    <a:pt x="194" y="939"/>
                  </a:lnTo>
                  <a:lnTo>
                    <a:pt x="198" y="954"/>
                  </a:lnTo>
                  <a:lnTo>
                    <a:pt x="202" y="971"/>
                  </a:lnTo>
                  <a:lnTo>
                    <a:pt x="204" y="987"/>
                  </a:lnTo>
                  <a:lnTo>
                    <a:pt x="208" y="1002"/>
                  </a:lnTo>
                  <a:lnTo>
                    <a:pt x="211" y="1017"/>
                  </a:lnTo>
                  <a:lnTo>
                    <a:pt x="217" y="1032"/>
                  </a:lnTo>
                  <a:lnTo>
                    <a:pt x="221" y="1046"/>
                  </a:lnTo>
                  <a:lnTo>
                    <a:pt x="227" y="1061"/>
                  </a:lnTo>
                  <a:lnTo>
                    <a:pt x="232" y="1076"/>
                  </a:lnTo>
                  <a:lnTo>
                    <a:pt x="238" y="1091"/>
                  </a:lnTo>
                  <a:lnTo>
                    <a:pt x="244" y="1105"/>
                  </a:lnTo>
                  <a:lnTo>
                    <a:pt x="251" y="1120"/>
                  </a:lnTo>
                  <a:lnTo>
                    <a:pt x="257" y="1133"/>
                  </a:lnTo>
                  <a:lnTo>
                    <a:pt x="265" y="1148"/>
                  </a:lnTo>
                  <a:lnTo>
                    <a:pt x="272" y="1162"/>
                  </a:lnTo>
                  <a:lnTo>
                    <a:pt x="280" y="1175"/>
                  </a:lnTo>
                  <a:lnTo>
                    <a:pt x="289" y="1188"/>
                  </a:lnTo>
                  <a:lnTo>
                    <a:pt x="297" y="1201"/>
                  </a:lnTo>
                  <a:lnTo>
                    <a:pt x="306" y="1213"/>
                  </a:lnTo>
                  <a:lnTo>
                    <a:pt x="314" y="1226"/>
                  </a:lnTo>
                  <a:lnTo>
                    <a:pt x="324" y="1238"/>
                  </a:lnTo>
                  <a:lnTo>
                    <a:pt x="335" y="1251"/>
                  </a:lnTo>
                  <a:lnTo>
                    <a:pt x="344" y="1262"/>
                  </a:lnTo>
                  <a:lnTo>
                    <a:pt x="354" y="1274"/>
                  </a:lnTo>
                  <a:lnTo>
                    <a:pt x="365" y="1285"/>
                  </a:lnTo>
                  <a:lnTo>
                    <a:pt x="377" y="1297"/>
                  </a:lnTo>
                  <a:lnTo>
                    <a:pt x="388" y="1306"/>
                  </a:lnTo>
                  <a:lnTo>
                    <a:pt x="400" y="1317"/>
                  </a:lnTo>
                  <a:lnTo>
                    <a:pt x="411" y="1327"/>
                  </a:lnTo>
                  <a:lnTo>
                    <a:pt x="422" y="1338"/>
                  </a:lnTo>
                  <a:lnTo>
                    <a:pt x="434" y="1348"/>
                  </a:lnTo>
                  <a:lnTo>
                    <a:pt x="447" y="1357"/>
                  </a:lnTo>
                  <a:lnTo>
                    <a:pt x="459" y="1365"/>
                  </a:lnTo>
                  <a:lnTo>
                    <a:pt x="472" y="1374"/>
                  </a:lnTo>
                  <a:lnTo>
                    <a:pt x="485" y="1382"/>
                  </a:lnTo>
                  <a:lnTo>
                    <a:pt x="498" y="1392"/>
                  </a:lnTo>
                  <a:lnTo>
                    <a:pt x="512" y="1399"/>
                  </a:lnTo>
                  <a:lnTo>
                    <a:pt x="525" y="1407"/>
                  </a:lnTo>
                  <a:lnTo>
                    <a:pt x="538" y="1414"/>
                  </a:lnTo>
                  <a:lnTo>
                    <a:pt x="552" y="1422"/>
                  </a:lnTo>
                  <a:lnTo>
                    <a:pt x="567" y="1428"/>
                  </a:lnTo>
                  <a:lnTo>
                    <a:pt x="582" y="1435"/>
                  </a:lnTo>
                  <a:lnTo>
                    <a:pt x="595" y="1439"/>
                  </a:lnTo>
                  <a:lnTo>
                    <a:pt x="611" y="1445"/>
                  </a:lnTo>
                  <a:lnTo>
                    <a:pt x="624" y="1451"/>
                  </a:lnTo>
                  <a:lnTo>
                    <a:pt x="641" y="1456"/>
                  </a:lnTo>
                  <a:lnTo>
                    <a:pt x="654" y="1460"/>
                  </a:lnTo>
                  <a:lnTo>
                    <a:pt x="671" y="1464"/>
                  </a:lnTo>
                  <a:lnTo>
                    <a:pt x="687" y="1468"/>
                  </a:lnTo>
                  <a:lnTo>
                    <a:pt x="702" y="1473"/>
                  </a:lnTo>
                  <a:lnTo>
                    <a:pt x="717" y="1475"/>
                  </a:lnTo>
                  <a:lnTo>
                    <a:pt x="734" y="1477"/>
                  </a:lnTo>
                  <a:lnTo>
                    <a:pt x="749" y="1479"/>
                  </a:lnTo>
                  <a:lnTo>
                    <a:pt x="766" y="1483"/>
                  </a:lnTo>
                  <a:lnTo>
                    <a:pt x="784" y="1483"/>
                  </a:lnTo>
                  <a:lnTo>
                    <a:pt x="799" y="1485"/>
                  </a:lnTo>
                  <a:lnTo>
                    <a:pt x="816" y="1485"/>
                  </a:lnTo>
                  <a:lnTo>
                    <a:pt x="833" y="1487"/>
                  </a:lnTo>
                  <a:lnTo>
                    <a:pt x="848" y="1485"/>
                  </a:lnTo>
                  <a:lnTo>
                    <a:pt x="865" y="1485"/>
                  </a:lnTo>
                  <a:lnTo>
                    <a:pt x="881" y="1483"/>
                  </a:lnTo>
                  <a:lnTo>
                    <a:pt x="898" y="1483"/>
                  </a:lnTo>
                  <a:lnTo>
                    <a:pt x="913" y="1479"/>
                  </a:lnTo>
                  <a:lnTo>
                    <a:pt x="928" y="1477"/>
                  </a:lnTo>
                  <a:lnTo>
                    <a:pt x="945" y="1475"/>
                  </a:lnTo>
                  <a:lnTo>
                    <a:pt x="962" y="1473"/>
                  </a:lnTo>
                  <a:lnTo>
                    <a:pt x="976" y="1468"/>
                  </a:lnTo>
                  <a:lnTo>
                    <a:pt x="991" y="1464"/>
                  </a:lnTo>
                  <a:lnTo>
                    <a:pt x="1006" y="1460"/>
                  </a:lnTo>
                  <a:lnTo>
                    <a:pt x="1021" y="1456"/>
                  </a:lnTo>
                  <a:lnTo>
                    <a:pt x="1036" y="1451"/>
                  </a:lnTo>
                  <a:lnTo>
                    <a:pt x="1052" y="1445"/>
                  </a:lnTo>
                  <a:lnTo>
                    <a:pt x="1067" y="1439"/>
                  </a:lnTo>
                  <a:lnTo>
                    <a:pt x="1082" y="1435"/>
                  </a:lnTo>
                  <a:lnTo>
                    <a:pt x="1095" y="1428"/>
                  </a:lnTo>
                  <a:lnTo>
                    <a:pt x="1109" y="1422"/>
                  </a:lnTo>
                  <a:lnTo>
                    <a:pt x="1124" y="1414"/>
                  </a:lnTo>
                  <a:lnTo>
                    <a:pt x="1137" y="1407"/>
                  </a:lnTo>
                  <a:lnTo>
                    <a:pt x="1150" y="1399"/>
                  </a:lnTo>
                  <a:lnTo>
                    <a:pt x="1164" y="1392"/>
                  </a:lnTo>
                  <a:lnTo>
                    <a:pt x="1177" y="1382"/>
                  </a:lnTo>
                  <a:lnTo>
                    <a:pt x="1190" y="1374"/>
                  </a:lnTo>
                  <a:lnTo>
                    <a:pt x="1204" y="1365"/>
                  </a:lnTo>
                  <a:lnTo>
                    <a:pt x="1215" y="1357"/>
                  </a:lnTo>
                  <a:lnTo>
                    <a:pt x="1227" y="1348"/>
                  </a:lnTo>
                  <a:lnTo>
                    <a:pt x="1240" y="1338"/>
                  </a:lnTo>
                  <a:lnTo>
                    <a:pt x="1251" y="1327"/>
                  </a:lnTo>
                  <a:lnTo>
                    <a:pt x="1263" y="1317"/>
                  </a:lnTo>
                  <a:lnTo>
                    <a:pt x="1274" y="1306"/>
                  </a:lnTo>
                  <a:lnTo>
                    <a:pt x="1285" y="1297"/>
                  </a:lnTo>
                  <a:lnTo>
                    <a:pt x="1295" y="1285"/>
                  </a:lnTo>
                  <a:lnTo>
                    <a:pt x="1306" y="1274"/>
                  </a:lnTo>
                  <a:lnTo>
                    <a:pt x="1316" y="1262"/>
                  </a:lnTo>
                  <a:lnTo>
                    <a:pt x="1327" y="1251"/>
                  </a:lnTo>
                  <a:lnTo>
                    <a:pt x="1337" y="1238"/>
                  </a:lnTo>
                  <a:lnTo>
                    <a:pt x="1346" y="1226"/>
                  </a:lnTo>
                  <a:lnTo>
                    <a:pt x="1354" y="1213"/>
                  </a:lnTo>
                  <a:lnTo>
                    <a:pt x="1363" y="1201"/>
                  </a:lnTo>
                  <a:lnTo>
                    <a:pt x="1371" y="1188"/>
                  </a:lnTo>
                  <a:lnTo>
                    <a:pt x="1381" y="1175"/>
                  </a:lnTo>
                  <a:lnTo>
                    <a:pt x="1386" y="1162"/>
                  </a:lnTo>
                  <a:lnTo>
                    <a:pt x="1396" y="1148"/>
                  </a:lnTo>
                  <a:lnTo>
                    <a:pt x="1401" y="1133"/>
                  </a:lnTo>
                  <a:lnTo>
                    <a:pt x="1411" y="1120"/>
                  </a:lnTo>
                  <a:lnTo>
                    <a:pt x="1417" y="1105"/>
                  </a:lnTo>
                  <a:lnTo>
                    <a:pt x="1422" y="1091"/>
                  </a:lnTo>
                  <a:lnTo>
                    <a:pt x="1428" y="1076"/>
                  </a:lnTo>
                  <a:lnTo>
                    <a:pt x="1434" y="1061"/>
                  </a:lnTo>
                  <a:lnTo>
                    <a:pt x="1439" y="1046"/>
                  </a:lnTo>
                  <a:lnTo>
                    <a:pt x="1445" y="1032"/>
                  </a:lnTo>
                  <a:lnTo>
                    <a:pt x="1449" y="1017"/>
                  </a:lnTo>
                  <a:lnTo>
                    <a:pt x="1453" y="1002"/>
                  </a:lnTo>
                  <a:lnTo>
                    <a:pt x="1457" y="987"/>
                  </a:lnTo>
                  <a:lnTo>
                    <a:pt x="1460" y="971"/>
                  </a:lnTo>
                  <a:lnTo>
                    <a:pt x="1462" y="954"/>
                  </a:lnTo>
                  <a:lnTo>
                    <a:pt x="1466" y="939"/>
                  </a:lnTo>
                  <a:lnTo>
                    <a:pt x="1468" y="922"/>
                  </a:lnTo>
                  <a:lnTo>
                    <a:pt x="1470" y="907"/>
                  </a:lnTo>
                  <a:lnTo>
                    <a:pt x="1472" y="890"/>
                  </a:lnTo>
                  <a:lnTo>
                    <a:pt x="1472" y="874"/>
                  </a:lnTo>
                  <a:lnTo>
                    <a:pt x="1474" y="857"/>
                  </a:lnTo>
                  <a:lnTo>
                    <a:pt x="1474" y="842"/>
                  </a:lnTo>
                  <a:lnTo>
                    <a:pt x="1474" y="825"/>
                  </a:lnTo>
                  <a:lnTo>
                    <a:pt x="1472" y="808"/>
                  </a:lnTo>
                  <a:lnTo>
                    <a:pt x="1472" y="793"/>
                  </a:lnTo>
                  <a:lnTo>
                    <a:pt x="1470" y="776"/>
                  </a:lnTo>
                  <a:lnTo>
                    <a:pt x="1468" y="758"/>
                  </a:lnTo>
                  <a:lnTo>
                    <a:pt x="1466" y="743"/>
                  </a:lnTo>
                  <a:lnTo>
                    <a:pt x="1462" y="728"/>
                  </a:lnTo>
                  <a:lnTo>
                    <a:pt x="1460" y="713"/>
                  </a:lnTo>
                  <a:lnTo>
                    <a:pt x="1457" y="698"/>
                  </a:lnTo>
                  <a:lnTo>
                    <a:pt x="1453" y="682"/>
                  </a:lnTo>
                  <a:lnTo>
                    <a:pt x="1449" y="665"/>
                  </a:lnTo>
                  <a:lnTo>
                    <a:pt x="1445" y="650"/>
                  </a:lnTo>
                  <a:lnTo>
                    <a:pt x="1439" y="635"/>
                  </a:lnTo>
                  <a:lnTo>
                    <a:pt x="1434" y="622"/>
                  </a:lnTo>
                  <a:lnTo>
                    <a:pt x="1428" y="606"/>
                  </a:lnTo>
                  <a:lnTo>
                    <a:pt x="1422" y="593"/>
                  </a:lnTo>
                  <a:lnTo>
                    <a:pt x="1417" y="578"/>
                  </a:lnTo>
                  <a:lnTo>
                    <a:pt x="1411" y="563"/>
                  </a:lnTo>
                  <a:lnTo>
                    <a:pt x="1401" y="549"/>
                  </a:lnTo>
                  <a:lnTo>
                    <a:pt x="1396" y="536"/>
                  </a:lnTo>
                  <a:lnTo>
                    <a:pt x="1386" y="521"/>
                  </a:lnTo>
                  <a:lnTo>
                    <a:pt x="1381" y="509"/>
                  </a:lnTo>
                  <a:lnTo>
                    <a:pt x="1371" y="496"/>
                  </a:lnTo>
                  <a:lnTo>
                    <a:pt x="1363" y="483"/>
                  </a:lnTo>
                  <a:lnTo>
                    <a:pt x="1354" y="470"/>
                  </a:lnTo>
                  <a:lnTo>
                    <a:pt x="1346" y="458"/>
                  </a:lnTo>
                  <a:lnTo>
                    <a:pt x="1337" y="445"/>
                  </a:lnTo>
                  <a:lnTo>
                    <a:pt x="1327" y="433"/>
                  </a:lnTo>
                  <a:lnTo>
                    <a:pt x="1316" y="422"/>
                  </a:lnTo>
                  <a:lnTo>
                    <a:pt x="1306" y="411"/>
                  </a:lnTo>
                  <a:lnTo>
                    <a:pt x="1295" y="399"/>
                  </a:lnTo>
                  <a:lnTo>
                    <a:pt x="1285" y="390"/>
                  </a:lnTo>
                  <a:lnTo>
                    <a:pt x="1274" y="378"/>
                  </a:lnTo>
                  <a:lnTo>
                    <a:pt x="1263" y="367"/>
                  </a:lnTo>
                  <a:lnTo>
                    <a:pt x="1251" y="355"/>
                  </a:lnTo>
                  <a:lnTo>
                    <a:pt x="1240" y="346"/>
                  </a:lnTo>
                  <a:lnTo>
                    <a:pt x="1227" y="336"/>
                  </a:lnTo>
                  <a:lnTo>
                    <a:pt x="1215" y="327"/>
                  </a:lnTo>
                  <a:lnTo>
                    <a:pt x="1204" y="317"/>
                  </a:lnTo>
                  <a:lnTo>
                    <a:pt x="1190" y="310"/>
                  </a:lnTo>
                  <a:lnTo>
                    <a:pt x="1177" y="300"/>
                  </a:lnTo>
                  <a:lnTo>
                    <a:pt x="1164" y="293"/>
                  </a:lnTo>
                  <a:lnTo>
                    <a:pt x="1150" y="283"/>
                  </a:lnTo>
                  <a:lnTo>
                    <a:pt x="1137" y="277"/>
                  </a:lnTo>
                  <a:lnTo>
                    <a:pt x="1124" y="270"/>
                  </a:lnTo>
                  <a:lnTo>
                    <a:pt x="1109" y="262"/>
                  </a:lnTo>
                  <a:lnTo>
                    <a:pt x="1095" y="257"/>
                  </a:lnTo>
                  <a:lnTo>
                    <a:pt x="1082" y="251"/>
                  </a:lnTo>
                  <a:lnTo>
                    <a:pt x="1067" y="243"/>
                  </a:lnTo>
                  <a:lnTo>
                    <a:pt x="1052" y="238"/>
                  </a:lnTo>
                  <a:lnTo>
                    <a:pt x="1036" y="234"/>
                  </a:lnTo>
                  <a:lnTo>
                    <a:pt x="1021" y="228"/>
                  </a:lnTo>
                  <a:lnTo>
                    <a:pt x="1006" y="224"/>
                  </a:lnTo>
                  <a:lnTo>
                    <a:pt x="991" y="220"/>
                  </a:lnTo>
                  <a:lnTo>
                    <a:pt x="976" y="217"/>
                  </a:lnTo>
                  <a:lnTo>
                    <a:pt x="962" y="213"/>
                  </a:lnTo>
                  <a:lnTo>
                    <a:pt x="945" y="209"/>
                  </a:lnTo>
                  <a:lnTo>
                    <a:pt x="928" y="207"/>
                  </a:lnTo>
                  <a:lnTo>
                    <a:pt x="913" y="205"/>
                  </a:lnTo>
                  <a:lnTo>
                    <a:pt x="898" y="203"/>
                  </a:lnTo>
                  <a:lnTo>
                    <a:pt x="881" y="201"/>
                  </a:lnTo>
                  <a:lnTo>
                    <a:pt x="865" y="201"/>
                  </a:lnTo>
                  <a:lnTo>
                    <a:pt x="848" y="201"/>
                  </a:lnTo>
                  <a:lnTo>
                    <a:pt x="833" y="201"/>
                  </a:lnTo>
                  <a:lnTo>
                    <a:pt x="825" y="201"/>
                  </a:lnTo>
                  <a:lnTo>
                    <a:pt x="820" y="201"/>
                  </a:lnTo>
                  <a:lnTo>
                    <a:pt x="814" y="201"/>
                  </a:lnTo>
                  <a:lnTo>
                    <a:pt x="808" y="201"/>
                  </a:lnTo>
                  <a:lnTo>
                    <a:pt x="805" y="112"/>
                  </a:lnTo>
                  <a:lnTo>
                    <a:pt x="810" y="112"/>
                  </a:lnTo>
                  <a:lnTo>
                    <a:pt x="816" y="112"/>
                  </a:lnTo>
                  <a:lnTo>
                    <a:pt x="820" y="110"/>
                  </a:lnTo>
                  <a:lnTo>
                    <a:pt x="825" y="110"/>
                  </a:lnTo>
                  <a:lnTo>
                    <a:pt x="831" y="110"/>
                  </a:lnTo>
                  <a:lnTo>
                    <a:pt x="835" y="110"/>
                  </a:lnTo>
                  <a:lnTo>
                    <a:pt x="841" y="110"/>
                  </a:lnTo>
                  <a:lnTo>
                    <a:pt x="844" y="110"/>
                  </a:lnTo>
                  <a:lnTo>
                    <a:pt x="852" y="108"/>
                  </a:lnTo>
                  <a:lnTo>
                    <a:pt x="858" y="108"/>
                  </a:lnTo>
                  <a:lnTo>
                    <a:pt x="860" y="108"/>
                  </a:lnTo>
                  <a:lnTo>
                    <a:pt x="862" y="108"/>
                  </a:lnTo>
                  <a:lnTo>
                    <a:pt x="871" y="0"/>
                  </a:lnTo>
                  <a:lnTo>
                    <a:pt x="1074" y="36"/>
                  </a:lnTo>
                  <a:lnTo>
                    <a:pt x="1042" y="133"/>
                  </a:lnTo>
                  <a:lnTo>
                    <a:pt x="1183" y="186"/>
                  </a:lnTo>
                  <a:lnTo>
                    <a:pt x="1238" y="99"/>
                  </a:lnTo>
                  <a:lnTo>
                    <a:pt x="1358" y="181"/>
                  </a:lnTo>
                  <a:lnTo>
                    <a:pt x="1299" y="253"/>
                  </a:lnTo>
                  <a:lnTo>
                    <a:pt x="1394" y="346"/>
                  </a:lnTo>
                  <a:lnTo>
                    <a:pt x="1464" y="316"/>
                  </a:lnTo>
                  <a:lnTo>
                    <a:pt x="1538" y="431"/>
                  </a:lnTo>
                  <a:lnTo>
                    <a:pt x="1472" y="475"/>
                  </a:lnTo>
                  <a:lnTo>
                    <a:pt x="1529" y="585"/>
                  </a:lnTo>
                  <a:lnTo>
                    <a:pt x="1611" y="555"/>
                  </a:lnTo>
                  <a:lnTo>
                    <a:pt x="1654" y="696"/>
                  </a:lnTo>
                  <a:lnTo>
                    <a:pt x="1571" y="717"/>
                  </a:lnTo>
                  <a:lnTo>
                    <a:pt x="1578" y="861"/>
                  </a:lnTo>
                  <a:lnTo>
                    <a:pt x="1666" y="878"/>
                  </a:lnTo>
                  <a:lnTo>
                    <a:pt x="1635" y="1036"/>
                  </a:lnTo>
                  <a:lnTo>
                    <a:pt x="1563" y="1023"/>
                  </a:lnTo>
                  <a:lnTo>
                    <a:pt x="1514" y="1156"/>
                  </a:lnTo>
                  <a:lnTo>
                    <a:pt x="1595" y="1200"/>
                  </a:lnTo>
                  <a:lnTo>
                    <a:pt x="1512" y="1325"/>
                  </a:lnTo>
                  <a:lnTo>
                    <a:pt x="1451" y="1279"/>
                  </a:lnTo>
                  <a:lnTo>
                    <a:pt x="1377" y="1361"/>
                  </a:lnTo>
                  <a:lnTo>
                    <a:pt x="1426" y="1433"/>
                  </a:lnTo>
                  <a:lnTo>
                    <a:pt x="1314" y="1511"/>
                  </a:lnTo>
                  <a:lnTo>
                    <a:pt x="1280" y="1454"/>
                  </a:lnTo>
                  <a:lnTo>
                    <a:pt x="1152" y="1523"/>
                  </a:lnTo>
                  <a:lnTo>
                    <a:pt x="1190" y="1599"/>
                  </a:lnTo>
                  <a:lnTo>
                    <a:pt x="1063" y="1643"/>
                  </a:lnTo>
                  <a:lnTo>
                    <a:pt x="1029" y="1557"/>
                  </a:lnTo>
                  <a:lnTo>
                    <a:pt x="903" y="1578"/>
                  </a:lnTo>
                  <a:lnTo>
                    <a:pt x="913" y="1673"/>
                  </a:lnTo>
                  <a:lnTo>
                    <a:pt x="770" y="1671"/>
                  </a:lnTo>
                  <a:lnTo>
                    <a:pt x="776" y="1574"/>
                  </a:lnTo>
                  <a:lnTo>
                    <a:pt x="641" y="1547"/>
                  </a:lnTo>
                  <a:lnTo>
                    <a:pt x="611" y="1650"/>
                  </a:lnTo>
                  <a:lnTo>
                    <a:pt x="474" y="1591"/>
                  </a:lnTo>
                  <a:lnTo>
                    <a:pt x="523" y="1506"/>
                  </a:lnTo>
                  <a:lnTo>
                    <a:pt x="405" y="1447"/>
                  </a:lnTo>
                  <a:lnTo>
                    <a:pt x="352" y="1525"/>
                  </a:lnTo>
                  <a:lnTo>
                    <a:pt x="242" y="1433"/>
                  </a:lnTo>
                  <a:lnTo>
                    <a:pt x="312" y="1350"/>
                  </a:lnTo>
                  <a:lnTo>
                    <a:pt x="211" y="1245"/>
                  </a:lnTo>
                  <a:lnTo>
                    <a:pt x="133" y="1306"/>
                  </a:lnTo>
                  <a:lnTo>
                    <a:pt x="57" y="1156"/>
                  </a:lnTo>
                  <a:lnTo>
                    <a:pt x="145" y="1105"/>
                  </a:lnTo>
                  <a:lnTo>
                    <a:pt x="105" y="951"/>
                  </a:lnTo>
                  <a:lnTo>
                    <a:pt x="10" y="971"/>
                  </a:lnTo>
                  <a:lnTo>
                    <a:pt x="0" y="810"/>
                  </a:lnTo>
                  <a:lnTo>
                    <a:pt x="97" y="802"/>
                  </a:lnTo>
                  <a:lnTo>
                    <a:pt x="124" y="667"/>
                  </a:lnTo>
                  <a:lnTo>
                    <a:pt x="27" y="648"/>
                  </a:lnTo>
                  <a:lnTo>
                    <a:pt x="75" y="481"/>
                  </a:lnTo>
                  <a:lnTo>
                    <a:pt x="177" y="515"/>
                  </a:lnTo>
                  <a:lnTo>
                    <a:pt x="261" y="382"/>
                  </a:lnTo>
                  <a:lnTo>
                    <a:pt x="190" y="316"/>
                  </a:lnTo>
                  <a:lnTo>
                    <a:pt x="301" y="205"/>
                  </a:lnTo>
                  <a:lnTo>
                    <a:pt x="356" y="264"/>
                  </a:lnTo>
                  <a:lnTo>
                    <a:pt x="514" y="177"/>
                  </a:lnTo>
                  <a:lnTo>
                    <a:pt x="462" y="89"/>
                  </a:lnTo>
                  <a:lnTo>
                    <a:pt x="662"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grpSp>
      <p:grpSp>
        <p:nvGrpSpPr>
          <p:cNvPr id="7" name="Group 26"/>
          <p:cNvGrpSpPr>
            <a:grpSpLocks/>
          </p:cNvGrpSpPr>
          <p:nvPr/>
        </p:nvGrpSpPr>
        <p:grpSpPr bwMode="auto">
          <a:xfrm>
            <a:off x="7356059" y="2971801"/>
            <a:ext cx="1889541" cy="1750939"/>
            <a:chOff x="1169" y="2387"/>
            <a:chExt cx="517" cy="519"/>
          </a:xfrm>
          <a:solidFill>
            <a:schemeClr val="accent3"/>
          </a:solidFill>
        </p:grpSpPr>
        <p:sp>
          <p:nvSpPr>
            <p:cNvPr id="28" name="Freeform 27"/>
            <p:cNvSpPr>
              <a:spLocks/>
            </p:cNvSpPr>
            <p:nvPr/>
          </p:nvSpPr>
          <p:spPr bwMode="auto">
            <a:xfrm rot="263996">
              <a:off x="1249" y="2468"/>
              <a:ext cx="358" cy="358"/>
            </a:xfrm>
            <a:custGeom>
              <a:avLst/>
              <a:gdLst>
                <a:gd name="T0" fmla="*/ 206 w 1323"/>
                <a:gd name="T1" fmla="*/ 326 h 1323"/>
                <a:gd name="T2" fmla="*/ 239 w 1323"/>
                <a:gd name="T3" fmla="*/ 316 h 1323"/>
                <a:gd name="T4" fmla="*/ 268 w 1323"/>
                <a:gd name="T5" fmla="*/ 298 h 1323"/>
                <a:gd name="T6" fmla="*/ 292 w 1323"/>
                <a:gd name="T7" fmla="*/ 276 h 1323"/>
                <a:gd name="T8" fmla="*/ 311 w 1323"/>
                <a:gd name="T9" fmla="*/ 248 h 1323"/>
                <a:gd name="T10" fmla="*/ 324 w 1323"/>
                <a:gd name="T11" fmla="*/ 217 h 1323"/>
                <a:gd name="T12" fmla="*/ 329 w 1323"/>
                <a:gd name="T13" fmla="*/ 183 h 1323"/>
                <a:gd name="T14" fmla="*/ 327 w 1323"/>
                <a:gd name="T15" fmla="*/ 149 h 1323"/>
                <a:gd name="T16" fmla="*/ 318 w 1323"/>
                <a:gd name="T17" fmla="*/ 118 h 1323"/>
                <a:gd name="T18" fmla="*/ 303 w 1323"/>
                <a:gd name="T19" fmla="*/ 89 h 1323"/>
                <a:gd name="T20" fmla="*/ 283 w 1323"/>
                <a:gd name="T21" fmla="*/ 65 h 1323"/>
                <a:gd name="T22" fmla="*/ 258 w 1323"/>
                <a:gd name="T23" fmla="*/ 45 h 1323"/>
                <a:gd name="T24" fmla="*/ 229 w 1323"/>
                <a:gd name="T25" fmla="*/ 31 h 1323"/>
                <a:gd name="T26" fmla="*/ 197 w 1323"/>
                <a:gd name="T27" fmla="*/ 23 h 1323"/>
                <a:gd name="T28" fmla="*/ 187 w 1323"/>
                <a:gd name="T29" fmla="*/ 14 h 1323"/>
                <a:gd name="T30" fmla="*/ 193 w 1323"/>
                <a:gd name="T31" fmla="*/ 0 h 1323"/>
                <a:gd name="T32" fmla="*/ 232 w 1323"/>
                <a:gd name="T33" fmla="*/ 7 h 1323"/>
                <a:gd name="T34" fmla="*/ 266 w 1323"/>
                <a:gd name="T35" fmla="*/ 22 h 1323"/>
                <a:gd name="T36" fmla="*/ 297 w 1323"/>
                <a:gd name="T37" fmla="*/ 44 h 1323"/>
                <a:gd name="T38" fmla="*/ 322 w 1323"/>
                <a:gd name="T39" fmla="*/ 71 h 1323"/>
                <a:gd name="T40" fmla="*/ 341 w 1323"/>
                <a:gd name="T41" fmla="*/ 103 h 1323"/>
                <a:gd name="T42" fmla="*/ 353 w 1323"/>
                <a:gd name="T43" fmla="*/ 139 h 1323"/>
                <a:gd name="T44" fmla="*/ 358 w 1323"/>
                <a:gd name="T45" fmla="*/ 179 h 1323"/>
                <a:gd name="T46" fmla="*/ 353 w 1323"/>
                <a:gd name="T47" fmla="*/ 219 h 1323"/>
                <a:gd name="T48" fmla="*/ 340 w 1323"/>
                <a:gd name="T49" fmla="*/ 256 h 1323"/>
                <a:gd name="T50" fmla="*/ 320 w 1323"/>
                <a:gd name="T51" fmla="*/ 289 h 1323"/>
                <a:gd name="T52" fmla="*/ 293 w 1323"/>
                <a:gd name="T53" fmla="*/ 317 h 1323"/>
                <a:gd name="T54" fmla="*/ 260 w 1323"/>
                <a:gd name="T55" fmla="*/ 338 h 1323"/>
                <a:gd name="T56" fmla="*/ 223 w 1323"/>
                <a:gd name="T57" fmla="*/ 352 h 1323"/>
                <a:gd name="T58" fmla="*/ 184 w 1323"/>
                <a:gd name="T59" fmla="*/ 358 h 1323"/>
                <a:gd name="T60" fmla="*/ 143 w 1323"/>
                <a:gd name="T61" fmla="*/ 354 h 1323"/>
                <a:gd name="T62" fmla="*/ 105 w 1323"/>
                <a:gd name="T63" fmla="*/ 342 h 1323"/>
                <a:gd name="T64" fmla="*/ 72 w 1323"/>
                <a:gd name="T65" fmla="*/ 322 h 1323"/>
                <a:gd name="T66" fmla="*/ 44 w 1323"/>
                <a:gd name="T67" fmla="*/ 296 h 1323"/>
                <a:gd name="T68" fmla="*/ 22 w 1323"/>
                <a:gd name="T69" fmla="*/ 264 h 1323"/>
                <a:gd name="T70" fmla="*/ 6 w 1323"/>
                <a:gd name="T71" fmla="*/ 227 h 1323"/>
                <a:gd name="T72" fmla="*/ 0 w 1323"/>
                <a:gd name="T73" fmla="*/ 188 h 1323"/>
                <a:gd name="T74" fmla="*/ 3 w 1323"/>
                <a:gd name="T75" fmla="*/ 148 h 1323"/>
                <a:gd name="T76" fmla="*/ 14 w 1323"/>
                <a:gd name="T77" fmla="*/ 111 h 1323"/>
                <a:gd name="T78" fmla="*/ 31 w 1323"/>
                <a:gd name="T79" fmla="*/ 77 h 1323"/>
                <a:gd name="T80" fmla="*/ 56 w 1323"/>
                <a:gd name="T81" fmla="*/ 48 h 1323"/>
                <a:gd name="T82" fmla="*/ 86 w 1323"/>
                <a:gd name="T83" fmla="*/ 25 h 1323"/>
                <a:gd name="T84" fmla="*/ 120 w 1323"/>
                <a:gd name="T85" fmla="*/ 9 h 1323"/>
                <a:gd name="T86" fmla="*/ 159 w 1323"/>
                <a:gd name="T87" fmla="*/ 1 h 1323"/>
                <a:gd name="T88" fmla="*/ 173 w 1323"/>
                <a:gd name="T89" fmla="*/ 10 h 1323"/>
                <a:gd name="T90" fmla="*/ 163 w 1323"/>
                <a:gd name="T91" fmla="*/ 22 h 1323"/>
                <a:gd name="T92" fmla="*/ 129 w 1323"/>
                <a:gd name="T93" fmla="*/ 28 h 1323"/>
                <a:gd name="T94" fmla="*/ 98 w 1323"/>
                <a:gd name="T95" fmla="*/ 42 h 1323"/>
                <a:gd name="T96" fmla="*/ 72 w 1323"/>
                <a:gd name="T97" fmla="*/ 61 h 1323"/>
                <a:gd name="T98" fmla="*/ 50 w 1323"/>
                <a:gd name="T99" fmla="*/ 87 h 1323"/>
                <a:gd name="T100" fmla="*/ 34 w 1323"/>
                <a:gd name="T101" fmla="*/ 115 h 1323"/>
                <a:gd name="T102" fmla="*/ 24 w 1323"/>
                <a:gd name="T103" fmla="*/ 148 h 1323"/>
                <a:gd name="T104" fmla="*/ 22 w 1323"/>
                <a:gd name="T105" fmla="*/ 183 h 1323"/>
                <a:gd name="T106" fmla="*/ 27 w 1323"/>
                <a:gd name="T107" fmla="*/ 217 h 1323"/>
                <a:gd name="T108" fmla="*/ 40 w 1323"/>
                <a:gd name="T109" fmla="*/ 248 h 1323"/>
                <a:gd name="T110" fmla="*/ 59 w 1323"/>
                <a:gd name="T111" fmla="*/ 276 h 1323"/>
                <a:gd name="T112" fmla="*/ 83 w 1323"/>
                <a:gd name="T113" fmla="*/ 298 h 1323"/>
                <a:gd name="T114" fmla="*/ 112 w 1323"/>
                <a:gd name="T115" fmla="*/ 316 h 1323"/>
                <a:gd name="T116" fmla="*/ 144 w 1323"/>
                <a:gd name="T117" fmla="*/ 326 h 1323"/>
                <a:gd name="T118" fmla="*/ 176 w 1323"/>
                <a:gd name="T119" fmla="*/ 330 h 132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323" h="1323">
                  <a:moveTo>
                    <a:pt x="649" y="1219"/>
                  </a:moveTo>
                  <a:lnTo>
                    <a:pt x="664" y="1217"/>
                  </a:lnTo>
                  <a:lnTo>
                    <a:pt x="677" y="1217"/>
                  </a:lnTo>
                  <a:lnTo>
                    <a:pt x="692" y="1215"/>
                  </a:lnTo>
                  <a:lnTo>
                    <a:pt x="707" y="1215"/>
                  </a:lnTo>
                  <a:lnTo>
                    <a:pt x="721" y="1213"/>
                  </a:lnTo>
                  <a:lnTo>
                    <a:pt x="736" y="1211"/>
                  </a:lnTo>
                  <a:lnTo>
                    <a:pt x="749" y="1207"/>
                  </a:lnTo>
                  <a:lnTo>
                    <a:pt x="763" y="1205"/>
                  </a:lnTo>
                  <a:lnTo>
                    <a:pt x="778" y="1202"/>
                  </a:lnTo>
                  <a:lnTo>
                    <a:pt x="789" y="1200"/>
                  </a:lnTo>
                  <a:lnTo>
                    <a:pt x="804" y="1196"/>
                  </a:lnTo>
                  <a:lnTo>
                    <a:pt x="818" y="1192"/>
                  </a:lnTo>
                  <a:lnTo>
                    <a:pt x="829" y="1186"/>
                  </a:lnTo>
                  <a:lnTo>
                    <a:pt x="842" y="1183"/>
                  </a:lnTo>
                  <a:lnTo>
                    <a:pt x="856" y="1177"/>
                  </a:lnTo>
                  <a:lnTo>
                    <a:pt x="869" y="1173"/>
                  </a:lnTo>
                  <a:lnTo>
                    <a:pt x="882" y="1166"/>
                  </a:lnTo>
                  <a:lnTo>
                    <a:pt x="894" y="1160"/>
                  </a:lnTo>
                  <a:lnTo>
                    <a:pt x="907" y="1154"/>
                  </a:lnTo>
                  <a:lnTo>
                    <a:pt x="918" y="1148"/>
                  </a:lnTo>
                  <a:lnTo>
                    <a:pt x="930" y="1141"/>
                  </a:lnTo>
                  <a:lnTo>
                    <a:pt x="943" y="1133"/>
                  </a:lnTo>
                  <a:lnTo>
                    <a:pt x="955" y="1128"/>
                  </a:lnTo>
                  <a:lnTo>
                    <a:pt x="966" y="1120"/>
                  </a:lnTo>
                  <a:lnTo>
                    <a:pt x="977" y="1112"/>
                  </a:lnTo>
                  <a:lnTo>
                    <a:pt x="989" y="1103"/>
                  </a:lnTo>
                  <a:lnTo>
                    <a:pt x="998" y="1095"/>
                  </a:lnTo>
                  <a:lnTo>
                    <a:pt x="1010" y="1088"/>
                  </a:lnTo>
                  <a:lnTo>
                    <a:pt x="1019" y="1078"/>
                  </a:lnTo>
                  <a:lnTo>
                    <a:pt x="1031" y="1069"/>
                  </a:lnTo>
                  <a:lnTo>
                    <a:pt x="1040" y="1059"/>
                  </a:lnTo>
                  <a:lnTo>
                    <a:pt x="1052" y="1051"/>
                  </a:lnTo>
                  <a:lnTo>
                    <a:pt x="1059" y="1040"/>
                  </a:lnTo>
                  <a:lnTo>
                    <a:pt x="1069" y="1031"/>
                  </a:lnTo>
                  <a:lnTo>
                    <a:pt x="1078" y="1019"/>
                  </a:lnTo>
                  <a:lnTo>
                    <a:pt x="1088" y="1010"/>
                  </a:lnTo>
                  <a:lnTo>
                    <a:pt x="1095" y="998"/>
                  </a:lnTo>
                  <a:lnTo>
                    <a:pt x="1103" y="987"/>
                  </a:lnTo>
                  <a:lnTo>
                    <a:pt x="1112" y="975"/>
                  </a:lnTo>
                  <a:lnTo>
                    <a:pt x="1120" y="966"/>
                  </a:lnTo>
                  <a:lnTo>
                    <a:pt x="1128" y="953"/>
                  </a:lnTo>
                  <a:lnTo>
                    <a:pt x="1133" y="941"/>
                  </a:lnTo>
                  <a:lnTo>
                    <a:pt x="1141" y="930"/>
                  </a:lnTo>
                  <a:lnTo>
                    <a:pt x="1148" y="918"/>
                  </a:lnTo>
                  <a:lnTo>
                    <a:pt x="1154" y="905"/>
                  </a:lnTo>
                  <a:lnTo>
                    <a:pt x="1160" y="894"/>
                  </a:lnTo>
                  <a:lnTo>
                    <a:pt x="1166" y="880"/>
                  </a:lnTo>
                  <a:lnTo>
                    <a:pt x="1173" y="869"/>
                  </a:lnTo>
                  <a:lnTo>
                    <a:pt x="1177" y="856"/>
                  </a:lnTo>
                  <a:lnTo>
                    <a:pt x="1183" y="842"/>
                  </a:lnTo>
                  <a:lnTo>
                    <a:pt x="1187" y="829"/>
                  </a:lnTo>
                  <a:lnTo>
                    <a:pt x="1192" y="816"/>
                  </a:lnTo>
                  <a:lnTo>
                    <a:pt x="1196" y="802"/>
                  </a:lnTo>
                  <a:lnTo>
                    <a:pt x="1200" y="789"/>
                  </a:lnTo>
                  <a:lnTo>
                    <a:pt x="1202" y="776"/>
                  </a:lnTo>
                  <a:lnTo>
                    <a:pt x="1206" y="763"/>
                  </a:lnTo>
                  <a:lnTo>
                    <a:pt x="1207" y="747"/>
                  </a:lnTo>
                  <a:lnTo>
                    <a:pt x="1209" y="734"/>
                  </a:lnTo>
                  <a:lnTo>
                    <a:pt x="1211" y="719"/>
                  </a:lnTo>
                  <a:lnTo>
                    <a:pt x="1215" y="705"/>
                  </a:lnTo>
                  <a:lnTo>
                    <a:pt x="1215" y="690"/>
                  </a:lnTo>
                  <a:lnTo>
                    <a:pt x="1217" y="677"/>
                  </a:lnTo>
                  <a:lnTo>
                    <a:pt x="1217" y="662"/>
                  </a:lnTo>
                  <a:lnTo>
                    <a:pt x="1219" y="648"/>
                  </a:lnTo>
                  <a:lnTo>
                    <a:pt x="1217" y="633"/>
                  </a:lnTo>
                  <a:lnTo>
                    <a:pt x="1217" y="620"/>
                  </a:lnTo>
                  <a:lnTo>
                    <a:pt x="1217" y="605"/>
                  </a:lnTo>
                  <a:lnTo>
                    <a:pt x="1215" y="591"/>
                  </a:lnTo>
                  <a:lnTo>
                    <a:pt x="1213" y="576"/>
                  </a:lnTo>
                  <a:lnTo>
                    <a:pt x="1211" y="563"/>
                  </a:lnTo>
                  <a:lnTo>
                    <a:pt x="1209" y="550"/>
                  </a:lnTo>
                  <a:lnTo>
                    <a:pt x="1207" y="536"/>
                  </a:lnTo>
                  <a:lnTo>
                    <a:pt x="1202" y="523"/>
                  </a:lnTo>
                  <a:lnTo>
                    <a:pt x="1200" y="510"/>
                  </a:lnTo>
                  <a:lnTo>
                    <a:pt x="1196" y="496"/>
                  </a:lnTo>
                  <a:lnTo>
                    <a:pt x="1194" y="485"/>
                  </a:lnTo>
                  <a:lnTo>
                    <a:pt x="1188" y="470"/>
                  </a:lnTo>
                  <a:lnTo>
                    <a:pt x="1185" y="458"/>
                  </a:lnTo>
                  <a:lnTo>
                    <a:pt x="1181" y="445"/>
                  </a:lnTo>
                  <a:lnTo>
                    <a:pt x="1177" y="436"/>
                  </a:lnTo>
                  <a:lnTo>
                    <a:pt x="1171" y="422"/>
                  </a:lnTo>
                  <a:lnTo>
                    <a:pt x="1166" y="409"/>
                  </a:lnTo>
                  <a:lnTo>
                    <a:pt x="1160" y="397"/>
                  </a:lnTo>
                  <a:lnTo>
                    <a:pt x="1154" y="386"/>
                  </a:lnTo>
                  <a:lnTo>
                    <a:pt x="1147" y="375"/>
                  </a:lnTo>
                  <a:lnTo>
                    <a:pt x="1141" y="363"/>
                  </a:lnTo>
                  <a:lnTo>
                    <a:pt x="1135" y="352"/>
                  </a:lnTo>
                  <a:lnTo>
                    <a:pt x="1128" y="340"/>
                  </a:lnTo>
                  <a:lnTo>
                    <a:pt x="1120" y="329"/>
                  </a:lnTo>
                  <a:lnTo>
                    <a:pt x="1112" y="318"/>
                  </a:lnTo>
                  <a:lnTo>
                    <a:pt x="1105" y="308"/>
                  </a:lnTo>
                  <a:lnTo>
                    <a:pt x="1097" y="299"/>
                  </a:lnTo>
                  <a:lnTo>
                    <a:pt x="1090" y="287"/>
                  </a:lnTo>
                  <a:lnTo>
                    <a:pt x="1080" y="278"/>
                  </a:lnTo>
                  <a:lnTo>
                    <a:pt x="1072" y="268"/>
                  </a:lnTo>
                  <a:lnTo>
                    <a:pt x="1065" y="259"/>
                  </a:lnTo>
                  <a:lnTo>
                    <a:pt x="1055" y="249"/>
                  </a:lnTo>
                  <a:lnTo>
                    <a:pt x="1046" y="240"/>
                  </a:lnTo>
                  <a:lnTo>
                    <a:pt x="1036" y="230"/>
                  </a:lnTo>
                  <a:lnTo>
                    <a:pt x="1027" y="223"/>
                  </a:lnTo>
                  <a:lnTo>
                    <a:pt x="1015" y="213"/>
                  </a:lnTo>
                  <a:lnTo>
                    <a:pt x="1006" y="204"/>
                  </a:lnTo>
                  <a:lnTo>
                    <a:pt x="995" y="196"/>
                  </a:lnTo>
                  <a:lnTo>
                    <a:pt x="985" y="188"/>
                  </a:lnTo>
                  <a:lnTo>
                    <a:pt x="974" y="181"/>
                  </a:lnTo>
                  <a:lnTo>
                    <a:pt x="964" y="173"/>
                  </a:lnTo>
                  <a:lnTo>
                    <a:pt x="953" y="166"/>
                  </a:lnTo>
                  <a:lnTo>
                    <a:pt x="941" y="160"/>
                  </a:lnTo>
                  <a:lnTo>
                    <a:pt x="930" y="152"/>
                  </a:lnTo>
                  <a:lnTo>
                    <a:pt x="918" y="147"/>
                  </a:lnTo>
                  <a:lnTo>
                    <a:pt x="907" y="141"/>
                  </a:lnTo>
                  <a:lnTo>
                    <a:pt x="896" y="135"/>
                  </a:lnTo>
                  <a:lnTo>
                    <a:pt x="882" y="129"/>
                  </a:lnTo>
                  <a:lnTo>
                    <a:pt x="871" y="124"/>
                  </a:lnTo>
                  <a:lnTo>
                    <a:pt x="858" y="118"/>
                  </a:lnTo>
                  <a:lnTo>
                    <a:pt x="846" y="114"/>
                  </a:lnTo>
                  <a:lnTo>
                    <a:pt x="833" y="108"/>
                  </a:lnTo>
                  <a:lnTo>
                    <a:pt x="822" y="105"/>
                  </a:lnTo>
                  <a:lnTo>
                    <a:pt x="808" y="101"/>
                  </a:lnTo>
                  <a:lnTo>
                    <a:pt x="795" y="99"/>
                  </a:lnTo>
                  <a:lnTo>
                    <a:pt x="782" y="95"/>
                  </a:lnTo>
                  <a:lnTo>
                    <a:pt x="770" y="91"/>
                  </a:lnTo>
                  <a:lnTo>
                    <a:pt x="757" y="89"/>
                  </a:lnTo>
                  <a:lnTo>
                    <a:pt x="744" y="88"/>
                  </a:lnTo>
                  <a:lnTo>
                    <a:pt x="728" y="84"/>
                  </a:lnTo>
                  <a:lnTo>
                    <a:pt x="715" y="84"/>
                  </a:lnTo>
                  <a:lnTo>
                    <a:pt x="702" y="82"/>
                  </a:lnTo>
                  <a:lnTo>
                    <a:pt x="688" y="82"/>
                  </a:lnTo>
                  <a:lnTo>
                    <a:pt x="688" y="76"/>
                  </a:lnTo>
                  <a:lnTo>
                    <a:pt x="690" y="70"/>
                  </a:lnTo>
                  <a:lnTo>
                    <a:pt x="690" y="65"/>
                  </a:lnTo>
                  <a:lnTo>
                    <a:pt x="692" y="59"/>
                  </a:lnTo>
                  <a:lnTo>
                    <a:pt x="692" y="53"/>
                  </a:lnTo>
                  <a:lnTo>
                    <a:pt x="692" y="50"/>
                  </a:lnTo>
                  <a:lnTo>
                    <a:pt x="694" y="44"/>
                  </a:lnTo>
                  <a:lnTo>
                    <a:pt x="694" y="38"/>
                  </a:lnTo>
                  <a:lnTo>
                    <a:pt x="694" y="32"/>
                  </a:lnTo>
                  <a:lnTo>
                    <a:pt x="694" y="27"/>
                  </a:lnTo>
                  <a:lnTo>
                    <a:pt x="696" y="23"/>
                  </a:lnTo>
                  <a:lnTo>
                    <a:pt x="696" y="17"/>
                  </a:lnTo>
                  <a:lnTo>
                    <a:pt x="698" y="8"/>
                  </a:lnTo>
                  <a:lnTo>
                    <a:pt x="700" y="0"/>
                  </a:lnTo>
                  <a:lnTo>
                    <a:pt x="715" y="0"/>
                  </a:lnTo>
                  <a:lnTo>
                    <a:pt x="732" y="2"/>
                  </a:lnTo>
                  <a:lnTo>
                    <a:pt x="747" y="2"/>
                  </a:lnTo>
                  <a:lnTo>
                    <a:pt x="763" y="6"/>
                  </a:lnTo>
                  <a:lnTo>
                    <a:pt x="780" y="8"/>
                  </a:lnTo>
                  <a:lnTo>
                    <a:pt x="795" y="12"/>
                  </a:lnTo>
                  <a:lnTo>
                    <a:pt x="810" y="13"/>
                  </a:lnTo>
                  <a:lnTo>
                    <a:pt x="825" y="19"/>
                  </a:lnTo>
                  <a:lnTo>
                    <a:pt x="841" y="21"/>
                  </a:lnTo>
                  <a:lnTo>
                    <a:pt x="856" y="27"/>
                  </a:lnTo>
                  <a:lnTo>
                    <a:pt x="871" y="31"/>
                  </a:lnTo>
                  <a:lnTo>
                    <a:pt x="886" y="36"/>
                  </a:lnTo>
                  <a:lnTo>
                    <a:pt x="899" y="42"/>
                  </a:lnTo>
                  <a:lnTo>
                    <a:pt x="915" y="48"/>
                  </a:lnTo>
                  <a:lnTo>
                    <a:pt x="928" y="53"/>
                  </a:lnTo>
                  <a:lnTo>
                    <a:pt x="943" y="61"/>
                  </a:lnTo>
                  <a:lnTo>
                    <a:pt x="956" y="67"/>
                  </a:lnTo>
                  <a:lnTo>
                    <a:pt x="970" y="74"/>
                  </a:lnTo>
                  <a:lnTo>
                    <a:pt x="983" y="80"/>
                  </a:lnTo>
                  <a:lnTo>
                    <a:pt x="998" y="89"/>
                  </a:lnTo>
                  <a:lnTo>
                    <a:pt x="1010" y="97"/>
                  </a:lnTo>
                  <a:lnTo>
                    <a:pt x="1023" y="105"/>
                  </a:lnTo>
                  <a:lnTo>
                    <a:pt x="1036" y="114"/>
                  </a:lnTo>
                  <a:lnTo>
                    <a:pt x="1050" y="124"/>
                  </a:lnTo>
                  <a:lnTo>
                    <a:pt x="1061" y="131"/>
                  </a:lnTo>
                  <a:lnTo>
                    <a:pt x="1072" y="141"/>
                  </a:lnTo>
                  <a:lnTo>
                    <a:pt x="1084" y="150"/>
                  </a:lnTo>
                  <a:lnTo>
                    <a:pt x="1097" y="162"/>
                  </a:lnTo>
                  <a:lnTo>
                    <a:pt x="1109" y="171"/>
                  </a:lnTo>
                  <a:lnTo>
                    <a:pt x="1120" y="183"/>
                  </a:lnTo>
                  <a:lnTo>
                    <a:pt x="1131" y="194"/>
                  </a:lnTo>
                  <a:lnTo>
                    <a:pt x="1143" y="205"/>
                  </a:lnTo>
                  <a:lnTo>
                    <a:pt x="1152" y="215"/>
                  </a:lnTo>
                  <a:lnTo>
                    <a:pt x="1162" y="226"/>
                  </a:lnTo>
                  <a:lnTo>
                    <a:pt x="1171" y="238"/>
                  </a:lnTo>
                  <a:lnTo>
                    <a:pt x="1181" y="251"/>
                  </a:lnTo>
                  <a:lnTo>
                    <a:pt x="1190" y="262"/>
                  </a:lnTo>
                  <a:lnTo>
                    <a:pt x="1200" y="276"/>
                  </a:lnTo>
                  <a:lnTo>
                    <a:pt x="1207" y="287"/>
                  </a:lnTo>
                  <a:lnTo>
                    <a:pt x="1217" y="301"/>
                  </a:lnTo>
                  <a:lnTo>
                    <a:pt x="1225" y="314"/>
                  </a:lnTo>
                  <a:lnTo>
                    <a:pt x="1234" y="327"/>
                  </a:lnTo>
                  <a:lnTo>
                    <a:pt x="1242" y="340"/>
                  </a:lnTo>
                  <a:lnTo>
                    <a:pt x="1247" y="354"/>
                  </a:lnTo>
                  <a:lnTo>
                    <a:pt x="1255" y="367"/>
                  </a:lnTo>
                  <a:lnTo>
                    <a:pt x="1261" y="382"/>
                  </a:lnTo>
                  <a:lnTo>
                    <a:pt x="1268" y="396"/>
                  </a:lnTo>
                  <a:lnTo>
                    <a:pt x="1274" y="411"/>
                  </a:lnTo>
                  <a:lnTo>
                    <a:pt x="1280" y="426"/>
                  </a:lnTo>
                  <a:lnTo>
                    <a:pt x="1285" y="439"/>
                  </a:lnTo>
                  <a:lnTo>
                    <a:pt x="1289" y="453"/>
                  </a:lnTo>
                  <a:lnTo>
                    <a:pt x="1295" y="470"/>
                  </a:lnTo>
                  <a:lnTo>
                    <a:pt x="1299" y="485"/>
                  </a:lnTo>
                  <a:lnTo>
                    <a:pt x="1302" y="500"/>
                  </a:lnTo>
                  <a:lnTo>
                    <a:pt x="1306" y="515"/>
                  </a:lnTo>
                  <a:lnTo>
                    <a:pt x="1310" y="531"/>
                  </a:lnTo>
                  <a:lnTo>
                    <a:pt x="1312" y="546"/>
                  </a:lnTo>
                  <a:lnTo>
                    <a:pt x="1316" y="563"/>
                  </a:lnTo>
                  <a:lnTo>
                    <a:pt x="1318" y="578"/>
                  </a:lnTo>
                  <a:lnTo>
                    <a:pt x="1320" y="595"/>
                  </a:lnTo>
                  <a:lnTo>
                    <a:pt x="1321" y="610"/>
                  </a:lnTo>
                  <a:lnTo>
                    <a:pt x="1321" y="628"/>
                  </a:lnTo>
                  <a:lnTo>
                    <a:pt x="1323" y="645"/>
                  </a:lnTo>
                  <a:lnTo>
                    <a:pt x="1323" y="662"/>
                  </a:lnTo>
                  <a:lnTo>
                    <a:pt x="1323" y="677"/>
                  </a:lnTo>
                  <a:lnTo>
                    <a:pt x="1321" y="694"/>
                  </a:lnTo>
                  <a:lnTo>
                    <a:pt x="1321" y="711"/>
                  </a:lnTo>
                  <a:lnTo>
                    <a:pt x="1320" y="728"/>
                  </a:lnTo>
                  <a:lnTo>
                    <a:pt x="1318" y="744"/>
                  </a:lnTo>
                  <a:lnTo>
                    <a:pt x="1316" y="761"/>
                  </a:lnTo>
                  <a:lnTo>
                    <a:pt x="1312" y="776"/>
                  </a:lnTo>
                  <a:lnTo>
                    <a:pt x="1310" y="793"/>
                  </a:lnTo>
                  <a:lnTo>
                    <a:pt x="1304" y="808"/>
                  </a:lnTo>
                  <a:lnTo>
                    <a:pt x="1301" y="825"/>
                  </a:lnTo>
                  <a:lnTo>
                    <a:pt x="1297" y="840"/>
                  </a:lnTo>
                  <a:lnTo>
                    <a:pt x="1293" y="858"/>
                  </a:lnTo>
                  <a:lnTo>
                    <a:pt x="1287" y="871"/>
                  </a:lnTo>
                  <a:lnTo>
                    <a:pt x="1282" y="888"/>
                  </a:lnTo>
                  <a:lnTo>
                    <a:pt x="1276" y="901"/>
                  </a:lnTo>
                  <a:lnTo>
                    <a:pt x="1270" y="918"/>
                  </a:lnTo>
                  <a:lnTo>
                    <a:pt x="1263" y="932"/>
                  </a:lnTo>
                  <a:lnTo>
                    <a:pt x="1257" y="947"/>
                  </a:lnTo>
                  <a:lnTo>
                    <a:pt x="1249" y="960"/>
                  </a:lnTo>
                  <a:lnTo>
                    <a:pt x="1244" y="975"/>
                  </a:lnTo>
                  <a:lnTo>
                    <a:pt x="1234" y="989"/>
                  </a:lnTo>
                  <a:lnTo>
                    <a:pt x="1226" y="1002"/>
                  </a:lnTo>
                  <a:lnTo>
                    <a:pt x="1219" y="1015"/>
                  </a:lnTo>
                  <a:lnTo>
                    <a:pt x="1209" y="1031"/>
                  </a:lnTo>
                  <a:lnTo>
                    <a:pt x="1202" y="1042"/>
                  </a:lnTo>
                  <a:lnTo>
                    <a:pt x="1192" y="1055"/>
                  </a:lnTo>
                  <a:lnTo>
                    <a:pt x="1181" y="1069"/>
                  </a:lnTo>
                  <a:lnTo>
                    <a:pt x="1171" y="1082"/>
                  </a:lnTo>
                  <a:lnTo>
                    <a:pt x="1162" y="1093"/>
                  </a:lnTo>
                  <a:lnTo>
                    <a:pt x="1150" y="1105"/>
                  </a:lnTo>
                  <a:lnTo>
                    <a:pt x="1141" y="1116"/>
                  </a:lnTo>
                  <a:lnTo>
                    <a:pt x="1129" y="1129"/>
                  </a:lnTo>
                  <a:lnTo>
                    <a:pt x="1118" y="1139"/>
                  </a:lnTo>
                  <a:lnTo>
                    <a:pt x="1107" y="1150"/>
                  </a:lnTo>
                  <a:lnTo>
                    <a:pt x="1093" y="1160"/>
                  </a:lnTo>
                  <a:lnTo>
                    <a:pt x="1082" y="1171"/>
                  </a:lnTo>
                  <a:lnTo>
                    <a:pt x="1069" y="1181"/>
                  </a:lnTo>
                  <a:lnTo>
                    <a:pt x="1055" y="1190"/>
                  </a:lnTo>
                  <a:lnTo>
                    <a:pt x="1044" y="1200"/>
                  </a:lnTo>
                  <a:lnTo>
                    <a:pt x="1031" y="1209"/>
                  </a:lnTo>
                  <a:lnTo>
                    <a:pt x="1017" y="1217"/>
                  </a:lnTo>
                  <a:lnTo>
                    <a:pt x="1004" y="1226"/>
                  </a:lnTo>
                  <a:lnTo>
                    <a:pt x="989" y="1234"/>
                  </a:lnTo>
                  <a:lnTo>
                    <a:pt x="975" y="1244"/>
                  </a:lnTo>
                  <a:lnTo>
                    <a:pt x="962" y="1249"/>
                  </a:lnTo>
                  <a:lnTo>
                    <a:pt x="947" y="1257"/>
                  </a:lnTo>
                  <a:lnTo>
                    <a:pt x="934" y="1264"/>
                  </a:lnTo>
                  <a:lnTo>
                    <a:pt x="918" y="1272"/>
                  </a:lnTo>
                  <a:lnTo>
                    <a:pt x="903" y="1276"/>
                  </a:lnTo>
                  <a:lnTo>
                    <a:pt x="888" y="1282"/>
                  </a:lnTo>
                  <a:lnTo>
                    <a:pt x="873" y="1287"/>
                  </a:lnTo>
                  <a:lnTo>
                    <a:pt x="858" y="1293"/>
                  </a:lnTo>
                  <a:lnTo>
                    <a:pt x="841" y="1297"/>
                  </a:lnTo>
                  <a:lnTo>
                    <a:pt x="825" y="1301"/>
                  </a:lnTo>
                  <a:lnTo>
                    <a:pt x="810" y="1304"/>
                  </a:lnTo>
                  <a:lnTo>
                    <a:pt x="795" y="1310"/>
                  </a:lnTo>
                  <a:lnTo>
                    <a:pt x="778" y="1312"/>
                  </a:lnTo>
                  <a:lnTo>
                    <a:pt x="763" y="1316"/>
                  </a:lnTo>
                  <a:lnTo>
                    <a:pt x="745" y="1318"/>
                  </a:lnTo>
                  <a:lnTo>
                    <a:pt x="728" y="1320"/>
                  </a:lnTo>
                  <a:lnTo>
                    <a:pt x="711" y="1321"/>
                  </a:lnTo>
                  <a:lnTo>
                    <a:pt x="696" y="1321"/>
                  </a:lnTo>
                  <a:lnTo>
                    <a:pt x="679" y="1323"/>
                  </a:lnTo>
                  <a:lnTo>
                    <a:pt x="662" y="1323"/>
                  </a:lnTo>
                  <a:lnTo>
                    <a:pt x="645" y="1323"/>
                  </a:lnTo>
                  <a:lnTo>
                    <a:pt x="628" y="1321"/>
                  </a:lnTo>
                  <a:lnTo>
                    <a:pt x="610" y="1321"/>
                  </a:lnTo>
                  <a:lnTo>
                    <a:pt x="593" y="1320"/>
                  </a:lnTo>
                  <a:lnTo>
                    <a:pt x="576" y="1318"/>
                  </a:lnTo>
                  <a:lnTo>
                    <a:pt x="561" y="1316"/>
                  </a:lnTo>
                  <a:lnTo>
                    <a:pt x="544" y="1312"/>
                  </a:lnTo>
                  <a:lnTo>
                    <a:pt x="529" y="1310"/>
                  </a:lnTo>
                  <a:lnTo>
                    <a:pt x="512" y="1304"/>
                  </a:lnTo>
                  <a:lnTo>
                    <a:pt x="496" y="1301"/>
                  </a:lnTo>
                  <a:lnTo>
                    <a:pt x="479" y="1297"/>
                  </a:lnTo>
                  <a:lnTo>
                    <a:pt x="464" y="1293"/>
                  </a:lnTo>
                  <a:lnTo>
                    <a:pt x="449" y="1287"/>
                  </a:lnTo>
                  <a:lnTo>
                    <a:pt x="434" y="1282"/>
                  </a:lnTo>
                  <a:lnTo>
                    <a:pt x="418" y="1276"/>
                  </a:lnTo>
                  <a:lnTo>
                    <a:pt x="403" y="1272"/>
                  </a:lnTo>
                  <a:lnTo>
                    <a:pt x="388" y="1264"/>
                  </a:lnTo>
                  <a:lnTo>
                    <a:pt x="373" y="1257"/>
                  </a:lnTo>
                  <a:lnTo>
                    <a:pt x="360" y="1249"/>
                  </a:lnTo>
                  <a:lnTo>
                    <a:pt x="346" y="1244"/>
                  </a:lnTo>
                  <a:lnTo>
                    <a:pt x="331" y="1234"/>
                  </a:lnTo>
                  <a:lnTo>
                    <a:pt x="318" y="1226"/>
                  </a:lnTo>
                  <a:lnTo>
                    <a:pt x="304" y="1217"/>
                  </a:lnTo>
                  <a:lnTo>
                    <a:pt x="293" y="1209"/>
                  </a:lnTo>
                  <a:lnTo>
                    <a:pt x="278" y="1200"/>
                  </a:lnTo>
                  <a:lnTo>
                    <a:pt x="266" y="1190"/>
                  </a:lnTo>
                  <a:lnTo>
                    <a:pt x="253" y="1181"/>
                  </a:lnTo>
                  <a:lnTo>
                    <a:pt x="242" y="1171"/>
                  </a:lnTo>
                  <a:lnTo>
                    <a:pt x="228" y="1160"/>
                  </a:lnTo>
                  <a:lnTo>
                    <a:pt x="217" y="1150"/>
                  </a:lnTo>
                  <a:lnTo>
                    <a:pt x="206" y="1139"/>
                  </a:lnTo>
                  <a:lnTo>
                    <a:pt x="194" y="1129"/>
                  </a:lnTo>
                  <a:lnTo>
                    <a:pt x="183" y="1116"/>
                  </a:lnTo>
                  <a:lnTo>
                    <a:pt x="171" y="1105"/>
                  </a:lnTo>
                  <a:lnTo>
                    <a:pt x="162" y="1093"/>
                  </a:lnTo>
                  <a:lnTo>
                    <a:pt x="150" y="1082"/>
                  </a:lnTo>
                  <a:lnTo>
                    <a:pt x="141" y="1069"/>
                  </a:lnTo>
                  <a:lnTo>
                    <a:pt x="131" y="1055"/>
                  </a:lnTo>
                  <a:lnTo>
                    <a:pt x="122" y="1042"/>
                  </a:lnTo>
                  <a:lnTo>
                    <a:pt x="112" y="1031"/>
                  </a:lnTo>
                  <a:lnTo>
                    <a:pt x="103" y="1015"/>
                  </a:lnTo>
                  <a:lnTo>
                    <a:pt x="95" y="1002"/>
                  </a:lnTo>
                  <a:lnTo>
                    <a:pt x="88" y="989"/>
                  </a:lnTo>
                  <a:lnTo>
                    <a:pt x="80" y="975"/>
                  </a:lnTo>
                  <a:lnTo>
                    <a:pt x="71" y="960"/>
                  </a:lnTo>
                  <a:lnTo>
                    <a:pt x="65" y="947"/>
                  </a:lnTo>
                  <a:lnTo>
                    <a:pt x="57" y="932"/>
                  </a:lnTo>
                  <a:lnTo>
                    <a:pt x="52" y="918"/>
                  </a:lnTo>
                  <a:lnTo>
                    <a:pt x="46" y="901"/>
                  </a:lnTo>
                  <a:lnTo>
                    <a:pt x="40" y="888"/>
                  </a:lnTo>
                  <a:lnTo>
                    <a:pt x="34" y="871"/>
                  </a:lnTo>
                  <a:lnTo>
                    <a:pt x="29" y="858"/>
                  </a:lnTo>
                  <a:lnTo>
                    <a:pt x="23" y="840"/>
                  </a:lnTo>
                  <a:lnTo>
                    <a:pt x="19" y="825"/>
                  </a:lnTo>
                  <a:lnTo>
                    <a:pt x="15" y="808"/>
                  </a:lnTo>
                  <a:lnTo>
                    <a:pt x="14" y="793"/>
                  </a:lnTo>
                  <a:lnTo>
                    <a:pt x="10" y="776"/>
                  </a:lnTo>
                  <a:lnTo>
                    <a:pt x="6" y="761"/>
                  </a:lnTo>
                  <a:lnTo>
                    <a:pt x="4" y="744"/>
                  </a:lnTo>
                  <a:lnTo>
                    <a:pt x="4" y="728"/>
                  </a:lnTo>
                  <a:lnTo>
                    <a:pt x="2" y="711"/>
                  </a:lnTo>
                  <a:lnTo>
                    <a:pt x="0" y="694"/>
                  </a:lnTo>
                  <a:lnTo>
                    <a:pt x="0" y="677"/>
                  </a:lnTo>
                  <a:lnTo>
                    <a:pt x="0" y="662"/>
                  </a:lnTo>
                  <a:lnTo>
                    <a:pt x="0" y="645"/>
                  </a:lnTo>
                  <a:lnTo>
                    <a:pt x="0" y="628"/>
                  </a:lnTo>
                  <a:lnTo>
                    <a:pt x="2" y="610"/>
                  </a:lnTo>
                  <a:lnTo>
                    <a:pt x="4" y="595"/>
                  </a:lnTo>
                  <a:lnTo>
                    <a:pt x="4" y="578"/>
                  </a:lnTo>
                  <a:lnTo>
                    <a:pt x="6" y="561"/>
                  </a:lnTo>
                  <a:lnTo>
                    <a:pt x="10" y="546"/>
                  </a:lnTo>
                  <a:lnTo>
                    <a:pt x="14" y="531"/>
                  </a:lnTo>
                  <a:lnTo>
                    <a:pt x="15" y="513"/>
                  </a:lnTo>
                  <a:lnTo>
                    <a:pt x="19" y="498"/>
                  </a:lnTo>
                  <a:lnTo>
                    <a:pt x="23" y="483"/>
                  </a:lnTo>
                  <a:lnTo>
                    <a:pt x="29" y="468"/>
                  </a:lnTo>
                  <a:lnTo>
                    <a:pt x="33" y="453"/>
                  </a:lnTo>
                  <a:lnTo>
                    <a:pt x="38" y="437"/>
                  </a:lnTo>
                  <a:lnTo>
                    <a:pt x="44" y="424"/>
                  </a:lnTo>
                  <a:lnTo>
                    <a:pt x="50" y="409"/>
                  </a:lnTo>
                  <a:lnTo>
                    <a:pt x="55" y="394"/>
                  </a:lnTo>
                  <a:lnTo>
                    <a:pt x="61" y="380"/>
                  </a:lnTo>
                  <a:lnTo>
                    <a:pt x="69" y="365"/>
                  </a:lnTo>
                  <a:lnTo>
                    <a:pt x="76" y="352"/>
                  </a:lnTo>
                  <a:lnTo>
                    <a:pt x="82" y="339"/>
                  </a:lnTo>
                  <a:lnTo>
                    <a:pt x="92" y="323"/>
                  </a:lnTo>
                  <a:lnTo>
                    <a:pt x="99" y="310"/>
                  </a:lnTo>
                  <a:lnTo>
                    <a:pt x="109" y="299"/>
                  </a:lnTo>
                  <a:lnTo>
                    <a:pt x="116" y="285"/>
                  </a:lnTo>
                  <a:lnTo>
                    <a:pt x="126" y="272"/>
                  </a:lnTo>
                  <a:lnTo>
                    <a:pt x="133" y="259"/>
                  </a:lnTo>
                  <a:lnTo>
                    <a:pt x="145" y="247"/>
                  </a:lnTo>
                  <a:lnTo>
                    <a:pt x="154" y="236"/>
                  </a:lnTo>
                  <a:lnTo>
                    <a:pt x="164" y="224"/>
                  </a:lnTo>
                  <a:lnTo>
                    <a:pt x="175" y="213"/>
                  </a:lnTo>
                  <a:lnTo>
                    <a:pt x="187" y="202"/>
                  </a:lnTo>
                  <a:lnTo>
                    <a:pt x="196" y="190"/>
                  </a:lnTo>
                  <a:lnTo>
                    <a:pt x="207" y="179"/>
                  </a:lnTo>
                  <a:lnTo>
                    <a:pt x="219" y="167"/>
                  </a:lnTo>
                  <a:lnTo>
                    <a:pt x="230" y="158"/>
                  </a:lnTo>
                  <a:lnTo>
                    <a:pt x="242" y="148"/>
                  </a:lnTo>
                  <a:lnTo>
                    <a:pt x="253" y="139"/>
                  </a:lnTo>
                  <a:lnTo>
                    <a:pt x="266" y="129"/>
                  </a:lnTo>
                  <a:lnTo>
                    <a:pt x="280" y="120"/>
                  </a:lnTo>
                  <a:lnTo>
                    <a:pt x="291" y="110"/>
                  </a:lnTo>
                  <a:lnTo>
                    <a:pt x="304" y="103"/>
                  </a:lnTo>
                  <a:lnTo>
                    <a:pt x="318" y="93"/>
                  </a:lnTo>
                  <a:lnTo>
                    <a:pt x="331" y="86"/>
                  </a:lnTo>
                  <a:lnTo>
                    <a:pt x="344" y="78"/>
                  </a:lnTo>
                  <a:lnTo>
                    <a:pt x="358" y="70"/>
                  </a:lnTo>
                  <a:lnTo>
                    <a:pt x="373" y="63"/>
                  </a:lnTo>
                  <a:lnTo>
                    <a:pt x="386" y="57"/>
                  </a:lnTo>
                  <a:lnTo>
                    <a:pt x="401" y="51"/>
                  </a:lnTo>
                  <a:lnTo>
                    <a:pt x="415" y="44"/>
                  </a:lnTo>
                  <a:lnTo>
                    <a:pt x="430" y="38"/>
                  </a:lnTo>
                  <a:lnTo>
                    <a:pt x="445" y="34"/>
                  </a:lnTo>
                  <a:lnTo>
                    <a:pt x="458" y="29"/>
                  </a:lnTo>
                  <a:lnTo>
                    <a:pt x="476" y="25"/>
                  </a:lnTo>
                  <a:lnTo>
                    <a:pt x="491" y="19"/>
                  </a:lnTo>
                  <a:lnTo>
                    <a:pt x="506" y="17"/>
                  </a:lnTo>
                  <a:lnTo>
                    <a:pt x="521" y="12"/>
                  </a:lnTo>
                  <a:lnTo>
                    <a:pt x="538" y="10"/>
                  </a:lnTo>
                  <a:lnTo>
                    <a:pt x="553" y="6"/>
                  </a:lnTo>
                  <a:lnTo>
                    <a:pt x="571" y="4"/>
                  </a:lnTo>
                  <a:lnTo>
                    <a:pt x="586" y="2"/>
                  </a:lnTo>
                  <a:lnTo>
                    <a:pt x="603" y="0"/>
                  </a:lnTo>
                  <a:lnTo>
                    <a:pt x="620" y="0"/>
                  </a:lnTo>
                  <a:lnTo>
                    <a:pt x="637" y="0"/>
                  </a:lnTo>
                  <a:lnTo>
                    <a:pt x="637" y="8"/>
                  </a:lnTo>
                  <a:lnTo>
                    <a:pt x="637" y="17"/>
                  </a:lnTo>
                  <a:lnTo>
                    <a:pt x="637" y="21"/>
                  </a:lnTo>
                  <a:lnTo>
                    <a:pt x="639" y="27"/>
                  </a:lnTo>
                  <a:lnTo>
                    <a:pt x="639" y="32"/>
                  </a:lnTo>
                  <a:lnTo>
                    <a:pt x="641" y="38"/>
                  </a:lnTo>
                  <a:lnTo>
                    <a:pt x="641" y="42"/>
                  </a:lnTo>
                  <a:lnTo>
                    <a:pt x="641" y="48"/>
                  </a:lnTo>
                  <a:lnTo>
                    <a:pt x="641" y="53"/>
                  </a:lnTo>
                  <a:lnTo>
                    <a:pt x="643" y="59"/>
                  </a:lnTo>
                  <a:lnTo>
                    <a:pt x="643" y="69"/>
                  </a:lnTo>
                  <a:lnTo>
                    <a:pt x="645" y="78"/>
                  </a:lnTo>
                  <a:lnTo>
                    <a:pt x="630" y="78"/>
                  </a:lnTo>
                  <a:lnTo>
                    <a:pt x="614" y="78"/>
                  </a:lnTo>
                  <a:lnTo>
                    <a:pt x="601" y="80"/>
                  </a:lnTo>
                  <a:lnTo>
                    <a:pt x="586" y="82"/>
                  </a:lnTo>
                  <a:lnTo>
                    <a:pt x="572" y="82"/>
                  </a:lnTo>
                  <a:lnTo>
                    <a:pt x="557" y="84"/>
                  </a:lnTo>
                  <a:lnTo>
                    <a:pt x="544" y="88"/>
                  </a:lnTo>
                  <a:lnTo>
                    <a:pt x="531" y="89"/>
                  </a:lnTo>
                  <a:lnTo>
                    <a:pt x="515" y="93"/>
                  </a:lnTo>
                  <a:lnTo>
                    <a:pt x="502" y="95"/>
                  </a:lnTo>
                  <a:lnTo>
                    <a:pt x="489" y="99"/>
                  </a:lnTo>
                  <a:lnTo>
                    <a:pt x="476" y="105"/>
                  </a:lnTo>
                  <a:lnTo>
                    <a:pt x="462" y="108"/>
                  </a:lnTo>
                  <a:lnTo>
                    <a:pt x="449" y="112"/>
                  </a:lnTo>
                  <a:lnTo>
                    <a:pt x="436" y="118"/>
                  </a:lnTo>
                  <a:lnTo>
                    <a:pt x="424" y="124"/>
                  </a:lnTo>
                  <a:lnTo>
                    <a:pt x="411" y="129"/>
                  </a:lnTo>
                  <a:lnTo>
                    <a:pt x="398" y="135"/>
                  </a:lnTo>
                  <a:lnTo>
                    <a:pt x="384" y="141"/>
                  </a:lnTo>
                  <a:lnTo>
                    <a:pt x="373" y="148"/>
                  </a:lnTo>
                  <a:lnTo>
                    <a:pt x="361" y="154"/>
                  </a:lnTo>
                  <a:lnTo>
                    <a:pt x="350" y="162"/>
                  </a:lnTo>
                  <a:lnTo>
                    <a:pt x="339" y="167"/>
                  </a:lnTo>
                  <a:lnTo>
                    <a:pt x="329" y="177"/>
                  </a:lnTo>
                  <a:lnTo>
                    <a:pt x="318" y="185"/>
                  </a:lnTo>
                  <a:lnTo>
                    <a:pt x="306" y="192"/>
                  </a:lnTo>
                  <a:lnTo>
                    <a:pt x="295" y="200"/>
                  </a:lnTo>
                  <a:lnTo>
                    <a:pt x="285" y="209"/>
                  </a:lnTo>
                  <a:lnTo>
                    <a:pt x="274" y="219"/>
                  </a:lnTo>
                  <a:lnTo>
                    <a:pt x="265" y="226"/>
                  </a:lnTo>
                  <a:lnTo>
                    <a:pt x="253" y="236"/>
                  </a:lnTo>
                  <a:lnTo>
                    <a:pt x="245" y="247"/>
                  </a:lnTo>
                  <a:lnTo>
                    <a:pt x="234" y="255"/>
                  </a:lnTo>
                  <a:lnTo>
                    <a:pt x="225" y="266"/>
                  </a:lnTo>
                  <a:lnTo>
                    <a:pt x="217" y="276"/>
                  </a:lnTo>
                  <a:lnTo>
                    <a:pt x="207" y="287"/>
                  </a:lnTo>
                  <a:lnTo>
                    <a:pt x="200" y="297"/>
                  </a:lnTo>
                  <a:lnTo>
                    <a:pt x="190" y="308"/>
                  </a:lnTo>
                  <a:lnTo>
                    <a:pt x="183" y="320"/>
                  </a:lnTo>
                  <a:lnTo>
                    <a:pt x="175" y="331"/>
                  </a:lnTo>
                  <a:lnTo>
                    <a:pt x="168" y="342"/>
                  </a:lnTo>
                  <a:lnTo>
                    <a:pt x="160" y="354"/>
                  </a:lnTo>
                  <a:lnTo>
                    <a:pt x="152" y="365"/>
                  </a:lnTo>
                  <a:lnTo>
                    <a:pt x="147" y="377"/>
                  </a:lnTo>
                  <a:lnTo>
                    <a:pt x="139" y="388"/>
                  </a:lnTo>
                  <a:lnTo>
                    <a:pt x="133" y="401"/>
                  </a:lnTo>
                  <a:lnTo>
                    <a:pt x="128" y="415"/>
                  </a:lnTo>
                  <a:lnTo>
                    <a:pt x="124" y="426"/>
                  </a:lnTo>
                  <a:lnTo>
                    <a:pt x="118" y="439"/>
                  </a:lnTo>
                  <a:lnTo>
                    <a:pt x="112" y="453"/>
                  </a:lnTo>
                  <a:lnTo>
                    <a:pt x="107" y="466"/>
                  </a:lnTo>
                  <a:lnTo>
                    <a:pt x="103" y="477"/>
                  </a:lnTo>
                  <a:lnTo>
                    <a:pt x="99" y="493"/>
                  </a:lnTo>
                  <a:lnTo>
                    <a:pt x="95" y="504"/>
                  </a:lnTo>
                  <a:lnTo>
                    <a:pt x="93" y="519"/>
                  </a:lnTo>
                  <a:lnTo>
                    <a:pt x="90" y="532"/>
                  </a:lnTo>
                  <a:lnTo>
                    <a:pt x="88" y="546"/>
                  </a:lnTo>
                  <a:lnTo>
                    <a:pt x="84" y="561"/>
                  </a:lnTo>
                  <a:lnTo>
                    <a:pt x="82" y="574"/>
                  </a:lnTo>
                  <a:lnTo>
                    <a:pt x="82" y="590"/>
                  </a:lnTo>
                  <a:lnTo>
                    <a:pt x="80" y="603"/>
                  </a:lnTo>
                  <a:lnTo>
                    <a:pt x="80" y="618"/>
                  </a:lnTo>
                  <a:lnTo>
                    <a:pt x="80" y="633"/>
                  </a:lnTo>
                  <a:lnTo>
                    <a:pt x="80" y="648"/>
                  </a:lnTo>
                  <a:lnTo>
                    <a:pt x="80" y="662"/>
                  </a:lnTo>
                  <a:lnTo>
                    <a:pt x="80" y="677"/>
                  </a:lnTo>
                  <a:lnTo>
                    <a:pt x="80" y="690"/>
                  </a:lnTo>
                  <a:lnTo>
                    <a:pt x="82" y="705"/>
                  </a:lnTo>
                  <a:lnTo>
                    <a:pt x="82" y="719"/>
                  </a:lnTo>
                  <a:lnTo>
                    <a:pt x="84" y="734"/>
                  </a:lnTo>
                  <a:lnTo>
                    <a:pt x="88" y="747"/>
                  </a:lnTo>
                  <a:lnTo>
                    <a:pt x="90" y="763"/>
                  </a:lnTo>
                  <a:lnTo>
                    <a:pt x="93" y="776"/>
                  </a:lnTo>
                  <a:lnTo>
                    <a:pt x="95" y="789"/>
                  </a:lnTo>
                  <a:lnTo>
                    <a:pt x="99" y="802"/>
                  </a:lnTo>
                  <a:lnTo>
                    <a:pt x="105" y="816"/>
                  </a:lnTo>
                  <a:lnTo>
                    <a:pt x="109" y="829"/>
                  </a:lnTo>
                  <a:lnTo>
                    <a:pt x="112" y="842"/>
                  </a:lnTo>
                  <a:lnTo>
                    <a:pt x="118" y="856"/>
                  </a:lnTo>
                  <a:lnTo>
                    <a:pt x="124" y="869"/>
                  </a:lnTo>
                  <a:lnTo>
                    <a:pt x="130" y="880"/>
                  </a:lnTo>
                  <a:lnTo>
                    <a:pt x="135" y="894"/>
                  </a:lnTo>
                  <a:lnTo>
                    <a:pt x="141" y="905"/>
                  </a:lnTo>
                  <a:lnTo>
                    <a:pt x="147" y="918"/>
                  </a:lnTo>
                  <a:lnTo>
                    <a:pt x="154" y="930"/>
                  </a:lnTo>
                  <a:lnTo>
                    <a:pt x="162" y="941"/>
                  </a:lnTo>
                  <a:lnTo>
                    <a:pt x="168" y="953"/>
                  </a:lnTo>
                  <a:lnTo>
                    <a:pt x="177" y="966"/>
                  </a:lnTo>
                  <a:lnTo>
                    <a:pt x="183" y="975"/>
                  </a:lnTo>
                  <a:lnTo>
                    <a:pt x="192" y="987"/>
                  </a:lnTo>
                  <a:lnTo>
                    <a:pt x="200" y="998"/>
                  </a:lnTo>
                  <a:lnTo>
                    <a:pt x="209" y="1010"/>
                  </a:lnTo>
                  <a:lnTo>
                    <a:pt x="217" y="1019"/>
                  </a:lnTo>
                  <a:lnTo>
                    <a:pt x="226" y="1031"/>
                  </a:lnTo>
                  <a:lnTo>
                    <a:pt x="236" y="1040"/>
                  </a:lnTo>
                  <a:lnTo>
                    <a:pt x="245" y="1051"/>
                  </a:lnTo>
                  <a:lnTo>
                    <a:pt x="255" y="1059"/>
                  </a:lnTo>
                  <a:lnTo>
                    <a:pt x="265" y="1069"/>
                  </a:lnTo>
                  <a:lnTo>
                    <a:pt x="274" y="1078"/>
                  </a:lnTo>
                  <a:lnTo>
                    <a:pt x="285" y="1088"/>
                  </a:lnTo>
                  <a:lnTo>
                    <a:pt x="295" y="1095"/>
                  </a:lnTo>
                  <a:lnTo>
                    <a:pt x="306" y="1103"/>
                  </a:lnTo>
                  <a:lnTo>
                    <a:pt x="318" y="1112"/>
                  </a:lnTo>
                  <a:lnTo>
                    <a:pt x="329" y="1120"/>
                  </a:lnTo>
                  <a:lnTo>
                    <a:pt x="341" y="1128"/>
                  </a:lnTo>
                  <a:lnTo>
                    <a:pt x="352" y="1133"/>
                  </a:lnTo>
                  <a:lnTo>
                    <a:pt x="363" y="1141"/>
                  </a:lnTo>
                  <a:lnTo>
                    <a:pt x="377" y="1148"/>
                  </a:lnTo>
                  <a:lnTo>
                    <a:pt x="388" y="1154"/>
                  </a:lnTo>
                  <a:lnTo>
                    <a:pt x="401" y="1160"/>
                  </a:lnTo>
                  <a:lnTo>
                    <a:pt x="413" y="1166"/>
                  </a:lnTo>
                  <a:lnTo>
                    <a:pt x="426" y="1173"/>
                  </a:lnTo>
                  <a:lnTo>
                    <a:pt x="439" y="1177"/>
                  </a:lnTo>
                  <a:lnTo>
                    <a:pt x="453" y="1183"/>
                  </a:lnTo>
                  <a:lnTo>
                    <a:pt x="464" y="1186"/>
                  </a:lnTo>
                  <a:lnTo>
                    <a:pt x="477" y="1192"/>
                  </a:lnTo>
                  <a:lnTo>
                    <a:pt x="491" y="1196"/>
                  </a:lnTo>
                  <a:lnTo>
                    <a:pt x="504" y="1200"/>
                  </a:lnTo>
                  <a:lnTo>
                    <a:pt x="519" y="1202"/>
                  </a:lnTo>
                  <a:lnTo>
                    <a:pt x="533" y="1205"/>
                  </a:lnTo>
                  <a:lnTo>
                    <a:pt x="548" y="1207"/>
                  </a:lnTo>
                  <a:lnTo>
                    <a:pt x="561" y="1211"/>
                  </a:lnTo>
                  <a:lnTo>
                    <a:pt x="576" y="1213"/>
                  </a:lnTo>
                  <a:lnTo>
                    <a:pt x="590" y="1215"/>
                  </a:lnTo>
                  <a:lnTo>
                    <a:pt x="605" y="1215"/>
                  </a:lnTo>
                  <a:lnTo>
                    <a:pt x="618" y="1217"/>
                  </a:lnTo>
                  <a:lnTo>
                    <a:pt x="633" y="1217"/>
                  </a:lnTo>
                  <a:lnTo>
                    <a:pt x="649" y="12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9" name="Freeform 28"/>
            <p:cNvSpPr>
              <a:spLocks/>
            </p:cNvSpPr>
            <p:nvPr/>
          </p:nvSpPr>
          <p:spPr bwMode="auto">
            <a:xfrm rot="263996">
              <a:off x="1169" y="2387"/>
              <a:ext cx="517" cy="519"/>
            </a:xfrm>
            <a:custGeom>
              <a:avLst/>
              <a:gdLst>
                <a:gd name="T0" fmla="*/ 223 w 1666"/>
                <a:gd name="T1" fmla="*/ 37 h 1673"/>
                <a:gd name="T2" fmla="*/ 234 w 1666"/>
                <a:gd name="T3" fmla="*/ 36 h 1673"/>
                <a:gd name="T4" fmla="*/ 223 w 1666"/>
                <a:gd name="T5" fmla="*/ 65 h 1673"/>
                <a:gd name="T6" fmla="*/ 196 w 1666"/>
                <a:gd name="T7" fmla="*/ 71 h 1673"/>
                <a:gd name="T8" fmla="*/ 171 w 1666"/>
                <a:gd name="T9" fmla="*/ 81 h 1673"/>
                <a:gd name="T10" fmla="*/ 147 w 1666"/>
                <a:gd name="T11" fmla="*/ 95 h 1673"/>
                <a:gd name="T12" fmla="*/ 126 w 1666"/>
                <a:gd name="T13" fmla="*/ 111 h 1673"/>
                <a:gd name="T14" fmla="*/ 107 w 1666"/>
                <a:gd name="T15" fmla="*/ 131 h 1673"/>
                <a:gd name="T16" fmla="*/ 90 w 1666"/>
                <a:gd name="T17" fmla="*/ 152 h 1673"/>
                <a:gd name="T18" fmla="*/ 77 w 1666"/>
                <a:gd name="T19" fmla="*/ 176 h 1673"/>
                <a:gd name="T20" fmla="*/ 67 w 1666"/>
                <a:gd name="T21" fmla="*/ 201 h 1673"/>
                <a:gd name="T22" fmla="*/ 61 w 1666"/>
                <a:gd name="T23" fmla="*/ 228 h 1673"/>
                <a:gd name="T24" fmla="*/ 59 w 1666"/>
                <a:gd name="T25" fmla="*/ 257 h 1673"/>
                <a:gd name="T26" fmla="*/ 60 w 1666"/>
                <a:gd name="T27" fmla="*/ 286 h 1673"/>
                <a:gd name="T28" fmla="*/ 65 w 1666"/>
                <a:gd name="T29" fmla="*/ 315 h 1673"/>
                <a:gd name="T30" fmla="*/ 76 w 1666"/>
                <a:gd name="T31" fmla="*/ 343 h 1673"/>
                <a:gd name="T32" fmla="*/ 90 w 1666"/>
                <a:gd name="T33" fmla="*/ 369 h 1673"/>
                <a:gd name="T34" fmla="*/ 107 w 1666"/>
                <a:gd name="T35" fmla="*/ 391 h 1673"/>
                <a:gd name="T36" fmla="*/ 128 w 1666"/>
                <a:gd name="T37" fmla="*/ 412 h 1673"/>
                <a:gd name="T38" fmla="*/ 151 w 1666"/>
                <a:gd name="T39" fmla="*/ 429 h 1673"/>
                <a:gd name="T40" fmla="*/ 176 w 1666"/>
                <a:gd name="T41" fmla="*/ 443 h 1673"/>
                <a:gd name="T42" fmla="*/ 203 w 1666"/>
                <a:gd name="T43" fmla="*/ 453 h 1673"/>
                <a:gd name="T44" fmla="*/ 232 w 1666"/>
                <a:gd name="T45" fmla="*/ 459 h 1673"/>
                <a:gd name="T46" fmla="*/ 263 w 1666"/>
                <a:gd name="T47" fmla="*/ 461 h 1673"/>
                <a:gd name="T48" fmla="*/ 293 w 1666"/>
                <a:gd name="T49" fmla="*/ 458 h 1673"/>
                <a:gd name="T50" fmla="*/ 321 w 1666"/>
                <a:gd name="T51" fmla="*/ 450 h 1673"/>
                <a:gd name="T52" fmla="*/ 349 w 1666"/>
                <a:gd name="T53" fmla="*/ 439 h 1673"/>
                <a:gd name="T54" fmla="*/ 374 w 1666"/>
                <a:gd name="T55" fmla="*/ 423 h 1673"/>
                <a:gd name="T56" fmla="*/ 395 w 1666"/>
                <a:gd name="T57" fmla="*/ 405 h 1673"/>
                <a:gd name="T58" fmla="*/ 415 w 1666"/>
                <a:gd name="T59" fmla="*/ 384 h 1673"/>
                <a:gd name="T60" fmla="*/ 430 w 1666"/>
                <a:gd name="T61" fmla="*/ 360 h 1673"/>
                <a:gd name="T62" fmla="*/ 443 w 1666"/>
                <a:gd name="T63" fmla="*/ 334 h 1673"/>
                <a:gd name="T64" fmla="*/ 452 w 1666"/>
                <a:gd name="T65" fmla="*/ 306 h 1673"/>
                <a:gd name="T66" fmla="*/ 457 w 1666"/>
                <a:gd name="T67" fmla="*/ 276 h 1673"/>
                <a:gd name="T68" fmla="*/ 457 w 1666"/>
                <a:gd name="T69" fmla="*/ 246 h 1673"/>
                <a:gd name="T70" fmla="*/ 452 w 1666"/>
                <a:gd name="T71" fmla="*/ 217 h 1673"/>
                <a:gd name="T72" fmla="*/ 443 w 1666"/>
                <a:gd name="T73" fmla="*/ 188 h 1673"/>
                <a:gd name="T74" fmla="*/ 430 w 1666"/>
                <a:gd name="T75" fmla="*/ 162 h 1673"/>
                <a:gd name="T76" fmla="*/ 415 w 1666"/>
                <a:gd name="T77" fmla="*/ 138 h 1673"/>
                <a:gd name="T78" fmla="*/ 395 w 1666"/>
                <a:gd name="T79" fmla="*/ 117 h 1673"/>
                <a:gd name="T80" fmla="*/ 374 w 1666"/>
                <a:gd name="T81" fmla="*/ 98 h 1673"/>
                <a:gd name="T82" fmla="*/ 349 w 1666"/>
                <a:gd name="T83" fmla="*/ 84 h 1673"/>
                <a:gd name="T84" fmla="*/ 321 w 1666"/>
                <a:gd name="T85" fmla="*/ 73 h 1673"/>
                <a:gd name="T86" fmla="*/ 293 w 1666"/>
                <a:gd name="T87" fmla="*/ 65 h 1673"/>
                <a:gd name="T88" fmla="*/ 263 w 1666"/>
                <a:gd name="T89" fmla="*/ 62 h 1673"/>
                <a:gd name="T90" fmla="*/ 250 w 1666"/>
                <a:gd name="T91" fmla="*/ 35 h 1673"/>
                <a:gd name="T92" fmla="*/ 259 w 1666"/>
                <a:gd name="T93" fmla="*/ 34 h 1673"/>
                <a:gd name="T94" fmla="*/ 267 w 1666"/>
                <a:gd name="T95" fmla="*/ 34 h 1673"/>
                <a:gd name="T96" fmla="*/ 421 w 1666"/>
                <a:gd name="T97" fmla="*/ 56 h 1673"/>
                <a:gd name="T98" fmla="*/ 474 w 1666"/>
                <a:gd name="T99" fmla="*/ 181 h 1673"/>
                <a:gd name="T100" fmla="*/ 507 w 1666"/>
                <a:gd name="T101" fmla="*/ 321 h 1673"/>
                <a:gd name="T102" fmla="*/ 427 w 1666"/>
                <a:gd name="T103" fmla="*/ 422 h 1673"/>
                <a:gd name="T104" fmla="*/ 330 w 1666"/>
                <a:gd name="T105" fmla="*/ 510 h 1673"/>
                <a:gd name="T106" fmla="*/ 199 w 1666"/>
                <a:gd name="T107" fmla="*/ 480 h 1673"/>
                <a:gd name="T108" fmla="*/ 75 w 1666"/>
                <a:gd name="T109" fmla="*/ 445 h 1673"/>
                <a:gd name="T110" fmla="*/ 33 w 1666"/>
                <a:gd name="T111" fmla="*/ 295 h 1673"/>
                <a:gd name="T112" fmla="*/ 23 w 1666"/>
                <a:gd name="T113" fmla="*/ 149 h 1673"/>
                <a:gd name="T114" fmla="*/ 160 w 1666"/>
                <a:gd name="T115" fmla="*/ 55 h 167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666" h="1673">
                  <a:moveTo>
                    <a:pt x="662" y="13"/>
                  </a:moveTo>
                  <a:lnTo>
                    <a:pt x="696" y="122"/>
                  </a:lnTo>
                  <a:lnTo>
                    <a:pt x="698" y="120"/>
                  </a:lnTo>
                  <a:lnTo>
                    <a:pt x="702" y="120"/>
                  </a:lnTo>
                  <a:lnTo>
                    <a:pt x="709" y="120"/>
                  </a:lnTo>
                  <a:lnTo>
                    <a:pt x="719" y="120"/>
                  </a:lnTo>
                  <a:lnTo>
                    <a:pt x="723" y="118"/>
                  </a:lnTo>
                  <a:lnTo>
                    <a:pt x="728" y="118"/>
                  </a:lnTo>
                  <a:lnTo>
                    <a:pt x="734" y="116"/>
                  </a:lnTo>
                  <a:lnTo>
                    <a:pt x="742" y="116"/>
                  </a:lnTo>
                  <a:lnTo>
                    <a:pt x="747" y="116"/>
                  </a:lnTo>
                  <a:lnTo>
                    <a:pt x="755" y="116"/>
                  </a:lnTo>
                  <a:lnTo>
                    <a:pt x="763" y="114"/>
                  </a:lnTo>
                  <a:lnTo>
                    <a:pt x="770" y="114"/>
                  </a:lnTo>
                  <a:lnTo>
                    <a:pt x="763" y="203"/>
                  </a:lnTo>
                  <a:lnTo>
                    <a:pt x="747" y="203"/>
                  </a:lnTo>
                  <a:lnTo>
                    <a:pt x="732" y="205"/>
                  </a:lnTo>
                  <a:lnTo>
                    <a:pt x="717" y="209"/>
                  </a:lnTo>
                  <a:lnTo>
                    <a:pt x="702" y="211"/>
                  </a:lnTo>
                  <a:lnTo>
                    <a:pt x="689" y="215"/>
                  </a:lnTo>
                  <a:lnTo>
                    <a:pt x="673" y="217"/>
                  </a:lnTo>
                  <a:lnTo>
                    <a:pt x="660" y="220"/>
                  </a:lnTo>
                  <a:lnTo>
                    <a:pt x="645" y="226"/>
                  </a:lnTo>
                  <a:lnTo>
                    <a:pt x="632" y="230"/>
                  </a:lnTo>
                  <a:lnTo>
                    <a:pt x="616" y="234"/>
                  </a:lnTo>
                  <a:lnTo>
                    <a:pt x="603" y="239"/>
                  </a:lnTo>
                  <a:lnTo>
                    <a:pt x="590" y="245"/>
                  </a:lnTo>
                  <a:lnTo>
                    <a:pt x="574" y="251"/>
                  </a:lnTo>
                  <a:lnTo>
                    <a:pt x="563" y="257"/>
                  </a:lnTo>
                  <a:lnTo>
                    <a:pt x="550" y="262"/>
                  </a:lnTo>
                  <a:lnTo>
                    <a:pt x="536" y="270"/>
                  </a:lnTo>
                  <a:lnTo>
                    <a:pt x="523" y="276"/>
                  </a:lnTo>
                  <a:lnTo>
                    <a:pt x="512" y="283"/>
                  </a:lnTo>
                  <a:lnTo>
                    <a:pt x="498" y="291"/>
                  </a:lnTo>
                  <a:lnTo>
                    <a:pt x="487" y="298"/>
                  </a:lnTo>
                  <a:lnTo>
                    <a:pt x="474" y="306"/>
                  </a:lnTo>
                  <a:lnTo>
                    <a:pt x="462" y="314"/>
                  </a:lnTo>
                  <a:lnTo>
                    <a:pt x="451" y="323"/>
                  </a:lnTo>
                  <a:lnTo>
                    <a:pt x="440" y="333"/>
                  </a:lnTo>
                  <a:lnTo>
                    <a:pt x="428" y="340"/>
                  </a:lnTo>
                  <a:lnTo>
                    <a:pt x="417" y="350"/>
                  </a:lnTo>
                  <a:lnTo>
                    <a:pt x="405" y="359"/>
                  </a:lnTo>
                  <a:lnTo>
                    <a:pt x="396" y="369"/>
                  </a:lnTo>
                  <a:lnTo>
                    <a:pt x="384" y="378"/>
                  </a:lnTo>
                  <a:lnTo>
                    <a:pt x="375" y="390"/>
                  </a:lnTo>
                  <a:lnTo>
                    <a:pt x="363" y="399"/>
                  </a:lnTo>
                  <a:lnTo>
                    <a:pt x="356" y="411"/>
                  </a:lnTo>
                  <a:lnTo>
                    <a:pt x="344" y="422"/>
                  </a:lnTo>
                  <a:lnTo>
                    <a:pt x="335" y="431"/>
                  </a:lnTo>
                  <a:lnTo>
                    <a:pt x="325" y="443"/>
                  </a:lnTo>
                  <a:lnTo>
                    <a:pt x="318" y="454"/>
                  </a:lnTo>
                  <a:lnTo>
                    <a:pt x="308" y="466"/>
                  </a:lnTo>
                  <a:lnTo>
                    <a:pt x="301" y="477"/>
                  </a:lnTo>
                  <a:lnTo>
                    <a:pt x="291" y="490"/>
                  </a:lnTo>
                  <a:lnTo>
                    <a:pt x="286" y="504"/>
                  </a:lnTo>
                  <a:lnTo>
                    <a:pt x="276" y="515"/>
                  </a:lnTo>
                  <a:lnTo>
                    <a:pt x="270" y="527"/>
                  </a:lnTo>
                  <a:lnTo>
                    <a:pt x="263" y="540"/>
                  </a:lnTo>
                  <a:lnTo>
                    <a:pt x="255" y="553"/>
                  </a:lnTo>
                  <a:lnTo>
                    <a:pt x="249" y="566"/>
                  </a:lnTo>
                  <a:lnTo>
                    <a:pt x="244" y="580"/>
                  </a:lnTo>
                  <a:lnTo>
                    <a:pt x="238" y="593"/>
                  </a:lnTo>
                  <a:lnTo>
                    <a:pt x="232" y="606"/>
                  </a:lnTo>
                  <a:lnTo>
                    <a:pt x="227" y="620"/>
                  </a:lnTo>
                  <a:lnTo>
                    <a:pt x="221" y="633"/>
                  </a:lnTo>
                  <a:lnTo>
                    <a:pt x="217" y="648"/>
                  </a:lnTo>
                  <a:lnTo>
                    <a:pt x="213" y="662"/>
                  </a:lnTo>
                  <a:lnTo>
                    <a:pt x="209" y="675"/>
                  </a:lnTo>
                  <a:lnTo>
                    <a:pt x="206" y="690"/>
                  </a:lnTo>
                  <a:lnTo>
                    <a:pt x="202" y="705"/>
                  </a:lnTo>
                  <a:lnTo>
                    <a:pt x="200" y="720"/>
                  </a:lnTo>
                  <a:lnTo>
                    <a:pt x="196" y="734"/>
                  </a:lnTo>
                  <a:lnTo>
                    <a:pt x="194" y="749"/>
                  </a:lnTo>
                  <a:lnTo>
                    <a:pt x="192" y="764"/>
                  </a:lnTo>
                  <a:lnTo>
                    <a:pt x="190" y="779"/>
                  </a:lnTo>
                  <a:lnTo>
                    <a:pt x="190" y="795"/>
                  </a:lnTo>
                  <a:lnTo>
                    <a:pt x="189" y="812"/>
                  </a:lnTo>
                  <a:lnTo>
                    <a:pt x="189" y="827"/>
                  </a:lnTo>
                  <a:lnTo>
                    <a:pt x="189" y="842"/>
                  </a:lnTo>
                  <a:lnTo>
                    <a:pt x="189" y="857"/>
                  </a:lnTo>
                  <a:lnTo>
                    <a:pt x="189" y="874"/>
                  </a:lnTo>
                  <a:lnTo>
                    <a:pt x="190" y="890"/>
                  </a:lnTo>
                  <a:lnTo>
                    <a:pt x="192" y="907"/>
                  </a:lnTo>
                  <a:lnTo>
                    <a:pt x="192" y="922"/>
                  </a:lnTo>
                  <a:lnTo>
                    <a:pt x="194" y="939"/>
                  </a:lnTo>
                  <a:lnTo>
                    <a:pt x="198" y="954"/>
                  </a:lnTo>
                  <a:lnTo>
                    <a:pt x="202" y="971"/>
                  </a:lnTo>
                  <a:lnTo>
                    <a:pt x="204" y="987"/>
                  </a:lnTo>
                  <a:lnTo>
                    <a:pt x="208" y="1002"/>
                  </a:lnTo>
                  <a:lnTo>
                    <a:pt x="211" y="1017"/>
                  </a:lnTo>
                  <a:lnTo>
                    <a:pt x="217" y="1032"/>
                  </a:lnTo>
                  <a:lnTo>
                    <a:pt x="221" y="1046"/>
                  </a:lnTo>
                  <a:lnTo>
                    <a:pt x="227" y="1061"/>
                  </a:lnTo>
                  <a:lnTo>
                    <a:pt x="232" y="1076"/>
                  </a:lnTo>
                  <a:lnTo>
                    <a:pt x="238" y="1091"/>
                  </a:lnTo>
                  <a:lnTo>
                    <a:pt x="244" y="1105"/>
                  </a:lnTo>
                  <a:lnTo>
                    <a:pt x="251" y="1120"/>
                  </a:lnTo>
                  <a:lnTo>
                    <a:pt x="257" y="1133"/>
                  </a:lnTo>
                  <a:lnTo>
                    <a:pt x="265" y="1148"/>
                  </a:lnTo>
                  <a:lnTo>
                    <a:pt x="272" y="1162"/>
                  </a:lnTo>
                  <a:lnTo>
                    <a:pt x="280" y="1175"/>
                  </a:lnTo>
                  <a:lnTo>
                    <a:pt x="289" y="1188"/>
                  </a:lnTo>
                  <a:lnTo>
                    <a:pt x="297" y="1201"/>
                  </a:lnTo>
                  <a:lnTo>
                    <a:pt x="306" y="1213"/>
                  </a:lnTo>
                  <a:lnTo>
                    <a:pt x="314" y="1226"/>
                  </a:lnTo>
                  <a:lnTo>
                    <a:pt x="324" y="1238"/>
                  </a:lnTo>
                  <a:lnTo>
                    <a:pt x="335" y="1251"/>
                  </a:lnTo>
                  <a:lnTo>
                    <a:pt x="344" y="1262"/>
                  </a:lnTo>
                  <a:lnTo>
                    <a:pt x="354" y="1274"/>
                  </a:lnTo>
                  <a:lnTo>
                    <a:pt x="365" y="1285"/>
                  </a:lnTo>
                  <a:lnTo>
                    <a:pt x="377" y="1297"/>
                  </a:lnTo>
                  <a:lnTo>
                    <a:pt x="388" y="1306"/>
                  </a:lnTo>
                  <a:lnTo>
                    <a:pt x="400" y="1317"/>
                  </a:lnTo>
                  <a:lnTo>
                    <a:pt x="411" y="1327"/>
                  </a:lnTo>
                  <a:lnTo>
                    <a:pt x="422" y="1338"/>
                  </a:lnTo>
                  <a:lnTo>
                    <a:pt x="434" y="1348"/>
                  </a:lnTo>
                  <a:lnTo>
                    <a:pt x="447" y="1357"/>
                  </a:lnTo>
                  <a:lnTo>
                    <a:pt x="459" y="1365"/>
                  </a:lnTo>
                  <a:lnTo>
                    <a:pt x="472" y="1374"/>
                  </a:lnTo>
                  <a:lnTo>
                    <a:pt x="485" y="1382"/>
                  </a:lnTo>
                  <a:lnTo>
                    <a:pt x="498" y="1392"/>
                  </a:lnTo>
                  <a:lnTo>
                    <a:pt x="512" y="1399"/>
                  </a:lnTo>
                  <a:lnTo>
                    <a:pt x="525" y="1407"/>
                  </a:lnTo>
                  <a:lnTo>
                    <a:pt x="538" y="1414"/>
                  </a:lnTo>
                  <a:lnTo>
                    <a:pt x="552" y="1422"/>
                  </a:lnTo>
                  <a:lnTo>
                    <a:pt x="567" y="1428"/>
                  </a:lnTo>
                  <a:lnTo>
                    <a:pt x="582" y="1435"/>
                  </a:lnTo>
                  <a:lnTo>
                    <a:pt x="595" y="1439"/>
                  </a:lnTo>
                  <a:lnTo>
                    <a:pt x="611" y="1445"/>
                  </a:lnTo>
                  <a:lnTo>
                    <a:pt x="624" y="1451"/>
                  </a:lnTo>
                  <a:lnTo>
                    <a:pt x="641" y="1456"/>
                  </a:lnTo>
                  <a:lnTo>
                    <a:pt x="654" y="1460"/>
                  </a:lnTo>
                  <a:lnTo>
                    <a:pt x="671" y="1464"/>
                  </a:lnTo>
                  <a:lnTo>
                    <a:pt x="687" y="1468"/>
                  </a:lnTo>
                  <a:lnTo>
                    <a:pt x="702" y="1473"/>
                  </a:lnTo>
                  <a:lnTo>
                    <a:pt x="717" y="1475"/>
                  </a:lnTo>
                  <a:lnTo>
                    <a:pt x="734" y="1477"/>
                  </a:lnTo>
                  <a:lnTo>
                    <a:pt x="749" y="1479"/>
                  </a:lnTo>
                  <a:lnTo>
                    <a:pt x="766" y="1483"/>
                  </a:lnTo>
                  <a:lnTo>
                    <a:pt x="784" y="1483"/>
                  </a:lnTo>
                  <a:lnTo>
                    <a:pt x="799" y="1485"/>
                  </a:lnTo>
                  <a:lnTo>
                    <a:pt x="816" y="1485"/>
                  </a:lnTo>
                  <a:lnTo>
                    <a:pt x="833" y="1487"/>
                  </a:lnTo>
                  <a:lnTo>
                    <a:pt x="848" y="1485"/>
                  </a:lnTo>
                  <a:lnTo>
                    <a:pt x="865" y="1485"/>
                  </a:lnTo>
                  <a:lnTo>
                    <a:pt x="881" y="1483"/>
                  </a:lnTo>
                  <a:lnTo>
                    <a:pt x="898" y="1483"/>
                  </a:lnTo>
                  <a:lnTo>
                    <a:pt x="913" y="1479"/>
                  </a:lnTo>
                  <a:lnTo>
                    <a:pt x="928" y="1477"/>
                  </a:lnTo>
                  <a:lnTo>
                    <a:pt x="945" y="1475"/>
                  </a:lnTo>
                  <a:lnTo>
                    <a:pt x="962" y="1473"/>
                  </a:lnTo>
                  <a:lnTo>
                    <a:pt x="976" y="1468"/>
                  </a:lnTo>
                  <a:lnTo>
                    <a:pt x="991" y="1464"/>
                  </a:lnTo>
                  <a:lnTo>
                    <a:pt x="1006" y="1460"/>
                  </a:lnTo>
                  <a:lnTo>
                    <a:pt x="1021" y="1456"/>
                  </a:lnTo>
                  <a:lnTo>
                    <a:pt x="1036" y="1451"/>
                  </a:lnTo>
                  <a:lnTo>
                    <a:pt x="1052" y="1445"/>
                  </a:lnTo>
                  <a:lnTo>
                    <a:pt x="1067" y="1439"/>
                  </a:lnTo>
                  <a:lnTo>
                    <a:pt x="1082" y="1435"/>
                  </a:lnTo>
                  <a:lnTo>
                    <a:pt x="1095" y="1428"/>
                  </a:lnTo>
                  <a:lnTo>
                    <a:pt x="1109" y="1422"/>
                  </a:lnTo>
                  <a:lnTo>
                    <a:pt x="1124" y="1414"/>
                  </a:lnTo>
                  <a:lnTo>
                    <a:pt x="1137" y="1407"/>
                  </a:lnTo>
                  <a:lnTo>
                    <a:pt x="1150" y="1399"/>
                  </a:lnTo>
                  <a:lnTo>
                    <a:pt x="1164" y="1392"/>
                  </a:lnTo>
                  <a:lnTo>
                    <a:pt x="1177" y="1382"/>
                  </a:lnTo>
                  <a:lnTo>
                    <a:pt x="1190" y="1374"/>
                  </a:lnTo>
                  <a:lnTo>
                    <a:pt x="1204" y="1365"/>
                  </a:lnTo>
                  <a:lnTo>
                    <a:pt x="1215" y="1357"/>
                  </a:lnTo>
                  <a:lnTo>
                    <a:pt x="1227" y="1348"/>
                  </a:lnTo>
                  <a:lnTo>
                    <a:pt x="1240" y="1338"/>
                  </a:lnTo>
                  <a:lnTo>
                    <a:pt x="1251" y="1327"/>
                  </a:lnTo>
                  <a:lnTo>
                    <a:pt x="1263" y="1317"/>
                  </a:lnTo>
                  <a:lnTo>
                    <a:pt x="1274" y="1306"/>
                  </a:lnTo>
                  <a:lnTo>
                    <a:pt x="1285" y="1297"/>
                  </a:lnTo>
                  <a:lnTo>
                    <a:pt x="1295" y="1285"/>
                  </a:lnTo>
                  <a:lnTo>
                    <a:pt x="1306" y="1274"/>
                  </a:lnTo>
                  <a:lnTo>
                    <a:pt x="1316" y="1262"/>
                  </a:lnTo>
                  <a:lnTo>
                    <a:pt x="1327" y="1251"/>
                  </a:lnTo>
                  <a:lnTo>
                    <a:pt x="1337" y="1238"/>
                  </a:lnTo>
                  <a:lnTo>
                    <a:pt x="1346" y="1226"/>
                  </a:lnTo>
                  <a:lnTo>
                    <a:pt x="1354" y="1213"/>
                  </a:lnTo>
                  <a:lnTo>
                    <a:pt x="1363" y="1201"/>
                  </a:lnTo>
                  <a:lnTo>
                    <a:pt x="1371" y="1188"/>
                  </a:lnTo>
                  <a:lnTo>
                    <a:pt x="1381" y="1175"/>
                  </a:lnTo>
                  <a:lnTo>
                    <a:pt x="1386" y="1162"/>
                  </a:lnTo>
                  <a:lnTo>
                    <a:pt x="1396" y="1148"/>
                  </a:lnTo>
                  <a:lnTo>
                    <a:pt x="1401" y="1133"/>
                  </a:lnTo>
                  <a:lnTo>
                    <a:pt x="1411" y="1120"/>
                  </a:lnTo>
                  <a:lnTo>
                    <a:pt x="1417" y="1105"/>
                  </a:lnTo>
                  <a:lnTo>
                    <a:pt x="1422" y="1091"/>
                  </a:lnTo>
                  <a:lnTo>
                    <a:pt x="1428" y="1076"/>
                  </a:lnTo>
                  <a:lnTo>
                    <a:pt x="1434" y="1061"/>
                  </a:lnTo>
                  <a:lnTo>
                    <a:pt x="1439" y="1046"/>
                  </a:lnTo>
                  <a:lnTo>
                    <a:pt x="1445" y="1032"/>
                  </a:lnTo>
                  <a:lnTo>
                    <a:pt x="1449" y="1017"/>
                  </a:lnTo>
                  <a:lnTo>
                    <a:pt x="1453" y="1002"/>
                  </a:lnTo>
                  <a:lnTo>
                    <a:pt x="1457" y="987"/>
                  </a:lnTo>
                  <a:lnTo>
                    <a:pt x="1460" y="971"/>
                  </a:lnTo>
                  <a:lnTo>
                    <a:pt x="1462" y="954"/>
                  </a:lnTo>
                  <a:lnTo>
                    <a:pt x="1466" y="939"/>
                  </a:lnTo>
                  <a:lnTo>
                    <a:pt x="1468" y="922"/>
                  </a:lnTo>
                  <a:lnTo>
                    <a:pt x="1470" y="907"/>
                  </a:lnTo>
                  <a:lnTo>
                    <a:pt x="1472" y="890"/>
                  </a:lnTo>
                  <a:lnTo>
                    <a:pt x="1472" y="874"/>
                  </a:lnTo>
                  <a:lnTo>
                    <a:pt x="1474" y="857"/>
                  </a:lnTo>
                  <a:lnTo>
                    <a:pt x="1474" y="842"/>
                  </a:lnTo>
                  <a:lnTo>
                    <a:pt x="1474" y="825"/>
                  </a:lnTo>
                  <a:lnTo>
                    <a:pt x="1472" y="808"/>
                  </a:lnTo>
                  <a:lnTo>
                    <a:pt x="1472" y="793"/>
                  </a:lnTo>
                  <a:lnTo>
                    <a:pt x="1470" y="776"/>
                  </a:lnTo>
                  <a:lnTo>
                    <a:pt x="1468" y="758"/>
                  </a:lnTo>
                  <a:lnTo>
                    <a:pt x="1466" y="743"/>
                  </a:lnTo>
                  <a:lnTo>
                    <a:pt x="1462" y="728"/>
                  </a:lnTo>
                  <a:lnTo>
                    <a:pt x="1460" y="713"/>
                  </a:lnTo>
                  <a:lnTo>
                    <a:pt x="1457" y="698"/>
                  </a:lnTo>
                  <a:lnTo>
                    <a:pt x="1453" y="682"/>
                  </a:lnTo>
                  <a:lnTo>
                    <a:pt x="1449" y="665"/>
                  </a:lnTo>
                  <a:lnTo>
                    <a:pt x="1445" y="650"/>
                  </a:lnTo>
                  <a:lnTo>
                    <a:pt x="1439" y="635"/>
                  </a:lnTo>
                  <a:lnTo>
                    <a:pt x="1434" y="622"/>
                  </a:lnTo>
                  <a:lnTo>
                    <a:pt x="1428" y="606"/>
                  </a:lnTo>
                  <a:lnTo>
                    <a:pt x="1422" y="593"/>
                  </a:lnTo>
                  <a:lnTo>
                    <a:pt x="1417" y="578"/>
                  </a:lnTo>
                  <a:lnTo>
                    <a:pt x="1411" y="563"/>
                  </a:lnTo>
                  <a:lnTo>
                    <a:pt x="1401" y="549"/>
                  </a:lnTo>
                  <a:lnTo>
                    <a:pt x="1396" y="536"/>
                  </a:lnTo>
                  <a:lnTo>
                    <a:pt x="1386" y="521"/>
                  </a:lnTo>
                  <a:lnTo>
                    <a:pt x="1381" y="509"/>
                  </a:lnTo>
                  <a:lnTo>
                    <a:pt x="1371" y="496"/>
                  </a:lnTo>
                  <a:lnTo>
                    <a:pt x="1363" y="483"/>
                  </a:lnTo>
                  <a:lnTo>
                    <a:pt x="1354" y="470"/>
                  </a:lnTo>
                  <a:lnTo>
                    <a:pt x="1346" y="458"/>
                  </a:lnTo>
                  <a:lnTo>
                    <a:pt x="1337" y="445"/>
                  </a:lnTo>
                  <a:lnTo>
                    <a:pt x="1327" y="433"/>
                  </a:lnTo>
                  <a:lnTo>
                    <a:pt x="1316" y="422"/>
                  </a:lnTo>
                  <a:lnTo>
                    <a:pt x="1306" y="411"/>
                  </a:lnTo>
                  <a:lnTo>
                    <a:pt x="1295" y="399"/>
                  </a:lnTo>
                  <a:lnTo>
                    <a:pt x="1285" y="390"/>
                  </a:lnTo>
                  <a:lnTo>
                    <a:pt x="1274" y="378"/>
                  </a:lnTo>
                  <a:lnTo>
                    <a:pt x="1263" y="367"/>
                  </a:lnTo>
                  <a:lnTo>
                    <a:pt x="1251" y="355"/>
                  </a:lnTo>
                  <a:lnTo>
                    <a:pt x="1240" y="346"/>
                  </a:lnTo>
                  <a:lnTo>
                    <a:pt x="1227" y="336"/>
                  </a:lnTo>
                  <a:lnTo>
                    <a:pt x="1215" y="327"/>
                  </a:lnTo>
                  <a:lnTo>
                    <a:pt x="1204" y="317"/>
                  </a:lnTo>
                  <a:lnTo>
                    <a:pt x="1190" y="310"/>
                  </a:lnTo>
                  <a:lnTo>
                    <a:pt x="1177" y="300"/>
                  </a:lnTo>
                  <a:lnTo>
                    <a:pt x="1164" y="293"/>
                  </a:lnTo>
                  <a:lnTo>
                    <a:pt x="1150" y="283"/>
                  </a:lnTo>
                  <a:lnTo>
                    <a:pt x="1137" y="277"/>
                  </a:lnTo>
                  <a:lnTo>
                    <a:pt x="1124" y="270"/>
                  </a:lnTo>
                  <a:lnTo>
                    <a:pt x="1109" y="262"/>
                  </a:lnTo>
                  <a:lnTo>
                    <a:pt x="1095" y="257"/>
                  </a:lnTo>
                  <a:lnTo>
                    <a:pt x="1082" y="251"/>
                  </a:lnTo>
                  <a:lnTo>
                    <a:pt x="1067" y="243"/>
                  </a:lnTo>
                  <a:lnTo>
                    <a:pt x="1052" y="238"/>
                  </a:lnTo>
                  <a:lnTo>
                    <a:pt x="1036" y="234"/>
                  </a:lnTo>
                  <a:lnTo>
                    <a:pt x="1021" y="228"/>
                  </a:lnTo>
                  <a:lnTo>
                    <a:pt x="1006" y="224"/>
                  </a:lnTo>
                  <a:lnTo>
                    <a:pt x="991" y="220"/>
                  </a:lnTo>
                  <a:lnTo>
                    <a:pt x="976" y="217"/>
                  </a:lnTo>
                  <a:lnTo>
                    <a:pt x="962" y="213"/>
                  </a:lnTo>
                  <a:lnTo>
                    <a:pt x="945" y="209"/>
                  </a:lnTo>
                  <a:lnTo>
                    <a:pt x="928" y="207"/>
                  </a:lnTo>
                  <a:lnTo>
                    <a:pt x="913" y="205"/>
                  </a:lnTo>
                  <a:lnTo>
                    <a:pt x="898" y="203"/>
                  </a:lnTo>
                  <a:lnTo>
                    <a:pt x="881" y="201"/>
                  </a:lnTo>
                  <a:lnTo>
                    <a:pt x="865" y="201"/>
                  </a:lnTo>
                  <a:lnTo>
                    <a:pt x="848" y="201"/>
                  </a:lnTo>
                  <a:lnTo>
                    <a:pt x="833" y="201"/>
                  </a:lnTo>
                  <a:lnTo>
                    <a:pt x="825" y="201"/>
                  </a:lnTo>
                  <a:lnTo>
                    <a:pt x="820" y="201"/>
                  </a:lnTo>
                  <a:lnTo>
                    <a:pt x="814" y="201"/>
                  </a:lnTo>
                  <a:lnTo>
                    <a:pt x="808" y="201"/>
                  </a:lnTo>
                  <a:lnTo>
                    <a:pt x="805" y="112"/>
                  </a:lnTo>
                  <a:lnTo>
                    <a:pt x="810" y="112"/>
                  </a:lnTo>
                  <a:lnTo>
                    <a:pt x="816" y="112"/>
                  </a:lnTo>
                  <a:lnTo>
                    <a:pt x="820" y="110"/>
                  </a:lnTo>
                  <a:lnTo>
                    <a:pt x="825" y="110"/>
                  </a:lnTo>
                  <a:lnTo>
                    <a:pt x="831" y="110"/>
                  </a:lnTo>
                  <a:lnTo>
                    <a:pt x="835" y="110"/>
                  </a:lnTo>
                  <a:lnTo>
                    <a:pt x="841" y="110"/>
                  </a:lnTo>
                  <a:lnTo>
                    <a:pt x="844" y="110"/>
                  </a:lnTo>
                  <a:lnTo>
                    <a:pt x="852" y="108"/>
                  </a:lnTo>
                  <a:lnTo>
                    <a:pt x="858" y="108"/>
                  </a:lnTo>
                  <a:lnTo>
                    <a:pt x="860" y="108"/>
                  </a:lnTo>
                  <a:lnTo>
                    <a:pt x="862" y="108"/>
                  </a:lnTo>
                  <a:lnTo>
                    <a:pt x="871" y="0"/>
                  </a:lnTo>
                  <a:lnTo>
                    <a:pt x="1074" y="36"/>
                  </a:lnTo>
                  <a:lnTo>
                    <a:pt x="1042" y="133"/>
                  </a:lnTo>
                  <a:lnTo>
                    <a:pt x="1183" y="186"/>
                  </a:lnTo>
                  <a:lnTo>
                    <a:pt x="1238" y="99"/>
                  </a:lnTo>
                  <a:lnTo>
                    <a:pt x="1358" y="181"/>
                  </a:lnTo>
                  <a:lnTo>
                    <a:pt x="1299" y="253"/>
                  </a:lnTo>
                  <a:lnTo>
                    <a:pt x="1394" y="346"/>
                  </a:lnTo>
                  <a:lnTo>
                    <a:pt x="1464" y="316"/>
                  </a:lnTo>
                  <a:lnTo>
                    <a:pt x="1538" y="431"/>
                  </a:lnTo>
                  <a:lnTo>
                    <a:pt x="1472" y="475"/>
                  </a:lnTo>
                  <a:lnTo>
                    <a:pt x="1529" y="585"/>
                  </a:lnTo>
                  <a:lnTo>
                    <a:pt x="1611" y="555"/>
                  </a:lnTo>
                  <a:lnTo>
                    <a:pt x="1654" y="696"/>
                  </a:lnTo>
                  <a:lnTo>
                    <a:pt x="1571" y="717"/>
                  </a:lnTo>
                  <a:lnTo>
                    <a:pt x="1578" y="861"/>
                  </a:lnTo>
                  <a:lnTo>
                    <a:pt x="1666" y="878"/>
                  </a:lnTo>
                  <a:lnTo>
                    <a:pt x="1635" y="1036"/>
                  </a:lnTo>
                  <a:lnTo>
                    <a:pt x="1563" y="1023"/>
                  </a:lnTo>
                  <a:lnTo>
                    <a:pt x="1514" y="1156"/>
                  </a:lnTo>
                  <a:lnTo>
                    <a:pt x="1595" y="1200"/>
                  </a:lnTo>
                  <a:lnTo>
                    <a:pt x="1512" y="1325"/>
                  </a:lnTo>
                  <a:lnTo>
                    <a:pt x="1451" y="1279"/>
                  </a:lnTo>
                  <a:lnTo>
                    <a:pt x="1377" y="1361"/>
                  </a:lnTo>
                  <a:lnTo>
                    <a:pt x="1426" y="1433"/>
                  </a:lnTo>
                  <a:lnTo>
                    <a:pt x="1314" y="1511"/>
                  </a:lnTo>
                  <a:lnTo>
                    <a:pt x="1280" y="1454"/>
                  </a:lnTo>
                  <a:lnTo>
                    <a:pt x="1152" y="1523"/>
                  </a:lnTo>
                  <a:lnTo>
                    <a:pt x="1190" y="1599"/>
                  </a:lnTo>
                  <a:lnTo>
                    <a:pt x="1063" y="1643"/>
                  </a:lnTo>
                  <a:lnTo>
                    <a:pt x="1029" y="1557"/>
                  </a:lnTo>
                  <a:lnTo>
                    <a:pt x="903" y="1578"/>
                  </a:lnTo>
                  <a:lnTo>
                    <a:pt x="913" y="1673"/>
                  </a:lnTo>
                  <a:lnTo>
                    <a:pt x="770" y="1671"/>
                  </a:lnTo>
                  <a:lnTo>
                    <a:pt x="776" y="1574"/>
                  </a:lnTo>
                  <a:lnTo>
                    <a:pt x="641" y="1547"/>
                  </a:lnTo>
                  <a:lnTo>
                    <a:pt x="611" y="1650"/>
                  </a:lnTo>
                  <a:lnTo>
                    <a:pt x="474" y="1591"/>
                  </a:lnTo>
                  <a:lnTo>
                    <a:pt x="523" y="1506"/>
                  </a:lnTo>
                  <a:lnTo>
                    <a:pt x="405" y="1447"/>
                  </a:lnTo>
                  <a:lnTo>
                    <a:pt x="352" y="1525"/>
                  </a:lnTo>
                  <a:lnTo>
                    <a:pt x="242" y="1433"/>
                  </a:lnTo>
                  <a:lnTo>
                    <a:pt x="312" y="1350"/>
                  </a:lnTo>
                  <a:lnTo>
                    <a:pt x="211" y="1245"/>
                  </a:lnTo>
                  <a:lnTo>
                    <a:pt x="133" y="1306"/>
                  </a:lnTo>
                  <a:lnTo>
                    <a:pt x="57" y="1156"/>
                  </a:lnTo>
                  <a:lnTo>
                    <a:pt x="145" y="1105"/>
                  </a:lnTo>
                  <a:lnTo>
                    <a:pt x="105" y="951"/>
                  </a:lnTo>
                  <a:lnTo>
                    <a:pt x="10" y="971"/>
                  </a:lnTo>
                  <a:lnTo>
                    <a:pt x="0" y="810"/>
                  </a:lnTo>
                  <a:lnTo>
                    <a:pt x="97" y="802"/>
                  </a:lnTo>
                  <a:lnTo>
                    <a:pt x="124" y="667"/>
                  </a:lnTo>
                  <a:lnTo>
                    <a:pt x="27" y="648"/>
                  </a:lnTo>
                  <a:lnTo>
                    <a:pt x="75" y="481"/>
                  </a:lnTo>
                  <a:lnTo>
                    <a:pt x="177" y="515"/>
                  </a:lnTo>
                  <a:lnTo>
                    <a:pt x="261" y="382"/>
                  </a:lnTo>
                  <a:lnTo>
                    <a:pt x="190" y="316"/>
                  </a:lnTo>
                  <a:lnTo>
                    <a:pt x="301" y="205"/>
                  </a:lnTo>
                  <a:lnTo>
                    <a:pt x="356" y="264"/>
                  </a:lnTo>
                  <a:lnTo>
                    <a:pt x="514" y="177"/>
                  </a:lnTo>
                  <a:lnTo>
                    <a:pt x="462" y="89"/>
                  </a:lnTo>
                  <a:lnTo>
                    <a:pt x="662"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grpSp>
      <p:sp>
        <p:nvSpPr>
          <p:cNvPr id="30" name="Rounded Rectangle 29"/>
          <p:cNvSpPr/>
          <p:nvPr/>
        </p:nvSpPr>
        <p:spPr>
          <a:xfrm>
            <a:off x="3458351" y="4876800"/>
            <a:ext cx="3048998" cy="1870844"/>
          </a:xfrm>
          <a:prstGeom prst="roundRect">
            <a:avLst>
              <a:gd name="adj" fmla="val 11991"/>
            </a:avLst>
          </a:prstGeom>
          <a:solidFill>
            <a:schemeClr val="accent5">
              <a:lumMod val="20000"/>
              <a:lumOff val="80000"/>
            </a:schemeClr>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nchorCtr="0"/>
          <a:lstStyle/>
          <a:p>
            <a:pPr marL="174625" indent="-174625">
              <a:spcAft>
                <a:spcPts val="400"/>
              </a:spcAft>
            </a:pPr>
            <a:r>
              <a:rPr lang="en-US" sz="1300" b="1" dirty="0" err="1">
                <a:solidFill>
                  <a:schemeClr val="accent5"/>
                </a:solidFill>
                <a:latin typeface="+mj-lt"/>
                <a:cs typeface="Arial" pitchFamily="34" charset="0"/>
              </a:rPr>
              <a:t>MyHealth@Capgemini</a:t>
            </a:r>
            <a:endParaRPr lang="en-US" sz="1300" b="1" dirty="0">
              <a:solidFill>
                <a:schemeClr val="accent5"/>
              </a:solidFill>
              <a:latin typeface="+mj-lt"/>
              <a:cs typeface="Arial" pitchFamily="34" charset="0"/>
            </a:endParaRPr>
          </a:p>
          <a:p>
            <a:pPr marL="231775" indent="-231775">
              <a:spcAft>
                <a:spcPts val="400"/>
              </a:spcAft>
              <a:buFont typeface="Wingdings" pitchFamily="2" charset="2"/>
              <a:buChar char="v"/>
            </a:pPr>
            <a:r>
              <a:rPr lang="en-US" sz="1300" dirty="0">
                <a:solidFill>
                  <a:schemeClr val="accent5"/>
                </a:solidFill>
                <a:latin typeface="+mj-lt"/>
              </a:rPr>
              <a:t>Onsite Health Screening </a:t>
            </a:r>
            <a:r>
              <a:rPr lang="en-US" sz="1300" dirty="0" smtClean="0">
                <a:solidFill>
                  <a:schemeClr val="accent5"/>
                </a:solidFill>
                <a:latin typeface="+mj-lt"/>
              </a:rPr>
              <a:t>Program </a:t>
            </a:r>
            <a:endParaRPr lang="en-US" sz="1300" dirty="0">
              <a:solidFill>
                <a:schemeClr val="accent5"/>
              </a:solidFill>
              <a:latin typeface="+mj-lt"/>
            </a:endParaRPr>
          </a:p>
          <a:p>
            <a:pPr marL="231775" indent="-231775">
              <a:spcAft>
                <a:spcPts val="400"/>
              </a:spcAft>
              <a:buFont typeface="Wingdings" pitchFamily="2" charset="2"/>
              <a:buChar char="v"/>
            </a:pPr>
            <a:r>
              <a:rPr lang="en-US" sz="1300" dirty="0">
                <a:solidFill>
                  <a:schemeClr val="accent5"/>
                </a:solidFill>
                <a:latin typeface="+mj-lt"/>
              </a:rPr>
              <a:t>Online Health Risk Assessment</a:t>
            </a:r>
          </a:p>
          <a:p>
            <a:pPr marL="231775" indent="-231775">
              <a:spcAft>
                <a:spcPts val="400"/>
              </a:spcAft>
              <a:buFont typeface="Wingdings" pitchFamily="2" charset="2"/>
              <a:buChar char="v"/>
            </a:pPr>
            <a:r>
              <a:rPr lang="en-US" sz="1300" dirty="0">
                <a:solidFill>
                  <a:schemeClr val="accent5"/>
                </a:solidFill>
                <a:latin typeface="+mj-lt"/>
              </a:rPr>
              <a:t>Doctor On Call</a:t>
            </a:r>
          </a:p>
          <a:p>
            <a:pPr marL="231775" indent="-231775">
              <a:spcAft>
                <a:spcPts val="400"/>
              </a:spcAft>
              <a:buFont typeface="Wingdings" pitchFamily="2" charset="2"/>
              <a:buChar char="v"/>
            </a:pPr>
            <a:r>
              <a:rPr lang="en-US" sz="1300" dirty="0">
                <a:solidFill>
                  <a:schemeClr val="accent5"/>
                </a:solidFill>
                <a:latin typeface="+mj-lt"/>
              </a:rPr>
              <a:t>Healthy Pregnancy Program</a:t>
            </a:r>
          </a:p>
          <a:p>
            <a:pPr marL="231775" indent="-231775">
              <a:spcAft>
                <a:spcPts val="400"/>
              </a:spcAft>
              <a:buFont typeface="Wingdings" pitchFamily="2" charset="2"/>
              <a:buChar char="v"/>
            </a:pPr>
            <a:r>
              <a:rPr lang="en-US" sz="1300" dirty="0">
                <a:solidFill>
                  <a:schemeClr val="accent5"/>
                </a:solidFill>
                <a:latin typeface="+mj-lt"/>
              </a:rPr>
              <a:t>Employee Assistance </a:t>
            </a:r>
            <a:r>
              <a:rPr lang="en-US" sz="1300" dirty="0" smtClean="0">
                <a:solidFill>
                  <a:schemeClr val="accent5"/>
                </a:solidFill>
                <a:latin typeface="+mj-lt"/>
              </a:rPr>
              <a:t>Program</a:t>
            </a:r>
            <a:endParaRPr lang="en-US" sz="1300" dirty="0">
              <a:solidFill>
                <a:schemeClr val="accent5"/>
              </a:solidFill>
              <a:latin typeface="+mj-lt"/>
            </a:endParaRPr>
          </a:p>
        </p:txBody>
      </p:sp>
      <p:sp>
        <p:nvSpPr>
          <p:cNvPr id="31" name="Rounded Rectangle 30"/>
          <p:cNvSpPr/>
          <p:nvPr/>
        </p:nvSpPr>
        <p:spPr>
          <a:xfrm>
            <a:off x="156351" y="4876800"/>
            <a:ext cx="3048998" cy="1870844"/>
          </a:xfrm>
          <a:prstGeom prst="roundRect">
            <a:avLst>
              <a:gd name="adj" fmla="val 13995"/>
            </a:avLst>
          </a:prstGeom>
          <a:solidFill>
            <a:schemeClr val="accent6">
              <a:lumMod val="20000"/>
              <a:lumOff val="80000"/>
            </a:schemeClr>
          </a:solidFill>
          <a:ln w="762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nchorCtr="0"/>
          <a:lstStyle/>
          <a:p>
            <a:pPr marL="174625" indent="-174625">
              <a:spcAft>
                <a:spcPts val="400"/>
              </a:spcAft>
            </a:pPr>
            <a:r>
              <a:rPr lang="en-US" sz="1300" b="1" dirty="0">
                <a:solidFill>
                  <a:schemeClr val="accent6">
                    <a:lumMod val="50000"/>
                  </a:schemeClr>
                </a:solidFill>
                <a:latin typeface="+mj-lt"/>
              </a:rPr>
              <a:t>Insurance Policies</a:t>
            </a:r>
          </a:p>
          <a:p>
            <a:pPr marL="231775" indent="-231775">
              <a:spcAft>
                <a:spcPts val="400"/>
              </a:spcAft>
              <a:buFont typeface="Wingdings" pitchFamily="2" charset="2"/>
              <a:buChar char="v"/>
            </a:pPr>
            <a:r>
              <a:rPr lang="en-US" sz="1300" dirty="0" smtClean="0">
                <a:solidFill>
                  <a:schemeClr val="accent6">
                    <a:lumMod val="50000"/>
                  </a:schemeClr>
                </a:solidFill>
                <a:latin typeface="+mj-lt"/>
              </a:rPr>
              <a:t>Group </a:t>
            </a:r>
            <a:r>
              <a:rPr lang="en-US" sz="1300" dirty="0">
                <a:solidFill>
                  <a:schemeClr val="accent6">
                    <a:lumMod val="50000"/>
                  </a:schemeClr>
                </a:solidFill>
                <a:latin typeface="+mj-lt"/>
              </a:rPr>
              <a:t>Term Life Policy </a:t>
            </a:r>
          </a:p>
          <a:p>
            <a:pPr marL="231775" indent="-231775">
              <a:spcAft>
                <a:spcPts val="400"/>
              </a:spcAft>
              <a:buFont typeface="Wingdings" pitchFamily="2" charset="2"/>
              <a:buChar char="v"/>
            </a:pPr>
            <a:r>
              <a:rPr lang="en-US" sz="1300" dirty="0">
                <a:solidFill>
                  <a:schemeClr val="accent6">
                    <a:lumMod val="50000"/>
                  </a:schemeClr>
                </a:solidFill>
                <a:latin typeface="+mj-lt"/>
              </a:rPr>
              <a:t>Hospitalization Insurance Policy</a:t>
            </a:r>
          </a:p>
          <a:p>
            <a:pPr marL="231775" indent="-231775">
              <a:spcAft>
                <a:spcPts val="400"/>
              </a:spcAft>
              <a:buFont typeface="Wingdings" pitchFamily="2" charset="2"/>
              <a:buChar char="v"/>
            </a:pPr>
            <a:r>
              <a:rPr lang="en-US" sz="1300" dirty="0">
                <a:solidFill>
                  <a:schemeClr val="accent6">
                    <a:lumMod val="50000"/>
                  </a:schemeClr>
                </a:solidFill>
                <a:latin typeface="+mj-lt"/>
              </a:rPr>
              <a:t>Group Accident Policy</a:t>
            </a:r>
          </a:p>
          <a:p>
            <a:pPr marL="231775" indent="-231775">
              <a:spcAft>
                <a:spcPts val="400"/>
              </a:spcAft>
              <a:buFont typeface="Wingdings" pitchFamily="2" charset="2"/>
              <a:buChar char="v"/>
            </a:pPr>
            <a:r>
              <a:rPr lang="en-US" sz="1300" dirty="0">
                <a:solidFill>
                  <a:schemeClr val="accent6">
                    <a:lumMod val="50000"/>
                  </a:schemeClr>
                </a:solidFill>
                <a:latin typeface="+mj-lt"/>
              </a:rPr>
              <a:t>Group Dependent Parent Policy</a:t>
            </a:r>
          </a:p>
          <a:p>
            <a:pPr marL="174625" indent="-174625">
              <a:spcAft>
                <a:spcPts val="400"/>
              </a:spcAft>
            </a:pPr>
            <a:endParaRPr lang="en-US" sz="1300" dirty="0">
              <a:solidFill>
                <a:schemeClr val="accent6">
                  <a:lumMod val="50000"/>
                </a:schemeClr>
              </a:solidFill>
              <a:latin typeface="+mj-lt"/>
            </a:endParaRPr>
          </a:p>
        </p:txBody>
      </p:sp>
      <p:sp>
        <p:nvSpPr>
          <p:cNvPr id="32" name="Rounded Rectangle 31"/>
          <p:cNvSpPr/>
          <p:nvPr/>
        </p:nvSpPr>
        <p:spPr>
          <a:xfrm>
            <a:off x="6677801" y="4876800"/>
            <a:ext cx="3048998" cy="1870844"/>
          </a:xfrm>
          <a:prstGeom prst="roundRect">
            <a:avLst>
              <a:gd name="adj" fmla="val 13327"/>
            </a:avLst>
          </a:prstGeom>
          <a:solidFill>
            <a:schemeClr val="accent2">
              <a:lumMod val="20000"/>
              <a:lumOff val="80000"/>
            </a:schemeClr>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nchorCtr="0"/>
          <a:lstStyle/>
          <a:p>
            <a:pPr marL="174625" indent="-174625">
              <a:spcAft>
                <a:spcPts val="400"/>
              </a:spcAft>
            </a:pPr>
            <a:r>
              <a:rPr lang="en-US" sz="1300" b="1" dirty="0">
                <a:solidFill>
                  <a:schemeClr val="accent3"/>
                </a:solidFill>
                <a:latin typeface="+mj-lt"/>
              </a:rPr>
              <a:t>Financial Wellbeing-OAAR</a:t>
            </a:r>
          </a:p>
          <a:p>
            <a:pPr marL="231775" indent="-231775">
              <a:spcAft>
                <a:spcPts val="400"/>
              </a:spcAft>
              <a:buFont typeface="Wingdings" pitchFamily="2" charset="2"/>
              <a:buChar char="v"/>
            </a:pPr>
            <a:r>
              <a:rPr lang="en-US" sz="1300" dirty="0">
                <a:solidFill>
                  <a:schemeClr val="accent3"/>
                </a:solidFill>
                <a:latin typeface="+mj-lt"/>
              </a:rPr>
              <a:t>Medical </a:t>
            </a:r>
          </a:p>
          <a:p>
            <a:pPr marL="231775" indent="-231775">
              <a:spcAft>
                <a:spcPts val="400"/>
              </a:spcAft>
              <a:buFont typeface="Wingdings" pitchFamily="2" charset="2"/>
              <a:buChar char="v"/>
            </a:pPr>
            <a:r>
              <a:rPr lang="en-US" sz="1300" dirty="0">
                <a:solidFill>
                  <a:schemeClr val="accent3"/>
                </a:solidFill>
                <a:latin typeface="+mj-lt"/>
              </a:rPr>
              <a:t>Telephone</a:t>
            </a:r>
          </a:p>
          <a:p>
            <a:pPr marL="231775" indent="-231775">
              <a:spcAft>
                <a:spcPts val="400"/>
              </a:spcAft>
              <a:buFont typeface="Wingdings" pitchFamily="2" charset="2"/>
              <a:buChar char="v"/>
            </a:pPr>
            <a:r>
              <a:rPr lang="en-US" sz="1300" dirty="0">
                <a:solidFill>
                  <a:schemeClr val="accent3"/>
                </a:solidFill>
                <a:latin typeface="+mj-lt"/>
              </a:rPr>
              <a:t>Leave Travel Allowance</a:t>
            </a:r>
          </a:p>
          <a:p>
            <a:pPr marL="231775" indent="-231775">
              <a:spcAft>
                <a:spcPts val="400"/>
              </a:spcAft>
              <a:buFont typeface="Wingdings" pitchFamily="2" charset="2"/>
              <a:buChar char="v"/>
            </a:pPr>
            <a:r>
              <a:rPr lang="en-US" sz="1300" dirty="0">
                <a:solidFill>
                  <a:schemeClr val="accent3"/>
                </a:solidFill>
                <a:latin typeface="+mj-lt"/>
              </a:rPr>
              <a:t>Meal Voucher</a:t>
            </a:r>
          </a:p>
          <a:p>
            <a:pPr marL="231775" indent="-231775">
              <a:spcAft>
                <a:spcPts val="400"/>
              </a:spcAft>
              <a:buFont typeface="Wingdings" pitchFamily="2" charset="2"/>
              <a:buChar char="v"/>
            </a:pPr>
            <a:r>
              <a:rPr lang="en-US" sz="1300" dirty="0">
                <a:solidFill>
                  <a:schemeClr val="accent3"/>
                </a:solidFill>
                <a:latin typeface="+mj-lt"/>
              </a:rPr>
              <a:t>Vehicle &amp; Driver Reimbursement</a:t>
            </a:r>
          </a:p>
          <a:p>
            <a:pPr marL="231775" indent="-231775">
              <a:spcAft>
                <a:spcPts val="400"/>
              </a:spcAft>
              <a:buFont typeface="Wingdings" pitchFamily="2" charset="2"/>
              <a:buChar char="v"/>
            </a:pPr>
            <a:r>
              <a:rPr lang="en-US" sz="1300" dirty="0">
                <a:solidFill>
                  <a:schemeClr val="accent3"/>
                </a:solidFill>
                <a:latin typeface="+mj-lt"/>
              </a:rPr>
              <a:t>National Pension </a:t>
            </a:r>
            <a:r>
              <a:rPr lang="en-US" sz="1300" dirty="0" smtClean="0">
                <a:solidFill>
                  <a:schemeClr val="accent3"/>
                </a:solidFill>
                <a:latin typeface="+mj-lt"/>
              </a:rPr>
              <a:t>Scheme</a:t>
            </a:r>
            <a:endParaRPr lang="en-US" sz="1300" dirty="0">
              <a:solidFill>
                <a:schemeClr val="accent3"/>
              </a:solidFill>
              <a:latin typeface="+mj-lt"/>
            </a:endParaRPr>
          </a:p>
        </p:txBody>
      </p:sp>
      <p:sp>
        <p:nvSpPr>
          <p:cNvPr id="33" name="Rectangle 32"/>
          <p:cNvSpPr/>
          <p:nvPr/>
        </p:nvSpPr>
        <p:spPr>
          <a:xfrm>
            <a:off x="247650" y="1818382"/>
            <a:ext cx="2476500" cy="1077218"/>
          </a:xfrm>
          <a:prstGeom prst="rect">
            <a:avLst/>
          </a:prstGeom>
        </p:spPr>
        <p:txBody>
          <a:bodyPr wrap="square">
            <a:spAutoFit/>
          </a:bodyPr>
          <a:lstStyle/>
          <a:p>
            <a:pPr algn="ctr"/>
            <a:r>
              <a:rPr lang="en-US" sz="1600" dirty="0" smtClean="0"/>
              <a:t>Insurance cover for employee and family members for medical and other emergencies</a:t>
            </a:r>
          </a:p>
        </p:txBody>
      </p:sp>
      <p:sp>
        <p:nvSpPr>
          <p:cNvPr id="34" name="Rectangle 33"/>
          <p:cNvSpPr/>
          <p:nvPr/>
        </p:nvSpPr>
        <p:spPr>
          <a:xfrm>
            <a:off x="3549650" y="1836004"/>
            <a:ext cx="2806700" cy="584775"/>
          </a:xfrm>
          <a:prstGeom prst="rect">
            <a:avLst/>
          </a:prstGeom>
        </p:spPr>
        <p:txBody>
          <a:bodyPr wrap="square">
            <a:spAutoFit/>
          </a:bodyPr>
          <a:lstStyle/>
          <a:p>
            <a:pPr algn="ctr"/>
            <a:r>
              <a:rPr lang="en-US" sz="1600" dirty="0" err="1" smtClean="0"/>
              <a:t>MyHealth@Capgemini</a:t>
            </a:r>
            <a:r>
              <a:rPr lang="en-US" sz="1600" dirty="0" smtClean="0"/>
              <a:t> program for overall wellbeing </a:t>
            </a:r>
          </a:p>
        </p:txBody>
      </p:sp>
      <p:sp>
        <p:nvSpPr>
          <p:cNvPr id="35" name="Rectangle 34"/>
          <p:cNvSpPr/>
          <p:nvPr/>
        </p:nvSpPr>
        <p:spPr>
          <a:xfrm>
            <a:off x="7181850" y="1752600"/>
            <a:ext cx="2311400" cy="1077218"/>
          </a:xfrm>
          <a:prstGeom prst="rect">
            <a:avLst/>
          </a:prstGeom>
        </p:spPr>
        <p:txBody>
          <a:bodyPr wrap="square">
            <a:spAutoFit/>
          </a:bodyPr>
          <a:lstStyle/>
          <a:p>
            <a:pPr algn="ctr"/>
            <a:r>
              <a:rPr lang="en-US" sz="1600" dirty="0" smtClean="0"/>
              <a:t>Other Allowance and Reimbursements (OAAR) for financial wellbeing</a:t>
            </a: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smtClean="0"/>
              <a:t>Benefits Overview</a:t>
            </a:r>
            <a:endParaRPr lang="en-US" dirty="0"/>
          </a:p>
        </p:txBody>
      </p:sp>
      <p:sp>
        <p:nvSpPr>
          <p:cNvPr id="15" name="Content Placeholder 5"/>
          <p:cNvSpPr>
            <a:spLocks noGrp="1"/>
          </p:cNvSpPr>
          <p:nvPr>
            <p:ph idx="1"/>
          </p:nvPr>
        </p:nvSpPr>
        <p:spPr>
          <a:xfrm>
            <a:off x="323392" y="1342365"/>
            <a:ext cx="9582608" cy="5144160"/>
          </a:xfrm>
        </p:spPr>
        <p:txBody>
          <a:bodyPr>
            <a:noAutofit/>
          </a:bodyPr>
          <a:lstStyle/>
          <a:p>
            <a:r>
              <a:rPr lang="en-US" sz="1600" dirty="0" smtClean="0"/>
              <a:t>Medical Insurance</a:t>
            </a:r>
          </a:p>
          <a:p>
            <a:endParaRPr lang="en-US" sz="1600" dirty="0" smtClean="0"/>
          </a:p>
          <a:p>
            <a:endParaRPr lang="en-US" sz="1600" dirty="0" smtClean="0"/>
          </a:p>
          <a:p>
            <a:endParaRPr lang="en-US" sz="1600" dirty="0" smtClean="0"/>
          </a:p>
          <a:p>
            <a:endParaRPr lang="en-US" sz="1600" dirty="0" smtClean="0"/>
          </a:p>
          <a:p>
            <a:endParaRPr lang="en-US" sz="1600" dirty="0" smtClean="0"/>
          </a:p>
          <a:p>
            <a:r>
              <a:rPr lang="en-US" sz="1600" dirty="0" smtClean="0"/>
              <a:t>Cashless Benefit</a:t>
            </a:r>
          </a:p>
          <a:p>
            <a:r>
              <a:rPr lang="en-US" sz="1600" dirty="0" smtClean="0"/>
              <a:t>Maternity Benefit</a:t>
            </a:r>
          </a:p>
          <a:p>
            <a:r>
              <a:rPr lang="en-US" sz="1600" dirty="0" smtClean="0"/>
              <a:t>New Born Baby Insurance</a:t>
            </a:r>
          </a:p>
          <a:p>
            <a:r>
              <a:rPr lang="en-US" sz="1600" dirty="0" smtClean="0"/>
              <a:t>Pre &amp; Post Hospitalization covered (30 days prior and 60 days post)</a:t>
            </a:r>
          </a:p>
          <a:p>
            <a:r>
              <a:rPr lang="en-US" sz="1600" dirty="0" smtClean="0"/>
              <a:t>Pre existing Condition Benefit</a:t>
            </a:r>
          </a:p>
          <a:p>
            <a:r>
              <a:rPr lang="en-US" sz="1600" dirty="0" smtClean="0"/>
              <a:t>AON Global is our Insurance Broker</a:t>
            </a:r>
          </a:p>
          <a:p>
            <a:r>
              <a:rPr lang="en-US" sz="1600" dirty="0" smtClean="0"/>
              <a:t>United Health Care (UHC) is our TPA (Third Party Administrator)</a:t>
            </a:r>
          </a:p>
          <a:p>
            <a:pPr lvl="1"/>
            <a:r>
              <a:rPr lang="en-US" sz="1400" dirty="0" smtClean="0"/>
              <a:t>United Healthcare Website: </a:t>
            </a:r>
            <a:r>
              <a:rPr lang="en-US" sz="1400" dirty="0" smtClean="0">
                <a:solidFill>
                  <a:srgbClr val="00A0D6"/>
                </a:solidFill>
              </a:rPr>
              <a:t>www.uhcpindia.com</a:t>
            </a:r>
          </a:p>
          <a:p>
            <a:pPr lvl="1"/>
            <a:r>
              <a:rPr lang="en-US" sz="1400" dirty="0" smtClean="0"/>
              <a:t>E Medical Card</a:t>
            </a:r>
          </a:p>
          <a:p>
            <a:pPr lvl="1"/>
            <a:r>
              <a:rPr lang="en-US" sz="1400" dirty="0" smtClean="0"/>
              <a:t>AON contact details: </a:t>
            </a:r>
            <a:r>
              <a:rPr lang="en-US" sz="1200" dirty="0" smtClean="0"/>
              <a:t>Rajesh Dhore:7506932880 / Pritam </a:t>
            </a:r>
            <a:r>
              <a:rPr lang="en-US" sz="1200" dirty="0" err="1" smtClean="0"/>
              <a:t>Sonawane</a:t>
            </a:r>
            <a:r>
              <a:rPr lang="en-US" sz="1200" dirty="0" smtClean="0"/>
              <a:t> :8888855868 </a:t>
            </a:r>
          </a:p>
          <a:p>
            <a:pPr lvl="1"/>
            <a:r>
              <a:rPr lang="en-US" sz="1400" dirty="0" smtClean="0"/>
              <a:t>Capgemini Coordinator: Sampat Tidke </a:t>
            </a:r>
            <a:r>
              <a:rPr lang="en-US" sz="1200" dirty="0" smtClean="0"/>
              <a:t>Contact No: </a:t>
            </a:r>
            <a:r>
              <a:rPr lang="en-US" sz="1200" dirty="0" err="1" smtClean="0"/>
              <a:t>Extn</a:t>
            </a:r>
            <a:r>
              <a:rPr lang="en-US" sz="1200" dirty="0" smtClean="0"/>
              <a:t>. 2015767</a:t>
            </a:r>
          </a:p>
        </p:txBody>
      </p:sp>
      <p:grpSp>
        <p:nvGrpSpPr>
          <p:cNvPr id="2" name="Group 5"/>
          <p:cNvGrpSpPr>
            <a:grpSpLocks/>
          </p:cNvGrpSpPr>
          <p:nvPr/>
        </p:nvGrpSpPr>
        <p:grpSpPr bwMode="auto">
          <a:xfrm>
            <a:off x="8000472" y="76201"/>
            <a:ext cx="887413" cy="409575"/>
            <a:chOff x="932170" y="585314"/>
            <a:chExt cx="820212" cy="410106"/>
          </a:xfrm>
        </p:grpSpPr>
        <p:sp>
          <p:nvSpPr>
            <p:cNvPr id="7" name="Rectangle 6"/>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8" name="Rectangle 7"/>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People Care</a:t>
              </a:r>
            </a:p>
          </p:txBody>
        </p:sp>
      </p:grpSp>
      <p:grpSp>
        <p:nvGrpSpPr>
          <p:cNvPr id="3" name="Group 8"/>
          <p:cNvGrpSpPr>
            <a:grpSpLocks/>
          </p:cNvGrpSpPr>
          <p:nvPr/>
        </p:nvGrpSpPr>
        <p:grpSpPr bwMode="auto">
          <a:xfrm>
            <a:off x="8934320" y="76201"/>
            <a:ext cx="889132" cy="409575"/>
            <a:chOff x="1137223" y="1167665"/>
            <a:chExt cx="820212" cy="410106"/>
          </a:xfrm>
        </p:grpSpPr>
        <p:sp>
          <p:nvSpPr>
            <p:cNvPr id="10" name="Rectangle 9"/>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1" name="Rectangle 10"/>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Benefits / Compensation</a:t>
              </a:r>
            </a:p>
          </p:txBody>
        </p:sp>
      </p:grpSp>
      <p:graphicFrame>
        <p:nvGraphicFramePr>
          <p:cNvPr id="13" name="Table 12"/>
          <p:cNvGraphicFramePr>
            <a:graphicFrameLocks noGrp="1"/>
          </p:cNvGraphicFramePr>
          <p:nvPr/>
        </p:nvGraphicFramePr>
        <p:xfrm>
          <a:off x="762000" y="1714499"/>
          <a:ext cx="6286500" cy="1219200"/>
        </p:xfrm>
        <a:graphic>
          <a:graphicData uri="http://schemas.openxmlformats.org/drawingml/2006/table">
            <a:tbl>
              <a:tblPr firstRow="1" bandRow="1">
                <a:tableStyleId>{5C22544A-7EE6-4342-B048-85BDC9FD1C3A}</a:tableStyleId>
              </a:tblPr>
              <a:tblGrid>
                <a:gridCol w="2605110"/>
                <a:gridCol w="3681390"/>
              </a:tblGrid>
              <a:tr h="268446">
                <a:tc>
                  <a:txBody>
                    <a:bodyPr/>
                    <a:lstStyle/>
                    <a:p>
                      <a:r>
                        <a:rPr lang="en-US" sz="1400" b="1" kern="1200" dirty="0" smtClean="0">
                          <a:solidFill>
                            <a:schemeClr val="lt1"/>
                          </a:solidFill>
                          <a:latin typeface="+mn-lt"/>
                          <a:ea typeface="+mn-ea"/>
                          <a:cs typeface="+mn-cs"/>
                        </a:rPr>
                        <a:t>Employee Age Limit</a:t>
                      </a:r>
                      <a:endParaRPr lang="en-US" sz="1400" dirty="0"/>
                    </a:p>
                  </a:txBody>
                  <a:tcPr/>
                </a:tc>
                <a:tc>
                  <a:txBody>
                    <a:bodyPr/>
                    <a:lstStyle/>
                    <a:p>
                      <a:r>
                        <a:rPr lang="en-US" sz="1400" b="1" kern="1200" dirty="0" smtClean="0">
                          <a:solidFill>
                            <a:schemeClr val="lt1"/>
                          </a:solidFill>
                          <a:latin typeface="+mn-lt"/>
                          <a:ea typeface="+mn-ea"/>
                          <a:cs typeface="+mn-cs"/>
                        </a:rPr>
                        <a:t>Sum Insured (INR)</a:t>
                      </a:r>
                      <a:endParaRPr lang="en-US" sz="1400" dirty="0"/>
                    </a:p>
                  </a:txBody>
                  <a:tcPr/>
                </a:tc>
              </a:tr>
              <a:tr h="268446">
                <a:tc>
                  <a:txBody>
                    <a:bodyPr/>
                    <a:lstStyle/>
                    <a:p>
                      <a:r>
                        <a:rPr lang="en-US" sz="1400" kern="1200" dirty="0" smtClean="0">
                          <a:solidFill>
                            <a:schemeClr val="dk1"/>
                          </a:solidFill>
                          <a:latin typeface="+mn-lt"/>
                          <a:ea typeface="+mn-ea"/>
                          <a:cs typeface="+mn-cs"/>
                        </a:rPr>
                        <a:t>Age 18 years to 30 years</a:t>
                      </a:r>
                      <a:endParaRPr lang="en-US" sz="1400" dirty="0"/>
                    </a:p>
                  </a:txBody>
                  <a:tcPr/>
                </a:tc>
                <a:tc>
                  <a:txBody>
                    <a:bodyPr/>
                    <a:lstStyle/>
                    <a:p>
                      <a:r>
                        <a:rPr lang="en-US" sz="1400" kern="1200" dirty="0" smtClean="0">
                          <a:solidFill>
                            <a:schemeClr val="dk1"/>
                          </a:solidFill>
                          <a:latin typeface="+mn-lt"/>
                          <a:ea typeface="+mn-ea"/>
                          <a:cs typeface="+mn-cs"/>
                        </a:rPr>
                        <a:t>200,000</a:t>
                      </a:r>
                      <a:endParaRPr lang="en-US" sz="1400" dirty="0"/>
                    </a:p>
                  </a:txBody>
                  <a:tcPr/>
                </a:tc>
              </a:tr>
              <a:tr h="268446">
                <a:tc>
                  <a:txBody>
                    <a:bodyPr/>
                    <a:lstStyle/>
                    <a:p>
                      <a:r>
                        <a:rPr lang="en-US" sz="1400" kern="1200" dirty="0" smtClean="0">
                          <a:solidFill>
                            <a:schemeClr val="dk1"/>
                          </a:solidFill>
                          <a:latin typeface="+mn-lt"/>
                          <a:ea typeface="+mn-ea"/>
                          <a:cs typeface="+mn-cs"/>
                        </a:rPr>
                        <a:t>Age 31 years to 40 years</a:t>
                      </a:r>
                      <a:endParaRPr lang="en-US" sz="1400" dirty="0"/>
                    </a:p>
                  </a:txBody>
                  <a:tcPr/>
                </a:tc>
                <a:tc>
                  <a:txBody>
                    <a:bodyPr/>
                    <a:lstStyle/>
                    <a:p>
                      <a:r>
                        <a:rPr lang="en-US" sz="1400" kern="1200" dirty="0" smtClean="0">
                          <a:solidFill>
                            <a:schemeClr val="dk1"/>
                          </a:solidFill>
                          <a:latin typeface="+mn-lt"/>
                          <a:ea typeface="+mn-ea"/>
                          <a:cs typeface="+mn-cs"/>
                        </a:rPr>
                        <a:t>300,000</a:t>
                      </a:r>
                      <a:endParaRPr lang="en-US" sz="1400" dirty="0"/>
                    </a:p>
                  </a:txBody>
                  <a:tcPr/>
                </a:tc>
              </a:tr>
              <a:tr h="268446">
                <a:tc>
                  <a:txBody>
                    <a:bodyPr/>
                    <a:lstStyle/>
                    <a:p>
                      <a:r>
                        <a:rPr lang="en-US" sz="1400" kern="1200" dirty="0" smtClean="0">
                          <a:solidFill>
                            <a:schemeClr val="dk1"/>
                          </a:solidFill>
                          <a:latin typeface="+mn-lt"/>
                          <a:ea typeface="+mn-ea"/>
                          <a:cs typeface="+mn-cs"/>
                        </a:rPr>
                        <a:t>Age 41 and above</a:t>
                      </a:r>
                      <a:endParaRPr lang="en-US" sz="1400" dirty="0"/>
                    </a:p>
                  </a:txBody>
                  <a:tcPr/>
                </a:tc>
                <a:tc>
                  <a:txBody>
                    <a:bodyPr/>
                    <a:lstStyle/>
                    <a:p>
                      <a:r>
                        <a:rPr lang="en-US" sz="1400" kern="1200" dirty="0" smtClean="0">
                          <a:solidFill>
                            <a:schemeClr val="dk1"/>
                          </a:solidFill>
                          <a:latin typeface="+mn-lt"/>
                          <a:ea typeface="+mn-ea"/>
                          <a:cs typeface="+mn-cs"/>
                        </a:rPr>
                        <a:t>400,000</a:t>
                      </a:r>
                      <a:endParaRPr lang="en-US" sz="1400" dirty="0"/>
                    </a:p>
                  </a:txBody>
                  <a:tcPr/>
                </a:tc>
              </a:tr>
            </a:tbl>
          </a:graphicData>
        </a:graphic>
      </p:graphicFrame>
    </p:spTree>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Benefits Overview</a:t>
            </a:r>
            <a:endParaRPr lang="en-US" dirty="0"/>
          </a:p>
        </p:txBody>
      </p:sp>
      <p:sp>
        <p:nvSpPr>
          <p:cNvPr id="26" name="Content Placeholder 25"/>
          <p:cNvSpPr>
            <a:spLocks noGrp="1"/>
          </p:cNvSpPr>
          <p:nvPr>
            <p:ph idx="1"/>
          </p:nvPr>
        </p:nvSpPr>
        <p:spPr/>
        <p:txBody>
          <a:bodyPr>
            <a:normAutofit fontScale="55000" lnSpcReduction="20000"/>
          </a:bodyPr>
          <a:lstStyle/>
          <a:p>
            <a:pPr marL="342900" indent="-342900">
              <a:spcBef>
                <a:spcPct val="20000"/>
              </a:spcBef>
            </a:pPr>
            <a:r>
              <a:rPr lang="en-US" sz="2400" b="1" dirty="0" smtClean="0"/>
              <a:t>Parents Medical Insurance –</a:t>
            </a:r>
          </a:p>
          <a:p>
            <a:pPr marL="342900" indent="-342900">
              <a:spcBef>
                <a:spcPct val="20000"/>
              </a:spcBef>
              <a:buFont typeface="Arial" pitchFamily="34" charset="0"/>
              <a:buChar char="•"/>
            </a:pPr>
            <a:r>
              <a:rPr lang="en-US" sz="2400" dirty="0" smtClean="0"/>
              <a:t>Members Covered – Employees have the option of covering Parents / Parent-in-laws </a:t>
            </a:r>
          </a:p>
          <a:p>
            <a:pPr marL="342900" indent="-342900">
              <a:spcBef>
                <a:spcPct val="20000"/>
              </a:spcBef>
              <a:buFont typeface="Arial" pitchFamily="34" charset="0"/>
              <a:buChar char="•"/>
            </a:pPr>
            <a:r>
              <a:rPr lang="en-US" sz="2400" dirty="0" smtClean="0"/>
              <a:t>Pre Enrolment Medical Check up – Not Required</a:t>
            </a:r>
          </a:p>
          <a:p>
            <a:pPr marL="342900" indent="-342900">
              <a:spcBef>
                <a:spcPct val="20000"/>
              </a:spcBef>
              <a:buFont typeface="Arial" pitchFamily="34" charset="0"/>
              <a:buChar char="•"/>
            </a:pPr>
            <a:r>
              <a:rPr lang="en-US" sz="2400" dirty="0" smtClean="0"/>
              <a:t>Sum Insured – Option of INR 1 Lac / 2Lac / 3 Lac / 4 Lac /5 Lac per Parent/Parent-in-law </a:t>
            </a:r>
          </a:p>
          <a:p>
            <a:pPr marL="342900" indent="-342900">
              <a:spcBef>
                <a:spcPct val="20000"/>
              </a:spcBef>
              <a:buFont typeface="Arial" pitchFamily="34" charset="0"/>
              <a:buChar char="•"/>
            </a:pPr>
            <a:r>
              <a:rPr lang="en-US" sz="2400" dirty="0" smtClean="0"/>
              <a:t>Cashless Benefit</a:t>
            </a:r>
          </a:p>
          <a:p>
            <a:pPr marL="342900" indent="-342900">
              <a:spcBef>
                <a:spcPct val="20000"/>
              </a:spcBef>
              <a:buFont typeface="Arial" pitchFamily="34" charset="0"/>
              <a:buChar char="•"/>
            </a:pPr>
            <a:r>
              <a:rPr lang="en-US" sz="2400" dirty="0" smtClean="0"/>
              <a:t>Pre &amp; Post Hospitalization covered (30 days prior and 60 days post)</a:t>
            </a:r>
          </a:p>
          <a:p>
            <a:pPr marL="342900" indent="-342900">
              <a:spcBef>
                <a:spcPct val="20000"/>
              </a:spcBef>
              <a:buFont typeface="Arial" pitchFamily="34" charset="0"/>
              <a:buChar char="•"/>
            </a:pPr>
            <a:r>
              <a:rPr lang="en-US" sz="2400" dirty="0" smtClean="0"/>
              <a:t>Premium Rate Card-</a:t>
            </a:r>
          </a:p>
          <a:p>
            <a:pPr marL="342900" indent="-342900">
              <a:spcBef>
                <a:spcPct val="20000"/>
              </a:spcBef>
              <a:buFont typeface="Arial" pitchFamily="34" charset="0"/>
              <a:buChar char="•"/>
            </a:pPr>
            <a:r>
              <a:rPr lang="en-US" sz="2400" dirty="0"/>
              <a:t>2</a:t>
            </a:r>
            <a:r>
              <a:rPr lang="en-US" sz="2400" dirty="0" smtClean="0"/>
              <a:t>0% co-pay will be applicable for each claim. </a:t>
            </a:r>
          </a:p>
          <a:p>
            <a:pPr marL="342900" indent="-342900">
              <a:spcBef>
                <a:spcPct val="20000"/>
              </a:spcBef>
              <a:buFont typeface="Arial" pitchFamily="34" charset="0"/>
              <a:buChar char="•"/>
            </a:pPr>
            <a:r>
              <a:rPr lang="en-US" sz="2400" dirty="0" smtClean="0"/>
              <a:t>One year waiting period for specified diseases -  waived off</a:t>
            </a:r>
          </a:p>
          <a:p>
            <a:pPr marL="342900" indent="-342900">
              <a:spcBef>
                <a:spcPct val="20000"/>
              </a:spcBef>
              <a:buFont typeface="Arial" pitchFamily="34" charset="0"/>
              <a:buChar char="•"/>
            </a:pPr>
            <a:r>
              <a:rPr lang="en-US" sz="2400" dirty="0" smtClean="0"/>
              <a:t>Medical Tests are not required for enrollment</a:t>
            </a:r>
          </a:p>
          <a:p>
            <a:pPr marL="342900" indent="-342900">
              <a:spcBef>
                <a:spcPct val="20000"/>
              </a:spcBef>
              <a:buFont typeface="Arial" pitchFamily="34" charset="0"/>
              <a:buChar char="•"/>
            </a:pPr>
            <a:r>
              <a:rPr lang="en-US" sz="2400" dirty="0" smtClean="0"/>
              <a:t>Only persons up to the age of 80 years can be covered under the policy.</a:t>
            </a:r>
          </a:p>
          <a:p>
            <a:pPr marL="342900" indent="-342900">
              <a:spcBef>
                <a:spcPct val="20000"/>
              </a:spcBef>
            </a:pPr>
            <a:endParaRPr lang="en-US" sz="2400" dirty="0" smtClean="0"/>
          </a:p>
          <a:p>
            <a:pPr>
              <a:spcBef>
                <a:spcPct val="20000"/>
              </a:spcBef>
            </a:pPr>
            <a:r>
              <a:rPr lang="en-US" sz="2400" dirty="0" smtClean="0"/>
              <a:t>Employees interested to enroll their parents/parent-in-laws can connect immediately with </a:t>
            </a:r>
            <a:br>
              <a:rPr lang="en-US" sz="2400" dirty="0" smtClean="0"/>
            </a:br>
            <a:endParaRPr lang="en-US" sz="2400" dirty="0" smtClean="0"/>
          </a:p>
          <a:p>
            <a:pPr>
              <a:spcBef>
                <a:spcPct val="20000"/>
              </a:spcBef>
              <a:buNone/>
            </a:pPr>
            <a:r>
              <a:rPr lang="en-US" sz="2400" dirty="0" smtClean="0"/>
              <a:t>    Rajesh Dhore:7506932880, email </a:t>
            </a:r>
            <a:r>
              <a:rPr lang="en-US" sz="2400" b="1" u="sng" dirty="0" smtClean="0"/>
              <a:t>capgemini.pune@globalinsurance.co.in.</a:t>
            </a:r>
          </a:p>
          <a:p>
            <a:pPr marL="342900" indent="-342900">
              <a:spcBef>
                <a:spcPct val="20000"/>
              </a:spcBef>
            </a:pPr>
            <a:endParaRPr lang="en-US" sz="2400" dirty="0" smtClean="0"/>
          </a:p>
          <a:p>
            <a:pPr marL="342900" indent="-342900">
              <a:spcBef>
                <a:spcPct val="20000"/>
              </a:spcBef>
              <a:buNone/>
            </a:pPr>
            <a:r>
              <a:rPr lang="en-US" sz="2400" dirty="0" smtClean="0"/>
              <a:t>Please go through the Employee Handbook on KM3.0 for further details on all Benefits</a:t>
            </a:r>
          </a:p>
          <a:p>
            <a:pPr marL="532311" lvl="1" indent="-342900">
              <a:spcBef>
                <a:spcPct val="20000"/>
              </a:spcBef>
            </a:pPr>
            <a:endParaRPr lang="en-US" dirty="0"/>
          </a:p>
        </p:txBody>
      </p:sp>
      <p:sp>
        <p:nvSpPr>
          <p:cNvPr id="18436" name="Slide Number Placeholder 4"/>
          <p:cNvSpPr>
            <a:spLocks noGrp="1"/>
          </p:cNvSpPr>
          <p:nvPr>
            <p:ph type="sldNum" sz="quarter" idx="4294967295"/>
          </p:nvPr>
        </p:nvSpPr>
        <p:spPr>
          <a:xfrm>
            <a:off x="9631363" y="6719888"/>
            <a:ext cx="274637" cy="103187"/>
          </a:xfrm>
          <a:prstGeom prst="rect">
            <a:avLst/>
          </a:prstGeom>
          <a:noFill/>
        </p:spPr>
        <p:txBody>
          <a:bodyPr/>
          <a:lstStyle/>
          <a:p>
            <a:fld id="{A8D1CA5D-FBA5-4C27-B824-45550DE33C26}" type="slidenum">
              <a:rPr lang="en-US" smtClean="0">
                <a:latin typeface="Arial" pitchFamily="34" charset="0"/>
              </a:rPr>
              <a:pPr/>
              <a:t>47</a:t>
            </a:fld>
            <a:endParaRPr lang="en-US" smtClean="0">
              <a:latin typeface="Arial" pitchFamily="34" charset="0"/>
            </a:endParaRPr>
          </a:p>
        </p:txBody>
      </p:sp>
      <p:grpSp>
        <p:nvGrpSpPr>
          <p:cNvPr id="2" name="Group 5"/>
          <p:cNvGrpSpPr>
            <a:grpSpLocks/>
          </p:cNvGrpSpPr>
          <p:nvPr/>
        </p:nvGrpSpPr>
        <p:grpSpPr bwMode="auto">
          <a:xfrm>
            <a:off x="8000472" y="76201"/>
            <a:ext cx="887413" cy="409575"/>
            <a:chOff x="932170" y="585314"/>
            <a:chExt cx="820212" cy="410106"/>
          </a:xfrm>
        </p:grpSpPr>
        <p:sp>
          <p:nvSpPr>
            <p:cNvPr id="19" name="Rectangle 18"/>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2" name="Rectangle 21"/>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People Care</a:t>
              </a:r>
            </a:p>
          </p:txBody>
        </p:sp>
      </p:grpSp>
      <p:grpSp>
        <p:nvGrpSpPr>
          <p:cNvPr id="3" name="Group 8"/>
          <p:cNvGrpSpPr>
            <a:grpSpLocks/>
          </p:cNvGrpSpPr>
          <p:nvPr/>
        </p:nvGrpSpPr>
        <p:grpSpPr bwMode="auto">
          <a:xfrm>
            <a:off x="8934320" y="76201"/>
            <a:ext cx="889132" cy="409575"/>
            <a:chOff x="1137223" y="1167665"/>
            <a:chExt cx="820212" cy="410106"/>
          </a:xfrm>
        </p:grpSpPr>
        <p:sp>
          <p:nvSpPr>
            <p:cNvPr id="24" name="Rectangle 23"/>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5" name="Rectangle 24"/>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Benefits / Compensation</a:t>
              </a:r>
            </a:p>
          </p:txBody>
        </p:sp>
      </p:grpSp>
    </p:spTree>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smtClean="0"/>
              <a:t>Benefits Overview</a:t>
            </a:r>
            <a:endParaRPr lang="en-US" dirty="0"/>
          </a:p>
        </p:txBody>
      </p:sp>
      <p:grpSp>
        <p:nvGrpSpPr>
          <p:cNvPr id="2" name="Group 5"/>
          <p:cNvGrpSpPr>
            <a:grpSpLocks/>
          </p:cNvGrpSpPr>
          <p:nvPr/>
        </p:nvGrpSpPr>
        <p:grpSpPr bwMode="auto">
          <a:xfrm>
            <a:off x="7228575" y="230580"/>
            <a:ext cx="887413" cy="409575"/>
            <a:chOff x="932170" y="585314"/>
            <a:chExt cx="820212" cy="410106"/>
          </a:xfrm>
        </p:grpSpPr>
        <p:sp>
          <p:nvSpPr>
            <p:cNvPr id="9" name="Rectangle 8"/>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Rectangle 9"/>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People Care</a:t>
              </a:r>
            </a:p>
          </p:txBody>
        </p:sp>
      </p:grpSp>
      <p:sp>
        <p:nvSpPr>
          <p:cNvPr id="23" name="Rectangle 22"/>
          <p:cNvSpPr/>
          <p:nvPr/>
        </p:nvSpPr>
        <p:spPr bwMode="auto">
          <a:xfrm>
            <a:off x="8934320" y="76201"/>
            <a:ext cx="889132" cy="409575"/>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Benefits / Compensation</a:t>
            </a:r>
          </a:p>
        </p:txBody>
      </p:sp>
      <p:sp>
        <p:nvSpPr>
          <p:cNvPr id="24" name="Rectangle 23"/>
          <p:cNvSpPr/>
          <p:nvPr/>
        </p:nvSpPr>
        <p:spPr bwMode="auto">
          <a:xfrm>
            <a:off x="9086720" y="228601"/>
            <a:ext cx="889132" cy="409575"/>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endParaRPr lang="en-US" sz="900" dirty="0">
              <a:solidFill>
                <a:srgbClr val="AF1C63"/>
              </a:solidFill>
            </a:endParaRPr>
          </a:p>
        </p:txBody>
      </p:sp>
      <p:sp>
        <p:nvSpPr>
          <p:cNvPr id="26" name="Rectangle 25"/>
          <p:cNvSpPr/>
          <p:nvPr/>
        </p:nvSpPr>
        <p:spPr bwMode="auto">
          <a:xfrm>
            <a:off x="9239120" y="381001"/>
            <a:ext cx="889132" cy="409575"/>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endParaRPr lang="en-US" sz="900" dirty="0"/>
          </a:p>
        </p:txBody>
      </p:sp>
      <p:grpSp>
        <p:nvGrpSpPr>
          <p:cNvPr id="3" name="Group 26"/>
          <p:cNvGrpSpPr>
            <a:grpSpLocks/>
          </p:cNvGrpSpPr>
          <p:nvPr/>
        </p:nvGrpSpPr>
        <p:grpSpPr bwMode="auto">
          <a:xfrm>
            <a:off x="8201660" y="243506"/>
            <a:ext cx="889132" cy="409575"/>
            <a:chOff x="1137223" y="1167665"/>
            <a:chExt cx="820212" cy="410106"/>
          </a:xfrm>
        </p:grpSpPr>
        <p:sp>
          <p:nvSpPr>
            <p:cNvPr id="28" name="Rectangle 27"/>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9" name="Rectangle 28"/>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defPPr>
                <a:defRPr lang="de-DE"/>
              </a:defPPr>
              <a:lvl1pPr marL="0" algn="l" defTabSz="957756" rtl="0" eaLnBrk="1" latinLnBrk="0" hangingPunct="1">
                <a:defRPr sz="1900" kern="1200">
                  <a:solidFill>
                    <a:schemeClr val="lt1"/>
                  </a:solidFill>
                  <a:latin typeface="+mn-lt"/>
                  <a:ea typeface="+mn-ea"/>
                  <a:cs typeface="+mn-cs"/>
                </a:defRPr>
              </a:lvl1pPr>
              <a:lvl2pPr marL="478878" algn="l" defTabSz="957756" rtl="0" eaLnBrk="1" latinLnBrk="0" hangingPunct="1">
                <a:defRPr sz="1900" kern="1200">
                  <a:solidFill>
                    <a:schemeClr val="lt1"/>
                  </a:solidFill>
                  <a:latin typeface="+mn-lt"/>
                  <a:ea typeface="+mn-ea"/>
                  <a:cs typeface="+mn-cs"/>
                </a:defRPr>
              </a:lvl2pPr>
              <a:lvl3pPr marL="957756" algn="l" defTabSz="957756" rtl="0" eaLnBrk="1" latinLnBrk="0" hangingPunct="1">
                <a:defRPr sz="1900" kern="1200">
                  <a:solidFill>
                    <a:schemeClr val="lt1"/>
                  </a:solidFill>
                  <a:latin typeface="+mn-lt"/>
                  <a:ea typeface="+mn-ea"/>
                  <a:cs typeface="+mn-cs"/>
                </a:defRPr>
              </a:lvl3pPr>
              <a:lvl4pPr marL="1436634" algn="l" defTabSz="957756" rtl="0" eaLnBrk="1" latinLnBrk="0" hangingPunct="1">
                <a:defRPr sz="1900" kern="1200">
                  <a:solidFill>
                    <a:schemeClr val="lt1"/>
                  </a:solidFill>
                  <a:latin typeface="+mn-lt"/>
                  <a:ea typeface="+mn-ea"/>
                  <a:cs typeface="+mn-cs"/>
                </a:defRPr>
              </a:lvl4pPr>
              <a:lvl5pPr marL="1915510" algn="l" defTabSz="957756" rtl="0" eaLnBrk="1" latinLnBrk="0" hangingPunct="1">
                <a:defRPr sz="1900" kern="1200">
                  <a:solidFill>
                    <a:schemeClr val="lt1"/>
                  </a:solidFill>
                  <a:latin typeface="+mn-lt"/>
                  <a:ea typeface="+mn-ea"/>
                  <a:cs typeface="+mn-cs"/>
                </a:defRPr>
              </a:lvl5pPr>
              <a:lvl6pPr marL="2394388" algn="l" defTabSz="957756" rtl="0" eaLnBrk="1" latinLnBrk="0" hangingPunct="1">
                <a:defRPr sz="1900" kern="1200">
                  <a:solidFill>
                    <a:schemeClr val="lt1"/>
                  </a:solidFill>
                  <a:latin typeface="+mn-lt"/>
                  <a:ea typeface="+mn-ea"/>
                  <a:cs typeface="+mn-cs"/>
                </a:defRPr>
              </a:lvl6pPr>
              <a:lvl7pPr marL="2873265" algn="l" defTabSz="957756" rtl="0" eaLnBrk="1" latinLnBrk="0" hangingPunct="1">
                <a:defRPr sz="1900" kern="1200">
                  <a:solidFill>
                    <a:schemeClr val="lt1"/>
                  </a:solidFill>
                  <a:latin typeface="+mn-lt"/>
                  <a:ea typeface="+mn-ea"/>
                  <a:cs typeface="+mn-cs"/>
                </a:defRPr>
              </a:lvl7pPr>
              <a:lvl8pPr marL="3352143" algn="l" defTabSz="957756" rtl="0" eaLnBrk="1" latinLnBrk="0" hangingPunct="1">
                <a:defRPr sz="1900" kern="1200">
                  <a:solidFill>
                    <a:schemeClr val="lt1"/>
                  </a:solidFill>
                  <a:latin typeface="+mn-lt"/>
                  <a:ea typeface="+mn-ea"/>
                  <a:cs typeface="+mn-cs"/>
                </a:defRPr>
              </a:lvl8pPr>
              <a:lvl9pPr marL="3831021" algn="l" defTabSz="957756" rtl="0" eaLnBrk="1" latinLnBrk="0" hangingPunct="1">
                <a:defRPr sz="1900" kern="1200">
                  <a:solidFill>
                    <a:schemeClr val="lt1"/>
                  </a:solidFill>
                  <a:latin typeface="+mn-lt"/>
                  <a:ea typeface="+mn-ea"/>
                  <a:cs typeface="+mn-cs"/>
                </a:defRPr>
              </a:lvl9pPr>
            </a:lstStyle>
            <a:p>
              <a:pPr algn="ctr" defTabSz="400050">
                <a:lnSpc>
                  <a:spcPct val="90000"/>
                </a:lnSpc>
                <a:spcAft>
                  <a:spcPct val="35000"/>
                </a:spcAft>
                <a:defRPr/>
              </a:pPr>
              <a:r>
                <a:rPr lang="en-US" sz="900" dirty="0"/>
                <a:t>Benefits / Compensation</a:t>
              </a:r>
            </a:p>
          </p:txBody>
        </p:sp>
      </p:grpSp>
      <p:graphicFrame>
        <p:nvGraphicFramePr>
          <p:cNvPr id="8" name="Table 7"/>
          <p:cNvGraphicFramePr>
            <a:graphicFrameLocks noGrp="1"/>
          </p:cNvGraphicFramePr>
          <p:nvPr>
            <p:extLst>
              <p:ext uri="{D42A27DB-BD31-4B8C-83A1-F6EECF244321}">
                <p14:modId xmlns="" xmlns:p14="http://schemas.microsoft.com/office/powerpoint/2010/main" val="2740046948"/>
              </p:ext>
            </p:extLst>
          </p:nvPr>
        </p:nvGraphicFramePr>
        <p:xfrm>
          <a:off x="696709" y="1546223"/>
          <a:ext cx="8542410" cy="4406520"/>
        </p:xfrm>
        <a:graphic>
          <a:graphicData uri="http://schemas.openxmlformats.org/drawingml/2006/table">
            <a:tbl>
              <a:tblPr firstRow="1" firstCol="1" bandRow="1">
                <a:tableStyleId>{616DA210-FB5B-4158-B5E0-FEB733F419BA}</a:tableStyleId>
              </a:tblPr>
              <a:tblGrid>
                <a:gridCol w="1423735"/>
                <a:gridCol w="1423735"/>
                <a:gridCol w="1423735"/>
                <a:gridCol w="1423735"/>
                <a:gridCol w="1423735"/>
                <a:gridCol w="1423735"/>
              </a:tblGrid>
              <a:tr h="549354">
                <a:tc>
                  <a:txBody>
                    <a:bodyPr/>
                    <a:lstStyle/>
                    <a:p>
                      <a:pPr algn="ctr" rtl="0" fontAlgn="ctr"/>
                      <a:r>
                        <a:rPr lang="en-US" sz="1400" u="none" strike="noStrike" dirty="0">
                          <a:effectLst/>
                          <a:latin typeface="Calibri" panose="020F0502020204030204" pitchFamily="34" charset="0"/>
                        </a:rPr>
                        <a:t>Age Band</a:t>
                      </a:r>
                      <a:endParaRPr lang="en-US" sz="1400" b="1" i="0" u="none" strike="noStrike" dirty="0">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INR 100,000</a:t>
                      </a:r>
                      <a:endParaRPr lang="en-US" sz="1400" b="1"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INR 200,000</a:t>
                      </a:r>
                      <a:endParaRPr lang="en-US" sz="1400" b="1"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INR 300,000</a:t>
                      </a:r>
                      <a:endParaRPr lang="en-US" sz="1400" b="1"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INR 400,000</a:t>
                      </a:r>
                      <a:endParaRPr lang="en-US" sz="1400" b="1"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INR 500,000</a:t>
                      </a:r>
                      <a:endParaRPr lang="en-US" sz="1400" b="1" i="0" u="none" strike="noStrike">
                        <a:solidFill>
                          <a:srgbClr val="00264A"/>
                        </a:solidFill>
                        <a:effectLst/>
                        <a:latin typeface="Calibri" panose="020F0502020204030204" pitchFamily="34" charset="0"/>
                      </a:endParaRPr>
                    </a:p>
                  </a:txBody>
                  <a:tcPr marL="6350" marR="6350" marT="6350" marB="0" anchor="ctr"/>
                </a:tc>
              </a:tr>
              <a:tr h="561042">
                <a:tc>
                  <a:txBody>
                    <a:bodyPr/>
                    <a:lstStyle/>
                    <a:p>
                      <a:pPr algn="ctr" rtl="0" fontAlgn="ctr"/>
                      <a:r>
                        <a:rPr lang="en-US" sz="1400" u="none" strike="noStrike" dirty="0">
                          <a:effectLst/>
                          <a:latin typeface="Calibri" panose="020F0502020204030204" pitchFamily="34" charset="0"/>
                        </a:rPr>
                        <a:t>36 – 40 Years</a:t>
                      </a:r>
                      <a:endParaRPr lang="en-US" sz="1400" b="1" i="0" u="none" strike="noStrike" dirty="0">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dirty="0">
                          <a:effectLst/>
                          <a:latin typeface="Calibri" panose="020F0502020204030204" pitchFamily="34" charset="0"/>
                        </a:rPr>
                        <a:t>8,547</a:t>
                      </a:r>
                      <a:endParaRPr lang="en-US" sz="1400" b="0" i="0" u="none" strike="noStrike" dirty="0">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17,094</a:t>
                      </a:r>
                      <a:endParaRPr lang="en-US" sz="1400" b="0"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19,231</a:t>
                      </a:r>
                      <a:endParaRPr lang="en-US" sz="1400" b="0"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21,369</a:t>
                      </a:r>
                      <a:endParaRPr lang="en-US" sz="1400" b="0"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23,505</a:t>
                      </a:r>
                      <a:endParaRPr lang="en-US" sz="1400" b="0" i="0" u="none" strike="noStrike">
                        <a:solidFill>
                          <a:srgbClr val="00264A"/>
                        </a:solidFill>
                        <a:effectLst/>
                        <a:latin typeface="Calibri" panose="020F0502020204030204" pitchFamily="34" charset="0"/>
                      </a:endParaRPr>
                    </a:p>
                  </a:txBody>
                  <a:tcPr marL="6350" marR="6350" marT="6350" marB="0" anchor="ctr"/>
                </a:tc>
              </a:tr>
              <a:tr h="549354">
                <a:tc>
                  <a:txBody>
                    <a:bodyPr/>
                    <a:lstStyle/>
                    <a:p>
                      <a:pPr algn="ctr" rtl="0" fontAlgn="ctr"/>
                      <a:r>
                        <a:rPr lang="en-US" sz="1400" u="none" strike="noStrike">
                          <a:effectLst/>
                          <a:latin typeface="Calibri" panose="020F0502020204030204" pitchFamily="34" charset="0"/>
                        </a:rPr>
                        <a:t>41 – 45 Years</a:t>
                      </a:r>
                      <a:endParaRPr lang="en-US" sz="1400" b="1"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dirty="0">
                          <a:effectLst/>
                          <a:latin typeface="Calibri" panose="020F0502020204030204" pitchFamily="34" charset="0"/>
                        </a:rPr>
                        <a:t>10,138</a:t>
                      </a:r>
                      <a:endParaRPr lang="en-US" sz="1400" b="0" i="0" u="none" strike="noStrike" dirty="0">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dirty="0">
                          <a:effectLst/>
                          <a:latin typeface="Calibri" panose="020F0502020204030204" pitchFamily="34" charset="0"/>
                        </a:rPr>
                        <a:t>20,278</a:t>
                      </a:r>
                      <a:endParaRPr lang="en-US" sz="1400" b="0" i="0" u="none" strike="noStrike" dirty="0">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22,813</a:t>
                      </a:r>
                      <a:endParaRPr lang="en-US" sz="1400" b="0"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25,349</a:t>
                      </a:r>
                      <a:endParaRPr lang="en-US" sz="1400" b="0"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27,881</a:t>
                      </a:r>
                      <a:endParaRPr lang="en-US" sz="1400" b="0" i="0" u="none" strike="noStrike">
                        <a:solidFill>
                          <a:srgbClr val="00264A"/>
                        </a:solidFill>
                        <a:effectLst/>
                        <a:latin typeface="Calibri" panose="020F0502020204030204" pitchFamily="34" charset="0"/>
                      </a:endParaRPr>
                    </a:p>
                  </a:txBody>
                  <a:tcPr marL="6350" marR="6350" marT="6350" marB="0" anchor="ctr"/>
                </a:tc>
              </a:tr>
              <a:tr h="549354">
                <a:tc>
                  <a:txBody>
                    <a:bodyPr/>
                    <a:lstStyle/>
                    <a:p>
                      <a:pPr algn="ctr" rtl="0" fontAlgn="ctr"/>
                      <a:r>
                        <a:rPr lang="en-US" sz="1400" u="none" strike="noStrike">
                          <a:effectLst/>
                          <a:latin typeface="Calibri" panose="020F0502020204030204" pitchFamily="34" charset="0"/>
                        </a:rPr>
                        <a:t>46 – 55 Years</a:t>
                      </a:r>
                      <a:endParaRPr lang="en-US" sz="1400" b="1"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dirty="0">
                          <a:effectLst/>
                          <a:latin typeface="Calibri" panose="020F0502020204030204" pitchFamily="34" charset="0"/>
                        </a:rPr>
                        <a:t>11,986</a:t>
                      </a:r>
                      <a:endParaRPr lang="en-US" sz="1400" b="0" i="0" u="none" strike="noStrike" dirty="0">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dirty="0">
                          <a:effectLst/>
                          <a:latin typeface="Calibri" panose="020F0502020204030204" pitchFamily="34" charset="0"/>
                        </a:rPr>
                        <a:t>23,978</a:t>
                      </a:r>
                      <a:endParaRPr lang="en-US" sz="1400" b="0" i="0" u="none" strike="noStrike" dirty="0">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dirty="0">
                          <a:effectLst/>
                          <a:latin typeface="Calibri" panose="020F0502020204030204" pitchFamily="34" charset="0"/>
                        </a:rPr>
                        <a:t>26,973</a:t>
                      </a:r>
                      <a:endParaRPr lang="en-US" sz="1400" b="0" i="0" u="none" strike="noStrike" dirty="0">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29,970</a:t>
                      </a:r>
                      <a:endParaRPr lang="en-US" sz="1400" b="0"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32,967</a:t>
                      </a:r>
                      <a:endParaRPr lang="en-US" sz="1400" b="0" i="0" u="none" strike="noStrike">
                        <a:solidFill>
                          <a:srgbClr val="00264A"/>
                        </a:solidFill>
                        <a:effectLst/>
                        <a:latin typeface="Calibri" panose="020F0502020204030204" pitchFamily="34" charset="0"/>
                      </a:endParaRPr>
                    </a:p>
                  </a:txBody>
                  <a:tcPr marL="6350" marR="6350" marT="6350" marB="0" anchor="ctr"/>
                </a:tc>
              </a:tr>
              <a:tr h="549354">
                <a:tc>
                  <a:txBody>
                    <a:bodyPr/>
                    <a:lstStyle/>
                    <a:p>
                      <a:pPr algn="ctr" rtl="0" fontAlgn="ctr"/>
                      <a:r>
                        <a:rPr lang="en-US" sz="1400" u="none" strike="noStrike">
                          <a:effectLst/>
                          <a:latin typeface="Calibri" panose="020F0502020204030204" pitchFamily="34" charset="0"/>
                        </a:rPr>
                        <a:t>56 – 65 Years</a:t>
                      </a:r>
                      <a:endParaRPr lang="en-US" sz="1400" b="1"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dirty="0">
                          <a:effectLst/>
                          <a:latin typeface="Calibri" panose="020F0502020204030204" pitchFamily="34" charset="0"/>
                        </a:rPr>
                        <a:t>15,849</a:t>
                      </a:r>
                      <a:endParaRPr lang="en-US" sz="1400" b="0" i="0" u="none" strike="noStrike" dirty="0">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dirty="0">
                          <a:effectLst/>
                          <a:latin typeface="Calibri" panose="020F0502020204030204" pitchFamily="34" charset="0"/>
                        </a:rPr>
                        <a:t>31,699</a:t>
                      </a:r>
                      <a:endParaRPr lang="en-US" sz="1400" b="0" i="0" u="none" strike="noStrike" dirty="0">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dirty="0">
                          <a:effectLst/>
                          <a:latin typeface="Calibri" panose="020F0502020204030204" pitchFamily="34" charset="0"/>
                        </a:rPr>
                        <a:t>35,662</a:t>
                      </a:r>
                      <a:endParaRPr lang="en-US" sz="1400" b="0" i="0" u="none" strike="noStrike" dirty="0">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dirty="0">
                          <a:effectLst/>
                          <a:latin typeface="Calibri" panose="020F0502020204030204" pitchFamily="34" charset="0"/>
                        </a:rPr>
                        <a:t>39,624</a:t>
                      </a:r>
                      <a:endParaRPr lang="en-US" sz="1400" b="0" i="0" u="none" strike="noStrike" dirty="0">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43,587</a:t>
                      </a:r>
                      <a:endParaRPr lang="en-US" sz="1400" b="0" i="0" u="none" strike="noStrike">
                        <a:solidFill>
                          <a:srgbClr val="00264A"/>
                        </a:solidFill>
                        <a:effectLst/>
                        <a:latin typeface="Calibri" panose="020F0502020204030204" pitchFamily="34" charset="0"/>
                      </a:endParaRPr>
                    </a:p>
                  </a:txBody>
                  <a:tcPr marL="6350" marR="6350" marT="6350" marB="0" anchor="ctr"/>
                </a:tc>
              </a:tr>
              <a:tr h="549354">
                <a:tc>
                  <a:txBody>
                    <a:bodyPr/>
                    <a:lstStyle/>
                    <a:p>
                      <a:pPr algn="ctr" rtl="0" fontAlgn="ctr"/>
                      <a:r>
                        <a:rPr lang="en-US" sz="1400" u="none" strike="noStrike">
                          <a:effectLst/>
                          <a:latin typeface="Calibri" panose="020F0502020204030204" pitchFamily="34" charset="0"/>
                        </a:rPr>
                        <a:t>66 – 70 Years</a:t>
                      </a:r>
                      <a:endParaRPr lang="en-US" sz="1400" b="1"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16,847</a:t>
                      </a:r>
                      <a:endParaRPr lang="en-US" sz="1400" b="0"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dirty="0">
                          <a:effectLst/>
                          <a:latin typeface="Calibri" panose="020F0502020204030204" pitchFamily="34" charset="0"/>
                        </a:rPr>
                        <a:t>33,697</a:t>
                      </a:r>
                      <a:endParaRPr lang="en-US" sz="1400" b="0" i="0" u="none" strike="noStrike" dirty="0">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dirty="0">
                          <a:effectLst/>
                          <a:latin typeface="Calibri" panose="020F0502020204030204" pitchFamily="34" charset="0"/>
                        </a:rPr>
                        <a:t>37,911</a:t>
                      </a:r>
                      <a:endParaRPr lang="en-US" sz="1400" b="0" i="0" u="none" strike="noStrike" dirty="0">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dirty="0">
                          <a:effectLst/>
                          <a:latin typeface="Calibri" panose="020F0502020204030204" pitchFamily="34" charset="0"/>
                        </a:rPr>
                        <a:t>42,122</a:t>
                      </a:r>
                      <a:endParaRPr lang="en-US" sz="1400" b="0" i="0" u="none" strike="noStrike" dirty="0">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46,334</a:t>
                      </a:r>
                      <a:endParaRPr lang="en-US" sz="1400" b="0" i="0" u="none" strike="noStrike">
                        <a:solidFill>
                          <a:srgbClr val="00264A"/>
                        </a:solidFill>
                        <a:effectLst/>
                        <a:latin typeface="Calibri" panose="020F0502020204030204" pitchFamily="34" charset="0"/>
                      </a:endParaRPr>
                    </a:p>
                  </a:txBody>
                  <a:tcPr marL="6350" marR="6350" marT="6350" marB="0" anchor="ctr"/>
                </a:tc>
              </a:tr>
              <a:tr h="549354">
                <a:tc>
                  <a:txBody>
                    <a:bodyPr/>
                    <a:lstStyle/>
                    <a:p>
                      <a:pPr algn="ctr" rtl="0" fontAlgn="ctr"/>
                      <a:r>
                        <a:rPr lang="en-US" sz="1400" u="none" strike="noStrike">
                          <a:effectLst/>
                          <a:latin typeface="Calibri" panose="020F0502020204030204" pitchFamily="34" charset="0"/>
                        </a:rPr>
                        <a:t>71 – 75 Years</a:t>
                      </a:r>
                      <a:endParaRPr lang="en-US" sz="1400" b="1"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17,989</a:t>
                      </a:r>
                      <a:endParaRPr lang="en-US" sz="1400" b="0"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35,976</a:t>
                      </a:r>
                      <a:endParaRPr lang="en-US" sz="1400" b="0"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dirty="0">
                          <a:effectLst/>
                          <a:latin typeface="Calibri" panose="020F0502020204030204" pitchFamily="34" charset="0"/>
                        </a:rPr>
                        <a:t>40,473</a:t>
                      </a:r>
                      <a:endParaRPr lang="en-US" sz="1400" b="0" i="0" u="none" strike="noStrike" dirty="0">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dirty="0">
                          <a:effectLst/>
                          <a:latin typeface="Calibri" panose="020F0502020204030204" pitchFamily="34" charset="0"/>
                        </a:rPr>
                        <a:t>44,970</a:t>
                      </a:r>
                      <a:endParaRPr lang="en-US" sz="1400" b="0" i="0" u="none" strike="noStrike" dirty="0">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dirty="0">
                          <a:effectLst/>
                          <a:latin typeface="Calibri" panose="020F0502020204030204" pitchFamily="34" charset="0"/>
                        </a:rPr>
                        <a:t>49,467</a:t>
                      </a:r>
                      <a:endParaRPr lang="en-US" sz="1400" b="0" i="0" u="none" strike="noStrike" dirty="0">
                        <a:solidFill>
                          <a:srgbClr val="00264A"/>
                        </a:solidFill>
                        <a:effectLst/>
                        <a:latin typeface="Calibri" panose="020F0502020204030204" pitchFamily="34" charset="0"/>
                      </a:endParaRPr>
                    </a:p>
                  </a:txBody>
                  <a:tcPr marL="6350" marR="6350" marT="6350" marB="0" anchor="ctr"/>
                </a:tc>
              </a:tr>
              <a:tr h="549354">
                <a:tc>
                  <a:txBody>
                    <a:bodyPr/>
                    <a:lstStyle/>
                    <a:p>
                      <a:pPr algn="ctr" rtl="0" fontAlgn="ctr"/>
                      <a:r>
                        <a:rPr lang="en-US" sz="1400" u="none" strike="noStrike">
                          <a:effectLst/>
                          <a:latin typeface="Calibri" panose="020F0502020204030204" pitchFamily="34" charset="0"/>
                        </a:rPr>
                        <a:t>76 – 80 Years</a:t>
                      </a:r>
                      <a:endParaRPr lang="en-US" sz="1400" b="1"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18,902</a:t>
                      </a:r>
                      <a:endParaRPr lang="en-US" sz="1400" b="0"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37,802</a:t>
                      </a:r>
                      <a:endParaRPr lang="en-US" sz="1400" b="0"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a:effectLst/>
                          <a:latin typeface="Calibri" panose="020F0502020204030204" pitchFamily="34" charset="0"/>
                        </a:rPr>
                        <a:t>42,528</a:t>
                      </a:r>
                      <a:endParaRPr lang="en-US" sz="1400" b="0" i="0" u="none" strike="noStrike">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dirty="0">
                          <a:effectLst/>
                          <a:latin typeface="Calibri" panose="020F0502020204030204" pitchFamily="34" charset="0"/>
                        </a:rPr>
                        <a:t>47,252</a:t>
                      </a:r>
                      <a:endParaRPr lang="en-US" sz="1400" b="0" i="0" u="none" strike="noStrike" dirty="0">
                        <a:solidFill>
                          <a:srgbClr val="00264A"/>
                        </a:solidFill>
                        <a:effectLst/>
                        <a:latin typeface="Calibri" panose="020F0502020204030204" pitchFamily="34" charset="0"/>
                      </a:endParaRPr>
                    </a:p>
                  </a:txBody>
                  <a:tcPr marL="6350" marR="6350" marT="6350" marB="0" anchor="ctr"/>
                </a:tc>
                <a:tc>
                  <a:txBody>
                    <a:bodyPr/>
                    <a:lstStyle/>
                    <a:p>
                      <a:pPr algn="ctr" rtl="0" fontAlgn="ctr"/>
                      <a:r>
                        <a:rPr lang="en-US" sz="1400" u="none" strike="noStrike" dirty="0">
                          <a:effectLst/>
                          <a:latin typeface="Calibri" panose="020F0502020204030204" pitchFamily="34" charset="0"/>
                        </a:rPr>
                        <a:t>51,980</a:t>
                      </a:r>
                      <a:endParaRPr lang="en-US" sz="1400" b="0" i="0" u="none" strike="noStrike" dirty="0">
                        <a:solidFill>
                          <a:srgbClr val="00264A"/>
                        </a:solidFill>
                        <a:effectLst/>
                        <a:latin typeface="Calibri" panose="020F0502020204030204" pitchFamily="34" charset="0"/>
                      </a:endParaRPr>
                    </a:p>
                  </a:txBody>
                  <a:tcPr marL="6350" marR="6350" marT="6350" marB="0" anchor="ctr"/>
                </a:tc>
              </a:tr>
            </a:tbl>
          </a:graphicData>
        </a:graphic>
      </p:graphicFrame>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R Genie App</a:t>
            </a:r>
            <a:endParaRPr lang="en-US" dirty="0"/>
          </a:p>
        </p:txBody>
      </p:sp>
      <p:grpSp>
        <p:nvGrpSpPr>
          <p:cNvPr id="78" name="Group 77"/>
          <p:cNvGrpSpPr/>
          <p:nvPr/>
        </p:nvGrpSpPr>
        <p:grpSpPr>
          <a:xfrm>
            <a:off x="482504" y="1124744"/>
            <a:ext cx="8928992" cy="4896545"/>
            <a:chOff x="482504" y="1124744"/>
            <a:chExt cx="8928992" cy="4896545"/>
          </a:xfrm>
        </p:grpSpPr>
        <p:grpSp>
          <p:nvGrpSpPr>
            <p:cNvPr id="79" name="Group 17"/>
            <p:cNvGrpSpPr/>
            <p:nvPr/>
          </p:nvGrpSpPr>
          <p:grpSpPr>
            <a:xfrm>
              <a:off x="2138688" y="1700808"/>
              <a:ext cx="1224136" cy="1656185"/>
              <a:chOff x="6969224" y="1700808"/>
              <a:chExt cx="1513855" cy="2252053"/>
            </a:xfrm>
          </p:grpSpPr>
          <p:grpSp>
            <p:nvGrpSpPr>
              <p:cNvPr id="146" name="Group 11"/>
              <p:cNvGrpSpPr/>
              <p:nvPr/>
            </p:nvGrpSpPr>
            <p:grpSpPr>
              <a:xfrm>
                <a:off x="6969224" y="1700808"/>
                <a:ext cx="1513855" cy="379962"/>
                <a:chOff x="1729744" y="314133"/>
                <a:chExt cx="1513855" cy="379962"/>
              </a:xfrm>
            </p:grpSpPr>
            <p:sp>
              <p:nvSpPr>
                <p:cNvPr id="150" name="Rectangle 149"/>
                <p:cNvSpPr/>
                <p:nvPr/>
              </p:nvSpPr>
              <p:spPr>
                <a:xfrm>
                  <a:off x="1729744" y="314133"/>
                  <a:ext cx="1513855" cy="379962"/>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51" name="Rectangle 150"/>
                <p:cNvSpPr/>
                <p:nvPr/>
              </p:nvSpPr>
              <p:spPr>
                <a:xfrm>
                  <a:off x="1729744" y="314133"/>
                  <a:ext cx="1513855" cy="3799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44704" rIns="78232" bIns="44704" numCol="1" spcCol="1270" anchor="ctr" anchorCtr="0">
                  <a:noAutofit/>
                </a:bodyPr>
                <a:lstStyle/>
                <a:p>
                  <a:pPr lvl="0" algn="ctr" defTabSz="488950">
                    <a:lnSpc>
                      <a:spcPct val="90000"/>
                    </a:lnSpc>
                    <a:spcBef>
                      <a:spcPct val="0"/>
                    </a:spcBef>
                    <a:spcAft>
                      <a:spcPct val="35000"/>
                    </a:spcAft>
                  </a:pPr>
                  <a:r>
                    <a:rPr lang="en-US" sz="1100" kern="1200" dirty="0"/>
                    <a:t>Chat</a:t>
                  </a:r>
                </a:p>
              </p:txBody>
            </p:sp>
          </p:grpSp>
          <p:grpSp>
            <p:nvGrpSpPr>
              <p:cNvPr id="147" name="Group 12"/>
              <p:cNvGrpSpPr/>
              <p:nvPr/>
            </p:nvGrpSpPr>
            <p:grpSpPr>
              <a:xfrm>
                <a:off x="6969224" y="2080771"/>
                <a:ext cx="1513855" cy="1872090"/>
                <a:chOff x="1729744" y="694096"/>
                <a:chExt cx="1513855" cy="1872090"/>
              </a:xfrm>
            </p:grpSpPr>
            <p:sp>
              <p:nvSpPr>
                <p:cNvPr id="148" name="Rectangle 147"/>
                <p:cNvSpPr/>
                <p:nvPr/>
              </p:nvSpPr>
              <p:spPr>
                <a:xfrm>
                  <a:off x="1729744" y="694096"/>
                  <a:ext cx="1513855" cy="1872090"/>
                </a:xfrm>
                <a:prstGeom prst="rect">
                  <a:avLst/>
                </a:prstGeom>
              </p:spPr>
              <p:style>
                <a:lnRef idx="2">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sp>
            <p:sp>
              <p:nvSpPr>
                <p:cNvPr id="149" name="Rectangle 148"/>
                <p:cNvSpPr/>
                <p:nvPr/>
              </p:nvSpPr>
              <p:spPr>
                <a:xfrm>
                  <a:off x="1729744" y="694096"/>
                  <a:ext cx="1513855" cy="18720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r>
                    <a:rPr lang="en-US" sz="800" kern="1200" dirty="0"/>
                    <a:t>Collect real time customer data</a:t>
                  </a:r>
                </a:p>
                <a:p>
                  <a:pPr marL="57150" lvl="1" indent="-57150" algn="l" defTabSz="488950">
                    <a:lnSpc>
                      <a:spcPct val="90000"/>
                    </a:lnSpc>
                    <a:spcBef>
                      <a:spcPct val="0"/>
                    </a:spcBef>
                    <a:spcAft>
                      <a:spcPct val="15000"/>
                    </a:spcAft>
                    <a:buChar char="••"/>
                  </a:pPr>
                  <a:r>
                    <a:rPr lang="en-US" sz="800" kern="1200" dirty="0"/>
                    <a:t>Channelize all transactional requests to one service desk </a:t>
                  </a:r>
                </a:p>
                <a:p>
                  <a:pPr marL="57150" lvl="1" indent="-57150" algn="l" defTabSz="488950">
                    <a:lnSpc>
                      <a:spcPct val="90000"/>
                    </a:lnSpc>
                    <a:spcBef>
                      <a:spcPct val="0"/>
                    </a:spcBef>
                    <a:spcAft>
                      <a:spcPct val="15000"/>
                    </a:spcAft>
                    <a:buChar char="••"/>
                  </a:pPr>
                  <a:r>
                    <a:rPr lang="en-US" sz="800" kern="1200" dirty="0"/>
                    <a:t>Create more engagement through data </a:t>
                  </a:r>
                </a:p>
                <a:p>
                  <a:pPr marL="57150" lvl="1" indent="-57150" algn="l" defTabSz="488950">
                    <a:lnSpc>
                      <a:spcPct val="90000"/>
                    </a:lnSpc>
                    <a:spcBef>
                      <a:spcPct val="0"/>
                    </a:spcBef>
                    <a:spcAft>
                      <a:spcPct val="15000"/>
                    </a:spcAft>
                    <a:buChar char="••"/>
                  </a:pPr>
                  <a:endParaRPr lang="en-US" sz="800" kern="1200" dirty="0"/>
                </a:p>
              </p:txBody>
            </p:sp>
          </p:grpSp>
        </p:grpSp>
        <p:grpSp>
          <p:nvGrpSpPr>
            <p:cNvPr id="80" name="Group 24"/>
            <p:cNvGrpSpPr/>
            <p:nvPr/>
          </p:nvGrpSpPr>
          <p:grpSpPr>
            <a:xfrm>
              <a:off x="482504" y="3420363"/>
              <a:ext cx="1224136" cy="1800200"/>
              <a:chOff x="4196072" y="2302973"/>
              <a:chExt cx="1513855" cy="2252053"/>
            </a:xfrm>
          </p:grpSpPr>
          <p:grpSp>
            <p:nvGrpSpPr>
              <p:cNvPr id="140" name="Group 18"/>
              <p:cNvGrpSpPr/>
              <p:nvPr/>
            </p:nvGrpSpPr>
            <p:grpSpPr>
              <a:xfrm>
                <a:off x="4196072" y="2302973"/>
                <a:ext cx="1513855" cy="379962"/>
                <a:chOff x="3455540" y="314133"/>
                <a:chExt cx="1513855" cy="379962"/>
              </a:xfrm>
            </p:grpSpPr>
            <p:sp>
              <p:nvSpPr>
                <p:cNvPr id="144" name="Rectangle 143"/>
                <p:cNvSpPr/>
                <p:nvPr/>
              </p:nvSpPr>
              <p:spPr>
                <a:xfrm>
                  <a:off x="3455540" y="314133"/>
                  <a:ext cx="1513855" cy="379962"/>
                </a:xfrm>
                <a:prstGeom prst="rect">
                  <a:avLst/>
                </a:pr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45" name="Rectangle 144"/>
                <p:cNvSpPr/>
                <p:nvPr/>
              </p:nvSpPr>
              <p:spPr>
                <a:xfrm>
                  <a:off x="3455540" y="314133"/>
                  <a:ext cx="1513855" cy="3799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44704" rIns="78232" bIns="44704" numCol="1" spcCol="1270" anchor="ctr" anchorCtr="0">
                  <a:noAutofit/>
                </a:bodyPr>
                <a:lstStyle/>
                <a:p>
                  <a:pPr lvl="0" algn="ctr" defTabSz="488950">
                    <a:lnSpc>
                      <a:spcPct val="90000"/>
                    </a:lnSpc>
                    <a:spcBef>
                      <a:spcPct val="0"/>
                    </a:spcBef>
                    <a:spcAft>
                      <a:spcPct val="35000"/>
                    </a:spcAft>
                  </a:pPr>
                  <a:r>
                    <a:rPr lang="en-US" sz="1100" kern="1200" dirty="0"/>
                    <a:t>News &amp; Notifications</a:t>
                  </a:r>
                </a:p>
              </p:txBody>
            </p:sp>
          </p:grpSp>
          <p:grpSp>
            <p:nvGrpSpPr>
              <p:cNvPr id="141" name="Group 19"/>
              <p:cNvGrpSpPr/>
              <p:nvPr/>
            </p:nvGrpSpPr>
            <p:grpSpPr>
              <a:xfrm>
                <a:off x="4196072" y="2682936"/>
                <a:ext cx="1513855" cy="1872090"/>
                <a:chOff x="3455540" y="694096"/>
                <a:chExt cx="1513855" cy="1872090"/>
              </a:xfrm>
            </p:grpSpPr>
            <p:sp>
              <p:nvSpPr>
                <p:cNvPr id="142" name="Rectangle 141"/>
                <p:cNvSpPr/>
                <p:nvPr/>
              </p:nvSpPr>
              <p:spPr>
                <a:xfrm>
                  <a:off x="3455540" y="694096"/>
                  <a:ext cx="1513855" cy="1872090"/>
                </a:xfrm>
                <a:prstGeom prst="rect">
                  <a:avLst/>
                </a:prstGeom>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sp>
            <p:sp>
              <p:nvSpPr>
                <p:cNvPr id="143" name="Rectangle 142"/>
                <p:cNvSpPr/>
                <p:nvPr/>
              </p:nvSpPr>
              <p:spPr>
                <a:xfrm>
                  <a:off x="3455540" y="694096"/>
                  <a:ext cx="1513855" cy="18720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r>
                    <a:rPr lang="en-US" sz="800" dirty="0" smtClean="0"/>
                    <a:t>C</a:t>
                  </a:r>
                  <a:r>
                    <a:rPr lang="en-US" sz="800" kern="1200" dirty="0" smtClean="0"/>
                    <a:t>reate </a:t>
                  </a:r>
                  <a:r>
                    <a:rPr lang="en-US" sz="800" kern="1200" dirty="0"/>
                    <a:t>and publish region/city/account specific news stories </a:t>
                  </a:r>
                </a:p>
                <a:p>
                  <a:pPr marL="57150" lvl="1" indent="-57150" algn="l" defTabSz="488950">
                    <a:lnSpc>
                      <a:spcPct val="90000"/>
                    </a:lnSpc>
                    <a:spcBef>
                      <a:spcPct val="0"/>
                    </a:spcBef>
                    <a:spcAft>
                      <a:spcPct val="15000"/>
                    </a:spcAft>
                    <a:buChar char="••"/>
                  </a:pPr>
                  <a:r>
                    <a:rPr lang="en-US" sz="800" kern="1200" dirty="0"/>
                    <a:t>Send push notifications to all employees or just a single user</a:t>
                  </a:r>
                </a:p>
              </p:txBody>
            </p:sp>
          </p:grpSp>
        </p:grpSp>
        <p:grpSp>
          <p:nvGrpSpPr>
            <p:cNvPr id="81" name="Group 34"/>
            <p:cNvGrpSpPr/>
            <p:nvPr/>
          </p:nvGrpSpPr>
          <p:grpSpPr>
            <a:xfrm>
              <a:off x="2138688" y="3420363"/>
              <a:ext cx="1224136" cy="1800200"/>
              <a:chOff x="4196073" y="2302973"/>
              <a:chExt cx="1513855" cy="2252053"/>
            </a:xfrm>
          </p:grpSpPr>
          <p:grpSp>
            <p:nvGrpSpPr>
              <p:cNvPr id="134" name="Group 28"/>
              <p:cNvGrpSpPr/>
              <p:nvPr/>
            </p:nvGrpSpPr>
            <p:grpSpPr>
              <a:xfrm>
                <a:off x="4196073" y="2302973"/>
                <a:ext cx="1513855" cy="379962"/>
                <a:chOff x="5181335" y="314133"/>
                <a:chExt cx="1513855" cy="379962"/>
              </a:xfrm>
            </p:grpSpPr>
            <p:sp>
              <p:nvSpPr>
                <p:cNvPr id="138" name="Rectangle 137"/>
                <p:cNvSpPr/>
                <p:nvPr/>
              </p:nvSpPr>
              <p:spPr>
                <a:xfrm>
                  <a:off x="5181335" y="314133"/>
                  <a:ext cx="1513855" cy="379962"/>
                </a:xfrm>
                <a:prstGeom prst="rect">
                  <a:avLst/>
                </a:pr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139" name="Rectangle 138"/>
                <p:cNvSpPr/>
                <p:nvPr/>
              </p:nvSpPr>
              <p:spPr>
                <a:xfrm>
                  <a:off x="5181335" y="314133"/>
                  <a:ext cx="1513855" cy="3799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44704" rIns="78232" bIns="44704" numCol="1" spcCol="1270" anchor="ctr" anchorCtr="0">
                  <a:noAutofit/>
                </a:bodyPr>
                <a:lstStyle/>
                <a:p>
                  <a:pPr lvl="0" algn="ctr" defTabSz="488950">
                    <a:lnSpc>
                      <a:spcPct val="90000"/>
                    </a:lnSpc>
                    <a:spcBef>
                      <a:spcPct val="0"/>
                    </a:spcBef>
                    <a:spcAft>
                      <a:spcPct val="35000"/>
                    </a:spcAft>
                  </a:pPr>
                  <a:r>
                    <a:rPr lang="en-US" sz="1100" kern="1200" dirty="0"/>
                    <a:t>Employment Documents</a:t>
                  </a:r>
                </a:p>
              </p:txBody>
            </p:sp>
          </p:grpSp>
          <p:grpSp>
            <p:nvGrpSpPr>
              <p:cNvPr id="135" name="Group 29"/>
              <p:cNvGrpSpPr/>
              <p:nvPr/>
            </p:nvGrpSpPr>
            <p:grpSpPr>
              <a:xfrm>
                <a:off x="4196073" y="2682936"/>
                <a:ext cx="1513855" cy="1872090"/>
                <a:chOff x="5181335" y="694096"/>
                <a:chExt cx="1513855" cy="1872090"/>
              </a:xfrm>
            </p:grpSpPr>
            <p:sp>
              <p:nvSpPr>
                <p:cNvPr id="136" name="Rectangle 135"/>
                <p:cNvSpPr/>
                <p:nvPr/>
              </p:nvSpPr>
              <p:spPr>
                <a:xfrm>
                  <a:off x="5181335" y="694096"/>
                  <a:ext cx="1513855" cy="1872090"/>
                </a:xfrm>
                <a:prstGeom prst="rect">
                  <a:avLst/>
                </a:prstGeom>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sp>
            <p:sp>
              <p:nvSpPr>
                <p:cNvPr id="137" name="Rectangle 136"/>
                <p:cNvSpPr/>
                <p:nvPr/>
              </p:nvSpPr>
              <p:spPr>
                <a:xfrm>
                  <a:off x="5181335" y="694096"/>
                  <a:ext cx="1513855" cy="18720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r>
                    <a:rPr lang="en-US" sz="800" kern="1200" dirty="0"/>
                    <a:t>Collect data on what types of documents are being requested</a:t>
                  </a:r>
                </a:p>
                <a:p>
                  <a:pPr marL="57150" lvl="1" indent="-57150" algn="l" defTabSz="488950">
                    <a:lnSpc>
                      <a:spcPct val="90000"/>
                    </a:lnSpc>
                    <a:spcBef>
                      <a:spcPct val="0"/>
                    </a:spcBef>
                    <a:spcAft>
                      <a:spcPct val="15000"/>
                    </a:spcAft>
                    <a:buChar char="••"/>
                  </a:pPr>
                  <a:r>
                    <a:rPr lang="en-US" sz="800" kern="1200" dirty="0"/>
                    <a:t>Allows for a level of governance that doesn’t exist with current tools </a:t>
                  </a:r>
                </a:p>
              </p:txBody>
            </p:sp>
          </p:grpSp>
        </p:grpSp>
        <p:grpSp>
          <p:nvGrpSpPr>
            <p:cNvPr id="82" name="Group 54"/>
            <p:cNvGrpSpPr/>
            <p:nvPr/>
          </p:nvGrpSpPr>
          <p:grpSpPr>
            <a:xfrm>
              <a:off x="1346600" y="4716508"/>
              <a:ext cx="1224136" cy="1304781"/>
              <a:chOff x="4196073" y="2302973"/>
              <a:chExt cx="1513855" cy="2252053"/>
            </a:xfrm>
          </p:grpSpPr>
          <p:grpSp>
            <p:nvGrpSpPr>
              <p:cNvPr id="128" name="Group 48"/>
              <p:cNvGrpSpPr/>
              <p:nvPr/>
            </p:nvGrpSpPr>
            <p:grpSpPr>
              <a:xfrm>
                <a:off x="4196073" y="2302973"/>
                <a:ext cx="1513855" cy="379962"/>
                <a:chOff x="6907131" y="314133"/>
                <a:chExt cx="1513855" cy="379962"/>
              </a:xfrm>
            </p:grpSpPr>
            <p:sp>
              <p:nvSpPr>
                <p:cNvPr id="132" name="Rectangle 131"/>
                <p:cNvSpPr/>
                <p:nvPr/>
              </p:nvSpPr>
              <p:spPr>
                <a:xfrm>
                  <a:off x="6907131" y="314133"/>
                  <a:ext cx="1513855" cy="379962"/>
                </a:xfrm>
                <a:prstGeom prst="rect">
                  <a:avLst/>
                </a:prstGeom>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133" name="Rectangle 132"/>
                <p:cNvSpPr/>
                <p:nvPr/>
              </p:nvSpPr>
              <p:spPr>
                <a:xfrm>
                  <a:off x="6907131" y="314133"/>
                  <a:ext cx="1513855" cy="3799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44704" rIns="78232" bIns="44704" numCol="1" spcCol="1270" anchor="ctr" anchorCtr="0">
                  <a:noAutofit/>
                </a:bodyPr>
                <a:lstStyle/>
                <a:p>
                  <a:pPr lvl="0" algn="ctr" defTabSz="488950">
                    <a:lnSpc>
                      <a:spcPct val="90000"/>
                    </a:lnSpc>
                    <a:spcBef>
                      <a:spcPct val="0"/>
                    </a:spcBef>
                    <a:spcAft>
                      <a:spcPct val="35000"/>
                    </a:spcAft>
                  </a:pPr>
                  <a:r>
                    <a:rPr lang="en-US" sz="1100" kern="1200" dirty="0"/>
                    <a:t>FAQ’s</a:t>
                  </a:r>
                </a:p>
              </p:txBody>
            </p:sp>
          </p:grpSp>
          <p:grpSp>
            <p:nvGrpSpPr>
              <p:cNvPr id="129" name="Group 49"/>
              <p:cNvGrpSpPr/>
              <p:nvPr/>
            </p:nvGrpSpPr>
            <p:grpSpPr>
              <a:xfrm>
                <a:off x="4196073" y="2682936"/>
                <a:ext cx="1513855" cy="1872090"/>
                <a:chOff x="6907131" y="694096"/>
                <a:chExt cx="1513855" cy="1872090"/>
              </a:xfrm>
            </p:grpSpPr>
            <p:sp>
              <p:nvSpPr>
                <p:cNvPr id="130" name="Rectangle 129"/>
                <p:cNvSpPr/>
                <p:nvPr/>
              </p:nvSpPr>
              <p:spPr>
                <a:xfrm>
                  <a:off x="6907131" y="694096"/>
                  <a:ext cx="1513855" cy="1872090"/>
                </a:xfrm>
                <a:prstGeom prst="rect">
                  <a:avLst/>
                </a:prstGeom>
              </p:spPr>
              <p:style>
                <a:lnRef idx="2">
                  <a:schemeClr val="accent6">
                    <a:tint val="40000"/>
                    <a:alpha val="90000"/>
                    <a:hueOff val="0"/>
                    <a:satOff val="0"/>
                    <a:lumOff val="0"/>
                    <a:alphaOff val="0"/>
                  </a:schemeClr>
                </a:lnRef>
                <a:fillRef idx="1">
                  <a:schemeClr val="accent6">
                    <a:tint val="40000"/>
                    <a:alpha val="90000"/>
                    <a:hueOff val="0"/>
                    <a:satOff val="0"/>
                    <a:lumOff val="0"/>
                    <a:alphaOff val="0"/>
                  </a:schemeClr>
                </a:fillRef>
                <a:effectRef idx="0">
                  <a:schemeClr val="accent6">
                    <a:tint val="40000"/>
                    <a:alpha val="90000"/>
                    <a:hueOff val="0"/>
                    <a:satOff val="0"/>
                    <a:lumOff val="0"/>
                    <a:alphaOff val="0"/>
                  </a:schemeClr>
                </a:effectRef>
                <a:fontRef idx="minor">
                  <a:schemeClr val="dk1">
                    <a:hueOff val="0"/>
                    <a:satOff val="0"/>
                    <a:lumOff val="0"/>
                    <a:alphaOff val="0"/>
                  </a:schemeClr>
                </a:fontRef>
              </p:style>
            </p:sp>
            <p:sp>
              <p:nvSpPr>
                <p:cNvPr id="131" name="Rectangle 130"/>
                <p:cNvSpPr/>
                <p:nvPr/>
              </p:nvSpPr>
              <p:spPr>
                <a:xfrm>
                  <a:off x="6907131" y="694097"/>
                  <a:ext cx="1513855" cy="167047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r>
                    <a:rPr lang="en-US" sz="800" kern="1200" dirty="0"/>
                    <a:t>Gain insights on if our employees understand our policies</a:t>
                  </a:r>
                </a:p>
                <a:p>
                  <a:pPr marL="57150" lvl="1" indent="-57150" algn="l" defTabSz="488950">
                    <a:lnSpc>
                      <a:spcPct val="90000"/>
                    </a:lnSpc>
                    <a:spcBef>
                      <a:spcPct val="0"/>
                    </a:spcBef>
                    <a:spcAft>
                      <a:spcPct val="15000"/>
                    </a:spcAft>
                    <a:buChar char="••"/>
                  </a:pPr>
                  <a:r>
                    <a:rPr lang="en-US" sz="800" kern="1200" dirty="0"/>
                    <a:t>Eliminate the need for human interaction for transactional requests </a:t>
                  </a:r>
                </a:p>
              </p:txBody>
            </p:sp>
          </p:grpSp>
        </p:grpSp>
        <p:grpSp>
          <p:nvGrpSpPr>
            <p:cNvPr id="83" name="Group 61"/>
            <p:cNvGrpSpPr/>
            <p:nvPr/>
          </p:nvGrpSpPr>
          <p:grpSpPr>
            <a:xfrm>
              <a:off x="482505" y="1700808"/>
              <a:ext cx="1224136" cy="1656184"/>
              <a:chOff x="4196072" y="2302973"/>
              <a:chExt cx="1513855" cy="2252053"/>
            </a:xfrm>
          </p:grpSpPr>
          <p:grpSp>
            <p:nvGrpSpPr>
              <p:cNvPr id="122" name="Group 55"/>
              <p:cNvGrpSpPr/>
              <p:nvPr/>
            </p:nvGrpSpPr>
            <p:grpSpPr>
              <a:xfrm>
                <a:off x="4196072" y="2302973"/>
                <a:ext cx="1513855" cy="379962"/>
                <a:chOff x="3949" y="314133"/>
                <a:chExt cx="1513855" cy="379962"/>
              </a:xfrm>
            </p:grpSpPr>
            <p:sp>
              <p:nvSpPr>
                <p:cNvPr id="126" name="Rectangle 125"/>
                <p:cNvSpPr/>
                <p:nvPr/>
              </p:nvSpPr>
              <p:spPr>
                <a:xfrm>
                  <a:off x="3949" y="314133"/>
                  <a:ext cx="1513855" cy="379962"/>
                </a:xfrm>
                <a:prstGeom prst="rect">
                  <a:avLst/>
                </a:pr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27" name="Rectangle 126"/>
                <p:cNvSpPr/>
                <p:nvPr/>
              </p:nvSpPr>
              <p:spPr>
                <a:xfrm>
                  <a:off x="3949" y="314133"/>
                  <a:ext cx="1513855" cy="3799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44704" rIns="78232" bIns="44704" numCol="1" spcCol="1270" anchor="ctr" anchorCtr="0">
                  <a:noAutofit/>
                </a:bodyPr>
                <a:lstStyle/>
                <a:p>
                  <a:pPr lvl="0" algn="ctr" defTabSz="488950">
                    <a:lnSpc>
                      <a:spcPct val="90000"/>
                    </a:lnSpc>
                    <a:spcBef>
                      <a:spcPct val="0"/>
                    </a:spcBef>
                    <a:spcAft>
                      <a:spcPct val="35000"/>
                    </a:spcAft>
                  </a:pPr>
                  <a:r>
                    <a:rPr lang="en-US" sz="1100" kern="1200" dirty="0"/>
                    <a:t>Learning</a:t>
                  </a:r>
                </a:p>
              </p:txBody>
            </p:sp>
          </p:grpSp>
          <p:grpSp>
            <p:nvGrpSpPr>
              <p:cNvPr id="123" name="Group 56"/>
              <p:cNvGrpSpPr/>
              <p:nvPr/>
            </p:nvGrpSpPr>
            <p:grpSpPr>
              <a:xfrm>
                <a:off x="4196072" y="2682936"/>
                <a:ext cx="1513855" cy="1872090"/>
                <a:chOff x="3949" y="694096"/>
                <a:chExt cx="1513855" cy="1872090"/>
              </a:xfrm>
            </p:grpSpPr>
            <p:sp>
              <p:nvSpPr>
                <p:cNvPr id="124" name="Rectangle 123"/>
                <p:cNvSpPr/>
                <p:nvPr/>
              </p:nvSpPr>
              <p:spPr>
                <a:xfrm>
                  <a:off x="3949" y="694096"/>
                  <a:ext cx="1513855" cy="1872090"/>
                </a:xfrm>
                <a:prstGeom prst="rect">
                  <a:avLst/>
                </a:prstGeom>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sp>
            <p:sp>
              <p:nvSpPr>
                <p:cNvPr id="125" name="Rectangle 124"/>
                <p:cNvSpPr/>
                <p:nvPr/>
              </p:nvSpPr>
              <p:spPr>
                <a:xfrm>
                  <a:off x="3949" y="694096"/>
                  <a:ext cx="1513855" cy="18720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r>
                    <a:rPr lang="en-US" sz="800" kern="1200" dirty="0"/>
                    <a:t>Ability to schedule training globally</a:t>
                  </a:r>
                </a:p>
                <a:p>
                  <a:pPr marL="57150" lvl="1" indent="-57150" algn="l" defTabSz="488950">
                    <a:lnSpc>
                      <a:spcPct val="90000"/>
                    </a:lnSpc>
                    <a:spcBef>
                      <a:spcPct val="0"/>
                    </a:spcBef>
                    <a:spcAft>
                      <a:spcPct val="15000"/>
                    </a:spcAft>
                    <a:buChar char="••"/>
                  </a:pPr>
                  <a:r>
                    <a:rPr lang="en-US" sz="800" kern="1200" dirty="0"/>
                    <a:t>Automate the feedback cycle</a:t>
                  </a:r>
                </a:p>
                <a:p>
                  <a:pPr marL="57150" lvl="1" indent="-57150" algn="l" defTabSz="488950">
                    <a:lnSpc>
                      <a:spcPct val="90000"/>
                    </a:lnSpc>
                    <a:spcBef>
                      <a:spcPct val="0"/>
                    </a:spcBef>
                    <a:spcAft>
                      <a:spcPct val="15000"/>
                    </a:spcAft>
                    <a:buChar char="••"/>
                  </a:pPr>
                  <a:r>
                    <a:rPr lang="en-US" sz="800" kern="1200" dirty="0"/>
                    <a:t>View global dashboard of learning's</a:t>
                  </a:r>
                </a:p>
                <a:p>
                  <a:pPr marL="57150" lvl="1" indent="-57150" algn="l" defTabSz="488950">
                    <a:lnSpc>
                      <a:spcPct val="90000"/>
                    </a:lnSpc>
                    <a:spcBef>
                      <a:spcPct val="0"/>
                    </a:spcBef>
                    <a:spcAft>
                      <a:spcPct val="15000"/>
                    </a:spcAft>
                    <a:buChar char="••"/>
                  </a:pPr>
                  <a:r>
                    <a:rPr lang="en-US" sz="800" kern="1200" dirty="0"/>
                    <a:t>Manage global facilitator community</a:t>
                  </a:r>
                </a:p>
                <a:p>
                  <a:pPr marL="57150" lvl="1" indent="-57150" algn="l" defTabSz="488950">
                    <a:lnSpc>
                      <a:spcPct val="90000"/>
                    </a:lnSpc>
                    <a:spcBef>
                      <a:spcPct val="0"/>
                    </a:spcBef>
                    <a:spcAft>
                      <a:spcPct val="15000"/>
                    </a:spcAft>
                    <a:buChar char="••"/>
                  </a:pPr>
                  <a:endParaRPr lang="en-US" sz="800" kern="1200" dirty="0"/>
                </a:p>
                <a:p>
                  <a:pPr marL="57150" lvl="1" indent="-57150" algn="l" defTabSz="488950">
                    <a:lnSpc>
                      <a:spcPct val="90000"/>
                    </a:lnSpc>
                    <a:spcBef>
                      <a:spcPct val="0"/>
                    </a:spcBef>
                    <a:spcAft>
                      <a:spcPct val="15000"/>
                    </a:spcAft>
                    <a:buChar char="••"/>
                  </a:pPr>
                  <a:endParaRPr lang="en-US" sz="800" kern="1200" dirty="0"/>
                </a:p>
              </p:txBody>
            </p:sp>
          </p:grpSp>
        </p:grpSp>
        <p:grpSp>
          <p:nvGrpSpPr>
            <p:cNvPr id="84" name="Group 94"/>
            <p:cNvGrpSpPr/>
            <p:nvPr/>
          </p:nvGrpSpPr>
          <p:grpSpPr>
            <a:xfrm>
              <a:off x="6603183" y="1615610"/>
              <a:ext cx="1224136" cy="1597367"/>
              <a:chOff x="675935" y="2378288"/>
              <a:chExt cx="1538512" cy="2101423"/>
            </a:xfrm>
          </p:grpSpPr>
          <p:grpSp>
            <p:nvGrpSpPr>
              <p:cNvPr id="116" name="Group 64"/>
              <p:cNvGrpSpPr/>
              <p:nvPr/>
            </p:nvGrpSpPr>
            <p:grpSpPr>
              <a:xfrm>
                <a:off x="675935" y="2378288"/>
                <a:ext cx="1538512" cy="421482"/>
                <a:chOff x="4013" y="569468"/>
                <a:chExt cx="1538512" cy="421482"/>
              </a:xfrm>
            </p:grpSpPr>
            <p:sp>
              <p:nvSpPr>
                <p:cNvPr id="120" name="Rectangle 119"/>
                <p:cNvSpPr/>
                <p:nvPr/>
              </p:nvSpPr>
              <p:spPr>
                <a:xfrm>
                  <a:off x="4013" y="569468"/>
                  <a:ext cx="1538512" cy="421482"/>
                </a:xfrm>
                <a:prstGeom prst="rect">
                  <a:avLst/>
                </a:pr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21" name="Rectangle 120"/>
                <p:cNvSpPr/>
                <p:nvPr/>
              </p:nvSpPr>
              <p:spPr>
                <a:xfrm>
                  <a:off x="4013" y="569468"/>
                  <a:ext cx="1538512" cy="4214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100" kern="1200" dirty="0"/>
                    <a:t>Learning</a:t>
                  </a:r>
                </a:p>
              </p:txBody>
            </p:sp>
          </p:grpSp>
          <p:grpSp>
            <p:nvGrpSpPr>
              <p:cNvPr id="117" name="Group 65"/>
              <p:cNvGrpSpPr/>
              <p:nvPr/>
            </p:nvGrpSpPr>
            <p:grpSpPr>
              <a:xfrm>
                <a:off x="675935" y="2799771"/>
                <a:ext cx="1538512" cy="1679940"/>
                <a:chOff x="4013" y="990951"/>
                <a:chExt cx="1538512" cy="1679940"/>
              </a:xfrm>
            </p:grpSpPr>
            <p:sp>
              <p:nvSpPr>
                <p:cNvPr id="118" name="Rectangle 117"/>
                <p:cNvSpPr/>
                <p:nvPr/>
              </p:nvSpPr>
              <p:spPr>
                <a:xfrm>
                  <a:off x="4013" y="990951"/>
                  <a:ext cx="1538512" cy="1679940"/>
                </a:xfrm>
                <a:prstGeom prst="rect">
                  <a:avLst/>
                </a:prstGeom>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sp>
            <p:sp>
              <p:nvSpPr>
                <p:cNvPr id="119" name="Rectangle 118"/>
                <p:cNvSpPr/>
                <p:nvPr/>
              </p:nvSpPr>
              <p:spPr>
                <a:xfrm>
                  <a:off x="4013" y="990951"/>
                  <a:ext cx="1538512" cy="167994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800" kern="1200" dirty="0"/>
                    <a:t>Register for Courses</a:t>
                  </a:r>
                </a:p>
                <a:p>
                  <a:pPr marL="114300" lvl="1" indent="-114300" algn="l" defTabSz="533400">
                    <a:lnSpc>
                      <a:spcPct val="90000"/>
                    </a:lnSpc>
                    <a:spcBef>
                      <a:spcPct val="0"/>
                    </a:spcBef>
                    <a:spcAft>
                      <a:spcPct val="15000"/>
                    </a:spcAft>
                    <a:buChar char="••"/>
                  </a:pPr>
                  <a:r>
                    <a:rPr lang="en-US" sz="800" kern="1200" dirty="0"/>
                    <a:t>View Learning Calendar/Catalog</a:t>
                  </a:r>
                </a:p>
                <a:p>
                  <a:pPr marL="114300" lvl="1" indent="-114300" algn="l" defTabSz="533400">
                    <a:lnSpc>
                      <a:spcPct val="90000"/>
                    </a:lnSpc>
                    <a:spcBef>
                      <a:spcPct val="0"/>
                    </a:spcBef>
                    <a:spcAft>
                      <a:spcPct val="15000"/>
                    </a:spcAft>
                    <a:buChar char="••"/>
                  </a:pPr>
                  <a:r>
                    <a:rPr lang="en-US" sz="800" kern="1200" dirty="0"/>
                    <a:t>Suggests learning to associate based of career framework role </a:t>
                  </a:r>
                </a:p>
                <a:p>
                  <a:pPr marL="114300" lvl="1" indent="-114300" algn="l" defTabSz="533400">
                    <a:lnSpc>
                      <a:spcPct val="90000"/>
                    </a:lnSpc>
                    <a:spcBef>
                      <a:spcPct val="0"/>
                    </a:spcBef>
                    <a:spcAft>
                      <a:spcPct val="15000"/>
                    </a:spcAft>
                    <a:buChar char="••"/>
                  </a:pPr>
                  <a:r>
                    <a:rPr lang="en-US" sz="800" kern="1200" dirty="0"/>
                    <a:t>Provide feed back </a:t>
                  </a:r>
                </a:p>
              </p:txBody>
            </p:sp>
          </p:grpSp>
        </p:grpSp>
        <p:grpSp>
          <p:nvGrpSpPr>
            <p:cNvPr id="85" name="Group 95"/>
            <p:cNvGrpSpPr/>
            <p:nvPr/>
          </p:nvGrpSpPr>
          <p:grpSpPr>
            <a:xfrm>
              <a:off x="8187360" y="1615610"/>
              <a:ext cx="1224136" cy="1597367"/>
              <a:chOff x="2429839" y="2378288"/>
              <a:chExt cx="1538512" cy="2101423"/>
            </a:xfrm>
          </p:grpSpPr>
          <p:grpSp>
            <p:nvGrpSpPr>
              <p:cNvPr id="110" name="Group 66"/>
              <p:cNvGrpSpPr/>
              <p:nvPr/>
            </p:nvGrpSpPr>
            <p:grpSpPr>
              <a:xfrm>
                <a:off x="2429839" y="2378288"/>
                <a:ext cx="1538512" cy="421482"/>
                <a:chOff x="1757917" y="569468"/>
                <a:chExt cx="1538512" cy="421482"/>
              </a:xfrm>
            </p:grpSpPr>
            <p:sp>
              <p:nvSpPr>
                <p:cNvPr id="114" name="Rectangle 113"/>
                <p:cNvSpPr/>
                <p:nvPr/>
              </p:nvSpPr>
              <p:spPr>
                <a:xfrm>
                  <a:off x="1757917" y="569468"/>
                  <a:ext cx="1538512" cy="421482"/>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15" name="Rectangle 114"/>
                <p:cNvSpPr/>
                <p:nvPr/>
              </p:nvSpPr>
              <p:spPr>
                <a:xfrm>
                  <a:off x="1757917" y="569468"/>
                  <a:ext cx="1538512" cy="4214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100" kern="1200" dirty="0"/>
                    <a:t>Chat</a:t>
                  </a:r>
                </a:p>
              </p:txBody>
            </p:sp>
          </p:grpSp>
          <p:grpSp>
            <p:nvGrpSpPr>
              <p:cNvPr id="111" name="Group 67"/>
              <p:cNvGrpSpPr/>
              <p:nvPr/>
            </p:nvGrpSpPr>
            <p:grpSpPr>
              <a:xfrm>
                <a:off x="2429839" y="2799771"/>
                <a:ext cx="1538512" cy="1679940"/>
                <a:chOff x="1757917" y="990951"/>
                <a:chExt cx="1538512" cy="1679940"/>
              </a:xfrm>
            </p:grpSpPr>
            <p:sp>
              <p:nvSpPr>
                <p:cNvPr id="112" name="Rectangle 111"/>
                <p:cNvSpPr/>
                <p:nvPr/>
              </p:nvSpPr>
              <p:spPr>
                <a:xfrm>
                  <a:off x="1757917" y="990951"/>
                  <a:ext cx="1538512" cy="1679940"/>
                </a:xfrm>
                <a:prstGeom prst="rect">
                  <a:avLst/>
                </a:prstGeom>
              </p:spPr>
              <p:style>
                <a:lnRef idx="2">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sp>
            <p:sp>
              <p:nvSpPr>
                <p:cNvPr id="113" name="Rectangle 112"/>
                <p:cNvSpPr/>
                <p:nvPr/>
              </p:nvSpPr>
              <p:spPr>
                <a:xfrm>
                  <a:off x="1757917" y="990951"/>
                  <a:ext cx="1538512" cy="167994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800" kern="1200" dirty="0"/>
                    <a:t>Connect to our service desk </a:t>
                  </a:r>
                </a:p>
                <a:p>
                  <a:pPr marL="114300" lvl="1" indent="-114300" algn="l" defTabSz="533400">
                    <a:lnSpc>
                      <a:spcPct val="90000"/>
                    </a:lnSpc>
                    <a:spcBef>
                      <a:spcPct val="0"/>
                    </a:spcBef>
                    <a:spcAft>
                      <a:spcPct val="15000"/>
                    </a:spcAft>
                    <a:buChar char="••"/>
                  </a:pPr>
                  <a:r>
                    <a:rPr lang="en-US" sz="800" kern="1200" dirty="0"/>
                    <a:t>Operating hours 9:00am-530pm IST</a:t>
                  </a:r>
                </a:p>
                <a:p>
                  <a:pPr marL="114300" lvl="1" indent="-114300" algn="l" defTabSz="533400">
                    <a:lnSpc>
                      <a:spcPct val="90000"/>
                    </a:lnSpc>
                    <a:spcBef>
                      <a:spcPct val="0"/>
                    </a:spcBef>
                    <a:spcAft>
                      <a:spcPct val="15000"/>
                    </a:spcAft>
                    <a:buChar char="••"/>
                  </a:pPr>
                  <a:r>
                    <a:rPr lang="en-US" sz="800" kern="1200" dirty="0"/>
                    <a:t>1000 commonly asked questions trained and more to be added </a:t>
                  </a:r>
                </a:p>
              </p:txBody>
            </p:sp>
          </p:grpSp>
        </p:grpSp>
        <p:grpSp>
          <p:nvGrpSpPr>
            <p:cNvPr id="86" name="Group 96"/>
            <p:cNvGrpSpPr/>
            <p:nvPr/>
          </p:nvGrpSpPr>
          <p:grpSpPr>
            <a:xfrm>
              <a:off x="6603183" y="3284986"/>
              <a:ext cx="1224136" cy="1741383"/>
              <a:chOff x="4183743" y="2378288"/>
              <a:chExt cx="1538512" cy="2101423"/>
            </a:xfrm>
          </p:grpSpPr>
          <p:grpSp>
            <p:nvGrpSpPr>
              <p:cNvPr id="104" name="Group 68"/>
              <p:cNvGrpSpPr/>
              <p:nvPr/>
            </p:nvGrpSpPr>
            <p:grpSpPr>
              <a:xfrm>
                <a:off x="4183743" y="2378288"/>
                <a:ext cx="1538512" cy="421482"/>
                <a:chOff x="3511821" y="569468"/>
                <a:chExt cx="1538512" cy="421482"/>
              </a:xfrm>
            </p:grpSpPr>
            <p:sp>
              <p:nvSpPr>
                <p:cNvPr id="108" name="Rectangle 107"/>
                <p:cNvSpPr/>
                <p:nvPr/>
              </p:nvSpPr>
              <p:spPr>
                <a:xfrm>
                  <a:off x="3511821" y="569468"/>
                  <a:ext cx="1538512" cy="421482"/>
                </a:xfrm>
                <a:prstGeom prst="rect">
                  <a:avLst/>
                </a:pr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09" name="Rectangle 108"/>
                <p:cNvSpPr/>
                <p:nvPr/>
              </p:nvSpPr>
              <p:spPr>
                <a:xfrm>
                  <a:off x="3511821" y="569468"/>
                  <a:ext cx="1538512" cy="4214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100" kern="1200" dirty="0"/>
                    <a:t>News &amp; Notifications</a:t>
                  </a:r>
                </a:p>
              </p:txBody>
            </p:sp>
          </p:grpSp>
          <p:grpSp>
            <p:nvGrpSpPr>
              <p:cNvPr id="105" name="Group 69"/>
              <p:cNvGrpSpPr/>
              <p:nvPr/>
            </p:nvGrpSpPr>
            <p:grpSpPr>
              <a:xfrm>
                <a:off x="4183743" y="2799771"/>
                <a:ext cx="1538512" cy="1679940"/>
                <a:chOff x="3511821" y="990951"/>
                <a:chExt cx="1538512" cy="1679940"/>
              </a:xfrm>
            </p:grpSpPr>
            <p:sp>
              <p:nvSpPr>
                <p:cNvPr id="106" name="Rectangle 105"/>
                <p:cNvSpPr/>
                <p:nvPr/>
              </p:nvSpPr>
              <p:spPr>
                <a:xfrm>
                  <a:off x="3511821" y="990951"/>
                  <a:ext cx="1538512" cy="1679940"/>
                </a:xfrm>
                <a:prstGeom prst="rect">
                  <a:avLst/>
                </a:prstGeom>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sp>
            <p:sp>
              <p:nvSpPr>
                <p:cNvPr id="107" name="Rectangle 106"/>
                <p:cNvSpPr/>
                <p:nvPr/>
              </p:nvSpPr>
              <p:spPr>
                <a:xfrm>
                  <a:off x="3511821" y="990951"/>
                  <a:ext cx="1538512" cy="167994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800" kern="1200" dirty="0"/>
                    <a:t>Talent page on your phone</a:t>
                  </a:r>
                </a:p>
                <a:p>
                  <a:pPr marL="114300" lvl="1" indent="-114300" algn="l" defTabSz="533400">
                    <a:lnSpc>
                      <a:spcPct val="90000"/>
                    </a:lnSpc>
                    <a:spcBef>
                      <a:spcPct val="0"/>
                    </a:spcBef>
                    <a:spcAft>
                      <a:spcPct val="15000"/>
                    </a:spcAft>
                    <a:buChar char="••"/>
                  </a:pPr>
                  <a:r>
                    <a:rPr lang="en-US" sz="800" kern="1200" dirty="0"/>
                    <a:t>Save articles</a:t>
                  </a:r>
                </a:p>
                <a:p>
                  <a:pPr marL="114300" lvl="1" indent="-114300" algn="l" defTabSz="533400">
                    <a:lnSpc>
                      <a:spcPct val="90000"/>
                    </a:lnSpc>
                    <a:spcBef>
                      <a:spcPct val="0"/>
                    </a:spcBef>
                    <a:spcAft>
                      <a:spcPct val="15000"/>
                    </a:spcAft>
                    <a:buChar char="••"/>
                  </a:pPr>
                  <a:r>
                    <a:rPr lang="en-US" sz="800" kern="1200" dirty="0"/>
                    <a:t>Keep your notifications organized</a:t>
                  </a:r>
                </a:p>
                <a:p>
                  <a:pPr marL="114300" lvl="1" indent="-114300" algn="l" defTabSz="533400">
                    <a:lnSpc>
                      <a:spcPct val="90000"/>
                    </a:lnSpc>
                    <a:spcBef>
                      <a:spcPct val="0"/>
                    </a:spcBef>
                    <a:spcAft>
                      <a:spcPct val="15000"/>
                    </a:spcAft>
                    <a:buChar char="••"/>
                  </a:pPr>
                  <a:r>
                    <a:rPr lang="en-US" sz="800" kern="1200" dirty="0"/>
                    <a:t>Push out news stories to specific regions/SBU’s</a:t>
                  </a:r>
                </a:p>
              </p:txBody>
            </p:sp>
          </p:grpSp>
        </p:grpSp>
        <p:grpSp>
          <p:nvGrpSpPr>
            <p:cNvPr id="87" name="Group 97"/>
            <p:cNvGrpSpPr/>
            <p:nvPr/>
          </p:nvGrpSpPr>
          <p:grpSpPr>
            <a:xfrm>
              <a:off x="8187360" y="3284986"/>
              <a:ext cx="1224136" cy="1741383"/>
              <a:chOff x="5937647" y="2378288"/>
              <a:chExt cx="1538512" cy="2101423"/>
            </a:xfrm>
          </p:grpSpPr>
          <p:grpSp>
            <p:nvGrpSpPr>
              <p:cNvPr id="98" name="Group 70"/>
              <p:cNvGrpSpPr/>
              <p:nvPr/>
            </p:nvGrpSpPr>
            <p:grpSpPr>
              <a:xfrm>
                <a:off x="5937647" y="2378288"/>
                <a:ext cx="1538512" cy="421482"/>
                <a:chOff x="5265725" y="569468"/>
                <a:chExt cx="1538512" cy="421482"/>
              </a:xfrm>
            </p:grpSpPr>
            <p:sp>
              <p:nvSpPr>
                <p:cNvPr id="102" name="Rectangle 101"/>
                <p:cNvSpPr/>
                <p:nvPr/>
              </p:nvSpPr>
              <p:spPr>
                <a:xfrm>
                  <a:off x="5265725" y="569468"/>
                  <a:ext cx="1538512" cy="421482"/>
                </a:xfrm>
                <a:prstGeom prst="rect">
                  <a:avLst/>
                </a:pr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103" name="Rectangle 102"/>
                <p:cNvSpPr/>
                <p:nvPr/>
              </p:nvSpPr>
              <p:spPr>
                <a:xfrm>
                  <a:off x="5265725" y="569468"/>
                  <a:ext cx="1538512" cy="4214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100" kern="1200" dirty="0"/>
                    <a:t>Employment Documents</a:t>
                  </a:r>
                </a:p>
              </p:txBody>
            </p:sp>
          </p:grpSp>
          <p:grpSp>
            <p:nvGrpSpPr>
              <p:cNvPr id="99" name="Group 71"/>
              <p:cNvGrpSpPr/>
              <p:nvPr/>
            </p:nvGrpSpPr>
            <p:grpSpPr>
              <a:xfrm>
                <a:off x="5937647" y="2799771"/>
                <a:ext cx="1538512" cy="1679940"/>
                <a:chOff x="5265725" y="990951"/>
                <a:chExt cx="1538512" cy="1679940"/>
              </a:xfrm>
            </p:grpSpPr>
            <p:sp>
              <p:nvSpPr>
                <p:cNvPr id="100" name="Rectangle 99"/>
                <p:cNvSpPr/>
                <p:nvPr/>
              </p:nvSpPr>
              <p:spPr>
                <a:xfrm>
                  <a:off x="5265725" y="990951"/>
                  <a:ext cx="1538512" cy="1679940"/>
                </a:xfrm>
                <a:prstGeom prst="rect">
                  <a:avLst/>
                </a:prstGeom>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sp>
            <p:sp>
              <p:nvSpPr>
                <p:cNvPr id="101" name="Rectangle 100"/>
                <p:cNvSpPr/>
                <p:nvPr/>
              </p:nvSpPr>
              <p:spPr>
                <a:xfrm>
                  <a:off x="5265725" y="990951"/>
                  <a:ext cx="1538512" cy="167994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800" kern="1200" dirty="0"/>
                    <a:t>Automates digital stamping function</a:t>
                  </a:r>
                </a:p>
                <a:p>
                  <a:pPr marL="114300" lvl="1" indent="-114300" algn="l" defTabSz="533400">
                    <a:lnSpc>
                      <a:spcPct val="90000"/>
                    </a:lnSpc>
                    <a:spcBef>
                      <a:spcPct val="0"/>
                    </a:spcBef>
                    <a:spcAft>
                      <a:spcPct val="15000"/>
                    </a:spcAft>
                    <a:buChar char="••"/>
                  </a:pPr>
                  <a:r>
                    <a:rPr lang="en-US" sz="800" kern="1200" dirty="0"/>
                    <a:t>Easy access to employees in ODC’s </a:t>
                  </a:r>
                </a:p>
                <a:p>
                  <a:pPr marL="114300" lvl="1" indent="-114300" algn="l" defTabSz="533400">
                    <a:lnSpc>
                      <a:spcPct val="90000"/>
                    </a:lnSpc>
                    <a:spcBef>
                      <a:spcPct val="0"/>
                    </a:spcBef>
                    <a:spcAft>
                      <a:spcPct val="15000"/>
                    </a:spcAft>
                    <a:buChar char="••"/>
                  </a:pPr>
                  <a:r>
                    <a:rPr lang="en-US" sz="800" kern="1200" dirty="0"/>
                    <a:t>24 hour turn around </a:t>
                  </a:r>
                </a:p>
              </p:txBody>
            </p:sp>
          </p:grpSp>
        </p:grpSp>
        <p:grpSp>
          <p:nvGrpSpPr>
            <p:cNvPr id="88" name="Group 98"/>
            <p:cNvGrpSpPr/>
            <p:nvPr/>
          </p:nvGrpSpPr>
          <p:grpSpPr>
            <a:xfrm>
              <a:off x="7611295" y="4653136"/>
              <a:ext cx="1224136" cy="1368152"/>
              <a:chOff x="7691552" y="2378288"/>
              <a:chExt cx="1538512" cy="2101423"/>
            </a:xfrm>
          </p:grpSpPr>
          <p:grpSp>
            <p:nvGrpSpPr>
              <p:cNvPr id="92" name="Group 72"/>
              <p:cNvGrpSpPr/>
              <p:nvPr/>
            </p:nvGrpSpPr>
            <p:grpSpPr>
              <a:xfrm>
                <a:off x="7691552" y="2378288"/>
                <a:ext cx="1538512" cy="421482"/>
                <a:chOff x="7019630" y="569468"/>
                <a:chExt cx="1538512" cy="421482"/>
              </a:xfrm>
            </p:grpSpPr>
            <p:sp>
              <p:nvSpPr>
                <p:cNvPr id="96" name="Rectangle 95"/>
                <p:cNvSpPr/>
                <p:nvPr/>
              </p:nvSpPr>
              <p:spPr>
                <a:xfrm>
                  <a:off x="7019630" y="569468"/>
                  <a:ext cx="1538512" cy="421482"/>
                </a:xfrm>
                <a:prstGeom prst="rect">
                  <a:avLst/>
                </a:prstGeom>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97" name="Rectangle 96"/>
                <p:cNvSpPr/>
                <p:nvPr/>
              </p:nvSpPr>
              <p:spPr>
                <a:xfrm>
                  <a:off x="7019630" y="569468"/>
                  <a:ext cx="1538512" cy="4214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100" kern="1200" dirty="0"/>
                    <a:t>FAQ’s</a:t>
                  </a:r>
                </a:p>
              </p:txBody>
            </p:sp>
          </p:grpSp>
          <p:grpSp>
            <p:nvGrpSpPr>
              <p:cNvPr id="93" name="Group 73"/>
              <p:cNvGrpSpPr/>
              <p:nvPr/>
            </p:nvGrpSpPr>
            <p:grpSpPr>
              <a:xfrm>
                <a:off x="7691552" y="2799771"/>
                <a:ext cx="1538512" cy="1679940"/>
                <a:chOff x="7019630" y="990951"/>
                <a:chExt cx="1538512" cy="1679940"/>
              </a:xfrm>
            </p:grpSpPr>
            <p:sp>
              <p:nvSpPr>
                <p:cNvPr id="94" name="Rectangle 93"/>
                <p:cNvSpPr/>
                <p:nvPr/>
              </p:nvSpPr>
              <p:spPr>
                <a:xfrm>
                  <a:off x="7019630" y="990951"/>
                  <a:ext cx="1538512" cy="1679940"/>
                </a:xfrm>
                <a:prstGeom prst="rect">
                  <a:avLst/>
                </a:prstGeom>
              </p:spPr>
              <p:style>
                <a:lnRef idx="2">
                  <a:schemeClr val="accent6">
                    <a:tint val="40000"/>
                    <a:alpha val="90000"/>
                    <a:hueOff val="0"/>
                    <a:satOff val="0"/>
                    <a:lumOff val="0"/>
                    <a:alphaOff val="0"/>
                  </a:schemeClr>
                </a:lnRef>
                <a:fillRef idx="1">
                  <a:schemeClr val="accent6">
                    <a:tint val="40000"/>
                    <a:alpha val="90000"/>
                    <a:hueOff val="0"/>
                    <a:satOff val="0"/>
                    <a:lumOff val="0"/>
                    <a:alphaOff val="0"/>
                  </a:schemeClr>
                </a:fillRef>
                <a:effectRef idx="0">
                  <a:schemeClr val="accent6">
                    <a:tint val="40000"/>
                    <a:alpha val="90000"/>
                    <a:hueOff val="0"/>
                    <a:satOff val="0"/>
                    <a:lumOff val="0"/>
                    <a:alphaOff val="0"/>
                  </a:schemeClr>
                </a:effectRef>
                <a:fontRef idx="minor">
                  <a:schemeClr val="dk1">
                    <a:hueOff val="0"/>
                    <a:satOff val="0"/>
                    <a:lumOff val="0"/>
                    <a:alphaOff val="0"/>
                  </a:schemeClr>
                </a:fontRef>
              </p:style>
            </p:sp>
            <p:sp>
              <p:nvSpPr>
                <p:cNvPr id="95" name="Rectangle 94"/>
                <p:cNvSpPr/>
                <p:nvPr/>
              </p:nvSpPr>
              <p:spPr>
                <a:xfrm>
                  <a:off x="7019630" y="990951"/>
                  <a:ext cx="1538512" cy="167994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800" kern="1200" dirty="0"/>
                    <a:t>2000 commonly asked questions</a:t>
                  </a:r>
                </a:p>
                <a:p>
                  <a:pPr marL="114300" lvl="1" indent="-114300" algn="l" defTabSz="533400">
                    <a:lnSpc>
                      <a:spcPct val="90000"/>
                    </a:lnSpc>
                    <a:spcBef>
                      <a:spcPct val="0"/>
                    </a:spcBef>
                    <a:spcAft>
                      <a:spcPct val="15000"/>
                    </a:spcAft>
                    <a:buChar char="••"/>
                  </a:pPr>
                  <a:r>
                    <a:rPr lang="en-US" sz="800" kern="1200" dirty="0"/>
                    <a:t>HR team can directly add/delete new question/answers</a:t>
                  </a:r>
                </a:p>
              </p:txBody>
            </p:sp>
          </p:grpSp>
        </p:grpSp>
        <p:sp>
          <p:nvSpPr>
            <p:cNvPr id="89" name="Rounded Rectangle 88"/>
            <p:cNvSpPr/>
            <p:nvPr/>
          </p:nvSpPr>
          <p:spPr bwMode="auto">
            <a:xfrm>
              <a:off x="6819207" y="1124744"/>
              <a:ext cx="2340260" cy="324036"/>
            </a:xfrm>
            <a:prstGeom prst="roundRect">
              <a:avLst/>
            </a:prstGeom>
            <a:solidFill>
              <a:schemeClr val="bg1"/>
            </a:solidFill>
            <a:ln w="19050" cap="flat" cmpd="sng" algn="ctr">
              <a:solidFill>
                <a:schemeClr val="tx2">
                  <a:lumMod val="50000"/>
                </a:schemeClr>
              </a:solid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600" b="1" i="0" u="none" strike="noStrike" cap="none" normalizeH="0" baseline="0" dirty="0">
                  <a:ln>
                    <a:noFill/>
                  </a:ln>
                  <a:solidFill>
                    <a:schemeClr val="bg2">
                      <a:lumMod val="50000"/>
                    </a:schemeClr>
                  </a:solidFill>
                  <a:effectLst/>
                  <a:latin typeface="+mn-lt"/>
                  <a:cs typeface="Arial" charset="0"/>
                </a:rPr>
                <a:t>For the Employee</a:t>
              </a:r>
            </a:p>
          </p:txBody>
        </p:sp>
        <p:sp>
          <p:nvSpPr>
            <p:cNvPr id="90" name="Rounded Rectangle 89"/>
            <p:cNvSpPr/>
            <p:nvPr/>
          </p:nvSpPr>
          <p:spPr bwMode="auto">
            <a:xfrm>
              <a:off x="698529" y="1196752"/>
              <a:ext cx="2556284" cy="324036"/>
            </a:xfrm>
            <a:prstGeom prst="roundRect">
              <a:avLst/>
            </a:prstGeom>
            <a:solidFill>
              <a:schemeClr val="bg1"/>
            </a:solidFill>
            <a:ln w="19050" cap="flat" cmpd="sng" algn="ctr">
              <a:solidFill>
                <a:schemeClr val="tx2">
                  <a:lumMod val="50000"/>
                </a:schemeClr>
              </a:solid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600" b="1" i="0" u="none" strike="noStrike" cap="none" normalizeH="0" baseline="0" dirty="0">
                  <a:ln>
                    <a:noFill/>
                  </a:ln>
                  <a:solidFill>
                    <a:schemeClr val="bg2">
                      <a:lumMod val="50000"/>
                    </a:schemeClr>
                  </a:solidFill>
                  <a:effectLst/>
                  <a:latin typeface="+mn-lt"/>
                  <a:cs typeface="Arial" charset="0"/>
                </a:rPr>
                <a:t>For the HR</a:t>
              </a:r>
              <a:r>
                <a:rPr kumimoji="0" lang="en-US" sz="1600" b="1" i="0" u="none" strike="noStrike" cap="none" normalizeH="0" dirty="0">
                  <a:ln>
                    <a:noFill/>
                  </a:ln>
                  <a:solidFill>
                    <a:schemeClr val="bg2">
                      <a:lumMod val="50000"/>
                    </a:schemeClr>
                  </a:solidFill>
                  <a:effectLst/>
                  <a:latin typeface="+mn-lt"/>
                  <a:cs typeface="Arial" charset="0"/>
                </a:rPr>
                <a:t> Professional</a:t>
              </a:r>
              <a:endParaRPr kumimoji="0" lang="en-US" sz="1600" b="1" i="0" u="none" strike="noStrike" cap="none" normalizeH="0" baseline="0" dirty="0">
                <a:ln>
                  <a:noFill/>
                </a:ln>
                <a:solidFill>
                  <a:schemeClr val="bg2">
                    <a:lumMod val="50000"/>
                  </a:schemeClr>
                </a:solidFill>
                <a:effectLst/>
                <a:latin typeface="+mn-lt"/>
                <a:cs typeface="Arial" charset="0"/>
              </a:endParaRPr>
            </a:p>
          </p:txBody>
        </p:sp>
        <p:pic>
          <p:nvPicPr>
            <p:cNvPr id="91" name="Picture 90" descr="未标题-26.png"/>
            <p:cNvPicPr>
              <a:picLocks noChangeAspect="1"/>
            </p:cNvPicPr>
            <p:nvPr/>
          </p:nvPicPr>
          <p:blipFill>
            <a:blip r:embed="rId2" cstate="print"/>
            <a:stretch>
              <a:fillRect/>
            </a:stretch>
          </p:blipFill>
          <p:spPr>
            <a:xfrm>
              <a:off x="3614940" y="1412776"/>
              <a:ext cx="2664208" cy="4608512"/>
            </a:xfrm>
            <a:prstGeom prst="rect">
              <a:avLst/>
            </a:prstGeom>
          </p:spPr>
        </p:pic>
      </p:grpSp>
      <p:pic>
        <p:nvPicPr>
          <p:cNvPr id="152" name="Picture 3" descr="D:\Users\samdeshm\Desktop\HR Help Desk\genie logo.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8619407" y="0"/>
            <a:ext cx="1037734" cy="957908"/>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132199492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p:cNvPicPr>
            <a:picLocks noChangeAspect="1"/>
          </p:cNvPicPr>
          <p:nvPr/>
        </p:nvPicPr>
        <p:blipFill rotWithShape="1">
          <a:blip r:embed="rId3" cstate="print">
            <a:extLst>
              <a:ext uri="{28A0092B-C50C-407E-A947-70E740481C1C}">
                <a14:useLocalDpi xmlns="" xmlns:a14="http://schemas.microsoft.com/office/drawing/2010/main" val="0"/>
              </a:ext>
            </a:extLst>
          </a:blip>
          <a:srcRect b="79030"/>
          <a:stretch/>
        </p:blipFill>
        <p:spPr>
          <a:xfrm>
            <a:off x="0" y="642941"/>
            <a:ext cx="9904762" cy="1168598"/>
          </a:xfrm>
          <a:prstGeom prst="rect">
            <a:avLst/>
          </a:prstGeom>
        </p:spPr>
      </p:pic>
      <p:sp>
        <p:nvSpPr>
          <p:cNvPr id="56" name="CaixaDeTexto 62"/>
          <p:cNvSpPr txBox="1"/>
          <p:nvPr/>
        </p:nvSpPr>
        <p:spPr>
          <a:xfrm>
            <a:off x="286783" y="786315"/>
            <a:ext cx="4451860" cy="602473"/>
          </a:xfrm>
          <a:prstGeom prst="rect">
            <a:avLst/>
          </a:prstGeom>
          <a:noFill/>
          <a:effectLst/>
        </p:spPr>
        <p:txBody>
          <a:bodyPr wrap="none" rtlCol="0">
            <a:spAutoFit/>
          </a:bodyPr>
          <a:lstStyle/>
          <a:p>
            <a:pPr defTabSz="742950">
              <a:lnSpc>
                <a:spcPct val="85000"/>
              </a:lnSpc>
              <a:defRPr/>
            </a:pPr>
            <a:r>
              <a:rPr lang="en-US" sz="2275" kern="0" dirty="0">
                <a:solidFill>
                  <a:prstClr val="white"/>
                </a:solidFill>
                <a:latin typeface="Arial" panose="020B0604020202020204" pitchFamily="34" charset="0"/>
                <a:ea typeface="Segoe UI" panose="020B0502040204020203" pitchFamily="34" charset="0"/>
                <a:cs typeface="Arial" panose="020B0604020202020204" pitchFamily="34" charset="0"/>
              </a:rPr>
              <a:t>From a 50 years </a:t>
            </a:r>
            <a:r>
              <a:rPr lang="en-US" sz="2275" b="1" kern="0" dirty="0">
                <a:solidFill>
                  <a:prstClr val="white"/>
                </a:solidFill>
                <a:latin typeface="Arial" panose="020B0604020202020204" pitchFamily="34" charset="0"/>
                <a:ea typeface="Segoe UI" panose="020B0502040204020203" pitchFamily="34" charset="0"/>
                <a:cs typeface="Arial" panose="020B0604020202020204" pitchFamily="34" charset="0"/>
              </a:rPr>
              <a:t>track record </a:t>
            </a:r>
            <a:r>
              <a:rPr lang="en-US" sz="2275" kern="0" dirty="0">
                <a:solidFill>
                  <a:prstClr val="white"/>
                </a:solidFill>
                <a:latin typeface="Arial" panose="020B0604020202020204" pitchFamily="34" charset="0"/>
                <a:ea typeface="Segoe UI" panose="020B0502040204020203" pitchFamily="34" charset="0"/>
                <a:cs typeface="Arial" panose="020B0604020202020204" pitchFamily="34" charset="0"/>
              </a:rPr>
              <a:t>…</a:t>
            </a:r>
            <a:endParaRPr lang="en-US" sz="2275" kern="0" dirty="0">
              <a:solidFill>
                <a:schemeClr val="bg1"/>
              </a:solidFill>
              <a:latin typeface="Arial" panose="020B0604020202020204" pitchFamily="34" charset="0"/>
              <a:ea typeface="Segoe UI" panose="020B0502040204020203" pitchFamily="34" charset="0"/>
              <a:cs typeface="Arial" panose="020B0604020202020204" pitchFamily="34" charset="0"/>
            </a:endParaRPr>
          </a:p>
          <a:p>
            <a:pPr defTabSz="742950">
              <a:lnSpc>
                <a:spcPct val="85000"/>
              </a:lnSpc>
              <a:defRPr/>
            </a:pPr>
            <a:r>
              <a:rPr lang="en-US" sz="1625" kern="0" dirty="0">
                <a:solidFill>
                  <a:schemeClr val="bg1"/>
                </a:solidFill>
                <a:latin typeface="Arial" panose="020B0604020202020204" pitchFamily="34" charset="0"/>
                <a:ea typeface="Segoe UI" panose="020B0502040204020203" pitchFamily="34" charset="0"/>
                <a:cs typeface="Arial" panose="020B0604020202020204" pitchFamily="34" charset="0"/>
              </a:rPr>
              <a:t>as an independent company</a:t>
            </a:r>
            <a:endParaRPr lang="pt-PT" sz="1625" kern="0" dirty="0">
              <a:solidFill>
                <a:schemeClr val="bg1"/>
              </a:solidFill>
              <a:latin typeface="Arial" panose="020B0604020202020204" pitchFamily="34" charset="0"/>
              <a:cs typeface="Arial" panose="020B0604020202020204" pitchFamily="34" charset="0"/>
            </a:endParaRPr>
          </a:p>
        </p:txBody>
      </p:sp>
      <p:sp>
        <p:nvSpPr>
          <p:cNvPr id="58" name="Retângulo 40"/>
          <p:cNvSpPr/>
          <p:nvPr/>
        </p:nvSpPr>
        <p:spPr>
          <a:xfrm>
            <a:off x="7234585" y="3230766"/>
            <a:ext cx="2077218" cy="151773"/>
          </a:xfrm>
          <a:prstGeom prst="rect">
            <a:avLst/>
          </a:prstGeom>
          <a:solidFill>
            <a:srgbClr val="53535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463" kern="0">
              <a:solidFill>
                <a:sysClr val="windowText" lastClr="000000"/>
              </a:solidFill>
              <a:latin typeface="Arial" panose="020B0604020202020204" pitchFamily="34" charset="0"/>
              <a:cs typeface="Arial" panose="020B0604020202020204" pitchFamily="34" charset="0"/>
            </a:endParaRPr>
          </a:p>
        </p:txBody>
      </p:sp>
      <p:sp>
        <p:nvSpPr>
          <p:cNvPr id="60" name="Retângulo 40"/>
          <p:cNvSpPr/>
          <p:nvPr/>
        </p:nvSpPr>
        <p:spPr>
          <a:xfrm>
            <a:off x="7234585" y="4901810"/>
            <a:ext cx="2077218" cy="151773"/>
          </a:xfrm>
          <a:prstGeom prst="rect">
            <a:avLst/>
          </a:prstGeom>
          <a:solidFill>
            <a:srgbClr val="53535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463" kern="0">
              <a:solidFill>
                <a:sysClr val="windowText" lastClr="000000"/>
              </a:solidFill>
              <a:latin typeface="Arial" panose="020B0604020202020204" pitchFamily="34" charset="0"/>
              <a:cs typeface="Arial" panose="020B0604020202020204" pitchFamily="34" charset="0"/>
            </a:endParaRPr>
          </a:p>
        </p:txBody>
      </p:sp>
      <p:sp>
        <p:nvSpPr>
          <p:cNvPr id="62" name="Retângulo 40"/>
          <p:cNvSpPr/>
          <p:nvPr/>
        </p:nvSpPr>
        <p:spPr>
          <a:xfrm>
            <a:off x="7234588" y="5306961"/>
            <a:ext cx="2077219" cy="155468"/>
          </a:xfrm>
          <a:prstGeom prst="rect">
            <a:avLst/>
          </a:prstGeom>
          <a:solidFill>
            <a:srgbClr val="53535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463" kern="0">
              <a:solidFill>
                <a:sysClr val="windowText" lastClr="000000"/>
              </a:solidFill>
              <a:latin typeface="Arial" panose="020B0604020202020204" pitchFamily="34" charset="0"/>
              <a:cs typeface="Arial" panose="020B0604020202020204" pitchFamily="34" charset="0"/>
            </a:endParaRPr>
          </a:p>
        </p:txBody>
      </p:sp>
      <p:sp>
        <p:nvSpPr>
          <p:cNvPr id="64" name="Retângulo 40"/>
          <p:cNvSpPr/>
          <p:nvPr/>
        </p:nvSpPr>
        <p:spPr>
          <a:xfrm>
            <a:off x="7234588" y="2699156"/>
            <a:ext cx="2077219" cy="151773"/>
          </a:xfrm>
          <a:prstGeom prst="rect">
            <a:avLst/>
          </a:prstGeom>
          <a:solidFill>
            <a:srgbClr val="53535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463" kern="0">
              <a:solidFill>
                <a:sysClr val="windowText" lastClr="000000"/>
              </a:solidFill>
              <a:latin typeface="Arial" panose="020B0604020202020204" pitchFamily="34" charset="0"/>
              <a:cs typeface="Arial" panose="020B0604020202020204" pitchFamily="34" charset="0"/>
            </a:endParaRPr>
          </a:p>
        </p:txBody>
      </p:sp>
      <p:sp>
        <p:nvSpPr>
          <p:cNvPr id="66" name="Retângulo 40"/>
          <p:cNvSpPr/>
          <p:nvPr/>
        </p:nvSpPr>
        <p:spPr>
          <a:xfrm>
            <a:off x="4993314" y="5133442"/>
            <a:ext cx="2241272" cy="151773"/>
          </a:xfrm>
          <a:prstGeom prst="rect">
            <a:avLst/>
          </a:prstGeom>
          <a:solidFill>
            <a:srgbClr val="53535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463" kern="0">
              <a:solidFill>
                <a:sysClr val="windowText" lastClr="000000"/>
              </a:solidFill>
              <a:latin typeface="Arial" panose="020B0604020202020204" pitchFamily="34" charset="0"/>
              <a:cs typeface="Arial" panose="020B0604020202020204" pitchFamily="34" charset="0"/>
            </a:endParaRPr>
          </a:p>
        </p:txBody>
      </p:sp>
      <p:sp>
        <p:nvSpPr>
          <p:cNvPr id="84" name="Retângulo 40"/>
          <p:cNvSpPr/>
          <p:nvPr/>
        </p:nvSpPr>
        <p:spPr>
          <a:xfrm>
            <a:off x="5000220" y="4494060"/>
            <a:ext cx="4311586" cy="151773"/>
          </a:xfrm>
          <a:prstGeom prst="rect">
            <a:avLst/>
          </a:prstGeom>
          <a:solidFill>
            <a:srgbClr val="53535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463" kern="0">
              <a:solidFill>
                <a:sysClr val="windowText" lastClr="000000"/>
              </a:solidFill>
              <a:latin typeface="Arial" panose="020B0604020202020204" pitchFamily="34" charset="0"/>
              <a:cs typeface="Arial" panose="020B0604020202020204" pitchFamily="34" charset="0"/>
            </a:endParaRPr>
          </a:p>
        </p:txBody>
      </p:sp>
      <p:sp>
        <p:nvSpPr>
          <p:cNvPr id="85" name="Retângulo 40"/>
          <p:cNvSpPr/>
          <p:nvPr/>
        </p:nvSpPr>
        <p:spPr>
          <a:xfrm>
            <a:off x="428057" y="3044728"/>
            <a:ext cx="4579066" cy="151773"/>
          </a:xfrm>
          <a:prstGeom prst="rect">
            <a:avLst/>
          </a:prstGeom>
          <a:solidFill>
            <a:srgbClr val="53535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463" kern="0">
              <a:solidFill>
                <a:sysClr val="windowText" lastClr="000000"/>
              </a:solidFill>
              <a:latin typeface="Arial" panose="020B0604020202020204" pitchFamily="34" charset="0"/>
              <a:cs typeface="Arial" panose="020B0604020202020204" pitchFamily="34" charset="0"/>
            </a:endParaRPr>
          </a:p>
        </p:txBody>
      </p:sp>
      <p:sp>
        <p:nvSpPr>
          <p:cNvPr id="86" name="Retângulo 40"/>
          <p:cNvSpPr/>
          <p:nvPr/>
        </p:nvSpPr>
        <p:spPr>
          <a:xfrm>
            <a:off x="428057" y="3631737"/>
            <a:ext cx="2259860" cy="151773"/>
          </a:xfrm>
          <a:prstGeom prst="rect">
            <a:avLst/>
          </a:prstGeom>
          <a:solidFill>
            <a:srgbClr val="53535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463" kern="0">
              <a:solidFill>
                <a:sysClr val="windowText" lastClr="000000"/>
              </a:solidFill>
              <a:latin typeface="Arial" panose="020B0604020202020204" pitchFamily="34" charset="0"/>
              <a:cs typeface="Arial" panose="020B0604020202020204" pitchFamily="34" charset="0"/>
            </a:endParaRPr>
          </a:p>
        </p:txBody>
      </p:sp>
      <p:sp>
        <p:nvSpPr>
          <p:cNvPr id="87" name="Retângulo 40"/>
          <p:cNvSpPr/>
          <p:nvPr/>
        </p:nvSpPr>
        <p:spPr>
          <a:xfrm>
            <a:off x="428057" y="4089074"/>
            <a:ext cx="4579066" cy="151773"/>
          </a:xfrm>
          <a:prstGeom prst="rect">
            <a:avLst/>
          </a:prstGeom>
          <a:solidFill>
            <a:srgbClr val="53535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463" kern="0">
              <a:solidFill>
                <a:sysClr val="windowText" lastClr="000000"/>
              </a:solidFill>
              <a:latin typeface="Arial" panose="020B0604020202020204" pitchFamily="34" charset="0"/>
              <a:cs typeface="Arial" panose="020B0604020202020204" pitchFamily="34" charset="0"/>
            </a:endParaRPr>
          </a:p>
        </p:txBody>
      </p:sp>
      <p:sp>
        <p:nvSpPr>
          <p:cNvPr id="88" name="Retângulo 40"/>
          <p:cNvSpPr/>
          <p:nvPr/>
        </p:nvSpPr>
        <p:spPr>
          <a:xfrm>
            <a:off x="5000221" y="3577560"/>
            <a:ext cx="2234369" cy="151773"/>
          </a:xfrm>
          <a:prstGeom prst="rect">
            <a:avLst/>
          </a:prstGeom>
          <a:solidFill>
            <a:srgbClr val="53535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463" kern="0">
              <a:solidFill>
                <a:sysClr val="windowText" lastClr="000000"/>
              </a:solidFill>
              <a:latin typeface="Arial" panose="020B0604020202020204" pitchFamily="34" charset="0"/>
              <a:cs typeface="Arial" panose="020B0604020202020204" pitchFamily="34" charset="0"/>
            </a:endParaRPr>
          </a:p>
        </p:txBody>
      </p:sp>
      <p:sp>
        <p:nvSpPr>
          <p:cNvPr id="89" name="Retângulo 40"/>
          <p:cNvSpPr/>
          <p:nvPr/>
        </p:nvSpPr>
        <p:spPr>
          <a:xfrm>
            <a:off x="439614" y="2345640"/>
            <a:ext cx="6794975" cy="172381"/>
          </a:xfrm>
          <a:prstGeom prst="rect">
            <a:avLst/>
          </a:prstGeom>
          <a:solidFill>
            <a:srgbClr val="53535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463" kern="0">
              <a:solidFill>
                <a:sysClr val="windowText" lastClr="000000"/>
              </a:solidFill>
              <a:latin typeface="Arial" panose="020B0604020202020204" pitchFamily="34" charset="0"/>
              <a:cs typeface="Arial" panose="020B0604020202020204" pitchFamily="34" charset="0"/>
            </a:endParaRPr>
          </a:p>
        </p:txBody>
      </p:sp>
      <p:cxnSp>
        <p:nvCxnSpPr>
          <p:cNvPr id="90" name="Straight Connector 89"/>
          <p:cNvCxnSpPr/>
          <p:nvPr/>
        </p:nvCxnSpPr>
        <p:spPr>
          <a:xfrm>
            <a:off x="429712" y="1703997"/>
            <a:ext cx="0" cy="4098031"/>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91" name="Retângulo 40"/>
          <p:cNvSpPr/>
          <p:nvPr/>
        </p:nvSpPr>
        <p:spPr>
          <a:xfrm>
            <a:off x="429714" y="1664212"/>
            <a:ext cx="8882093" cy="156192"/>
          </a:xfrm>
          <a:prstGeom prst="rect">
            <a:avLst/>
          </a:prstGeom>
          <a:solidFill>
            <a:srgbClr val="53535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463" kern="0">
              <a:solidFill>
                <a:sysClr val="windowText" lastClr="000000"/>
              </a:solidFill>
              <a:latin typeface="Arial" panose="020B0604020202020204" pitchFamily="34" charset="0"/>
              <a:cs typeface="Arial" panose="020B0604020202020204" pitchFamily="34" charset="0"/>
            </a:endParaRPr>
          </a:p>
        </p:txBody>
      </p:sp>
      <p:grpSp>
        <p:nvGrpSpPr>
          <p:cNvPr id="92" name="Group 91"/>
          <p:cNvGrpSpPr/>
          <p:nvPr/>
        </p:nvGrpSpPr>
        <p:grpSpPr>
          <a:xfrm>
            <a:off x="2797181" y="1664995"/>
            <a:ext cx="1690639" cy="3870227"/>
            <a:chOff x="2683042" y="1267309"/>
            <a:chExt cx="2080786" cy="4763356"/>
          </a:xfrm>
        </p:grpSpPr>
        <p:sp>
          <p:nvSpPr>
            <p:cNvPr id="93" name="Rectangle 10"/>
            <p:cNvSpPr>
              <a:spLocks noChangeArrowheads="1"/>
            </p:cNvSpPr>
            <p:nvPr/>
          </p:nvSpPr>
          <p:spPr bwMode="auto">
            <a:xfrm>
              <a:off x="2683042" y="1267309"/>
              <a:ext cx="2080786" cy="4763356"/>
            </a:xfrm>
            <a:prstGeom prst="rect">
              <a:avLst/>
            </a:prstGeom>
            <a:noFill/>
            <a:ln w="9525" algn="ctr">
              <a:noFill/>
              <a:miter lim="800000"/>
              <a:headEnd/>
              <a:tailEnd/>
            </a:ln>
          </p:spPr>
          <p:txBody>
            <a:bodyPr wrap="square">
              <a:spAutoFit/>
            </a:bodyPr>
            <a:lstStyle/>
            <a:p>
              <a:pPr defTabSz="742950">
                <a:lnSpc>
                  <a:spcPct val="85000"/>
                </a:lnSpc>
                <a:buClr>
                  <a:srgbClr val="9F958F"/>
                </a:buClr>
                <a:defRPr/>
              </a:pPr>
              <a:r>
                <a:rPr lang="en-US" sz="894" b="1" kern="0" dirty="0">
                  <a:solidFill>
                    <a:srgbClr val="00264A"/>
                  </a:solidFill>
                  <a:latin typeface="Arial" panose="020B0604020202020204" pitchFamily="34" charset="0"/>
                  <a:cs typeface="Arial" panose="020B0604020202020204" pitchFamily="34" charset="0"/>
                </a:rPr>
                <a:t>1991</a:t>
              </a:r>
            </a:p>
            <a:p>
              <a:pPr defTabSz="742950">
                <a:lnSpc>
                  <a:spcPct val="85000"/>
                </a:lnSpc>
                <a:spcBef>
                  <a:spcPts val="244"/>
                </a:spcBef>
                <a:buClr>
                  <a:srgbClr val="9F958F"/>
                </a:buClr>
                <a:defRPr/>
              </a:pPr>
              <a:r>
                <a:rPr lang="en-US" sz="894" kern="0" dirty="0">
                  <a:solidFill>
                    <a:srgbClr val="324146"/>
                  </a:solidFill>
                  <a:latin typeface="Arial" panose="020B0604020202020204" pitchFamily="34" charset="0"/>
                  <a:cs typeface="Arial" panose="020B0604020202020204" pitchFamily="34" charset="0"/>
                </a:rPr>
                <a:t>Creation of </a:t>
              </a:r>
            </a:p>
            <a:p>
              <a:pPr defTabSz="742950">
                <a:lnSpc>
                  <a:spcPct val="85000"/>
                </a:lnSpc>
                <a:buClr>
                  <a:srgbClr val="9F958F"/>
                </a:buClr>
                <a:defRPr/>
              </a:pPr>
              <a:r>
                <a:rPr lang="en-US" sz="894" kern="0" dirty="0">
                  <a:solidFill>
                    <a:srgbClr val="324146"/>
                  </a:solidFill>
                  <a:latin typeface="Arial" panose="020B0604020202020204" pitchFamily="34" charset="0"/>
                  <a:cs typeface="Arial" panose="020B0604020202020204" pitchFamily="34" charset="0"/>
                </a:rPr>
                <a:t>Consulting resulting </a:t>
              </a:r>
              <a:br>
                <a:rPr lang="en-US" sz="894" kern="0" dirty="0">
                  <a:solidFill>
                    <a:srgbClr val="324146"/>
                  </a:solidFill>
                  <a:latin typeface="Arial" panose="020B0604020202020204" pitchFamily="34" charset="0"/>
                  <a:cs typeface="Arial" panose="020B0604020202020204" pitchFamily="34" charset="0"/>
                </a:rPr>
              </a:br>
              <a:r>
                <a:rPr lang="en-US" sz="894" kern="0" dirty="0">
                  <a:solidFill>
                    <a:srgbClr val="324146"/>
                  </a:solidFill>
                  <a:latin typeface="Arial" panose="020B0604020202020204" pitchFamily="34" charset="0"/>
                  <a:cs typeface="Arial" panose="020B0604020202020204" pitchFamily="34" charset="0"/>
                </a:rPr>
                <a:t>from the merger of five management consulting firms</a:t>
              </a:r>
            </a:p>
            <a:p>
              <a:pPr defTabSz="742950">
                <a:lnSpc>
                  <a:spcPct val="85000"/>
                </a:lnSpc>
                <a:buClr>
                  <a:srgbClr val="9F958F"/>
                </a:buClr>
                <a:defRPr/>
              </a:pPr>
              <a:endParaRPr lang="en-US" sz="569" b="1" kern="0" dirty="0">
                <a:solidFill>
                  <a:srgbClr val="00264A"/>
                </a:solidFill>
                <a:latin typeface="Arial" panose="020B0604020202020204" pitchFamily="34" charset="0"/>
                <a:cs typeface="Arial" panose="020B0604020202020204" pitchFamily="34" charset="0"/>
              </a:endParaRPr>
            </a:p>
            <a:p>
              <a:pPr defTabSz="742950">
                <a:lnSpc>
                  <a:spcPct val="85000"/>
                </a:lnSpc>
                <a:buClr>
                  <a:srgbClr val="9F958F"/>
                </a:buClr>
                <a:defRPr/>
              </a:pPr>
              <a:r>
                <a:rPr lang="en-US" sz="894" b="1" kern="0" dirty="0">
                  <a:solidFill>
                    <a:srgbClr val="00264A"/>
                  </a:solidFill>
                  <a:latin typeface="Arial" panose="020B0604020202020204" pitchFamily="34" charset="0"/>
                  <a:cs typeface="Arial" panose="020B0604020202020204" pitchFamily="34" charset="0"/>
                </a:rPr>
                <a:t>1993</a:t>
              </a:r>
            </a:p>
            <a:p>
              <a:pPr defTabSz="742950">
                <a:lnSpc>
                  <a:spcPct val="85000"/>
                </a:lnSpc>
                <a:spcBef>
                  <a:spcPts val="325"/>
                </a:spcBef>
                <a:buClr>
                  <a:srgbClr val="9F958F"/>
                </a:buClr>
                <a:defRPr/>
              </a:pPr>
              <a:r>
                <a:rPr lang="en-US" sz="894" kern="0" dirty="0">
                  <a:solidFill>
                    <a:srgbClr val="324146"/>
                  </a:solidFill>
                  <a:latin typeface="Arial" panose="020B0604020202020204" pitchFamily="34" charset="0"/>
                  <a:cs typeface="Arial" panose="020B0604020202020204" pitchFamily="34" charset="0"/>
                </a:rPr>
                <a:t>First transformation program of the Group’s organization, sales approach, methods and culture, called “Genesis”</a:t>
              </a:r>
            </a:p>
            <a:p>
              <a:pPr defTabSz="742950">
                <a:lnSpc>
                  <a:spcPct val="85000"/>
                </a:lnSpc>
                <a:buClr>
                  <a:srgbClr val="9F958F"/>
                </a:buClr>
                <a:defRPr/>
              </a:pPr>
              <a:endParaRPr lang="en-US" sz="488" b="1" kern="0" dirty="0">
                <a:solidFill>
                  <a:srgbClr val="00264A"/>
                </a:solidFill>
                <a:latin typeface="Arial" panose="020B0604020202020204" pitchFamily="34" charset="0"/>
                <a:cs typeface="Arial" panose="020B0604020202020204" pitchFamily="34" charset="0"/>
              </a:endParaRPr>
            </a:p>
            <a:p>
              <a:pPr defTabSz="742950">
                <a:lnSpc>
                  <a:spcPct val="85000"/>
                </a:lnSpc>
                <a:buClr>
                  <a:srgbClr val="9F958F"/>
                </a:buClr>
                <a:defRPr/>
              </a:pPr>
              <a:r>
                <a:rPr lang="en-US" sz="894" b="1" kern="0" dirty="0">
                  <a:solidFill>
                    <a:srgbClr val="00264A"/>
                  </a:solidFill>
                  <a:latin typeface="Arial" panose="020B0604020202020204" pitchFamily="34" charset="0"/>
                  <a:cs typeface="Arial" panose="020B0604020202020204" pitchFamily="34" charset="0"/>
                </a:rPr>
                <a:t>1996</a:t>
              </a:r>
            </a:p>
            <a:p>
              <a:pPr defTabSz="742950">
                <a:lnSpc>
                  <a:spcPct val="85000"/>
                </a:lnSpc>
                <a:spcBef>
                  <a:spcPts val="244"/>
                </a:spcBef>
                <a:buClr>
                  <a:srgbClr val="9F958F"/>
                </a:buClr>
                <a:defRPr/>
              </a:pPr>
              <a:r>
                <a:rPr lang="en-US" sz="894" kern="0" dirty="0">
                  <a:solidFill>
                    <a:srgbClr val="324146"/>
                  </a:solidFill>
                  <a:latin typeface="Arial" panose="020B0604020202020204" pitchFamily="34" charset="0"/>
                  <a:cs typeface="Arial" panose="020B0604020202020204" pitchFamily="34" charset="0"/>
                </a:rPr>
                <a:t>The Group reorganized its shareholding and  management structure and adopts a new name and a new logo:</a:t>
              </a:r>
            </a:p>
            <a:p>
              <a:pPr defTabSz="742950">
                <a:lnSpc>
                  <a:spcPct val="85000"/>
                </a:lnSpc>
                <a:buClr>
                  <a:srgbClr val="9F958F"/>
                </a:buClr>
                <a:defRPr/>
              </a:pPr>
              <a:endParaRPr lang="en-US" sz="894" b="1" kern="0" dirty="0">
                <a:solidFill>
                  <a:srgbClr val="00264A"/>
                </a:solidFill>
                <a:latin typeface="Arial" panose="020B0604020202020204" pitchFamily="34" charset="0"/>
                <a:cs typeface="Arial" panose="020B0604020202020204" pitchFamily="34" charset="0"/>
              </a:endParaRPr>
            </a:p>
            <a:p>
              <a:pPr defTabSz="742950">
                <a:lnSpc>
                  <a:spcPct val="85000"/>
                </a:lnSpc>
                <a:buClr>
                  <a:srgbClr val="9F958F"/>
                </a:buClr>
                <a:defRPr/>
              </a:pPr>
              <a:endParaRPr lang="en-US" sz="894" b="1" kern="0" dirty="0">
                <a:solidFill>
                  <a:srgbClr val="00264A"/>
                </a:solidFill>
                <a:latin typeface="Arial" panose="020B0604020202020204" pitchFamily="34" charset="0"/>
                <a:cs typeface="Arial" panose="020B0604020202020204" pitchFamily="34" charset="0"/>
              </a:endParaRPr>
            </a:p>
            <a:p>
              <a:pPr defTabSz="742950">
                <a:lnSpc>
                  <a:spcPct val="85000"/>
                </a:lnSpc>
                <a:buClr>
                  <a:srgbClr val="9F958F"/>
                </a:buClr>
                <a:defRPr/>
              </a:pPr>
              <a:endParaRPr lang="en-US" sz="731" b="1" kern="0" dirty="0">
                <a:solidFill>
                  <a:srgbClr val="00264A"/>
                </a:solidFill>
                <a:latin typeface="Arial" panose="020B0604020202020204" pitchFamily="34" charset="0"/>
                <a:cs typeface="Arial" panose="020B0604020202020204" pitchFamily="34" charset="0"/>
              </a:endParaRPr>
            </a:p>
            <a:p>
              <a:pPr defTabSz="742950">
                <a:lnSpc>
                  <a:spcPct val="85000"/>
                </a:lnSpc>
                <a:buClr>
                  <a:srgbClr val="9F958F"/>
                </a:buClr>
                <a:defRPr/>
              </a:pPr>
              <a:r>
                <a:rPr lang="en-US" sz="894" b="1" kern="0" dirty="0">
                  <a:solidFill>
                    <a:srgbClr val="00264A"/>
                  </a:solidFill>
                  <a:latin typeface="Arial" panose="020B0604020202020204" pitchFamily="34" charset="0"/>
                  <a:cs typeface="Arial" panose="020B0604020202020204" pitchFamily="34" charset="0"/>
                </a:rPr>
                <a:t>1998</a:t>
              </a:r>
            </a:p>
            <a:p>
              <a:pPr defTabSz="742950">
                <a:lnSpc>
                  <a:spcPct val="85000"/>
                </a:lnSpc>
                <a:spcBef>
                  <a:spcPts val="488"/>
                </a:spcBef>
                <a:buClr>
                  <a:srgbClr val="9F958F"/>
                </a:buClr>
                <a:defRPr/>
              </a:pPr>
              <a:r>
                <a:rPr lang="en-US" sz="894" kern="0" dirty="0">
                  <a:solidFill>
                    <a:srgbClr val="324146"/>
                  </a:solidFill>
                  <a:latin typeface="Arial" panose="020B0604020202020204" pitchFamily="34" charset="0"/>
                  <a:cs typeface="Arial" panose="020B0604020202020204" pitchFamily="34" charset="0"/>
                </a:rPr>
                <a:t>Cap Gemini is included on the CAC 40 listing on the Bourse</a:t>
              </a:r>
            </a:p>
            <a:p>
              <a:pPr defTabSz="742950">
                <a:lnSpc>
                  <a:spcPct val="85000"/>
                </a:lnSpc>
                <a:buClr>
                  <a:srgbClr val="9F958F"/>
                </a:buClr>
                <a:defRPr/>
              </a:pPr>
              <a:endParaRPr lang="en-US" sz="894" b="1" kern="0" dirty="0">
                <a:solidFill>
                  <a:srgbClr val="00264A"/>
                </a:solidFill>
                <a:latin typeface="Arial" panose="020B0604020202020204" pitchFamily="34" charset="0"/>
                <a:cs typeface="Arial" panose="020B0604020202020204" pitchFamily="34" charset="0"/>
              </a:endParaRPr>
            </a:p>
            <a:p>
              <a:pPr defTabSz="742950">
                <a:lnSpc>
                  <a:spcPct val="85000"/>
                </a:lnSpc>
                <a:spcBef>
                  <a:spcPts val="406"/>
                </a:spcBef>
                <a:buClr>
                  <a:srgbClr val="9F958F"/>
                </a:buClr>
                <a:defRPr/>
              </a:pPr>
              <a:r>
                <a:rPr lang="en-US" sz="894" b="1" kern="0" dirty="0">
                  <a:solidFill>
                    <a:srgbClr val="00264A"/>
                  </a:solidFill>
                  <a:latin typeface="Arial" panose="020B0604020202020204" pitchFamily="34" charset="0"/>
                  <a:cs typeface="Arial" panose="020B0604020202020204" pitchFamily="34" charset="0"/>
                </a:rPr>
                <a:t>1999</a:t>
              </a:r>
            </a:p>
            <a:p>
              <a:pPr defTabSz="742950">
                <a:lnSpc>
                  <a:spcPct val="85000"/>
                </a:lnSpc>
                <a:spcBef>
                  <a:spcPts val="488"/>
                </a:spcBef>
                <a:buClr>
                  <a:srgbClr val="9F958F"/>
                </a:buClr>
                <a:defRPr/>
              </a:pPr>
              <a:r>
                <a:rPr lang="en-US" sz="894" kern="0" dirty="0">
                  <a:solidFill>
                    <a:srgbClr val="324146"/>
                  </a:solidFill>
                  <a:latin typeface="Arial" panose="020B0604020202020204" pitchFamily="34" charset="0"/>
                  <a:cs typeface="Arial" panose="020B0604020202020204" pitchFamily="34" charset="0"/>
                </a:rPr>
                <a:t>Cap Gemini is voted "European Company </a:t>
              </a:r>
              <a:br>
                <a:rPr lang="en-US" sz="894" kern="0" dirty="0">
                  <a:solidFill>
                    <a:srgbClr val="324146"/>
                  </a:solidFill>
                  <a:latin typeface="Arial" panose="020B0604020202020204" pitchFamily="34" charset="0"/>
                  <a:cs typeface="Arial" panose="020B0604020202020204" pitchFamily="34" charset="0"/>
                </a:rPr>
              </a:br>
              <a:r>
                <a:rPr lang="en-US" sz="894" kern="0" dirty="0">
                  <a:solidFill>
                    <a:srgbClr val="324146"/>
                  </a:solidFill>
                  <a:latin typeface="Arial" panose="020B0604020202020204" pitchFamily="34" charset="0"/>
                  <a:cs typeface="Arial" panose="020B0604020202020204" pitchFamily="34" charset="0"/>
                </a:rPr>
                <a:t>of the Year" by the European Press Federation</a:t>
              </a:r>
            </a:p>
          </p:txBody>
        </p:sp>
        <p:pic>
          <p:nvPicPr>
            <p:cNvPr id="94" name="Picture 29" descr="history4"/>
            <p:cNvPicPr>
              <a:picLocks noChangeAspect="1" noChangeArrowheads="1"/>
            </p:cNvPicPr>
            <p:nvPr/>
          </p:nvPicPr>
          <p:blipFill>
            <a:blip r:embed="rId4" cstate="print"/>
            <a:srcRect/>
            <a:stretch>
              <a:fillRect/>
            </a:stretch>
          </p:blipFill>
          <p:spPr bwMode="auto">
            <a:xfrm>
              <a:off x="4168677" y="1513607"/>
              <a:ext cx="477033" cy="214524"/>
            </a:xfrm>
            <a:prstGeom prst="rect">
              <a:avLst/>
            </a:prstGeom>
            <a:noFill/>
            <a:ln w="28575">
              <a:noFill/>
              <a:miter lim="800000"/>
              <a:headEnd/>
              <a:tailEnd/>
            </a:ln>
            <a:effectLst/>
          </p:spPr>
        </p:pic>
        <p:pic>
          <p:nvPicPr>
            <p:cNvPr id="95" name="Picture 31" descr="logo97"/>
            <p:cNvPicPr>
              <a:picLocks noChangeAspect="1" noChangeArrowheads="1"/>
            </p:cNvPicPr>
            <p:nvPr/>
          </p:nvPicPr>
          <p:blipFill>
            <a:blip r:embed="rId5" cstate="print"/>
            <a:srcRect/>
            <a:stretch>
              <a:fillRect/>
            </a:stretch>
          </p:blipFill>
          <p:spPr bwMode="auto">
            <a:xfrm>
              <a:off x="2769674" y="3937620"/>
              <a:ext cx="964660" cy="161232"/>
            </a:xfrm>
            <a:prstGeom prst="rect">
              <a:avLst/>
            </a:prstGeom>
            <a:noFill/>
            <a:ln w="28575">
              <a:noFill/>
              <a:miter lim="800000"/>
              <a:headEnd/>
              <a:tailEnd/>
            </a:ln>
            <a:effectLst/>
          </p:spPr>
        </p:pic>
      </p:grpSp>
      <p:grpSp>
        <p:nvGrpSpPr>
          <p:cNvPr id="96" name="Group 95"/>
          <p:cNvGrpSpPr/>
          <p:nvPr/>
        </p:nvGrpSpPr>
        <p:grpSpPr>
          <a:xfrm>
            <a:off x="559689" y="1664992"/>
            <a:ext cx="1762182" cy="3745449"/>
            <a:chOff x="553297" y="1267309"/>
            <a:chExt cx="2168839" cy="4119236"/>
          </a:xfrm>
        </p:grpSpPr>
        <p:sp>
          <p:nvSpPr>
            <p:cNvPr id="97" name="Rectangle 5"/>
            <p:cNvSpPr>
              <a:spLocks noChangeArrowheads="1"/>
            </p:cNvSpPr>
            <p:nvPr/>
          </p:nvSpPr>
          <p:spPr bwMode="auto">
            <a:xfrm>
              <a:off x="553297" y="1267309"/>
              <a:ext cx="1745132" cy="4119236"/>
            </a:xfrm>
            <a:prstGeom prst="rect">
              <a:avLst/>
            </a:prstGeom>
            <a:noFill/>
            <a:ln w="9525" algn="ctr">
              <a:noFill/>
              <a:miter lim="800000"/>
              <a:headEnd/>
              <a:tailEnd/>
            </a:ln>
          </p:spPr>
          <p:txBody>
            <a:bodyPr wrap="square">
              <a:spAutoFit/>
            </a:bodyPr>
            <a:lstStyle/>
            <a:p>
              <a:pPr defTabSz="742950">
                <a:lnSpc>
                  <a:spcPct val="85000"/>
                </a:lnSpc>
                <a:defRPr/>
              </a:pPr>
              <a:r>
                <a:rPr lang="en-US" sz="894" b="1" kern="0" dirty="0">
                  <a:solidFill>
                    <a:srgbClr val="00264A"/>
                  </a:solidFill>
                  <a:latin typeface="Arial" panose="020B0604020202020204" pitchFamily="34" charset="0"/>
                  <a:cs typeface="Arial" panose="020B0604020202020204" pitchFamily="34" charset="0"/>
                </a:rPr>
                <a:t>1967</a:t>
              </a:r>
            </a:p>
            <a:p>
              <a:pPr defTabSz="742950">
                <a:lnSpc>
                  <a:spcPct val="85000"/>
                </a:lnSpc>
                <a:spcBef>
                  <a:spcPts val="163"/>
                </a:spcBef>
                <a:buClr>
                  <a:srgbClr val="9F958F"/>
                </a:buClr>
                <a:defRPr/>
              </a:pPr>
              <a:r>
                <a:rPr lang="en-US" sz="894" kern="0" dirty="0" err="1">
                  <a:solidFill>
                    <a:srgbClr val="324146"/>
                  </a:solidFill>
                  <a:latin typeface="Arial" panose="020B0604020202020204" pitchFamily="34" charset="0"/>
                  <a:cs typeface="Arial" panose="020B0604020202020204" pitchFamily="34" charset="0"/>
                </a:rPr>
                <a:t>SoGETI</a:t>
              </a:r>
              <a:r>
                <a:rPr lang="en-US" sz="894" kern="0" dirty="0">
                  <a:solidFill>
                    <a:srgbClr val="324146"/>
                  </a:solidFill>
                  <a:latin typeface="Arial" panose="020B0604020202020204" pitchFamily="34" charset="0"/>
                  <a:cs typeface="Arial" panose="020B0604020202020204" pitchFamily="34" charset="0"/>
                </a:rPr>
                <a:t> founded </a:t>
              </a:r>
              <a:br>
                <a:rPr lang="en-US" sz="894" kern="0" dirty="0">
                  <a:solidFill>
                    <a:srgbClr val="324146"/>
                  </a:solidFill>
                  <a:latin typeface="Arial" panose="020B0604020202020204" pitchFamily="34" charset="0"/>
                  <a:cs typeface="Arial" panose="020B0604020202020204" pitchFamily="34" charset="0"/>
                </a:rPr>
              </a:br>
              <a:r>
                <a:rPr lang="en-US" sz="894" kern="0" dirty="0">
                  <a:solidFill>
                    <a:srgbClr val="324146"/>
                  </a:solidFill>
                  <a:latin typeface="Arial" panose="020B0604020202020204" pitchFamily="34" charset="0"/>
                  <a:cs typeface="Arial" panose="020B0604020202020204" pitchFamily="34" charset="0"/>
                </a:rPr>
                <a:t>by Serge </a:t>
              </a:r>
              <a:r>
                <a:rPr lang="en-US" sz="894" kern="0" dirty="0" err="1">
                  <a:solidFill>
                    <a:srgbClr val="324146"/>
                  </a:solidFill>
                  <a:latin typeface="Arial" panose="020B0604020202020204" pitchFamily="34" charset="0"/>
                  <a:cs typeface="Arial" panose="020B0604020202020204" pitchFamily="34" charset="0"/>
                </a:rPr>
                <a:t>Kampf</a:t>
              </a:r>
              <a:r>
                <a:rPr lang="en-US" sz="894" kern="0" dirty="0">
                  <a:solidFill>
                    <a:srgbClr val="324146"/>
                  </a:solidFill>
                  <a:latin typeface="Arial" panose="020B0604020202020204" pitchFamily="34" charset="0"/>
                  <a:cs typeface="Arial" panose="020B0604020202020204" pitchFamily="34" charset="0"/>
                </a:rPr>
                <a:t> in Grenoble, France </a:t>
              </a:r>
            </a:p>
            <a:p>
              <a:pPr defTabSz="742950">
                <a:lnSpc>
                  <a:spcPct val="85000"/>
                </a:lnSpc>
                <a:buClr>
                  <a:srgbClr val="9F958F"/>
                </a:buClr>
                <a:defRPr/>
              </a:pPr>
              <a:r>
                <a:rPr lang="en-US" sz="894" kern="0" dirty="0">
                  <a:solidFill>
                    <a:srgbClr val="324146"/>
                  </a:solidFill>
                  <a:latin typeface="Arial" panose="020B0604020202020204" pitchFamily="34" charset="0"/>
                  <a:cs typeface="Arial" panose="020B0604020202020204" pitchFamily="34" charset="0"/>
                </a:rPr>
                <a:t>on October 1</a:t>
              </a:r>
            </a:p>
            <a:p>
              <a:pPr defTabSz="742950">
                <a:lnSpc>
                  <a:spcPct val="85000"/>
                </a:lnSpc>
                <a:buClr>
                  <a:srgbClr val="9F958F"/>
                </a:buClr>
                <a:defRPr/>
              </a:pPr>
              <a:endParaRPr lang="en-US" sz="650" kern="0" dirty="0">
                <a:solidFill>
                  <a:srgbClr val="00264A"/>
                </a:solidFill>
                <a:latin typeface="Arial" panose="020B0604020202020204" pitchFamily="34" charset="0"/>
                <a:cs typeface="Arial" panose="020B0604020202020204" pitchFamily="34" charset="0"/>
              </a:endParaRPr>
            </a:p>
            <a:p>
              <a:pPr defTabSz="742950">
                <a:lnSpc>
                  <a:spcPct val="85000"/>
                </a:lnSpc>
                <a:buClr>
                  <a:srgbClr val="9F958F"/>
                </a:buClr>
                <a:defRPr/>
              </a:pPr>
              <a:r>
                <a:rPr lang="en-US" sz="894" b="1" kern="0" dirty="0">
                  <a:solidFill>
                    <a:srgbClr val="00264A"/>
                  </a:solidFill>
                  <a:latin typeface="Arial" panose="020B0604020202020204" pitchFamily="34" charset="0"/>
                  <a:cs typeface="Arial" panose="020B0604020202020204" pitchFamily="34" charset="0"/>
                </a:rPr>
                <a:t>1968</a:t>
              </a:r>
            </a:p>
            <a:p>
              <a:pPr defTabSz="742950">
                <a:lnSpc>
                  <a:spcPct val="85000"/>
                </a:lnSpc>
                <a:spcBef>
                  <a:spcPts val="813"/>
                </a:spcBef>
                <a:buClr>
                  <a:srgbClr val="9F958F"/>
                </a:buClr>
                <a:defRPr/>
              </a:pPr>
              <a:r>
                <a:rPr lang="en-US" sz="894" kern="0" dirty="0">
                  <a:solidFill>
                    <a:srgbClr val="324146"/>
                  </a:solidFill>
                  <a:latin typeface="Arial" panose="020B0604020202020204" pitchFamily="34" charset="0"/>
                  <a:cs typeface="Arial" panose="020B0604020202020204" pitchFamily="34" charset="0"/>
                </a:rPr>
                <a:t>Gemini Computer Systems Inc. based </a:t>
              </a:r>
              <a:br>
                <a:rPr lang="en-US" sz="894" kern="0" dirty="0">
                  <a:solidFill>
                    <a:srgbClr val="324146"/>
                  </a:solidFill>
                  <a:latin typeface="Arial" panose="020B0604020202020204" pitchFamily="34" charset="0"/>
                  <a:cs typeface="Arial" panose="020B0604020202020204" pitchFamily="34" charset="0"/>
                </a:rPr>
              </a:br>
              <a:r>
                <a:rPr lang="en-US" sz="894" kern="0" dirty="0">
                  <a:solidFill>
                    <a:srgbClr val="324146"/>
                  </a:solidFill>
                  <a:latin typeface="Arial" panose="020B0604020202020204" pitchFamily="34" charset="0"/>
                  <a:cs typeface="Arial" panose="020B0604020202020204" pitchFamily="34" charset="0"/>
                </a:rPr>
                <a:t>in New York</a:t>
              </a:r>
              <a:endParaRPr lang="en-US" sz="894" b="1" kern="0" dirty="0">
                <a:solidFill>
                  <a:srgbClr val="324146"/>
                </a:solidFill>
                <a:latin typeface="Arial" panose="020B0604020202020204" pitchFamily="34" charset="0"/>
                <a:cs typeface="Arial" panose="020B0604020202020204" pitchFamily="34" charset="0"/>
              </a:endParaRPr>
            </a:p>
            <a:p>
              <a:pPr defTabSz="742950">
                <a:lnSpc>
                  <a:spcPct val="85000"/>
                </a:lnSpc>
                <a:buClr>
                  <a:srgbClr val="9F958F"/>
                </a:buClr>
                <a:defRPr/>
              </a:pPr>
              <a:endParaRPr lang="en-US" sz="894" b="1" kern="0" dirty="0">
                <a:solidFill>
                  <a:srgbClr val="00264A"/>
                </a:solidFill>
                <a:latin typeface="Arial" panose="020B0604020202020204" pitchFamily="34" charset="0"/>
                <a:cs typeface="Arial" panose="020B0604020202020204" pitchFamily="34" charset="0"/>
              </a:endParaRPr>
            </a:p>
            <a:p>
              <a:pPr defTabSz="742950">
                <a:lnSpc>
                  <a:spcPct val="85000"/>
                </a:lnSpc>
                <a:buClr>
                  <a:srgbClr val="9F958F"/>
                </a:buClr>
                <a:defRPr/>
              </a:pPr>
              <a:r>
                <a:rPr lang="en-US" sz="894" b="1" kern="0" dirty="0">
                  <a:solidFill>
                    <a:srgbClr val="00264A"/>
                  </a:solidFill>
                  <a:latin typeface="Arial" panose="020B0604020202020204" pitchFamily="34" charset="0"/>
                  <a:cs typeface="Arial" panose="020B0604020202020204" pitchFamily="34" charset="0"/>
                </a:rPr>
                <a:t>1973</a:t>
              </a:r>
            </a:p>
            <a:p>
              <a:pPr defTabSz="742950">
                <a:lnSpc>
                  <a:spcPct val="85000"/>
                </a:lnSpc>
                <a:spcBef>
                  <a:spcPts val="325"/>
                </a:spcBef>
                <a:buClr>
                  <a:srgbClr val="9F958F"/>
                </a:buClr>
                <a:defRPr/>
              </a:pPr>
              <a:r>
                <a:rPr lang="en-US" sz="894" kern="0" dirty="0" err="1">
                  <a:solidFill>
                    <a:srgbClr val="324146"/>
                  </a:solidFill>
                  <a:latin typeface="Arial" panose="020B0604020202020204" pitchFamily="34" charset="0"/>
                  <a:cs typeface="Arial" panose="020B0604020202020204" pitchFamily="34" charset="0"/>
                </a:rPr>
                <a:t>Sogeti</a:t>
              </a:r>
              <a:r>
                <a:rPr lang="en-US" sz="894" kern="0" dirty="0">
                  <a:solidFill>
                    <a:srgbClr val="324146"/>
                  </a:solidFill>
                  <a:latin typeface="Arial" panose="020B0604020202020204" pitchFamily="34" charset="0"/>
                  <a:cs typeface="Arial" panose="020B0604020202020204" pitchFamily="34" charset="0"/>
                </a:rPr>
                <a:t>, Gemini Computer Systems </a:t>
              </a:r>
              <a:br>
                <a:rPr lang="en-US" sz="894" kern="0" dirty="0">
                  <a:solidFill>
                    <a:srgbClr val="324146"/>
                  </a:solidFill>
                  <a:latin typeface="Arial" panose="020B0604020202020204" pitchFamily="34" charset="0"/>
                  <a:cs typeface="Arial" panose="020B0604020202020204" pitchFamily="34" charset="0"/>
                </a:rPr>
              </a:br>
              <a:r>
                <a:rPr lang="en-US" sz="894" kern="0" dirty="0">
                  <a:solidFill>
                    <a:srgbClr val="324146"/>
                  </a:solidFill>
                  <a:latin typeface="Arial" panose="020B0604020202020204" pitchFamily="34" charset="0"/>
                  <a:cs typeface="Arial" panose="020B0604020202020204" pitchFamily="34" charset="0"/>
                </a:rPr>
                <a:t>and CAP merged as</a:t>
              </a:r>
            </a:p>
            <a:p>
              <a:pPr defTabSz="742950">
                <a:lnSpc>
                  <a:spcPct val="85000"/>
                </a:lnSpc>
                <a:spcBef>
                  <a:spcPts val="731"/>
                </a:spcBef>
                <a:buClr>
                  <a:srgbClr val="9F958F"/>
                </a:buClr>
                <a:defRPr/>
              </a:pPr>
              <a:r>
                <a:rPr lang="en-US" sz="894" b="1" kern="0" dirty="0">
                  <a:solidFill>
                    <a:srgbClr val="00264A"/>
                  </a:solidFill>
                  <a:latin typeface="Arial" panose="020B0604020202020204" pitchFamily="34" charset="0"/>
                  <a:cs typeface="Arial" panose="020B0604020202020204" pitchFamily="34" charset="0"/>
                </a:rPr>
                <a:t>1975</a:t>
              </a:r>
            </a:p>
            <a:p>
              <a:pPr defTabSz="742950">
                <a:lnSpc>
                  <a:spcPct val="85000"/>
                </a:lnSpc>
                <a:spcBef>
                  <a:spcPts val="406"/>
                </a:spcBef>
                <a:buClr>
                  <a:srgbClr val="9F958F"/>
                </a:buClr>
                <a:defRPr/>
              </a:pPr>
              <a:r>
                <a:rPr lang="en-US" sz="894" kern="0" dirty="0">
                  <a:solidFill>
                    <a:srgbClr val="324146"/>
                  </a:solidFill>
                  <a:latin typeface="Arial" panose="020B0604020202020204" pitchFamily="34" charset="0"/>
                  <a:cs typeface="Arial" panose="020B0604020202020204" pitchFamily="34" charset="0"/>
                </a:rPr>
                <a:t>First Annual</a:t>
              </a:r>
              <a:br>
                <a:rPr lang="en-US" sz="894" kern="0" dirty="0">
                  <a:solidFill>
                    <a:srgbClr val="324146"/>
                  </a:solidFill>
                  <a:latin typeface="Arial" panose="020B0604020202020204" pitchFamily="34" charset="0"/>
                  <a:cs typeface="Arial" panose="020B0604020202020204" pitchFamily="34" charset="0"/>
                </a:rPr>
              </a:br>
              <a:r>
                <a:rPr lang="en-US" sz="894" kern="0" dirty="0">
                  <a:solidFill>
                    <a:srgbClr val="324146"/>
                  </a:solidFill>
                  <a:latin typeface="Arial" panose="020B0604020202020204" pitchFamily="34" charset="0"/>
                  <a:cs typeface="Arial" panose="020B0604020202020204" pitchFamily="34" charset="0"/>
                </a:rPr>
                <a:t>Report published</a:t>
              </a:r>
            </a:p>
            <a:p>
              <a:pPr defTabSz="742950">
                <a:lnSpc>
                  <a:spcPct val="85000"/>
                </a:lnSpc>
                <a:buClr>
                  <a:srgbClr val="9F958F"/>
                </a:buClr>
                <a:defRPr/>
              </a:pPr>
              <a:endParaRPr lang="en-US" sz="406" kern="0" dirty="0">
                <a:solidFill>
                  <a:srgbClr val="00264A"/>
                </a:solidFill>
                <a:latin typeface="Arial" panose="020B0604020202020204" pitchFamily="34" charset="0"/>
                <a:cs typeface="Arial" panose="020B0604020202020204" pitchFamily="34" charset="0"/>
              </a:endParaRPr>
            </a:p>
            <a:p>
              <a:pPr defTabSz="742950">
                <a:lnSpc>
                  <a:spcPct val="85000"/>
                </a:lnSpc>
                <a:defRPr/>
              </a:pPr>
              <a:r>
                <a:rPr lang="en-US" sz="894" b="1" kern="0" dirty="0">
                  <a:solidFill>
                    <a:srgbClr val="00264A"/>
                  </a:solidFill>
                  <a:latin typeface="Arial" panose="020B0604020202020204" pitchFamily="34" charset="0"/>
                  <a:cs typeface="Arial" panose="020B0604020202020204" pitchFamily="34" charset="0"/>
                </a:rPr>
                <a:t>1978</a:t>
              </a:r>
            </a:p>
            <a:p>
              <a:pPr defTabSz="742950">
                <a:lnSpc>
                  <a:spcPct val="85000"/>
                </a:lnSpc>
                <a:spcBef>
                  <a:spcPts val="325"/>
                </a:spcBef>
                <a:defRPr/>
              </a:pPr>
              <a:r>
                <a:rPr lang="en-US" sz="894" kern="0" dirty="0">
                  <a:solidFill>
                    <a:srgbClr val="324146"/>
                  </a:solidFill>
                  <a:latin typeface="Arial" panose="020B0604020202020204" pitchFamily="34" charset="0"/>
                  <a:cs typeface="Arial" panose="020B0604020202020204" pitchFamily="34" charset="0"/>
                </a:rPr>
                <a:t>Cap Gemini Inc. established in  Washington DC</a:t>
              </a:r>
              <a:endParaRPr lang="en-US" sz="894" b="1" kern="0" dirty="0">
                <a:solidFill>
                  <a:srgbClr val="324146"/>
                </a:solidFill>
                <a:latin typeface="Arial" panose="020B0604020202020204" pitchFamily="34" charset="0"/>
                <a:cs typeface="Arial" panose="020B0604020202020204" pitchFamily="34" charset="0"/>
              </a:endParaRPr>
            </a:p>
            <a:p>
              <a:pPr defTabSz="742950">
                <a:lnSpc>
                  <a:spcPct val="85000"/>
                </a:lnSpc>
                <a:defRPr/>
              </a:pPr>
              <a:endParaRPr lang="en-US" sz="488" b="1" kern="0" dirty="0">
                <a:solidFill>
                  <a:srgbClr val="00264A"/>
                </a:solidFill>
                <a:latin typeface="Arial" panose="020B0604020202020204" pitchFamily="34" charset="0"/>
                <a:cs typeface="Arial" panose="020B0604020202020204" pitchFamily="34" charset="0"/>
              </a:endParaRPr>
            </a:p>
            <a:p>
              <a:pPr defTabSz="742950">
                <a:lnSpc>
                  <a:spcPct val="85000"/>
                </a:lnSpc>
                <a:defRPr/>
              </a:pPr>
              <a:r>
                <a:rPr lang="en-US" sz="894" b="1" kern="0" dirty="0">
                  <a:solidFill>
                    <a:srgbClr val="00264A"/>
                  </a:solidFill>
                  <a:latin typeface="Arial" panose="020B0604020202020204" pitchFamily="34" charset="0"/>
                  <a:cs typeface="Arial" panose="020B0604020202020204" pitchFamily="34" charset="0"/>
                </a:rPr>
                <a:t>1985</a:t>
              </a:r>
            </a:p>
            <a:p>
              <a:pPr defTabSz="742950">
                <a:lnSpc>
                  <a:spcPct val="85000"/>
                </a:lnSpc>
                <a:spcBef>
                  <a:spcPts val="488"/>
                </a:spcBef>
                <a:buClr>
                  <a:srgbClr val="9F958F"/>
                </a:buClr>
                <a:defRPr/>
              </a:pPr>
              <a:r>
                <a:rPr lang="en-US" sz="894" kern="0" dirty="0">
                  <a:solidFill>
                    <a:srgbClr val="324146"/>
                  </a:solidFill>
                  <a:latin typeface="Arial" panose="020B0604020202020204" pitchFamily="34" charset="0"/>
                  <a:cs typeface="Arial" panose="020B0604020202020204" pitchFamily="34" charset="0"/>
                </a:rPr>
                <a:t>Cap Gemini </a:t>
              </a:r>
              <a:r>
                <a:rPr lang="en-US" sz="894" kern="0" dirty="0" err="1">
                  <a:solidFill>
                    <a:srgbClr val="324146"/>
                  </a:solidFill>
                  <a:latin typeface="Arial" panose="020B0604020202020204" pitchFamily="34" charset="0"/>
                  <a:cs typeface="Arial" panose="020B0604020202020204" pitchFamily="34" charset="0"/>
                </a:rPr>
                <a:t>Sogeti</a:t>
              </a:r>
              <a:r>
                <a:rPr lang="en-US" sz="894" kern="0" dirty="0">
                  <a:solidFill>
                    <a:srgbClr val="324146"/>
                  </a:solidFill>
                  <a:latin typeface="Arial" panose="020B0604020202020204" pitchFamily="34" charset="0"/>
                  <a:cs typeface="Arial" panose="020B0604020202020204" pitchFamily="34" charset="0"/>
                </a:rPr>
                <a:t> listed on the "Second Market" of the Paris Stock Exchange</a:t>
              </a:r>
              <a:endParaRPr lang="en-US" sz="894" b="1" kern="0" dirty="0">
                <a:solidFill>
                  <a:srgbClr val="324146"/>
                </a:solidFill>
                <a:latin typeface="Arial" panose="020B0604020202020204" pitchFamily="34" charset="0"/>
                <a:cs typeface="Arial" panose="020B0604020202020204" pitchFamily="34" charset="0"/>
              </a:endParaRPr>
            </a:p>
          </p:txBody>
        </p:sp>
        <p:pic>
          <p:nvPicPr>
            <p:cNvPr id="98" name="Picture 26" descr="history2"/>
            <p:cNvPicPr>
              <a:picLocks noChangeAspect="1" noChangeArrowheads="1"/>
            </p:cNvPicPr>
            <p:nvPr/>
          </p:nvPicPr>
          <p:blipFill>
            <a:blip r:embed="rId6" cstate="print"/>
            <a:srcRect/>
            <a:stretch>
              <a:fillRect/>
            </a:stretch>
          </p:blipFill>
          <p:spPr bwMode="auto">
            <a:xfrm>
              <a:off x="1960975" y="1541725"/>
              <a:ext cx="440928" cy="360524"/>
            </a:xfrm>
            <a:prstGeom prst="rect">
              <a:avLst/>
            </a:prstGeom>
            <a:noFill/>
            <a:ln w="28575">
              <a:noFill/>
              <a:miter lim="800000"/>
              <a:headEnd/>
              <a:tailEnd/>
            </a:ln>
            <a:effectLst/>
          </p:spPr>
        </p:pic>
        <p:pic>
          <p:nvPicPr>
            <p:cNvPr id="99" name="Picture 37" descr="ra75_cover"/>
            <p:cNvPicPr>
              <a:picLocks noChangeAspect="1" noChangeArrowheads="1"/>
            </p:cNvPicPr>
            <p:nvPr/>
          </p:nvPicPr>
          <p:blipFill>
            <a:blip r:embed="rId7" cstate="print"/>
            <a:srcRect/>
            <a:stretch>
              <a:fillRect/>
            </a:stretch>
          </p:blipFill>
          <p:spPr bwMode="auto">
            <a:xfrm>
              <a:off x="1959662" y="3546176"/>
              <a:ext cx="372249" cy="463646"/>
            </a:xfrm>
            <a:prstGeom prst="rect">
              <a:avLst/>
            </a:prstGeom>
            <a:noFill/>
            <a:ln w="28575">
              <a:noFill/>
              <a:miter lim="800000"/>
              <a:headEnd/>
              <a:tailEnd/>
            </a:ln>
            <a:effectLst/>
          </p:spPr>
        </p:pic>
        <p:pic>
          <p:nvPicPr>
            <p:cNvPr id="100" name="Picture 28" descr="history3"/>
            <p:cNvPicPr>
              <a:picLocks noChangeAspect="1" noChangeArrowheads="1"/>
            </p:cNvPicPr>
            <p:nvPr/>
          </p:nvPicPr>
          <p:blipFill>
            <a:blip r:embed="rId8" cstate="print"/>
            <a:srcRect/>
            <a:stretch>
              <a:fillRect/>
            </a:stretch>
          </p:blipFill>
          <p:spPr bwMode="auto">
            <a:xfrm>
              <a:off x="1961173" y="3148791"/>
              <a:ext cx="760963" cy="243548"/>
            </a:xfrm>
            <a:prstGeom prst="rect">
              <a:avLst/>
            </a:prstGeom>
            <a:noFill/>
            <a:ln w="28575">
              <a:noFill/>
              <a:miter lim="800000"/>
              <a:headEnd/>
              <a:tailEnd/>
            </a:ln>
            <a:effectLst/>
          </p:spPr>
        </p:pic>
      </p:grpSp>
      <p:grpSp>
        <p:nvGrpSpPr>
          <p:cNvPr id="101" name="Group 100"/>
          <p:cNvGrpSpPr/>
          <p:nvPr/>
        </p:nvGrpSpPr>
        <p:grpSpPr>
          <a:xfrm>
            <a:off x="5097181" y="1664989"/>
            <a:ext cx="1874178" cy="4021893"/>
            <a:chOff x="4808312" y="1267309"/>
            <a:chExt cx="2306680" cy="4950022"/>
          </a:xfrm>
        </p:grpSpPr>
        <p:sp>
          <p:nvSpPr>
            <p:cNvPr id="102" name="Rectangle 14"/>
            <p:cNvSpPr>
              <a:spLocks noChangeArrowheads="1"/>
            </p:cNvSpPr>
            <p:nvPr/>
          </p:nvSpPr>
          <p:spPr bwMode="auto">
            <a:xfrm>
              <a:off x="4808312" y="1267309"/>
              <a:ext cx="2137677" cy="4817019"/>
            </a:xfrm>
            <a:prstGeom prst="rect">
              <a:avLst/>
            </a:prstGeom>
            <a:noFill/>
            <a:ln w="9525" algn="ctr">
              <a:noFill/>
              <a:miter lim="800000"/>
              <a:headEnd/>
              <a:tailEnd/>
            </a:ln>
          </p:spPr>
          <p:txBody>
            <a:bodyPr>
              <a:spAutoFit/>
            </a:bodyPr>
            <a:lstStyle/>
            <a:p>
              <a:pPr defTabSz="742950">
                <a:lnSpc>
                  <a:spcPct val="85000"/>
                </a:lnSpc>
                <a:buClr>
                  <a:srgbClr val="9F958F"/>
                </a:buClr>
                <a:defRPr/>
              </a:pPr>
              <a:r>
                <a:rPr lang="en-US" sz="894" b="1" kern="0" dirty="0">
                  <a:solidFill>
                    <a:srgbClr val="00264A"/>
                  </a:solidFill>
                  <a:latin typeface="Arial" panose="020B0604020202020204" pitchFamily="34" charset="0"/>
                  <a:cs typeface="Arial" panose="020B0604020202020204" pitchFamily="34" charset="0"/>
                </a:rPr>
                <a:t>2000</a:t>
              </a:r>
            </a:p>
            <a:p>
              <a:pPr defTabSz="742950">
                <a:lnSpc>
                  <a:spcPct val="85000"/>
                </a:lnSpc>
                <a:spcBef>
                  <a:spcPts val="325"/>
                </a:spcBef>
                <a:defRPr/>
              </a:pPr>
              <a:r>
                <a:rPr lang="en-US" sz="894" kern="0" dirty="0">
                  <a:solidFill>
                    <a:srgbClr val="324146"/>
                  </a:solidFill>
                  <a:latin typeface="Arial" panose="020B0604020202020204" pitchFamily="34" charset="0"/>
                  <a:cs typeface="Arial" panose="020B0604020202020204" pitchFamily="34" charset="0"/>
                </a:rPr>
                <a:t>Acquisition and merger with </a:t>
              </a:r>
              <a:br>
                <a:rPr lang="en-US" sz="894" kern="0" dirty="0">
                  <a:solidFill>
                    <a:srgbClr val="324146"/>
                  </a:solidFill>
                  <a:latin typeface="Arial" panose="020B0604020202020204" pitchFamily="34" charset="0"/>
                  <a:cs typeface="Arial" panose="020B0604020202020204" pitchFamily="34" charset="0"/>
                </a:rPr>
              </a:br>
              <a:r>
                <a:rPr lang="en-US" sz="894" kern="0" dirty="0">
                  <a:solidFill>
                    <a:srgbClr val="324146"/>
                  </a:solidFill>
                  <a:latin typeface="Arial" panose="020B0604020202020204" pitchFamily="34" charset="0"/>
                  <a:cs typeface="Arial" panose="020B0604020202020204" pitchFamily="34" charset="0"/>
                </a:rPr>
                <a:t>Ernst &amp; Young Consulting to form</a:t>
              </a:r>
              <a:endParaRPr lang="en-US" sz="894" b="1" kern="0" dirty="0">
                <a:solidFill>
                  <a:srgbClr val="324146"/>
                </a:solidFill>
                <a:latin typeface="Arial" panose="020B0604020202020204" pitchFamily="34" charset="0"/>
                <a:cs typeface="Arial" panose="020B0604020202020204" pitchFamily="34" charset="0"/>
              </a:endParaRPr>
            </a:p>
            <a:p>
              <a:pPr marL="69630" indent="-69630" defTabSz="742950">
                <a:lnSpc>
                  <a:spcPct val="85000"/>
                </a:lnSpc>
                <a:buClr>
                  <a:srgbClr val="9F958F"/>
                </a:buClr>
                <a:defRPr/>
              </a:pPr>
              <a:endParaRPr lang="en-US" sz="894" b="1" kern="0" dirty="0">
                <a:solidFill>
                  <a:srgbClr val="00264A"/>
                </a:solidFill>
                <a:latin typeface="Arial" panose="020B0604020202020204" pitchFamily="34" charset="0"/>
                <a:cs typeface="Arial" panose="020B0604020202020204" pitchFamily="34" charset="0"/>
              </a:endParaRPr>
            </a:p>
            <a:p>
              <a:pPr marL="69630" indent="-69630" defTabSz="742950">
                <a:lnSpc>
                  <a:spcPct val="85000"/>
                </a:lnSpc>
                <a:spcBef>
                  <a:spcPts val="406"/>
                </a:spcBef>
                <a:buClr>
                  <a:srgbClr val="9F958F"/>
                </a:buClr>
                <a:defRPr/>
              </a:pPr>
              <a:r>
                <a:rPr lang="en-US" sz="894" b="1" kern="0" dirty="0">
                  <a:solidFill>
                    <a:srgbClr val="00264A"/>
                  </a:solidFill>
                  <a:latin typeface="Arial" panose="020B0604020202020204" pitchFamily="34" charset="0"/>
                  <a:cs typeface="Arial" panose="020B0604020202020204" pitchFamily="34" charset="0"/>
                </a:rPr>
                <a:t>2002</a:t>
              </a:r>
            </a:p>
            <a:p>
              <a:pPr marL="69630" indent="-69630" defTabSz="742950">
                <a:lnSpc>
                  <a:spcPct val="85000"/>
                </a:lnSpc>
                <a:spcBef>
                  <a:spcPts val="813"/>
                </a:spcBef>
                <a:buFontTx/>
                <a:buChar char="•"/>
                <a:defRPr/>
              </a:pPr>
              <a:r>
                <a:rPr lang="en-US" sz="853" kern="0" dirty="0">
                  <a:solidFill>
                    <a:srgbClr val="324146"/>
                  </a:solidFill>
                  <a:latin typeface="Arial" panose="020B0604020202020204" pitchFamily="34" charset="0"/>
                  <a:cs typeface="Arial" panose="020B0604020202020204" pitchFamily="34" charset="0"/>
                </a:rPr>
                <a:t>Name revived to offer Local Professional Services</a:t>
              </a:r>
            </a:p>
            <a:p>
              <a:pPr marL="69630" indent="-69630" defTabSz="742950">
                <a:lnSpc>
                  <a:spcPct val="85000"/>
                </a:lnSpc>
                <a:spcBef>
                  <a:spcPts val="325"/>
                </a:spcBef>
                <a:buFontTx/>
                <a:buChar char="•"/>
                <a:defRPr/>
              </a:pPr>
              <a:r>
                <a:rPr lang="en-US" sz="853" kern="0" dirty="0">
                  <a:solidFill>
                    <a:srgbClr val="324146"/>
                  </a:solidFill>
                  <a:latin typeface="Arial" panose="020B0604020202020204" pitchFamily="34" charset="0"/>
                  <a:cs typeface="Arial" panose="020B0604020202020204" pitchFamily="34" charset="0"/>
                </a:rPr>
                <a:t>The Board of Directors name </a:t>
              </a:r>
              <a:br>
                <a:rPr lang="en-US" sz="853" kern="0" dirty="0">
                  <a:solidFill>
                    <a:srgbClr val="324146"/>
                  </a:solidFill>
                  <a:latin typeface="Arial" panose="020B0604020202020204" pitchFamily="34" charset="0"/>
                  <a:cs typeface="Arial" panose="020B0604020202020204" pitchFamily="34" charset="0"/>
                </a:rPr>
              </a:br>
              <a:r>
                <a:rPr lang="en-US" sz="853" kern="0" dirty="0">
                  <a:solidFill>
                    <a:srgbClr val="324146"/>
                  </a:solidFill>
                  <a:latin typeface="Arial" panose="020B0604020202020204" pitchFamily="34" charset="0"/>
                  <a:cs typeface="Arial" panose="020B0604020202020204" pitchFamily="34" charset="0"/>
                </a:rPr>
                <a:t>Paul </a:t>
              </a:r>
              <a:r>
                <a:rPr lang="en-US" sz="853" kern="0" dirty="0" err="1">
                  <a:solidFill>
                    <a:srgbClr val="324146"/>
                  </a:solidFill>
                  <a:latin typeface="Arial" panose="020B0604020202020204" pitchFamily="34" charset="0"/>
                  <a:cs typeface="Arial" panose="020B0604020202020204" pitchFamily="34" charset="0"/>
                </a:rPr>
                <a:t>Hermelin</a:t>
              </a:r>
              <a:r>
                <a:rPr lang="en-US" sz="853" kern="0" dirty="0">
                  <a:solidFill>
                    <a:srgbClr val="324146"/>
                  </a:solidFill>
                  <a:latin typeface="Arial" panose="020B0604020202020204" pitchFamily="34" charset="0"/>
                  <a:cs typeface="Arial" panose="020B0604020202020204" pitchFamily="34" charset="0"/>
                </a:rPr>
                <a:t>, CEO</a:t>
              </a:r>
            </a:p>
            <a:p>
              <a:pPr marL="69630" indent="-69630" defTabSz="742950">
                <a:lnSpc>
                  <a:spcPct val="85000"/>
                </a:lnSpc>
                <a:spcBef>
                  <a:spcPts val="325"/>
                </a:spcBef>
                <a:buFontTx/>
                <a:buChar char="•"/>
                <a:defRPr/>
              </a:pPr>
              <a:r>
                <a:rPr lang="en-US" sz="853" kern="0" dirty="0">
                  <a:solidFill>
                    <a:srgbClr val="324146"/>
                  </a:solidFill>
                  <a:latin typeface="Arial" panose="020B0604020202020204" pitchFamily="34" charset="0"/>
                  <a:cs typeface="Arial" panose="020B0604020202020204" pitchFamily="34" charset="0"/>
                </a:rPr>
                <a:t>Opening of an international training and conference center in France at Les </a:t>
              </a:r>
              <a:r>
                <a:rPr lang="en-US" sz="853" kern="0" dirty="0" err="1">
                  <a:solidFill>
                    <a:srgbClr val="324146"/>
                  </a:solidFill>
                  <a:latin typeface="Arial" panose="020B0604020202020204" pitchFamily="34" charset="0"/>
                  <a:cs typeface="Arial" panose="020B0604020202020204" pitchFamily="34" charset="0"/>
                </a:rPr>
                <a:t>Fontaines</a:t>
              </a:r>
              <a:endParaRPr lang="en-US" sz="853" kern="0" dirty="0">
                <a:solidFill>
                  <a:srgbClr val="324146"/>
                </a:solidFill>
                <a:latin typeface="Arial" panose="020B0604020202020204" pitchFamily="34" charset="0"/>
                <a:cs typeface="Arial" panose="020B0604020202020204" pitchFamily="34" charset="0"/>
              </a:endParaRPr>
            </a:p>
            <a:p>
              <a:pPr marL="69630" indent="-69630" defTabSz="742950">
                <a:lnSpc>
                  <a:spcPct val="85000"/>
                </a:lnSpc>
                <a:spcBef>
                  <a:spcPts val="325"/>
                </a:spcBef>
                <a:buFontTx/>
                <a:buChar char="•"/>
                <a:defRPr/>
              </a:pPr>
              <a:endParaRPr lang="en-US" sz="894" b="1" kern="0" dirty="0">
                <a:solidFill>
                  <a:srgbClr val="00264A"/>
                </a:solidFill>
                <a:latin typeface="Arial" panose="020B0604020202020204" pitchFamily="34" charset="0"/>
                <a:cs typeface="Arial" panose="020B0604020202020204" pitchFamily="34" charset="0"/>
              </a:endParaRPr>
            </a:p>
            <a:p>
              <a:pPr defTabSz="742950">
                <a:lnSpc>
                  <a:spcPct val="85000"/>
                </a:lnSpc>
                <a:buClr>
                  <a:srgbClr val="9F958F"/>
                </a:buClr>
                <a:defRPr/>
              </a:pPr>
              <a:r>
                <a:rPr lang="en-US" sz="894" b="1" kern="0" dirty="0">
                  <a:solidFill>
                    <a:srgbClr val="00264A"/>
                  </a:solidFill>
                  <a:latin typeface="Arial" panose="020B0604020202020204" pitchFamily="34" charset="0"/>
                  <a:cs typeface="Arial" panose="020B0604020202020204" pitchFamily="34" charset="0"/>
                </a:rPr>
                <a:t>2004</a:t>
              </a:r>
            </a:p>
            <a:p>
              <a:pPr defTabSz="742950">
                <a:lnSpc>
                  <a:spcPct val="85000"/>
                </a:lnSpc>
                <a:spcBef>
                  <a:spcPts val="244"/>
                </a:spcBef>
                <a:buClr>
                  <a:srgbClr val="9F958F"/>
                </a:buClr>
                <a:defRPr/>
              </a:pPr>
              <a:r>
                <a:rPr lang="en-US" sz="894" kern="0" dirty="0">
                  <a:solidFill>
                    <a:srgbClr val="324146"/>
                  </a:solidFill>
                  <a:latin typeface="Arial" panose="020B0604020202020204" pitchFamily="34" charset="0"/>
                  <a:cs typeface="Arial" panose="020B0604020202020204" pitchFamily="34" charset="0"/>
                </a:rPr>
                <a:t>Name and logo </a:t>
              </a:r>
              <a:br>
                <a:rPr lang="en-US" sz="894" kern="0" dirty="0">
                  <a:solidFill>
                    <a:srgbClr val="324146"/>
                  </a:solidFill>
                  <a:latin typeface="Arial" panose="020B0604020202020204" pitchFamily="34" charset="0"/>
                  <a:cs typeface="Arial" panose="020B0604020202020204" pitchFamily="34" charset="0"/>
                </a:rPr>
              </a:br>
              <a:r>
                <a:rPr lang="en-US" sz="894" kern="0" dirty="0">
                  <a:solidFill>
                    <a:srgbClr val="324146"/>
                  </a:solidFill>
                  <a:latin typeface="Arial" panose="020B0604020202020204" pitchFamily="34" charset="0"/>
                  <a:cs typeface="Arial" panose="020B0604020202020204" pitchFamily="34" charset="0"/>
                </a:rPr>
                <a:t>changed to  </a:t>
              </a:r>
            </a:p>
            <a:p>
              <a:pPr defTabSz="742950">
                <a:lnSpc>
                  <a:spcPct val="85000"/>
                </a:lnSpc>
                <a:buClr>
                  <a:srgbClr val="9F958F"/>
                </a:buClr>
                <a:defRPr/>
              </a:pPr>
              <a:r>
                <a:rPr lang="en-US" sz="894" kern="0" dirty="0">
                  <a:solidFill>
                    <a:srgbClr val="324146"/>
                  </a:solidFill>
                  <a:latin typeface="Arial" panose="020B0604020202020204" pitchFamily="34" charset="0"/>
                  <a:cs typeface="Arial" panose="020B0604020202020204" pitchFamily="34" charset="0"/>
                </a:rPr>
                <a:t>coinciding with global ad campaign to position </a:t>
              </a:r>
              <a:br>
                <a:rPr lang="en-US" sz="894" kern="0" dirty="0">
                  <a:solidFill>
                    <a:srgbClr val="324146"/>
                  </a:solidFill>
                  <a:latin typeface="Arial" panose="020B0604020202020204" pitchFamily="34" charset="0"/>
                  <a:cs typeface="Arial" panose="020B0604020202020204" pitchFamily="34" charset="0"/>
                </a:rPr>
              </a:br>
              <a:r>
                <a:rPr lang="en-US" sz="894" kern="0" dirty="0">
                  <a:solidFill>
                    <a:srgbClr val="324146"/>
                  </a:solidFill>
                  <a:latin typeface="Arial" panose="020B0604020202020204" pitchFamily="34" charset="0"/>
                  <a:cs typeface="Arial" panose="020B0604020202020204" pitchFamily="34" charset="0"/>
                </a:rPr>
                <a:t>“The Collaborative </a:t>
              </a:r>
              <a:br>
                <a:rPr lang="en-US" sz="894" kern="0" dirty="0">
                  <a:solidFill>
                    <a:srgbClr val="324146"/>
                  </a:solidFill>
                  <a:latin typeface="Arial" panose="020B0604020202020204" pitchFamily="34" charset="0"/>
                  <a:cs typeface="Arial" panose="020B0604020202020204" pitchFamily="34" charset="0"/>
                </a:rPr>
              </a:br>
              <a:r>
                <a:rPr lang="en-US" sz="894" kern="0" dirty="0">
                  <a:solidFill>
                    <a:srgbClr val="324146"/>
                  </a:solidFill>
                  <a:latin typeface="Arial" panose="020B0604020202020204" pitchFamily="34" charset="0"/>
                  <a:cs typeface="Arial" panose="020B0604020202020204" pitchFamily="34" charset="0"/>
                </a:rPr>
                <a:t>Business </a:t>
              </a:r>
              <a:r>
                <a:rPr lang="en-US" sz="894" kern="0" dirty="0" err="1">
                  <a:solidFill>
                    <a:srgbClr val="324146"/>
                  </a:solidFill>
                  <a:latin typeface="Arial" panose="020B0604020202020204" pitchFamily="34" charset="0"/>
                  <a:cs typeface="Arial" panose="020B0604020202020204" pitchFamily="34" charset="0"/>
                </a:rPr>
                <a:t>Experience</a:t>
              </a:r>
              <a:r>
                <a:rPr lang="en-US" sz="894" kern="0" baseline="30000" dirty="0" err="1">
                  <a:solidFill>
                    <a:srgbClr val="324146"/>
                  </a:solidFill>
                  <a:latin typeface="Arial" panose="020B0604020202020204" pitchFamily="34" charset="0"/>
                  <a:cs typeface="Arial" panose="020B0604020202020204" pitchFamily="34" charset="0"/>
                </a:rPr>
                <a:t>TM</a:t>
              </a:r>
              <a:r>
                <a:rPr lang="en-US" sz="894" kern="0" dirty="0">
                  <a:solidFill>
                    <a:srgbClr val="324146"/>
                  </a:solidFill>
                  <a:latin typeface="Arial" panose="020B0604020202020204" pitchFamily="34" charset="0"/>
                  <a:cs typeface="Arial" panose="020B0604020202020204" pitchFamily="34" charset="0"/>
                </a:rPr>
                <a:t>”</a:t>
              </a:r>
            </a:p>
            <a:p>
              <a:pPr defTabSz="742950">
                <a:lnSpc>
                  <a:spcPct val="85000"/>
                </a:lnSpc>
                <a:buClr>
                  <a:srgbClr val="9F958F"/>
                </a:buClr>
                <a:defRPr/>
              </a:pPr>
              <a:endParaRPr lang="en-US" sz="569" b="1" kern="0" dirty="0">
                <a:solidFill>
                  <a:srgbClr val="00264A"/>
                </a:solidFill>
                <a:latin typeface="Arial" panose="020B0604020202020204" pitchFamily="34" charset="0"/>
                <a:cs typeface="Arial" panose="020B0604020202020204" pitchFamily="34" charset="0"/>
              </a:endParaRPr>
            </a:p>
            <a:p>
              <a:pPr defTabSz="742950">
                <a:lnSpc>
                  <a:spcPct val="85000"/>
                </a:lnSpc>
                <a:buClr>
                  <a:srgbClr val="9F958F"/>
                </a:buClr>
                <a:defRPr/>
              </a:pPr>
              <a:r>
                <a:rPr lang="en-US" sz="894" b="1" kern="0" dirty="0">
                  <a:solidFill>
                    <a:srgbClr val="00264A"/>
                  </a:solidFill>
                  <a:latin typeface="Arial" panose="020B0604020202020204" pitchFamily="34" charset="0"/>
                  <a:cs typeface="Arial" panose="020B0604020202020204" pitchFamily="34" charset="0"/>
                </a:rPr>
                <a:t>2007</a:t>
              </a:r>
            </a:p>
            <a:p>
              <a:pPr defTabSz="742950">
                <a:lnSpc>
                  <a:spcPct val="85000"/>
                </a:lnSpc>
                <a:spcBef>
                  <a:spcPts val="325"/>
                </a:spcBef>
                <a:buClr>
                  <a:srgbClr val="9F958F"/>
                </a:buClr>
                <a:defRPr/>
              </a:pPr>
              <a:r>
                <a:rPr lang="en-US" sz="894" kern="0" dirty="0">
                  <a:solidFill>
                    <a:srgbClr val="324146"/>
                  </a:solidFill>
                  <a:latin typeface="Arial" panose="020B0604020202020204" pitchFamily="34" charset="0"/>
                  <a:cs typeface="Arial" panose="020B0604020202020204" pitchFamily="34" charset="0"/>
                </a:rPr>
                <a:t>Capgemini acquires </a:t>
              </a:r>
              <a:r>
                <a:rPr lang="en-US" sz="894" kern="0" dirty="0" err="1">
                  <a:solidFill>
                    <a:srgbClr val="324146"/>
                  </a:solidFill>
                  <a:latin typeface="Arial" panose="020B0604020202020204" pitchFamily="34" charset="0"/>
                  <a:cs typeface="Arial" panose="020B0604020202020204" pitchFamily="34" charset="0"/>
                </a:rPr>
                <a:t>Kanbay</a:t>
              </a:r>
              <a:r>
                <a:rPr lang="en-US" sz="894" kern="0" dirty="0">
                  <a:solidFill>
                    <a:srgbClr val="324146"/>
                  </a:solidFill>
                  <a:latin typeface="Arial" panose="020B0604020202020204" pitchFamily="34" charset="0"/>
                  <a:cs typeface="Arial" panose="020B0604020202020204" pitchFamily="34" charset="0"/>
                </a:rPr>
                <a:t> and Indigo, expanding its offshore capabilities in India</a:t>
              </a:r>
            </a:p>
            <a:p>
              <a:pPr defTabSz="742950">
                <a:lnSpc>
                  <a:spcPct val="85000"/>
                </a:lnSpc>
                <a:spcAft>
                  <a:spcPts val="49"/>
                </a:spcAft>
                <a:buClr>
                  <a:srgbClr val="9F958F"/>
                </a:buClr>
                <a:defRPr/>
              </a:pPr>
              <a:endParaRPr lang="en-US" sz="1056" b="1" kern="0" dirty="0">
                <a:solidFill>
                  <a:srgbClr val="00264A"/>
                </a:solidFill>
                <a:latin typeface="Arial" panose="020B0604020202020204" pitchFamily="34" charset="0"/>
                <a:cs typeface="Arial" panose="020B0604020202020204" pitchFamily="34" charset="0"/>
              </a:endParaRPr>
            </a:p>
            <a:p>
              <a:pPr defTabSz="742950">
                <a:lnSpc>
                  <a:spcPct val="85000"/>
                </a:lnSpc>
                <a:spcAft>
                  <a:spcPts val="49"/>
                </a:spcAft>
                <a:buClr>
                  <a:srgbClr val="9F958F"/>
                </a:buClr>
                <a:defRPr/>
              </a:pPr>
              <a:r>
                <a:rPr lang="en-US" sz="894" b="1" kern="0" dirty="0">
                  <a:solidFill>
                    <a:srgbClr val="00264A"/>
                  </a:solidFill>
                  <a:latin typeface="Arial" panose="020B0604020202020204" pitchFamily="34" charset="0"/>
                  <a:cs typeface="Arial" panose="020B0604020202020204" pitchFamily="34" charset="0"/>
                </a:rPr>
                <a:t>2009</a:t>
              </a:r>
            </a:p>
            <a:p>
              <a:pPr defTabSz="742950">
                <a:lnSpc>
                  <a:spcPct val="85000"/>
                </a:lnSpc>
                <a:spcAft>
                  <a:spcPts val="49"/>
                </a:spcAft>
                <a:buClr>
                  <a:srgbClr val="9F958F"/>
                </a:buClr>
                <a:defRPr/>
              </a:pPr>
              <a:r>
                <a:rPr lang="en-US" sz="894" kern="0" dirty="0">
                  <a:solidFill>
                    <a:srgbClr val="324146"/>
                  </a:solidFill>
                  <a:latin typeface="Arial" panose="020B0604020202020204" pitchFamily="34" charset="0"/>
                  <a:cs typeface="Arial" panose="020B0604020202020204" pitchFamily="34" charset="0"/>
                </a:rPr>
                <a:t>Consulting Services </a:t>
              </a:r>
              <a:br>
                <a:rPr lang="en-US" sz="894" kern="0" dirty="0">
                  <a:solidFill>
                    <a:srgbClr val="324146"/>
                  </a:solidFill>
                  <a:latin typeface="Arial" panose="020B0604020202020204" pitchFamily="34" charset="0"/>
                  <a:cs typeface="Arial" panose="020B0604020202020204" pitchFamily="34" charset="0"/>
                </a:rPr>
              </a:br>
              <a:r>
                <a:rPr lang="en-US" sz="894" kern="0" dirty="0">
                  <a:solidFill>
                    <a:srgbClr val="324146"/>
                  </a:solidFill>
                  <a:latin typeface="Arial" panose="020B0604020202020204" pitchFamily="34" charset="0"/>
                  <a:cs typeface="Arial" panose="020B0604020202020204" pitchFamily="34" charset="0"/>
                </a:rPr>
                <a:t>becomes a global entity:</a:t>
              </a:r>
            </a:p>
          </p:txBody>
        </p:sp>
        <p:pic>
          <p:nvPicPr>
            <p:cNvPr id="103" name="Picture 30" descr="CGEY_cmyk_100mm"/>
            <p:cNvPicPr>
              <a:picLocks noChangeAspect="1" noChangeArrowheads="1"/>
            </p:cNvPicPr>
            <p:nvPr/>
          </p:nvPicPr>
          <p:blipFill>
            <a:blip r:embed="rId9" cstate="print"/>
            <a:srcRect/>
            <a:stretch>
              <a:fillRect/>
            </a:stretch>
          </p:blipFill>
          <p:spPr bwMode="auto">
            <a:xfrm>
              <a:off x="5242907" y="1825038"/>
              <a:ext cx="698124" cy="152823"/>
            </a:xfrm>
            <a:prstGeom prst="rect">
              <a:avLst/>
            </a:prstGeom>
            <a:noFill/>
            <a:ln w="28575">
              <a:noFill/>
              <a:miter lim="800000"/>
              <a:headEnd/>
              <a:tailEnd/>
            </a:ln>
            <a:effectLst/>
          </p:spPr>
        </p:pic>
        <p:pic>
          <p:nvPicPr>
            <p:cNvPr id="104" name="Picture 32" descr="Sogeti"/>
            <p:cNvPicPr>
              <a:picLocks noChangeAspect="1" noChangeArrowheads="1"/>
            </p:cNvPicPr>
            <p:nvPr/>
          </p:nvPicPr>
          <p:blipFill>
            <a:blip r:embed="rId10" cstate="print"/>
            <a:srcRect/>
            <a:stretch>
              <a:fillRect/>
            </a:stretch>
          </p:blipFill>
          <p:spPr bwMode="auto">
            <a:xfrm>
              <a:off x="6339933" y="2547650"/>
              <a:ext cx="604391" cy="132391"/>
            </a:xfrm>
            <a:prstGeom prst="rect">
              <a:avLst/>
            </a:prstGeom>
            <a:noFill/>
            <a:ln w="28575">
              <a:noFill/>
              <a:miter lim="800000"/>
              <a:headEnd/>
              <a:tailEnd/>
            </a:ln>
            <a:effectLst/>
          </p:spPr>
        </p:pic>
        <p:pic>
          <p:nvPicPr>
            <p:cNvPr id="105" name="Image 52" descr="CC-Logo_Email.png"/>
            <p:cNvPicPr>
              <a:picLocks noChangeAspect="1"/>
            </p:cNvPicPr>
            <p:nvPr/>
          </p:nvPicPr>
          <p:blipFill>
            <a:blip r:embed="rId11" cstate="print"/>
            <a:srcRect/>
            <a:stretch>
              <a:fillRect/>
            </a:stretch>
          </p:blipFill>
          <p:spPr bwMode="auto">
            <a:xfrm>
              <a:off x="4892667" y="6050214"/>
              <a:ext cx="1481429" cy="167117"/>
            </a:xfrm>
            <a:prstGeom prst="rect">
              <a:avLst/>
            </a:prstGeom>
            <a:noFill/>
            <a:ln w="28575">
              <a:solidFill>
                <a:schemeClr val="bg1"/>
              </a:solidFill>
              <a:miter lim="800000"/>
              <a:headEnd/>
              <a:tailEnd/>
            </a:ln>
            <a:effectLst/>
          </p:spPr>
        </p:pic>
        <p:pic>
          <p:nvPicPr>
            <p:cNvPr id="106" name="Image 20" descr="Capgemini_logo.jpg"/>
            <p:cNvPicPr>
              <a:picLocks noChangeAspect="1"/>
            </p:cNvPicPr>
            <p:nvPr/>
          </p:nvPicPr>
          <p:blipFill>
            <a:blip r:embed="rId12" cstate="print"/>
            <a:stretch>
              <a:fillRect/>
            </a:stretch>
          </p:blipFill>
          <p:spPr>
            <a:xfrm>
              <a:off x="6374648" y="3871709"/>
              <a:ext cx="740344" cy="176358"/>
            </a:xfrm>
            <a:prstGeom prst="rect">
              <a:avLst/>
            </a:prstGeom>
            <a:noFill/>
            <a:ln w="28575">
              <a:noFill/>
              <a:miter lim="800000"/>
              <a:headEnd/>
              <a:tailEnd/>
            </a:ln>
            <a:effectLst/>
          </p:spPr>
        </p:pic>
      </p:grpSp>
      <p:grpSp>
        <p:nvGrpSpPr>
          <p:cNvPr id="107" name="Group 106"/>
          <p:cNvGrpSpPr/>
          <p:nvPr/>
        </p:nvGrpSpPr>
        <p:grpSpPr>
          <a:xfrm>
            <a:off x="7432472" y="1646421"/>
            <a:ext cx="2031917" cy="4139788"/>
            <a:chOff x="7234436" y="1244449"/>
            <a:chExt cx="2500821" cy="5095124"/>
          </a:xfrm>
        </p:grpSpPr>
        <p:sp>
          <p:nvSpPr>
            <p:cNvPr id="108" name="Rectangle 17"/>
            <p:cNvSpPr>
              <a:spLocks noChangeArrowheads="1"/>
            </p:cNvSpPr>
            <p:nvPr/>
          </p:nvSpPr>
          <p:spPr bwMode="auto">
            <a:xfrm>
              <a:off x="7234436" y="1244449"/>
              <a:ext cx="2500821" cy="5095124"/>
            </a:xfrm>
            <a:prstGeom prst="rect">
              <a:avLst/>
            </a:prstGeom>
            <a:noFill/>
            <a:ln w="9525" algn="ctr">
              <a:noFill/>
              <a:miter lim="800000"/>
              <a:headEnd/>
              <a:tailEnd/>
            </a:ln>
          </p:spPr>
          <p:txBody>
            <a:bodyPr wrap="square">
              <a:spAutoFit/>
            </a:bodyPr>
            <a:lstStyle/>
            <a:p>
              <a:pPr defTabSz="742950">
                <a:lnSpc>
                  <a:spcPct val="85000"/>
                </a:lnSpc>
                <a:spcBef>
                  <a:spcPts val="569"/>
                </a:spcBef>
                <a:spcAft>
                  <a:spcPts val="49"/>
                </a:spcAft>
                <a:defRPr/>
              </a:pPr>
              <a:r>
                <a:rPr lang="en-US" sz="894" b="1" kern="0" dirty="0">
                  <a:solidFill>
                    <a:srgbClr val="00264A"/>
                  </a:solidFill>
                  <a:latin typeface="Arial" panose="020B0604020202020204" pitchFamily="34" charset="0"/>
                  <a:cs typeface="Arial" panose="020B0604020202020204" pitchFamily="34" charset="0"/>
                </a:rPr>
                <a:t>2010</a:t>
              </a:r>
            </a:p>
            <a:p>
              <a:pPr defTabSz="742950">
                <a:lnSpc>
                  <a:spcPct val="85000"/>
                </a:lnSpc>
                <a:spcBef>
                  <a:spcPts val="325"/>
                </a:spcBef>
                <a:spcAft>
                  <a:spcPts val="49"/>
                </a:spcAft>
                <a:defRPr/>
              </a:pPr>
              <a:r>
                <a:rPr lang="en-US" sz="894" kern="0" dirty="0">
                  <a:solidFill>
                    <a:srgbClr val="324146"/>
                  </a:solidFill>
                  <a:latin typeface="Arial" panose="020B0604020202020204" pitchFamily="34" charset="0"/>
                  <a:cs typeface="Arial" panose="020B0604020202020204" pitchFamily="34" charset="0"/>
                </a:rPr>
                <a:t>Acquisition of CPM </a:t>
              </a:r>
              <a:r>
                <a:rPr lang="en-US" sz="894" kern="0" dirty="0" err="1">
                  <a:solidFill>
                    <a:srgbClr val="324146"/>
                  </a:solidFill>
                  <a:latin typeface="Arial" panose="020B0604020202020204" pitchFamily="34" charset="0"/>
                  <a:cs typeface="Arial" panose="020B0604020202020204" pitchFamily="34" charset="0"/>
                </a:rPr>
                <a:t>Braxis</a:t>
              </a:r>
              <a:r>
                <a:rPr lang="en-US" sz="894" kern="0" dirty="0">
                  <a:solidFill>
                    <a:srgbClr val="324146"/>
                  </a:solidFill>
                  <a:latin typeface="Arial" panose="020B0604020202020204" pitchFamily="34" charset="0"/>
                  <a:cs typeface="Arial" panose="020B0604020202020204" pitchFamily="34" charset="0"/>
                </a:rPr>
                <a:t/>
              </a:r>
              <a:br>
                <a:rPr lang="en-US" sz="894" kern="0" dirty="0">
                  <a:solidFill>
                    <a:srgbClr val="324146"/>
                  </a:solidFill>
                  <a:latin typeface="Arial" panose="020B0604020202020204" pitchFamily="34" charset="0"/>
                  <a:cs typeface="Arial" panose="020B0604020202020204" pitchFamily="34" charset="0"/>
                </a:rPr>
              </a:br>
              <a:r>
                <a:rPr lang="en-US" sz="894" kern="0" dirty="0">
                  <a:solidFill>
                    <a:srgbClr val="324146"/>
                  </a:solidFill>
                  <a:latin typeface="Arial" panose="020B0604020202020204" pitchFamily="34" charset="0"/>
                  <a:cs typeface="Arial" panose="020B0604020202020204" pitchFamily="34" charset="0"/>
                </a:rPr>
                <a:t>in Brazil</a:t>
              </a:r>
              <a:endParaRPr lang="en-US" sz="488" kern="0" dirty="0">
                <a:solidFill>
                  <a:srgbClr val="324146"/>
                </a:solidFill>
                <a:latin typeface="Arial" panose="020B0604020202020204" pitchFamily="34" charset="0"/>
                <a:cs typeface="Arial" panose="020B0604020202020204" pitchFamily="34" charset="0"/>
              </a:endParaRPr>
            </a:p>
            <a:p>
              <a:pPr defTabSz="742950">
                <a:lnSpc>
                  <a:spcPct val="85000"/>
                </a:lnSpc>
                <a:spcBef>
                  <a:spcPts val="325"/>
                </a:spcBef>
                <a:spcAft>
                  <a:spcPts val="49"/>
                </a:spcAft>
                <a:defRPr/>
              </a:pPr>
              <a:r>
                <a:rPr lang="en-US" sz="894" b="1" kern="0" dirty="0">
                  <a:solidFill>
                    <a:srgbClr val="00264A"/>
                  </a:solidFill>
                  <a:latin typeface="Arial" panose="020B0604020202020204" pitchFamily="34" charset="0"/>
                  <a:cs typeface="Arial" panose="020B0604020202020204" pitchFamily="34" charset="0"/>
                </a:rPr>
                <a:t>2011</a:t>
              </a:r>
            </a:p>
            <a:p>
              <a:pPr defTabSz="742950">
                <a:lnSpc>
                  <a:spcPct val="85000"/>
                </a:lnSpc>
                <a:spcBef>
                  <a:spcPts val="325"/>
                </a:spcBef>
                <a:spcAft>
                  <a:spcPts val="49"/>
                </a:spcAft>
                <a:defRPr/>
              </a:pPr>
              <a:r>
                <a:rPr lang="en-US" sz="894" kern="0" dirty="0">
                  <a:solidFill>
                    <a:srgbClr val="324146"/>
                  </a:solidFill>
                  <a:latin typeface="Arial" panose="020B0604020202020204" pitchFamily="34" charset="0"/>
                  <a:cs typeface="Arial" panose="020B0604020202020204" pitchFamily="34" charset="0"/>
                </a:rPr>
                <a:t>Eight acquisitions, including </a:t>
              </a:r>
              <a:r>
                <a:rPr lang="en-US" sz="894" kern="0" dirty="0" err="1">
                  <a:solidFill>
                    <a:srgbClr val="324146"/>
                  </a:solidFill>
                  <a:latin typeface="Arial" panose="020B0604020202020204" pitchFamily="34" charset="0"/>
                  <a:cs typeface="Arial" panose="020B0604020202020204" pitchFamily="34" charset="0"/>
                </a:rPr>
                <a:t>Prosodie</a:t>
              </a:r>
              <a:r>
                <a:rPr lang="en-US" sz="894" kern="0" dirty="0">
                  <a:solidFill>
                    <a:srgbClr val="324146"/>
                  </a:solidFill>
                  <a:latin typeface="Arial" panose="020B0604020202020204" pitchFamily="34" charset="0"/>
                  <a:cs typeface="Arial" panose="020B0604020202020204" pitchFamily="34" charset="0"/>
                </a:rPr>
                <a:t>, leader in front office transaction solutions</a:t>
              </a:r>
            </a:p>
            <a:p>
              <a:pPr defTabSz="742950">
                <a:lnSpc>
                  <a:spcPct val="85000"/>
                </a:lnSpc>
                <a:spcAft>
                  <a:spcPts val="49"/>
                </a:spcAft>
                <a:defRPr/>
              </a:pPr>
              <a:endParaRPr lang="en-US" sz="406" kern="0" dirty="0">
                <a:solidFill>
                  <a:srgbClr val="00264A"/>
                </a:solidFill>
                <a:latin typeface="Arial" panose="020B0604020202020204" pitchFamily="34" charset="0"/>
                <a:cs typeface="Arial" panose="020B0604020202020204" pitchFamily="34" charset="0"/>
              </a:endParaRPr>
            </a:p>
            <a:p>
              <a:pPr defTabSz="742950">
                <a:lnSpc>
                  <a:spcPct val="85000"/>
                </a:lnSpc>
                <a:spcAft>
                  <a:spcPts val="49"/>
                </a:spcAft>
                <a:defRPr/>
              </a:pPr>
              <a:r>
                <a:rPr lang="en-US" sz="894" b="1" kern="0" dirty="0">
                  <a:solidFill>
                    <a:srgbClr val="00264A"/>
                  </a:solidFill>
                  <a:latin typeface="Arial" panose="020B0604020202020204" pitchFamily="34" charset="0"/>
                  <a:cs typeface="Arial" panose="020B0604020202020204" pitchFamily="34" charset="0"/>
                </a:rPr>
                <a:t>2012</a:t>
              </a:r>
            </a:p>
            <a:p>
              <a:pPr defTabSz="742950">
                <a:lnSpc>
                  <a:spcPct val="85000"/>
                </a:lnSpc>
                <a:spcBef>
                  <a:spcPts val="488"/>
                </a:spcBef>
                <a:spcAft>
                  <a:spcPts val="49"/>
                </a:spcAft>
                <a:defRPr/>
              </a:pPr>
              <a:r>
                <a:rPr lang="en-US" sz="894" kern="0" dirty="0">
                  <a:solidFill>
                    <a:srgbClr val="324146"/>
                  </a:solidFill>
                  <a:latin typeface="Arial" panose="020B0604020202020204" pitchFamily="34" charset="0"/>
                  <a:cs typeface="Arial" panose="020B0604020202020204" pitchFamily="34" charset="0"/>
                </a:rPr>
                <a:t>Paul </a:t>
              </a:r>
              <a:r>
                <a:rPr lang="en-US" sz="894" kern="0" dirty="0" err="1">
                  <a:solidFill>
                    <a:srgbClr val="324146"/>
                  </a:solidFill>
                  <a:latin typeface="Arial" panose="020B0604020202020204" pitchFamily="34" charset="0"/>
                  <a:cs typeface="Arial" panose="020B0604020202020204" pitchFamily="34" charset="0"/>
                </a:rPr>
                <a:t>Hermelin</a:t>
              </a:r>
              <a:r>
                <a:rPr lang="en-US" sz="894" kern="0" dirty="0">
                  <a:solidFill>
                    <a:srgbClr val="324146"/>
                  </a:solidFill>
                  <a:latin typeface="Arial" panose="020B0604020202020204" pitchFamily="34" charset="0"/>
                  <a:cs typeface="Arial" panose="020B0604020202020204" pitchFamily="34" charset="0"/>
                </a:rPr>
                <a:t> is appointed </a:t>
              </a:r>
              <a:br>
                <a:rPr lang="en-US" sz="894" kern="0" dirty="0">
                  <a:solidFill>
                    <a:srgbClr val="324146"/>
                  </a:solidFill>
                  <a:latin typeface="Arial" panose="020B0604020202020204" pitchFamily="34" charset="0"/>
                  <a:cs typeface="Arial" panose="020B0604020202020204" pitchFamily="34" charset="0"/>
                </a:rPr>
              </a:br>
              <a:r>
                <a:rPr lang="en-US" sz="894" kern="0" dirty="0">
                  <a:solidFill>
                    <a:srgbClr val="324146"/>
                  </a:solidFill>
                  <a:latin typeface="Arial" panose="020B0604020202020204" pitchFamily="34" charset="0"/>
                  <a:cs typeface="Arial" panose="020B0604020202020204" pitchFamily="34" charset="0"/>
                </a:rPr>
                <a:t>Chairman &amp; CEO</a:t>
              </a:r>
            </a:p>
            <a:p>
              <a:pPr defTabSz="742950">
                <a:lnSpc>
                  <a:spcPct val="85000"/>
                </a:lnSpc>
                <a:spcAft>
                  <a:spcPts val="49"/>
                </a:spcAft>
                <a:defRPr/>
              </a:pPr>
              <a:endParaRPr lang="en-US" sz="731" kern="0" dirty="0">
                <a:solidFill>
                  <a:srgbClr val="00264A"/>
                </a:solidFill>
                <a:latin typeface="Arial" panose="020B0604020202020204" pitchFamily="34" charset="0"/>
                <a:cs typeface="Arial" panose="020B0604020202020204" pitchFamily="34" charset="0"/>
              </a:endParaRPr>
            </a:p>
            <a:p>
              <a:pPr defTabSz="742950">
                <a:lnSpc>
                  <a:spcPct val="85000"/>
                </a:lnSpc>
                <a:spcAft>
                  <a:spcPts val="49"/>
                </a:spcAft>
                <a:defRPr/>
              </a:pPr>
              <a:r>
                <a:rPr lang="en-US" sz="894" b="1" kern="0" dirty="0">
                  <a:solidFill>
                    <a:srgbClr val="00264A"/>
                  </a:solidFill>
                  <a:latin typeface="Arial" panose="020B0604020202020204" pitchFamily="34" charset="0"/>
                  <a:cs typeface="Arial" panose="020B0604020202020204" pitchFamily="34" charset="0"/>
                </a:rPr>
                <a:t>2013</a:t>
              </a:r>
            </a:p>
            <a:p>
              <a:pPr defTabSz="742950">
                <a:lnSpc>
                  <a:spcPct val="85000"/>
                </a:lnSpc>
                <a:spcBef>
                  <a:spcPts val="325"/>
                </a:spcBef>
                <a:spcAft>
                  <a:spcPts val="49"/>
                </a:spcAft>
                <a:defRPr/>
              </a:pPr>
              <a:r>
                <a:rPr lang="en-US" sz="894" kern="0" dirty="0">
                  <a:solidFill>
                    <a:srgbClr val="324146"/>
                  </a:solidFill>
                  <a:latin typeface="Arial" panose="020B0604020202020204" pitchFamily="34" charset="0"/>
                  <a:cs typeface="Arial" panose="020B0604020202020204" pitchFamily="34" charset="0"/>
                </a:rPr>
                <a:t>At 24</a:t>
              </a:r>
              <a:r>
                <a:rPr lang="en-US" sz="894" kern="0" baseline="30000" dirty="0">
                  <a:solidFill>
                    <a:srgbClr val="324146"/>
                  </a:solidFill>
                  <a:latin typeface="Arial" panose="020B0604020202020204" pitchFamily="34" charset="0"/>
                  <a:cs typeface="Arial" panose="020B0604020202020204" pitchFamily="34" charset="0"/>
                </a:rPr>
                <a:t>th</a:t>
              </a:r>
              <a:r>
                <a:rPr lang="en-US" sz="894" kern="0" dirty="0">
                  <a:solidFill>
                    <a:srgbClr val="324146"/>
                  </a:solidFill>
                  <a:latin typeface="Arial" panose="020B0604020202020204" pitchFamily="34" charset="0"/>
                  <a:cs typeface="Arial" panose="020B0604020202020204" pitchFamily="34" charset="0"/>
                </a:rPr>
                <a:t> Rencontres in San Francisco, prominent industry leaders and partners acknowledged Capgemini as a Global Leader in its market.</a:t>
              </a:r>
            </a:p>
            <a:p>
              <a:pPr defTabSz="742950">
                <a:lnSpc>
                  <a:spcPct val="85000"/>
                </a:lnSpc>
                <a:spcAft>
                  <a:spcPts val="49"/>
                </a:spcAft>
                <a:defRPr/>
              </a:pPr>
              <a:r>
                <a:rPr lang="en-US" sz="894" kern="0" dirty="0">
                  <a:solidFill>
                    <a:srgbClr val="324146"/>
                  </a:solidFill>
                  <a:latin typeface="Arial" panose="020B0604020202020204" pitchFamily="34" charset="0"/>
                  <a:cs typeface="Arial" panose="020B0604020202020204" pitchFamily="34" charset="0"/>
                </a:rPr>
                <a:t>Capgemini has been named by the </a:t>
              </a:r>
              <a:r>
                <a:rPr lang="en-US" sz="894" kern="0" dirty="0" err="1">
                  <a:solidFill>
                    <a:srgbClr val="324146"/>
                  </a:solidFill>
                  <a:latin typeface="Arial" panose="020B0604020202020204" pitchFamily="34" charset="0"/>
                  <a:cs typeface="Arial" panose="020B0604020202020204" pitchFamily="34" charset="0"/>
                </a:rPr>
                <a:t>Ethisphere</a:t>
              </a:r>
              <a:r>
                <a:rPr lang="en-US" sz="894" kern="0" dirty="0">
                  <a:solidFill>
                    <a:srgbClr val="324146"/>
                  </a:solidFill>
                  <a:latin typeface="Arial" panose="020B0604020202020204" pitchFamily="34" charset="0"/>
                  <a:cs typeface="Arial" panose="020B0604020202020204" pitchFamily="34" charset="0"/>
                </a:rPr>
                <a:t> Institute’s as one of the World’s Most Ethical Companies </a:t>
              </a:r>
              <a:br>
                <a:rPr lang="en-US" sz="894" kern="0" dirty="0">
                  <a:solidFill>
                    <a:srgbClr val="324146"/>
                  </a:solidFill>
                  <a:latin typeface="Arial" panose="020B0604020202020204" pitchFamily="34" charset="0"/>
                  <a:cs typeface="Arial" panose="020B0604020202020204" pitchFamily="34" charset="0"/>
                </a:rPr>
              </a:br>
              <a:r>
                <a:rPr lang="en-US" sz="894" kern="0" dirty="0">
                  <a:solidFill>
                    <a:srgbClr val="324146"/>
                  </a:solidFill>
                  <a:latin typeface="Arial" panose="020B0604020202020204" pitchFamily="34" charset="0"/>
                  <a:cs typeface="Arial" panose="020B0604020202020204" pitchFamily="34" charset="0"/>
                </a:rPr>
                <a:t>for 2013 (for the first time)</a:t>
              </a:r>
            </a:p>
            <a:p>
              <a:pPr defTabSz="742950">
                <a:lnSpc>
                  <a:spcPct val="85000"/>
                </a:lnSpc>
                <a:spcAft>
                  <a:spcPts val="49"/>
                </a:spcAft>
                <a:defRPr/>
              </a:pPr>
              <a:endParaRPr lang="en-US" sz="163" kern="0" dirty="0">
                <a:solidFill>
                  <a:srgbClr val="00264A"/>
                </a:solidFill>
                <a:latin typeface="Arial" panose="020B0604020202020204" pitchFamily="34" charset="0"/>
                <a:cs typeface="Arial" panose="020B0604020202020204" pitchFamily="34" charset="0"/>
              </a:endParaRPr>
            </a:p>
            <a:p>
              <a:pPr defTabSz="742950">
                <a:lnSpc>
                  <a:spcPct val="85000"/>
                </a:lnSpc>
                <a:spcAft>
                  <a:spcPts val="244"/>
                </a:spcAft>
                <a:defRPr/>
              </a:pPr>
              <a:r>
                <a:rPr lang="en-US" sz="894" b="1" kern="0" dirty="0">
                  <a:solidFill>
                    <a:srgbClr val="00264A"/>
                  </a:solidFill>
                  <a:latin typeface="Arial" panose="020B0604020202020204" pitchFamily="34" charset="0"/>
                  <a:cs typeface="Arial" panose="020B0604020202020204" pitchFamily="34" charset="0"/>
                </a:rPr>
                <a:t/>
              </a:r>
              <a:br>
                <a:rPr lang="en-US" sz="894" b="1" kern="0" dirty="0">
                  <a:solidFill>
                    <a:srgbClr val="00264A"/>
                  </a:solidFill>
                  <a:latin typeface="Arial" panose="020B0604020202020204" pitchFamily="34" charset="0"/>
                  <a:cs typeface="Arial" panose="020B0604020202020204" pitchFamily="34" charset="0"/>
                </a:rPr>
              </a:br>
              <a:r>
                <a:rPr lang="en-US" sz="894" b="1" kern="0" dirty="0">
                  <a:solidFill>
                    <a:srgbClr val="00264A"/>
                  </a:solidFill>
                  <a:latin typeface="Arial" panose="020B0604020202020204" pitchFamily="34" charset="0"/>
                  <a:cs typeface="Arial" panose="020B0604020202020204" pitchFamily="34" charset="0"/>
                </a:rPr>
                <a:t>2014</a:t>
              </a:r>
            </a:p>
            <a:p>
              <a:pPr defTabSz="742950">
                <a:lnSpc>
                  <a:spcPct val="85000"/>
                </a:lnSpc>
                <a:spcBef>
                  <a:spcPts val="244"/>
                </a:spcBef>
                <a:spcAft>
                  <a:spcPts val="244"/>
                </a:spcAft>
                <a:defRPr/>
              </a:pPr>
              <a:r>
                <a:rPr lang="en-US" sz="894" kern="0" dirty="0">
                  <a:solidFill>
                    <a:srgbClr val="324146"/>
                  </a:solidFill>
                  <a:latin typeface="Arial" panose="020B0604020202020204" pitchFamily="34" charset="0"/>
                  <a:cs typeface="Arial" panose="020B0604020202020204" pitchFamily="34" charset="0"/>
                </a:rPr>
                <a:t>Acquisition of </a:t>
              </a:r>
              <a:r>
                <a:rPr lang="en-US" sz="894" kern="0" dirty="0" err="1">
                  <a:solidFill>
                    <a:srgbClr val="324146"/>
                  </a:solidFill>
                  <a:latin typeface="Arial" panose="020B0604020202020204" pitchFamily="34" charset="0"/>
                  <a:cs typeface="Arial" panose="020B0604020202020204" pitchFamily="34" charset="0"/>
                </a:rPr>
                <a:t>Euriware</a:t>
              </a:r>
              <a:endParaRPr lang="en-US" sz="894" kern="0" dirty="0">
                <a:solidFill>
                  <a:srgbClr val="324146"/>
                </a:solidFill>
                <a:latin typeface="Arial" panose="020B0604020202020204" pitchFamily="34" charset="0"/>
                <a:cs typeface="Arial" panose="020B0604020202020204" pitchFamily="34" charset="0"/>
              </a:endParaRPr>
            </a:p>
            <a:p>
              <a:pPr defTabSz="742950">
                <a:lnSpc>
                  <a:spcPct val="85000"/>
                </a:lnSpc>
                <a:spcBef>
                  <a:spcPts val="650"/>
                </a:spcBef>
                <a:spcAft>
                  <a:spcPts val="244"/>
                </a:spcAft>
                <a:defRPr/>
              </a:pPr>
              <a:r>
                <a:rPr lang="en-US" sz="894" b="1" kern="0" dirty="0">
                  <a:solidFill>
                    <a:srgbClr val="00264A"/>
                  </a:solidFill>
                  <a:latin typeface="Arial" panose="020B0604020202020204" pitchFamily="34" charset="0"/>
                  <a:cs typeface="Arial" panose="020B0604020202020204" pitchFamily="34" charset="0"/>
                </a:rPr>
                <a:t>2015</a:t>
              </a:r>
            </a:p>
            <a:p>
              <a:pPr defTabSz="742950">
                <a:lnSpc>
                  <a:spcPct val="85000"/>
                </a:lnSpc>
                <a:spcBef>
                  <a:spcPts val="325"/>
                </a:spcBef>
                <a:spcAft>
                  <a:spcPts val="244"/>
                </a:spcAft>
                <a:defRPr/>
              </a:pPr>
              <a:r>
                <a:rPr lang="en-US" sz="894" kern="0" dirty="0">
                  <a:solidFill>
                    <a:srgbClr val="324146"/>
                  </a:solidFill>
                  <a:latin typeface="Arial" panose="020B0604020202020204" pitchFamily="34" charset="0"/>
                  <a:cs typeface="Arial" panose="020B0604020202020204" pitchFamily="34" charset="0"/>
                </a:rPr>
                <a:t>Acquisition of IGATE</a:t>
              </a:r>
            </a:p>
            <a:p>
              <a:pPr defTabSz="742950">
                <a:lnSpc>
                  <a:spcPct val="85000"/>
                </a:lnSpc>
                <a:spcBef>
                  <a:spcPts val="569"/>
                </a:spcBef>
                <a:spcAft>
                  <a:spcPts val="244"/>
                </a:spcAft>
                <a:defRPr/>
              </a:pPr>
              <a:r>
                <a:rPr lang="en-US" sz="894" b="1" kern="0" dirty="0">
                  <a:solidFill>
                    <a:srgbClr val="00264A"/>
                  </a:solidFill>
                  <a:latin typeface="Arial" panose="020B0604020202020204" pitchFamily="34" charset="0"/>
                  <a:cs typeface="Arial" panose="020B0604020202020204" pitchFamily="34" charset="0"/>
                </a:rPr>
                <a:t>2016</a:t>
              </a:r>
            </a:p>
            <a:p>
              <a:pPr defTabSz="742950">
                <a:lnSpc>
                  <a:spcPct val="85000"/>
                </a:lnSpc>
                <a:spcBef>
                  <a:spcPts val="244"/>
                </a:spcBef>
                <a:spcAft>
                  <a:spcPts val="244"/>
                </a:spcAft>
                <a:defRPr/>
              </a:pPr>
              <a:r>
                <a:rPr lang="en-US" sz="894" kern="0" dirty="0">
                  <a:solidFill>
                    <a:srgbClr val="324146"/>
                  </a:solidFill>
                  <a:latin typeface="Arial" panose="020B0604020202020204" pitchFamily="34" charset="0"/>
                  <a:cs typeface="Arial" panose="020B0604020202020204" pitchFamily="34" charset="0"/>
                </a:rPr>
                <a:t>March 15: Founder Serge </a:t>
              </a:r>
              <a:r>
                <a:rPr lang="en-US" sz="894" kern="0" dirty="0" err="1">
                  <a:solidFill>
                    <a:srgbClr val="324146"/>
                  </a:solidFill>
                  <a:latin typeface="Arial" panose="020B0604020202020204" pitchFamily="34" charset="0"/>
                  <a:cs typeface="Arial" panose="020B0604020202020204" pitchFamily="34" charset="0"/>
                </a:rPr>
                <a:t>Kampf</a:t>
              </a:r>
              <a:r>
                <a:rPr lang="en-US" sz="894" kern="0" dirty="0">
                  <a:solidFill>
                    <a:srgbClr val="324146"/>
                  </a:solidFill>
                  <a:latin typeface="Arial" panose="020B0604020202020204" pitchFamily="34" charset="0"/>
                  <a:cs typeface="Arial" panose="020B0604020202020204" pitchFamily="34" charset="0"/>
                </a:rPr>
                <a:t> passes away at the age of 81</a:t>
              </a:r>
            </a:p>
          </p:txBody>
        </p:sp>
        <p:pic>
          <p:nvPicPr>
            <p:cNvPr id="109" name="Picture 1" descr="D:\Mes Documents\00-About Capgemini\Awards\2013wmeMedium.gif"/>
            <p:cNvPicPr>
              <a:picLocks noChangeAspect="1" noChangeArrowheads="1"/>
            </p:cNvPicPr>
            <p:nvPr/>
          </p:nvPicPr>
          <p:blipFill>
            <a:blip r:embed="rId13" cstate="print"/>
            <a:srcRect/>
            <a:stretch>
              <a:fillRect/>
            </a:stretch>
          </p:blipFill>
          <p:spPr bwMode="auto">
            <a:xfrm>
              <a:off x="9009856" y="4461487"/>
              <a:ext cx="396096" cy="248220"/>
            </a:xfrm>
            <a:prstGeom prst="rect">
              <a:avLst/>
            </a:prstGeom>
            <a:noFill/>
            <a:ln w="28575">
              <a:noFill/>
              <a:miter lim="800000"/>
              <a:headEnd/>
              <a:tailEnd/>
            </a:ln>
            <a:effectLst/>
          </p:spPr>
        </p:pic>
      </p:grpSp>
      <p:grpSp>
        <p:nvGrpSpPr>
          <p:cNvPr id="110" name="Group 109"/>
          <p:cNvGrpSpPr/>
          <p:nvPr/>
        </p:nvGrpSpPr>
        <p:grpSpPr>
          <a:xfrm>
            <a:off x="340368" y="1699871"/>
            <a:ext cx="165009" cy="3118291"/>
            <a:chOff x="350209" y="1310241"/>
            <a:chExt cx="203088" cy="3837896"/>
          </a:xfrm>
        </p:grpSpPr>
        <p:sp>
          <p:nvSpPr>
            <p:cNvPr id="111" name="Oval 110"/>
            <p:cNvSpPr/>
            <p:nvPr/>
          </p:nvSpPr>
          <p:spPr>
            <a:xfrm>
              <a:off x="360842" y="4966315"/>
              <a:ext cx="181822" cy="1818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sp>
          <p:nvSpPr>
            <p:cNvPr id="112" name="Oval 111"/>
            <p:cNvSpPr/>
            <p:nvPr/>
          </p:nvSpPr>
          <p:spPr>
            <a:xfrm>
              <a:off x="360842" y="4248198"/>
              <a:ext cx="181822" cy="181822"/>
            </a:xfrm>
            <a:prstGeom prst="ellipse">
              <a:avLst/>
            </a:prstGeom>
            <a:solidFill>
              <a:srgbClr val="EE77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sp>
          <p:nvSpPr>
            <p:cNvPr id="113" name="Oval 112"/>
            <p:cNvSpPr/>
            <p:nvPr/>
          </p:nvSpPr>
          <p:spPr>
            <a:xfrm>
              <a:off x="371475" y="3680527"/>
              <a:ext cx="181822" cy="181822"/>
            </a:xfrm>
            <a:prstGeom prst="ellipse">
              <a:avLst/>
            </a:prstGeom>
            <a:solidFill>
              <a:srgbClr val="B802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sp>
          <p:nvSpPr>
            <p:cNvPr id="114" name="Oval 113"/>
            <p:cNvSpPr/>
            <p:nvPr/>
          </p:nvSpPr>
          <p:spPr>
            <a:xfrm>
              <a:off x="350209" y="2974781"/>
              <a:ext cx="181822" cy="181822"/>
            </a:xfrm>
            <a:prstGeom prst="ellipse">
              <a:avLst/>
            </a:prstGeom>
            <a:solidFill>
              <a:srgbClr val="B802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sp>
          <p:nvSpPr>
            <p:cNvPr id="115" name="Oval 114"/>
            <p:cNvSpPr/>
            <p:nvPr/>
          </p:nvSpPr>
          <p:spPr>
            <a:xfrm>
              <a:off x="350209" y="2118316"/>
              <a:ext cx="181822" cy="181822"/>
            </a:xfrm>
            <a:prstGeom prst="ellipse">
              <a:avLst/>
            </a:prstGeom>
            <a:solidFill>
              <a:srgbClr val="691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sp>
          <p:nvSpPr>
            <p:cNvPr id="116" name="Oval 115"/>
            <p:cNvSpPr/>
            <p:nvPr/>
          </p:nvSpPr>
          <p:spPr>
            <a:xfrm>
              <a:off x="371475" y="1310241"/>
              <a:ext cx="181822" cy="181822"/>
            </a:xfrm>
            <a:prstGeom prst="ellipse">
              <a:avLst/>
            </a:prstGeom>
            <a:solidFill>
              <a:srgbClr val="5A8E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grpSp>
      <p:grpSp>
        <p:nvGrpSpPr>
          <p:cNvPr id="117" name="Group 116"/>
          <p:cNvGrpSpPr/>
          <p:nvPr/>
        </p:nvGrpSpPr>
        <p:grpSpPr>
          <a:xfrm>
            <a:off x="2611127" y="1673963"/>
            <a:ext cx="156370" cy="4113168"/>
            <a:chOff x="2529883" y="1278343"/>
            <a:chExt cx="192455" cy="5062361"/>
          </a:xfrm>
        </p:grpSpPr>
        <p:cxnSp>
          <p:nvCxnSpPr>
            <p:cNvPr id="118" name="Straight Connector 117"/>
            <p:cNvCxnSpPr/>
            <p:nvPr/>
          </p:nvCxnSpPr>
          <p:spPr>
            <a:xfrm>
              <a:off x="2630674" y="1453257"/>
              <a:ext cx="0" cy="4887447"/>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19" name="Oval 118"/>
            <p:cNvSpPr/>
            <p:nvPr/>
          </p:nvSpPr>
          <p:spPr>
            <a:xfrm>
              <a:off x="2529884" y="1278343"/>
              <a:ext cx="181822" cy="181822"/>
            </a:xfrm>
            <a:prstGeom prst="ellipse">
              <a:avLst/>
            </a:prstGeom>
            <a:solidFill>
              <a:srgbClr val="BC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sp>
          <p:nvSpPr>
            <p:cNvPr id="120" name="Oval 119"/>
            <p:cNvSpPr/>
            <p:nvPr/>
          </p:nvSpPr>
          <p:spPr>
            <a:xfrm>
              <a:off x="2529884" y="2111457"/>
              <a:ext cx="181822" cy="181822"/>
            </a:xfrm>
            <a:prstGeom prst="ellipse">
              <a:avLst/>
            </a:prstGeom>
            <a:solidFill>
              <a:srgbClr val="0097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sp>
          <p:nvSpPr>
            <p:cNvPr id="121" name="Oval 120"/>
            <p:cNvSpPr/>
            <p:nvPr/>
          </p:nvSpPr>
          <p:spPr>
            <a:xfrm>
              <a:off x="2540516" y="2971357"/>
              <a:ext cx="181822" cy="181822"/>
            </a:xfrm>
            <a:prstGeom prst="ellipse">
              <a:avLst/>
            </a:prstGeom>
            <a:solidFill>
              <a:srgbClr val="0045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sp>
          <p:nvSpPr>
            <p:cNvPr id="122" name="Oval 121"/>
            <p:cNvSpPr/>
            <p:nvPr/>
          </p:nvSpPr>
          <p:spPr>
            <a:xfrm>
              <a:off x="2540516" y="4261731"/>
              <a:ext cx="181822" cy="181822"/>
            </a:xfrm>
            <a:prstGeom prst="ellipse">
              <a:avLst/>
            </a:prstGeom>
            <a:solidFill>
              <a:srgbClr val="BC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sp>
          <p:nvSpPr>
            <p:cNvPr id="123" name="Oval 122"/>
            <p:cNvSpPr/>
            <p:nvPr/>
          </p:nvSpPr>
          <p:spPr>
            <a:xfrm>
              <a:off x="2529883" y="4975460"/>
              <a:ext cx="181822" cy="181822"/>
            </a:xfrm>
            <a:prstGeom prst="ellipse">
              <a:avLst/>
            </a:prstGeom>
            <a:solidFill>
              <a:srgbClr val="5A8E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grpSp>
      <p:grpSp>
        <p:nvGrpSpPr>
          <p:cNvPr id="124" name="Group 123"/>
          <p:cNvGrpSpPr/>
          <p:nvPr/>
        </p:nvGrpSpPr>
        <p:grpSpPr>
          <a:xfrm>
            <a:off x="4922285" y="1656856"/>
            <a:ext cx="156370" cy="4145162"/>
            <a:chOff x="4496905" y="1257300"/>
            <a:chExt cx="192455" cy="5101738"/>
          </a:xfrm>
        </p:grpSpPr>
        <p:cxnSp>
          <p:nvCxnSpPr>
            <p:cNvPr id="125" name="Straight Connector 124"/>
            <p:cNvCxnSpPr/>
            <p:nvPr/>
          </p:nvCxnSpPr>
          <p:spPr>
            <a:xfrm>
              <a:off x="4592824" y="1257300"/>
              <a:ext cx="0" cy="5101738"/>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26" name="Oval 125"/>
            <p:cNvSpPr/>
            <p:nvPr/>
          </p:nvSpPr>
          <p:spPr>
            <a:xfrm>
              <a:off x="4507538" y="1270870"/>
              <a:ext cx="181822" cy="181822"/>
            </a:xfrm>
            <a:prstGeom prst="ellipse">
              <a:avLst/>
            </a:prstGeom>
            <a:solidFill>
              <a:srgbClr val="EE77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sp>
          <p:nvSpPr>
            <p:cNvPr id="127" name="Oval 126"/>
            <p:cNvSpPr/>
            <p:nvPr/>
          </p:nvSpPr>
          <p:spPr>
            <a:xfrm>
              <a:off x="4507538" y="2115889"/>
              <a:ext cx="181822" cy="181822"/>
            </a:xfrm>
            <a:prstGeom prst="ellipse">
              <a:avLst/>
            </a:prstGeom>
            <a:solidFill>
              <a:srgbClr val="B802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sp>
          <p:nvSpPr>
            <p:cNvPr id="128" name="Oval 127"/>
            <p:cNvSpPr/>
            <p:nvPr/>
          </p:nvSpPr>
          <p:spPr>
            <a:xfrm>
              <a:off x="4496905" y="3623374"/>
              <a:ext cx="181822" cy="181822"/>
            </a:xfrm>
            <a:prstGeom prst="ellipse">
              <a:avLst/>
            </a:prstGeom>
            <a:solidFill>
              <a:srgbClr val="BA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sp>
          <p:nvSpPr>
            <p:cNvPr id="129" name="Oval 128"/>
            <p:cNvSpPr/>
            <p:nvPr/>
          </p:nvSpPr>
          <p:spPr>
            <a:xfrm>
              <a:off x="4507538" y="4759333"/>
              <a:ext cx="181822" cy="181822"/>
            </a:xfrm>
            <a:prstGeom prst="ellipse">
              <a:avLst/>
            </a:prstGeom>
            <a:solidFill>
              <a:srgbClr val="EE77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sp>
          <p:nvSpPr>
            <p:cNvPr id="130" name="Oval 129"/>
            <p:cNvSpPr/>
            <p:nvPr/>
          </p:nvSpPr>
          <p:spPr>
            <a:xfrm>
              <a:off x="4507538" y="5542002"/>
              <a:ext cx="181822" cy="181822"/>
            </a:xfrm>
            <a:prstGeom prst="ellipse">
              <a:avLst/>
            </a:prstGeom>
            <a:solidFill>
              <a:srgbClr val="0097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grpSp>
      <p:grpSp>
        <p:nvGrpSpPr>
          <p:cNvPr id="131" name="Group 130"/>
          <p:cNvGrpSpPr/>
          <p:nvPr/>
        </p:nvGrpSpPr>
        <p:grpSpPr>
          <a:xfrm>
            <a:off x="7160722" y="1656856"/>
            <a:ext cx="147730" cy="4145162"/>
            <a:chOff x="6715367" y="1257300"/>
            <a:chExt cx="181822" cy="5101738"/>
          </a:xfrm>
        </p:grpSpPr>
        <p:cxnSp>
          <p:nvCxnSpPr>
            <p:cNvPr id="132" name="Straight Connector 131"/>
            <p:cNvCxnSpPr/>
            <p:nvPr/>
          </p:nvCxnSpPr>
          <p:spPr>
            <a:xfrm>
              <a:off x="6806278" y="1257300"/>
              <a:ext cx="0" cy="5101738"/>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33" name="Oval 132"/>
            <p:cNvSpPr/>
            <p:nvPr/>
          </p:nvSpPr>
          <p:spPr>
            <a:xfrm>
              <a:off x="6715367" y="1267714"/>
              <a:ext cx="181822" cy="181822"/>
            </a:xfrm>
            <a:prstGeom prst="ellipse">
              <a:avLst/>
            </a:prstGeom>
            <a:solidFill>
              <a:srgbClr val="691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sp>
          <p:nvSpPr>
            <p:cNvPr id="134" name="Oval 133"/>
            <p:cNvSpPr/>
            <p:nvPr/>
          </p:nvSpPr>
          <p:spPr>
            <a:xfrm>
              <a:off x="6715367" y="1797570"/>
              <a:ext cx="181822" cy="181822"/>
            </a:xfrm>
            <a:prstGeom prst="ellipse">
              <a:avLst/>
            </a:prstGeom>
            <a:solidFill>
              <a:srgbClr val="EE77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sp>
          <p:nvSpPr>
            <p:cNvPr id="135" name="Oval 134"/>
            <p:cNvSpPr/>
            <p:nvPr/>
          </p:nvSpPr>
          <p:spPr>
            <a:xfrm>
              <a:off x="6715367" y="2550407"/>
              <a:ext cx="181822" cy="181822"/>
            </a:xfrm>
            <a:prstGeom prst="ellipse">
              <a:avLst/>
            </a:prstGeom>
            <a:solidFill>
              <a:srgbClr val="FFCB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sp>
          <p:nvSpPr>
            <p:cNvPr id="136" name="Oval 135"/>
            <p:cNvSpPr/>
            <p:nvPr/>
          </p:nvSpPr>
          <p:spPr>
            <a:xfrm>
              <a:off x="6715367" y="3196767"/>
              <a:ext cx="181822" cy="181822"/>
            </a:xfrm>
            <a:prstGeom prst="ellipse">
              <a:avLst/>
            </a:prstGeom>
            <a:solidFill>
              <a:srgbClr val="BC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sp>
          <p:nvSpPr>
            <p:cNvPr id="137" name="Oval 136"/>
            <p:cNvSpPr/>
            <p:nvPr/>
          </p:nvSpPr>
          <p:spPr>
            <a:xfrm>
              <a:off x="6715367" y="4758319"/>
              <a:ext cx="181822" cy="181822"/>
            </a:xfrm>
            <a:prstGeom prst="ellipse">
              <a:avLst/>
            </a:prstGeom>
            <a:solidFill>
              <a:srgbClr val="5A8E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sp>
          <p:nvSpPr>
            <p:cNvPr id="138" name="Oval 137"/>
            <p:cNvSpPr/>
            <p:nvPr/>
          </p:nvSpPr>
          <p:spPr>
            <a:xfrm>
              <a:off x="6715367" y="5254127"/>
              <a:ext cx="181822" cy="181822"/>
            </a:xfrm>
            <a:prstGeom prst="ellipse">
              <a:avLst/>
            </a:prstGeom>
            <a:solidFill>
              <a:srgbClr val="B802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sp>
          <p:nvSpPr>
            <p:cNvPr id="139" name="Oval 138"/>
            <p:cNvSpPr/>
            <p:nvPr/>
          </p:nvSpPr>
          <p:spPr>
            <a:xfrm>
              <a:off x="6715367" y="5754362"/>
              <a:ext cx="181822" cy="181822"/>
            </a:xfrm>
            <a:prstGeom prst="ellipse">
              <a:avLst/>
            </a:prstGeom>
            <a:solidFill>
              <a:srgbClr val="BA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latin typeface="Arial" panose="020B0604020202020204" pitchFamily="34" charset="0"/>
                <a:cs typeface="Arial" panose="020B0604020202020204" pitchFamily="34" charset="0"/>
              </a:endParaRPr>
            </a:p>
          </p:txBody>
        </p:sp>
      </p:grpSp>
      <p:pic>
        <p:nvPicPr>
          <p:cNvPr id="140" name="Image 55" descr="CBE_Label_pptCorner.png"/>
          <p:cNvPicPr>
            <a:picLocks noChangeAspect="1"/>
          </p:cNvPicPr>
          <p:nvPr/>
        </p:nvPicPr>
        <p:blipFill>
          <a:blip r:embed="rId14" cstate="screen"/>
          <a:stretch>
            <a:fillRect/>
          </a:stretch>
        </p:blipFill>
        <p:spPr>
          <a:xfrm>
            <a:off x="6691607" y="3999799"/>
            <a:ext cx="189424" cy="188640"/>
          </a:xfrm>
          <a:prstGeom prst="rect">
            <a:avLst/>
          </a:prstGeom>
          <a:noFill/>
          <a:ln w="28575">
            <a:noFill/>
            <a:miter lim="800000"/>
            <a:headEnd/>
            <a:tailEnd/>
          </a:ln>
          <a:effectLst/>
        </p:spPr>
      </p:pic>
      <p:sp>
        <p:nvSpPr>
          <p:cNvPr id="141" name="Retângulo 40"/>
          <p:cNvSpPr/>
          <p:nvPr/>
        </p:nvSpPr>
        <p:spPr>
          <a:xfrm>
            <a:off x="428057" y="4663748"/>
            <a:ext cx="4579065" cy="151773"/>
          </a:xfrm>
          <a:prstGeom prst="rect">
            <a:avLst/>
          </a:prstGeom>
          <a:solidFill>
            <a:srgbClr val="53535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463" kern="0">
              <a:solidFill>
                <a:sysClr val="windowText" lastClr="000000"/>
              </a:solidFill>
              <a:latin typeface="Arial" panose="020B0604020202020204" pitchFamily="34" charset="0"/>
              <a:cs typeface="Arial" panose="020B0604020202020204" pitchFamily="34" charset="0"/>
            </a:endParaRPr>
          </a:p>
        </p:txBody>
      </p:sp>
      <p:sp>
        <p:nvSpPr>
          <p:cNvPr id="142" name="Retângulo 40"/>
          <p:cNvSpPr/>
          <p:nvPr/>
        </p:nvSpPr>
        <p:spPr>
          <a:xfrm>
            <a:off x="7234589" y="2100677"/>
            <a:ext cx="2077219" cy="151773"/>
          </a:xfrm>
          <a:prstGeom prst="rect">
            <a:avLst/>
          </a:prstGeom>
          <a:solidFill>
            <a:srgbClr val="53535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463" kern="0">
              <a:solidFill>
                <a:sysClr val="windowText" lastClr="000000"/>
              </a:solidFill>
              <a:latin typeface="Arial" panose="020B0604020202020204" pitchFamily="34" charset="0"/>
              <a:cs typeface="Arial" panose="020B0604020202020204" pitchFamily="34" charset="0"/>
            </a:endParaRPr>
          </a:p>
        </p:txBody>
      </p:sp>
      <p:grpSp>
        <p:nvGrpSpPr>
          <p:cNvPr id="72" name="Group 71"/>
          <p:cNvGrpSpPr/>
          <p:nvPr/>
        </p:nvGrpSpPr>
        <p:grpSpPr>
          <a:xfrm>
            <a:off x="1238" y="5758463"/>
            <a:ext cx="9903525" cy="456605"/>
            <a:chOff x="1524" y="6296025"/>
            <a:chExt cx="12188954" cy="561975"/>
          </a:xfrm>
        </p:grpSpPr>
        <p:pic>
          <p:nvPicPr>
            <p:cNvPr id="73" name="Imagem 21"/>
            <p:cNvPicPr>
              <a:picLocks noChangeAspect="1"/>
            </p:cNvPicPr>
            <p:nvPr/>
          </p:nvPicPr>
          <p:blipFill rotWithShape="1">
            <a:blip r:embed="rId15" cstate="print">
              <a:extLst>
                <a:ext uri="{28A0092B-C50C-407E-A947-70E740481C1C}">
                  <a14:useLocalDpi xmlns="" xmlns:a14="http://schemas.microsoft.com/office/drawing/2010/main" val="0"/>
                </a:ext>
              </a:extLst>
            </a:blip>
            <a:srcRect t="91806"/>
            <a:stretch/>
          </p:blipFill>
          <p:spPr>
            <a:xfrm>
              <a:off x="1524" y="6296025"/>
              <a:ext cx="12188954" cy="561975"/>
            </a:xfrm>
            <a:prstGeom prst="rect">
              <a:avLst/>
            </a:prstGeom>
          </p:spPr>
        </p:pic>
        <p:sp>
          <p:nvSpPr>
            <p:cNvPr id="74" name="Retângulo 43"/>
            <p:cNvSpPr/>
            <p:nvPr/>
          </p:nvSpPr>
          <p:spPr>
            <a:xfrm>
              <a:off x="10192035" y="6491446"/>
              <a:ext cx="1983188" cy="236751"/>
            </a:xfrm>
            <a:prstGeom prst="rect">
              <a:avLst/>
            </a:prstGeom>
          </p:spPr>
          <p:txBody>
            <a:bodyPr wrap="none">
              <a:spAutoFit/>
            </a:bodyPr>
            <a:lstStyle/>
            <a:p>
              <a:pPr algn="r"/>
              <a:r>
                <a:rPr lang="en-US" sz="650" dirty="0">
                  <a:solidFill>
                    <a:prstClr val="black">
                      <a:lumMod val="50000"/>
                      <a:lumOff val="50000"/>
                    </a:prstClr>
                  </a:solidFill>
                  <a:cs typeface="Arial" panose="020B0604020202020204" pitchFamily="34" charset="0"/>
                </a:rPr>
                <a:t>© 2017 Capgemini. All rights reserved.</a:t>
              </a:r>
            </a:p>
          </p:txBody>
        </p:sp>
        <p:sp>
          <p:nvSpPr>
            <p:cNvPr id="75" name="Retângulo 43"/>
            <p:cNvSpPr/>
            <p:nvPr/>
          </p:nvSpPr>
          <p:spPr>
            <a:xfrm>
              <a:off x="5865610" y="6491446"/>
              <a:ext cx="351577" cy="236751"/>
            </a:xfrm>
            <a:prstGeom prst="rect">
              <a:avLst/>
            </a:prstGeom>
          </p:spPr>
          <p:txBody>
            <a:bodyPr wrap="none">
              <a:spAutoFit/>
            </a:bodyPr>
            <a:lstStyle/>
            <a:p>
              <a:pPr algn="r"/>
              <a:fld id="{0502E5A9-B53C-401E-A0E0-4A359BB0A9E5}" type="slidenum">
                <a:rPr lang="en-US" sz="650">
                  <a:solidFill>
                    <a:prstClr val="black">
                      <a:lumMod val="50000"/>
                      <a:lumOff val="50000"/>
                    </a:prstClr>
                  </a:solidFill>
                  <a:cs typeface="Arial" panose="020B0604020202020204" pitchFamily="34" charset="0"/>
                </a:rPr>
                <a:pPr algn="r"/>
                <a:t>5</a:t>
              </a:fld>
              <a:endParaRPr lang="en-US" sz="650" dirty="0">
                <a:solidFill>
                  <a:prstClr val="black">
                    <a:lumMod val="50000"/>
                    <a:lumOff val="50000"/>
                  </a:prstClr>
                </a:solidFill>
                <a:cs typeface="Arial" panose="020B0604020202020204" pitchFamily="34" charset="0"/>
              </a:endParaRPr>
            </a:p>
          </p:txBody>
        </p:sp>
      </p:grpSp>
      <p:grpSp>
        <p:nvGrpSpPr>
          <p:cNvPr id="76" name="Group 26"/>
          <p:cNvGrpSpPr/>
          <p:nvPr/>
        </p:nvGrpSpPr>
        <p:grpSpPr>
          <a:xfrm>
            <a:off x="5304834" y="5872365"/>
            <a:ext cx="2748836" cy="267485"/>
            <a:chOff x="188417" y="2133493"/>
            <a:chExt cx="4888817" cy="475722"/>
          </a:xfrm>
        </p:grpSpPr>
        <p:sp>
          <p:nvSpPr>
            <p:cNvPr id="77" name="Rectangle 76">
              <a:hlinkClick r:id="rId16"/>
            </p:cNvPr>
            <p:cNvSpPr/>
            <p:nvPr/>
          </p:nvSpPr>
          <p:spPr>
            <a:xfrm>
              <a:off x="188417" y="2208677"/>
              <a:ext cx="4389488" cy="372219"/>
            </a:xfrm>
            <a:prstGeom prst="rect">
              <a:avLst/>
            </a:prstGeom>
          </p:spPr>
          <p:txBody>
            <a:bodyPr wrap="square">
              <a:spAutoFit/>
            </a:bodyPr>
            <a:lstStyle/>
            <a:p>
              <a:pPr algn="r" defTabSz="742950">
                <a:lnSpc>
                  <a:spcPct val="85000"/>
                </a:lnSpc>
                <a:defRPr/>
              </a:pPr>
              <a:r>
                <a:rPr lang="en-US" sz="894" kern="0" dirty="0">
                  <a:solidFill>
                    <a:srgbClr val="00458D"/>
                  </a:solidFill>
                  <a:latin typeface="Arial" panose="020B0604020202020204" pitchFamily="34" charset="0"/>
                  <a:cs typeface="Arial" panose="020B0604020202020204" pitchFamily="34" charset="0"/>
                  <a:hlinkClick r:id="rId17"/>
                </a:rPr>
                <a:t>www.capgemini.com/about/group/history</a:t>
              </a:r>
              <a:endParaRPr lang="en-US" sz="894" kern="0" dirty="0">
                <a:solidFill>
                  <a:srgbClr val="00458D"/>
                </a:solidFill>
                <a:latin typeface="Arial" panose="020B0604020202020204" pitchFamily="34" charset="0"/>
                <a:cs typeface="Arial" panose="020B0604020202020204" pitchFamily="34" charset="0"/>
              </a:endParaRPr>
            </a:p>
          </p:txBody>
        </p:sp>
        <p:sp>
          <p:nvSpPr>
            <p:cNvPr id="78" name="Elipse 14"/>
            <p:cNvSpPr/>
            <p:nvPr/>
          </p:nvSpPr>
          <p:spPr>
            <a:xfrm>
              <a:off x="4601508" y="2133493"/>
              <a:ext cx="475726" cy="475722"/>
            </a:xfrm>
            <a:prstGeom prst="ellipse">
              <a:avLst/>
            </a:prstGeom>
            <a:solidFill>
              <a:srgbClr val="0045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rgbClr val="9F958F">
                    <a:lumMod val="50000"/>
                  </a:srgbClr>
                </a:solidFill>
                <a:latin typeface="Arial" panose="020B0604020202020204" pitchFamily="34" charset="0"/>
                <a:cs typeface="Arial" panose="020B0604020202020204" pitchFamily="34" charset="0"/>
              </a:endParaRPr>
            </a:p>
          </p:txBody>
        </p:sp>
        <p:grpSp>
          <p:nvGrpSpPr>
            <p:cNvPr id="79" name="Group 11"/>
            <p:cNvGrpSpPr>
              <a:grpSpLocks noChangeAspect="1"/>
            </p:cNvGrpSpPr>
            <p:nvPr/>
          </p:nvGrpSpPr>
          <p:grpSpPr bwMode="auto">
            <a:xfrm>
              <a:off x="4747799" y="2254209"/>
              <a:ext cx="238408" cy="241383"/>
              <a:chOff x="48934" y="296"/>
              <a:chExt cx="2884" cy="2920"/>
            </a:xfrm>
            <a:solidFill>
              <a:srgbClr val="324146"/>
            </a:solidFill>
          </p:grpSpPr>
          <p:sp>
            <p:nvSpPr>
              <p:cNvPr id="80" name="Freeform 13"/>
              <p:cNvSpPr>
                <a:spLocks noEditPoints="1"/>
              </p:cNvSpPr>
              <p:nvPr/>
            </p:nvSpPr>
            <p:spPr bwMode="auto">
              <a:xfrm>
                <a:off x="48934" y="296"/>
                <a:ext cx="1821" cy="2920"/>
              </a:xfrm>
              <a:custGeom>
                <a:avLst/>
                <a:gdLst>
                  <a:gd name="T0" fmla="*/ 343 w 3642"/>
                  <a:gd name="T1" fmla="*/ 539 h 5840"/>
                  <a:gd name="T2" fmla="*/ 343 w 3642"/>
                  <a:gd name="T3" fmla="*/ 5301 h 5840"/>
                  <a:gd name="T4" fmla="*/ 3201 w 3642"/>
                  <a:gd name="T5" fmla="*/ 2920 h 5840"/>
                  <a:gd name="T6" fmla="*/ 343 w 3642"/>
                  <a:gd name="T7" fmla="*/ 539 h 5840"/>
                  <a:gd name="T8" fmla="*/ 174 w 3642"/>
                  <a:gd name="T9" fmla="*/ 0 h 5840"/>
                  <a:gd name="T10" fmla="*/ 213 w 3642"/>
                  <a:gd name="T11" fmla="*/ 6 h 5840"/>
                  <a:gd name="T12" fmla="*/ 249 w 3642"/>
                  <a:gd name="T13" fmla="*/ 18 h 5840"/>
                  <a:gd name="T14" fmla="*/ 281 w 3642"/>
                  <a:gd name="T15" fmla="*/ 40 h 5840"/>
                  <a:gd name="T16" fmla="*/ 3579 w 3642"/>
                  <a:gd name="T17" fmla="*/ 2789 h 5840"/>
                  <a:gd name="T18" fmla="*/ 3606 w 3642"/>
                  <a:gd name="T19" fmla="*/ 2815 h 5840"/>
                  <a:gd name="T20" fmla="*/ 3626 w 3642"/>
                  <a:gd name="T21" fmla="*/ 2847 h 5840"/>
                  <a:gd name="T22" fmla="*/ 3636 w 3642"/>
                  <a:gd name="T23" fmla="*/ 2883 h 5840"/>
                  <a:gd name="T24" fmla="*/ 3642 w 3642"/>
                  <a:gd name="T25" fmla="*/ 2920 h 5840"/>
                  <a:gd name="T26" fmla="*/ 3636 w 3642"/>
                  <a:gd name="T27" fmla="*/ 2958 h 5840"/>
                  <a:gd name="T28" fmla="*/ 3626 w 3642"/>
                  <a:gd name="T29" fmla="*/ 2993 h 5840"/>
                  <a:gd name="T30" fmla="*/ 3606 w 3642"/>
                  <a:gd name="T31" fmla="*/ 3025 h 5840"/>
                  <a:gd name="T32" fmla="*/ 3579 w 3642"/>
                  <a:gd name="T33" fmla="*/ 3052 h 5840"/>
                  <a:gd name="T34" fmla="*/ 281 w 3642"/>
                  <a:gd name="T35" fmla="*/ 5801 h 5840"/>
                  <a:gd name="T36" fmla="*/ 247 w 3642"/>
                  <a:gd name="T37" fmla="*/ 5822 h 5840"/>
                  <a:gd name="T38" fmla="*/ 212 w 3642"/>
                  <a:gd name="T39" fmla="*/ 5835 h 5840"/>
                  <a:gd name="T40" fmla="*/ 172 w 3642"/>
                  <a:gd name="T41" fmla="*/ 5840 h 5840"/>
                  <a:gd name="T42" fmla="*/ 135 w 3642"/>
                  <a:gd name="T43" fmla="*/ 5836 h 5840"/>
                  <a:gd name="T44" fmla="*/ 100 w 3642"/>
                  <a:gd name="T45" fmla="*/ 5824 h 5840"/>
                  <a:gd name="T46" fmla="*/ 66 w 3642"/>
                  <a:gd name="T47" fmla="*/ 5803 h 5840"/>
                  <a:gd name="T48" fmla="*/ 37 w 3642"/>
                  <a:gd name="T49" fmla="*/ 5776 h 5840"/>
                  <a:gd name="T50" fmla="*/ 18 w 3642"/>
                  <a:gd name="T51" fmla="*/ 5744 h 5840"/>
                  <a:gd name="T52" fmla="*/ 5 w 3642"/>
                  <a:gd name="T53" fmla="*/ 5707 h 5840"/>
                  <a:gd name="T54" fmla="*/ 0 w 3642"/>
                  <a:gd name="T55" fmla="*/ 5668 h 5840"/>
                  <a:gd name="T56" fmla="*/ 0 w 3642"/>
                  <a:gd name="T57" fmla="*/ 171 h 5840"/>
                  <a:gd name="T58" fmla="*/ 5 w 3642"/>
                  <a:gd name="T59" fmla="*/ 132 h 5840"/>
                  <a:gd name="T60" fmla="*/ 18 w 3642"/>
                  <a:gd name="T61" fmla="*/ 96 h 5840"/>
                  <a:gd name="T62" fmla="*/ 37 w 3642"/>
                  <a:gd name="T63" fmla="*/ 64 h 5840"/>
                  <a:gd name="T64" fmla="*/ 66 w 3642"/>
                  <a:gd name="T65" fmla="*/ 36 h 5840"/>
                  <a:gd name="T66" fmla="*/ 100 w 3642"/>
                  <a:gd name="T67" fmla="*/ 16 h 5840"/>
                  <a:gd name="T68" fmla="*/ 137 w 3642"/>
                  <a:gd name="T69" fmla="*/ 4 h 5840"/>
                  <a:gd name="T70" fmla="*/ 174 w 3642"/>
                  <a:gd name="T71" fmla="*/ 0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42" h="5840">
                    <a:moveTo>
                      <a:pt x="343" y="539"/>
                    </a:moveTo>
                    <a:lnTo>
                      <a:pt x="343" y="5301"/>
                    </a:lnTo>
                    <a:lnTo>
                      <a:pt x="3201" y="2920"/>
                    </a:lnTo>
                    <a:lnTo>
                      <a:pt x="343" y="539"/>
                    </a:lnTo>
                    <a:close/>
                    <a:moveTo>
                      <a:pt x="174" y="0"/>
                    </a:moveTo>
                    <a:lnTo>
                      <a:pt x="213" y="6"/>
                    </a:lnTo>
                    <a:lnTo>
                      <a:pt x="249" y="18"/>
                    </a:lnTo>
                    <a:lnTo>
                      <a:pt x="281" y="40"/>
                    </a:lnTo>
                    <a:lnTo>
                      <a:pt x="3579" y="2789"/>
                    </a:lnTo>
                    <a:lnTo>
                      <a:pt x="3606" y="2815"/>
                    </a:lnTo>
                    <a:lnTo>
                      <a:pt x="3626" y="2847"/>
                    </a:lnTo>
                    <a:lnTo>
                      <a:pt x="3636" y="2883"/>
                    </a:lnTo>
                    <a:lnTo>
                      <a:pt x="3642" y="2920"/>
                    </a:lnTo>
                    <a:lnTo>
                      <a:pt x="3636" y="2958"/>
                    </a:lnTo>
                    <a:lnTo>
                      <a:pt x="3626" y="2993"/>
                    </a:lnTo>
                    <a:lnTo>
                      <a:pt x="3606" y="3025"/>
                    </a:lnTo>
                    <a:lnTo>
                      <a:pt x="3579" y="3052"/>
                    </a:lnTo>
                    <a:lnTo>
                      <a:pt x="281" y="5801"/>
                    </a:lnTo>
                    <a:lnTo>
                      <a:pt x="247" y="5822"/>
                    </a:lnTo>
                    <a:lnTo>
                      <a:pt x="212" y="5835"/>
                    </a:lnTo>
                    <a:lnTo>
                      <a:pt x="172" y="5840"/>
                    </a:lnTo>
                    <a:lnTo>
                      <a:pt x="135" y="5836"/>
                    </a:lnTo>
                    <a:lnTo>
                      <a:pt x="100" y="5824"/>
                    </a:lnTo>
                    <a:lnTo>
                      <a:pt x="66" y="5803"/>
                    </a:lnTo>
                    <a:lnTo>
                      <a:pt x="37" y="5776"/>
                    </a:lnTo>
                    <a:lnTo>
                      <a:pt x="18" y="5744"/>
                    </a:lnTo>
                    <a:lnTo>
                      <a:pt x="5" y="5707"/>
                    </a:lnTo>
                    <a:lnTo>
                      <a:pt x="0" y="5668"/>
                    </a:lnTo>
                    <a:lnTo>
                      <a:pt x="0" y="171"/>
                    </a:lnTo>
                    <a:lnTo>
                      <a:pt x="5" y="132"/>
                    </a:lnTo>
                    <a:lnTo>
                      <a:pt x="18" y="96"/>
                    </a:lnTo>
                    <a:lnTo>
                      <a:pt x="37" y="64"/>
                    </a:lnTo>
                    <a:lnTo>
                      <a:pt x="66" y="36"/>
                    </a:lnTo>
                    <a:lnTo>
                      <a:pt x="100" y="16"/>
                    </a:lnTo>
                    <a:lnTo>
                      <a:pt x="137" y="4"/>
                    </a:lnTo>
                    <a:lnTo>
                      <a:pt x="174" y="0"/>
                    </a:lnTo>
                    <a:close/>
                  </a:path>
                </a:pathLst>
              </a:custGeom>
              <a:solidFill>
                <a:schemeClr val="bg1"/>
              </a:solidFill>
              <a:ln w="0">
                <a:noFill/>
                <a:prstDash val="solid"/>
                <a:round/>
                <a:headEnd/>
                <a:tailEnd/>
              </a:ln>
            </p:spPr>
            <p:txBody>
              <a:bodyPr vert="horz" wrap="square" lIns="74295" tIns="37148" rIns="74295" bIns="37148" numCol="1" anchor="t" anchorCtr="0" compatLnSpc="1">
                <a:prstTxWarp prst="textNoShape">
                  <a:avLst/>
                </a:prstTxWarp>
              </a:bodyPr>
              <a:lstStyle/>
              <a:p>
                <a:pPr defTabSz="742950">
                  <a:defRPr/>
                </a:pPr>
                <a:endParaRPr lang="pt-PT" sz="1463" kern="0">
                  <a:solidFill>
                    <a:srgbClr val="00264A"/>
                  </a:solidFill>
                  <a:latin typeface="Arial" panose="020B0604020202020204" pitchFamily="34" charset="0"/>
                  <a:cs typeface="Arial" panose="020B0604020202020204" pitchFamily="34" charset="0"/>
                </a:endParaRPr>
              </a:p>
            </p:txBody>
          </p:sp>
          <p:sp>
            <p:nvSpPr>
              <p:cNvPr id="81" name="Freeform 14"/>
              <p:cNvSpPr>
                <a:spLocks/>
              </p:cNvSpPr>
              <p:nvPr/>
            </p:nvSpPr>
            <p:spPr bwMode="auto">
              <a:xfrm>
                <a:off x="49998" y="296"/>
                <a:ext cx="1820" cy="2920"/>
              </a:xfrm>
              <a:custGeom>
                <a:avLst/>
                <a:gdLst>
                  <a:gd name="T0" fmla="*/ 212 w 3640"/>
                  <a:gd name="T1" fmla="*/ 6 h 5840"/>
                  <a:gd name="T2" fmla="*/ 281 w 3640"/>
                  <a:gd name="T3" fmla="*/ 40 h 5840"/>
                  <a:gd name="T4" fmla="*/ 3605 w 3640"/>
                  <a:gd name="T5" fmla="*/ 2815 h 5840"/>
                  <a:gd name="T6" fmla="*/ 3637 w 3640"/>
                  <a:gd name="T7" fmla="*/ 2883 h 5840"/>
                  <a:gd name="T8" fmla="*/ 3637 w 3640"/>
                  <a:gd name="T9" fmla="*/ 2958 h 5840"/>
                  <a:gd name="T10" fmla="*/ 3605 w 3640"/>
                  <a:gd name="T11" fmla="*/ 3025 h 5840"/>
                  <a:gd name="T12" fmla="*/ 281 w 3640"/>
                  <a:gd name="T13" fmla="*/ 5801 h 5840"/>
                  <a:gd name="T14" fmla="*/ 210 w 3640"/>
                  <a:gd name="T15" fmla="*/ 5835 h 5840"/>
                  <a:gd name="T16" fmla="*/ 134 w 3640"/>
                  <a:gd name="T17" fmla="*/ 5836 h 5840"/>
                  <a:gd name="T18" fmla="*/ 65 w 3640"/>
                  <a:gd name="T19" fmla="*/ 5803 h 5840"/>
                  <a:gd name="T20" fmla="*/ 16 w 3640"/>
                  <a:gd name="T21" fmla="*/ 5744 h 5840"/>
                  <a:gd name="T22" fmla="*/ 0 w 3640"/>
                  <a:gd name="T23" fmla="*/ 5668 h 5840"/>
                  <a:gd name="T24" fmla="*/ 4 w 3640"/>
                  <a:gd name="T25" fmla="*/ 4778 h 5840"/>
                  <a:gd name="T26" fmla="*/ 38 w 3640"/>
                  <a:gd name="T27" fmla="*/ 4709 h 5840"/>
                  <a:gd name="T28" fmla="*/ 97 w 3640"/>
                  <a:gd name="T29" fmla="*/ 4663 h 5840"/>
                  <a:gd name="T30" fmla="*/ 171 w 3640"/>
                  <a:gd name="T31" fmla="*/ 4645 h 5840"/>
                  <a:gd name="T32" fmla="*/ 248 w 3640"/>
                  <a:gd name="T33" fmla="*/ 4663 h 5840"/>
                  <a:gd name="T34" fmla="*/ 306 w 3640"/>
                  <a:gd name="T35" fmla="*/ 4709 h 5840"/>
                  <a:gd name="T36" fmla="*/ 338 w 3640"/>
                  <a:gd name="T37" fmla="*/ 4778 h 5840"/>
                  <a:gd name="T38" fmla="*/ 344 w 3640"/>
                  <a:gd name="T39" fmla="*/ 5301 h 5840"/>
                  <a:gd name="T40" fmla="*/ 344 w 3640"/>
                  <a:gd name="T41" fmla="*/ 539 h 5840"/>
                  <a:gd name="T42" fmla="*/ 338 w 3640"/>
                  <a:gd name="T43" fmla="*/ 1062 h 5840"/>
                  <a:gd name="T44" fmla="*/ 306 w 3640"/>
                  <a:gd name="T45" fmla="*/ 1130 h 5840"/>
                  <a:gd name="T46" fmla="*/ 248 w 3640"/>
                  <a:gd name="T47" fmla="*/ 1178 h 5840"/>
                  <a:gd name="T48" fmla="*/ 171 w 3640"/>
                  <a:gd name="T49" fmla="*/ 1195 h 5840"/>
                  <a:gd name="T50" fmla="*/ 97 w 3640"/>
                  <a:gd name="T51" fmla="*/ 1178 h 5840"/>
                  <a:gd name="T52" fmla="*/ 38 w 3640"/>
                  <a:gd name="T53" fmla="*/ 1130 h 5840"/>
                  <a:gd name="T54" fmla="*/ 4 w 3640"/>
                  <a:gd name="T55" fmla="*/ 1062 h 5840"/>
                  <a:gd name="T56" fmla="*/ 0 w 3640"/>
                  <a:gd name="T57" fmla="*/ 171 h 5840"/>
                  <a:gd name="T58" fmla="*/ 16 w 3640"/>
                  <a:gd name="T59" fmla="*/ 96 h 5840"/>
                  <a:gd name="T60" fmla="*/ 65 w 3640"/>
                  <a:gd name="T61" fmla="*/ 38 h 5840"/>
                  <a:gd name="T62" fmla="*/ 136 w 3640"/>
                  <a:gd name="T63" fmla="*/ 4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0" h="5840">
                    <a:moveTo>
                      <a:pt x="175" y="0"/>
                    </a:moveTo>
                    <a:lnTo>
                      <a:pt x="212" y="6"/>
                    </a:lnTo>
                    <a:lnTo>
                      <a:pt x="248" y="18"/>
                    </a:lnTo>
                    <a:lnTo>
                      <a:pt x="281" y="40"/>
                    </a:lnTo>
                    <a:lnTo>
                      <a:pt x="3580" y="2789"/>
                    </a:lnTo>
                    <a:lnTo>
                      <a:pt x="3605" y="2815"/>
                    </a:lnTo>
                    <a:lnTo>
                      <a:pt x="3624" y="2847"/>
                    </a:lnTo>
                    <a:lnTo>
                      <a:pt x="3637" y="2883"/>
                    </a:lnTo>
                    <a:lnTo>
                      <a:pt x="3640" y="2920"/>
                    </a:lnTo>
                    <a:lnTo>
                      <a:pt x="3637" y="2958"/>
                    </a:lnTo>
                    <a:lnTo>
                      <a:pt x="3624" y="2993"/>
                    </a:lnTo>
                    <a:lnTo>
                      <a:pt x="3605" y="3025"/>
                    </a:lnTo>
                    <a:lnTo>
                      <a:pt x="3580" y="3052"/>
                    </a:lnTo>
                    <a:lnTo>
                      <a:pt x="281" y="5801"/>
                    </a:lnTo>
                    <a:lnTo>
                      <a:pt x="248" y="5822"/>
                    </a:lnTo>
                    <a:lnTo>
                      <a:pt x="210" y="5835"/>
                    </a:lnTo>
                    <a:lnTo>
                      <a:pt x="171" y="5840"/>
                    </a:lnTo>
                    <a:lnTo>
                      <a:pt x="134" y="5836"/>
                    </a:lnTo>
                    <a:lnTo>
                      <a:pt x="98" y="5824"/>
                    </a:lnTo>
                    <a:lnTo>
                      <a:pt x="65" y="5803"/>
                    </a:lnTo>
                    <a:lnTo>
                      <a:pt x="38" y="5776"/>
                    </a:lnTo>
                    <a:lnTo>
                      <a:pt x="16" y="5744"/>
                    </a:lnTo>
                    <a:lnTo>
                      <a:pt x="4" y="5707"/>
                    </a:lnTo>
                    <a:lnTo>
                      <a:pt x="0" y="5668"/>
                    </a:lnTo>
                    <a:lnTo>
                      <a:pt x="0" y="4818"/>
                    </a:lnTo>
                    <a:lnTo>
                      <a:pt x="4" y="4778"/>
                    </a:lnTo>
                    <a:lnTo>
                      <a:pt x="16" y="4741"/>
                    </a:lnTo>
                    <a:lnTo>
                      <a:pt x="38" y="4709"/>
                    </a:lnTo>
                    <a:lnTo>
                      <a:pt x="65" y="4682"/>
                    </a:lnTo>
                    <a:lnTo>
                      <a:pt x="97" y="4663"/>
                    </a:lnTo>
                    <a:lnTo>
                      <a:pt x="132" y="4650"/>
                    </a:lnTo>
                    <a:lnTo>
                      <a:pt x="171" y="4645"/>
                    </a:lnTo>
                    <a:lnTo>
                      <a:pt x="210" y="4650"/>
                    </a:lnTo>
                    <a:lnTo>
                      <a:pt x="248" y="4663"/>
                    </a:lnTo>
                    <a:lnTo>
                      <a:pt x="280" y="4682"/>
                    </a:lnTo>
                    <a:lnTo>
                      <a:pt x="306" y="4709"/>
                    </a:lnTo>
                    <a:lnTo>
                      <a:pt x="326" y="4741"/>
                    </a:lnTo>
                    <a:lnTo>
                      <a:pt x="338" y="4778"/>
                    </a:lnTo>
                    <a:lnTo>
                      <a:pt x="344" y="4818"/>
                    </a:lnTo>
                    <a:lnTo>
                      <a:pt x="344" y="5301"/>
                    </a:lnTo>
                    <a:lnTo>
                      <a:pt x="3201" y="2920"/>
                    </a:lnTo>
                    <a:lnTo>
                      <a:pt x="344" y="539"/>
                    </a:lnTo>
                    <a:lnTo>
                      <a:pt x="344" y="1023"/>
                    </a:lnTo>
                    <a:lnTo>
                      <a:pt x="338" y="1062"/>
                    </a:lnTo>
                    <a:lnTo>
                      <a:pt x="326" y="1098"/>
                    </a:lnTo>
                    <a:lnTo>
                      <a:pt x="306" y="1130"/>
                    </a:lnTo>
                    <a:lnTo>
                      <a:pt x="280" y="1156"/>
                    </a:lnTo>
                    <a:lnTo>
                      <a:pt x="248" y="1178"/>
                    </a:lnTo>
                    <a:lnTo>
                      <a:pt x="210" y="1190"/>
                    </a:lnTo>
                    <a:lnTo>
                      <a:pt x="171" y="1195"/>
                    </a:lnTo>
                    <a:lnTo>
                      <a:pt x="132" y="1190"/>
                    </a:lnTo>
                    <a:lnTo>
                      <a:pt x="97" y="1178"/>
                    </a:lnTo>
                    <a:lnTo>
                      <a:pt x="65" y="1156"/>
                    </a:lnTo>
                    <a:lnTo>
                      <a:pt x="38" y="1130"/>
                    </a:lnTo>
                    <a:lnTo>
                      <a:pt x="16" y="1098"/>
                    </a:lnTo>
                    <a:lnTo>
                      <a:pt x="4" y="1062"/>
                    </a:lnTo>
                    <a:lnTo>
                      <a:pt x="0" y="1023"/>
                    </a:lnTo>
                    <a:lnTo>
                      <a:pt x="0" y="171"/>
                    </a:lnTo>
                    <a:lnTo>
                      <a:pt x="4" y="132"/>
                    </a:lnTo>
                    <a:lnTo>
                      <a:pt x="16" y="96"/>
                    </a:lnTo>
                    <a:lnTo>
                      <a:pt x="38" y="64"/>
                    </a:lnTo>
                    <a:lnTo>
                      <a:pt x="65" y="38"/>
                    </a:lnTo>
                    <a:lnTo>
                      <a:pt x="98" y="16"/>
                    </a:lnTo>
                    <a:lnTo>
                      <a:pt x="136" y="4"/>
                    </a:lnTo>
                    <a:lnTo>
                      <a:pt x="175" y="0"/>
                    </a:lnTo>
                    <a:close/>
                  </a:path>
                </a:pathLst>
              </a:custGeom>
              <a:solidFill>
                <a:schemeClr val="bg1"/>
              </a:solidFill>
              <a:ln w="0">
                <a:noFill/>
                <a:prstDash val="solid"/>
                <a:round/>
                <a:headEnd/>
                <a:tailEnd/>
              </a:ln>
            </p:spPr>
            <p:txBody>
              <a:bodyPr vert="horz" wrap="square" lIns="74295" tIns="37148" rIns="74295" bIns="37148" numCol="1" anchor="t" anchorCtr="0" compatLnSpc="1">
                <a:prstTxWarp prst="textNoShape">
                  <a:avLst/>
                </a:prstTxWarp>
              </a:bodyPr>
              <a:lstStyle/>
              <a:p>
                <a:pPr defTabSz="742950">
                  <a:defRPr/>
                </a:pPr>
                <a:endParaRPr lang="pt-PT" sz="1463" kern="0">
                  <a:solidFill>
                    <a:srgbClr val="00264A"/>
                  </a:solidFill>
                  <a:latin typeface="Arial" panose="020B0604020202020204" pitchFamily="34" charset="0"/>
                  <a:cs typeface="Arial" panose="020B0604020202020204" pitchFamily="34" charset="0"/>
                </a:endParaRPr>
              </a:p>
            </p:txBody>
          </p:sp>
        </p:grpSp>
      </p:grpSp>
    </p:spTree>
    <p:extLst>
      <p:ext uri="{BB962C8B-B14F-4D97-AF65-F5344CB8AC3E}">
        <p14:creationId xmlns="" xmlns:p14="http://schemas.microsoft.com/office/powerpoint/2010/main" val="6426810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10"/>
                                        </p:tgtEl>
                                        <p:attrNameLst>
                                          <p:attrName>style.visibility</p:attrName>
                                        </p:attrNameLst>
                                      </p:cBhvr>
                                      <p:to>
                                        <p:strVal val="visible"/>
                                      </p:to>
                                    </p:set>
                                    <p:animEffect transition="in" filter="wipe(down)">
                                      <p:cBhvr>
                                        <p:cTn id="7" dur="500"/>
                                        <p:tgtEl>
                                          <p:spTgt spid="110"/>
                                        </p:tgtEl>
                                      </p:cBhvr>
                                    </p:animEffect>
                                  </p:childTnLst>
                                </p:cTn>
                              </p:par>
                              <p:par>
                                <p:cTn id="8" presetID="22" presetClass="entr" presetSubtype="4" fill="hold" nodeType="withEffect">
                                  <p:stCondLst>
                                    <p:cond delay="0"/>
                                  </p:stCondLst>
                                  <p:childTnLst>
                                    <p:set>
                                      <p:cBhvr>
                                        <p:cTn id="9" dur="1" fill="hold">
                                          <p:stCondLst>
                                            <p:cond delay="0"/>
                                          </p:stCondLst>
                                        </p:cTn>
                                        <p:tgtEl>
                                          <p:spTgt spid="90"/>
                                        </p:tgtEl>
                                        <p:attrNameLst>
                                          <p:attrName>style.visibility</p:attrName>
                                        </p:attrNameLst>
                                      </p:cBhvr>
                                      <p:to>
                                        <p:strVal val="visible"/>
                                      </p:to>
                                    </p:set>
                                    <p:animEffect transition="in" filter="wipe(down)">
                                      <p:cBhvr>
                                        <p:cTn id="10" dur="500"/>
                                        <p:tgtEl>
                                          <p:spTgt spid="90"/>
                                        </p:tgtEl>
                                      </p:cBhvr>
                                    </p:animEffect>
                                  </p:childTnLst>
                                </p:cTn>
                              </p:par>
                              <p:par>
                                <p:cTn id="11" presetID="10" presetClass="entr" presetSubtype="0" fill="hold" nodeType="withEffect">
                                  <p:stCondLst>
                                    <p:cond delay="0"/>
                                  </p:stCondLst>
                                  <p:childTnLst>
                                    <p:set>
                                      <p:cBhvr>
                                        <p:cTn id="12" dur="1" fill="hold">
                                          <p:stCondLst>
                                            <p:cond delay="0"/>
                                          </p:stCondLst>
                                        </p:cTn>
                                        <p:tgtEl>
                                          <p:spTgt spid="96"/>
                                        </p:tgtEl>
                                        <p:attrNameLst>
                                          <p:attrName>style.visibility</p:attrName>
                                        </p:attrNameLst>
                                      </p:cBhvr>
                                      <p:to>
                                        <p:strVal val="visible"/>
                                      </p:to>
                                    </p:set>
                                    <p:animEffect transition="in" filter="fade">
                                      <p:cBhvr>
                                        <p:cTn id="13" dur="500"/>
                                        <p:tgtEl>
                                          <p:spTgt spid="96"/>
                                        </p:tgtEl>
                                      </p:cBhvr>
                                    </p:animEffect>
                                  </p:childTnLst>
                                </p:cTn>
                              </p:par>
                              <p:par>
                                <p:cTn id="14" presetID="22" presetClass="entr" presetSubtype="1" fill="hold" nodeType="withEffect">
                                  <p:stCondLst>
                                    <p:cond delay="250"/>
                                  </p:stCondLst>
                                  <p:childTnLst>
                                    <p:set>
                                      <p:cBhvr>
                                        <p:cTn id="15" dur="1" fill="hold">
                                          <p:stCondLst>
                                            <p:cond delay="0"/>
                                          </p:stCondLst>
                                        </p:cTn>
                                        <p:tgtEl>
                                          <p:spTgt spid="117"/>
                                        </p:tgtEl>
                                        <p:attrNameLst>
                                          <p:attrName>style.visibility</p:attrName>
                                        </p:attrNameLst>
                                      </p:cBhvr>
                                      <p:to>
                                        <p:strVal val="visible"/>
                                      </p:to>
                                    </p:set>
                                    <p:animEffect transition="in" filter="wipe(up)">
                                      <p:cBhvr>
                                        <p:cTn id="16" dur="500"/>
                                        <p:tgtEl>
                                          <p:spTgt spid="117"/>
                                        </p:tgtEl>
                                      </p:cBhvr>
                                    </p:animEffect>
                                  </p:childTnLst>
                                </p:cTn>
                              </p:par>
                              <p:par>
                                <p:cTn id="17" presetID="10" presetClass="entr" presetSubtype="0" fill="hold" nodeType="withEffect">
                                  <p:stCondLst>
                                    <p:cond delay="250"/>
                                  </p:stCondLst>
                                  <p:childTnLst>
                                    <p:set>
                                      <p:cBhvr>
                                        <p:cTn id="18" dur="1" fill="hold">
                                          <p:stCondLst>
                                            <p:cond delay="0"/>
                                          </p:stCondLst>
                                        </p:cTn>
                                        <p:tgtEl>
                                          <p:spTgt spid="92"/>
                                        </p:tgtEl>
                                        <p:attrNameLst>
                                          <p:attrName>style.visibility</p:attrName>
                                        </p:attrNameLst>
                                      </p:cBhvr>
                                      <p:to>
                                        <p:strVal val="visible"/>
                                      </p:to>
                                    </p:set>
                                    <p:animEffect transition="in" filter="fade">
                                      <p:cBhvr>
                                        <p:cTn id="19" dur="500"/>
                                        <p:tgtEl>
                                          <p:spTgt spid="92"/>
                                        </p:tgtEl>
                                      </p:cBhvr>
                                    </p:animEffect>
                                  </p:childTnLst>
                                </p:cTn>
                              </p:par>
                              <p:par>
                                <p:cTn id="20" presetID="22" presetClass="entr" presetSubtype="4" fill="hold" nodeType="withEffect">
                                  <p:stCondLst>
                                    <p:cond delay="500"/>
                                  </p:stCondLst>
                                  <p:childTnLst>
                                    <p:set>
                                      <p:cBhvr>
                                        <p:cTn id="21" dur="1" fill="hold">
                                          <p:stCondLst>
                                            <p:cond delay="0"/>
                                          </p:stCondLst>
                                        </p:cTn>
                                        <p:tgtEl>
                                          <p:spTgt spid="124"/>
                                        </p:tgtEl>
                                        <p:attrNameLst>
                                          <p:attrName>style.visibility</p:attrName>
                                        </p:attrNameLst>
                                      </p:cBhvr>
                                      <p:to>
                                        <p:strVal val="visible"/>
                                      </p:to>
                                    </p:set>
                                    <p:animEffect transition="in" filter="wipe(down)">
                                      <p:cBhvr>
                                        <p:cTn id="22" dur="500"/>
                                        <p:tgtEl>
                                          <p:spTgt spid="124"/>
                                        </p:tgtEl>
                                      </p:cBhvr>
                                    </p:animEffect>
                                  </p:childTnLst>
                                </p:cTn>
                              </p:par>
                              <p:par>
                                <p:cTn id="23" presetID="10" presetClass="entr" presetSubtype="0" fill="hold" nodeType="withEffect">
                                  <p:stCondLst>
                                    <p:cond delay="500"/>
                                  </p:stCondLst>
                                  <p:childTnLst>
                                    <p:set>
                                      <p:cBhvr>
                                        <p:cTn id="24" dur="1" fill="hold">
                                          <p:stCondLst>
                                            <p:cond delay="0"/>
                                          </p:stCondLst>
                                        </p:cTn>
                                        <p:tgtEl>
                                          <p:spTgt spid="101"/>
                                        </p:tgtEl>
                                        <p:attrNameLst>
                                          <p:attrName>style.visibility</p:attrName>
                                        </p:attrNameLst>
                                      </p:cBhvr>
                                      <p:to>
                                        <p:strVal val="visible"/>
                                      </p:to>
                                    </p:set>
                                    <p:animEffect transition="in" filter="fade">
                                      <p:cBhvr>
                                        <p:cTn id="25" dur="500"/>
                                        <p:tgtEl>
                                          <p:spTgt spid="101"/>
                                        </p:tgtEl>
                                      </p:cBhvr>
                                    </p:animEffect>
                                  </p:childTnLst>
                                </p:cTn>
                              </p:par>
                              <p:par>
                                <p:cTn id="26" presetID="10" presetClass="entr" presetSubtype="0" fill="hold" nodeType="withEffect">
                                  <p:stCondLst>
                                    <p:cond delay="500"/>
                                  </p:stCondLst>
                                  <p:childTnLst>
                                    <p:set>
                                      <p:cBhvr>
                                        <p:cTn id="27" dur="1" fill="hold">
                                          <p:stCondLst>
                                            <p:cond delay="0"/>
                                          </p:stCondLst>
                                        </p:cTn>
                                        <p:tgtEl>
                                          <p:spTgt spid="140"/>
                                        </p:tgtEl>
                                        <p:attrNameLst>
                                          <p:attrName>style.visibility</p:attrName>
                                        </p:attrNameLst>
                                      </p:cBhvr>
                                      <p:to>
                                        <p:strVal val="visible"/>
                                      </p:to>
                                    </p:set>
                                    <p:animEffect transition="in" filter="fade">
                                      <p:cBhvr>
                                        <p:cTn id="28" dur="500"/>
                                        <p:tgtEl>
                                          <p:spTgt spid="140"/>
                                        </p:tgtEl>
                                      </p:cBhvr>
                                    </p:animEffect>
                                  </p:childTnLst>
                                </p:cTn>
                              </p:par>
                              <p:par>
                                <p:cTn id="29" presetID="22" presetClass="entr" presetSubtype="1" fill="hold" nodeType="withEffect">
                                  <p:stCondLst>
                                    <p:cond delay="1000"/>
                                  </p:stCondLst>
                                  <p:childTnLst>
                                    <p:set>
                                      <p:cBhvr>
                                        <p:cTn id="30" dur="1" fill="hold">
                                          <p:stCondLst>
                                            <p:cond delay="0"/>
                                          </p:stCondLst>
                                        </p:cTn>
                                        <p:tgtEl>
                                          <p:spTgt spid="131"/>
                                        </p:tgtEl>
                                        <p:attrNameLst>
                                          <p:attrName>style.visibility</p:attrName>
                                        </p:attrNameLst>
                                      </p:cBhvr>
                                      <p:to>
                                        <p:strVal val="visible"/>
                                      </p:to>
                                    </p:set>
                                    <p:animEffect transition="in" filter="wipe(up)">
                                      <p:cBhvr>
                                        <p:cTn id="31" dur="500"/>
                                        <p:tgtEl>
                                          <p:spTgt spid="131"/>
                                        </p:tgtEl>
                                      </p:cBhvr>
                                    </p:animEffect>
                                  </p:childTnLst>
                                </p:cTn>
                              </p:par>
                              <p:par>
                                <p:cTn id="32" presetID="10" presetClass="entr" presetSubtype="0" fill="hold" nodeType="withEffect">
                                  <p:stCondLst>
                                    <p:cond delay="1000"/>
                                  </p:stCondLst>
                                  <p:childTnLst>
                                    <p:set>
                                      <p:cBhvr>
                                        <p:cTn id="33" dur="1" fill="hold">
                                          <p:stCondLst>
                                            <p:cond delay="0"/>
                                          </p:stCondLst>
                                        </p:cTn>
                                        <p:tgtEl>
                                          <p:spTgt spid="107"/>
                                        </p:tgtEl>
                                        <p:attrNameLst>
                                          <p:attrName>style.visibility</p:attrName>
                                        </p:attrNameLst>
                                      </p:cBhvr>
                                      <p:to>
                                        <p:strVal val="visible"/>
                                      </p:to>
                                    </p:set>
                                    <p:animEffect transition="in" filter="fade">
                                      <p:cBhvr>
                                        <p:cTn id="34" dur="500"/>
                                        <p:tgtEl>
                                          <p:spTgt spid="107"/>
                                        </p:tgtEl>
                                      </p:cBhvr>
                                    </p:animEffect>
                                  </p:childTnLst>
                                </p:cTn>
                              </p:par>
                            </p:childTnLst>
                          </p:cTn>
                        </p:par>
                        <p:par>
                          <p:cTn id="35" fill="hold">
                            <p:stCondLst>
                              <p:cond delay="1500"/>
                            </p:stCondLst>
                            <p:childTnLst>
                              <p:par>
                                <p:cTn id="36" presetID="22" presetClass="entr" presetSubtype="8" fill="hold" grpId="0" nodeType="afterEffect">
                                  <p:stCondLst>
                                    <p:cond delay="0"/>
                                  </p:stCondLst>
                                  <p:childTnLst>
                                    <p:set>
                                      <p:cBhvr>
                                        <p:cTn id="37" dur="1" fill="hold">
                                          <p:stCondLst>
                                            <p:cond delay="0"/>
                                          </p:stCondLst>
                                        </p:cTn>
                                        <p:tgtEl>
                                          <p:spTgt spid="91"/>
                                        </p:tgtEl>
                                        <p:attrNameLst>
                                          <p:attrName>style.visibility</p:attrName>
                                        </p:attrNameLst>
                                      </p:cBhvr>
                                      <p:to>
                                        <p:strVal val="visible"/>
                                      </p:to>
                                    </p:set>
                                    <p:animEffect transition="in" filter="wipe(left)">
                                      <p:cBhvr>
                                        <p:cTn id="38" dur="500"/>
                                        <p:tgtEl>
                                          <p:spTgt spid="91"/>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89"/>
                                        </p:tgtEl>
                                        <p:attrNameLst>
                                          <p:attrName>style.visibility</p:attrName>
                                        </p:attrNameLst>
                                      </p:cBhvr>
                                      <p:to>
                                        <p:strVal val="visible"/>
                                      </p:to>
                                    </p:set>
                                    <p:animEffect transition="in" filter="wipe(left)">
                                      <p:cBhvr>
                                        <p:cTn id="41" dur="500"/>
                                        <p:tgtEl>
                                          <p:spTgt spid="89"/>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64"/>
                                        </p:tgtEl>
                                        <p:attrNameLst>
                                          <p:attrName>style.visibility</p:attrName>
                                        </p:attrNameLst>
                                      </p:cBhvr>
                                      <p:to>
                                        <p:strVal val="visible"/>
                                      </p:to>
                                    </p:set>
                                    <p:animEffect transition="in" filter="wipe(left)">
                                      <p:cBhvr>
                                        <p:cTn id="44" dur="500"/>
                                        <p:tgtEl>
                                          <p:spTgt spid="64"/>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85"/>
                                        </p:tgtEl>
                                        <p:attrNameLst>
                                          <p:attrName>style.visibility</p:attrName>
                                        </p:attrNameLst>
                                      </p:cBhvr>
                                      <p:to>
                                        <p:strVal val="visible"/>
                                      </p:to>
                                    </p:set>
                                    <p:animEffect transition="in" filter="wipe(left)">
                                      <p:cBhvr>
                                        <p:cTn id="47" dur="500"/>
                                        <p:tgtEl>
                                          <p:spTgt spid="85"/>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86"/>
                                        </p:tgtEl>
                                        <p:attrNameLst>
                                          <p:attrName>style.visibility</p:attrName>
                                        </p:attrNameLst>
                                      </p:cBhvr>
                                      <p:to>
                                        <p:strVal val="visible"/>
                                      </p:to>
                                    </p:set>
                                    <p:animEffect transition="in" filter="wipe(left)">
                                      <p:cBhvr>
                                        <p:cTn id="50" dur="500"/>
                                        <p:tgtEl>
                                          <p:spTgt spid="86"/>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88"/>
                                        </p:tgtEl>
                                        <p:attrNameLst>
                                          <p:attrName>style.visibility</p:attrName>
                                        </p:attrNameLst>
                                      </p:cBhvr>
                                      <p:to>
                                        <p:strVal val="visible"/>
                                      </p:to>
                                    </p:set>
                                    <p:animEffect transition="in" filter="wipe(left)">
                                      <p:cBhvr>
                                        <p:cTn id="53" dur="500"/>
                                        <p:tgtEl>
                                          <p:spTgt spid="88"/>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84"/>
                                        </p:tgtEl>
                                        <p:attrNameLst>
                                          <p:attrName>style.visibility</p:attrName>
                                        </p:attrNameLst>
                                      </p:cBhvr>
                                      <p:to>
                                        <p:strVal val="visible"/>
                                      </p:to>
                                    </p:set>
                                    <p:animEffect transition="in" filter="wipe(left)">
                                      <p:cBhvr>
                                        <p:cTn id="56" dur="500"/>
                                        <p:tgtEl>
                                          <p:spTgt spid="84"/>
                                        </p:tgtEl>
                                      </p:cBhvr>
                                    </p:animEffect>
                                  </p:childTnLst>
                                </p:cTn>
                              </p:par>
                              <p:par>
                                <p:cTn id="57" presetID="22" presetClass="entr" presetSubtype="8" fill="hold" grpId="0" nodeType="withEffect">
                                  <p:stCondLst>
                                    <p:cond delay="0"/>
                                  </p:stCondLst>
                                  <p:childTnLst>
                                    <p:set>
                                      <p:cBhvr>
                                        <p:cTn id="58" dur="1" fill="hold">
                                          <p:stCondLst>
                                            <p:cond delay="0"/>
                                          </p:stCondLst>
                                        </p:cTn>
                                        <p:tgtEl>
                                          <p:spTgt spid="87"/>
                                        </p:tgtEl>
                                        <p:attrNameLst>
                                          <p:attrName>style.visibility</p:attrName>
                                        </p:attrNameLst>
                                      </p:cBhvr>
                                      <p:to>
                                        <p:strVal val="visible"/>
                                      </p:to>
                                    </p:set>
                                    <p:animEffect transition="in" filter="wipe(left)">
                                      <p:cBhvr>
                                        <p:cTn id="59" dur="500"/>
                                        <p:tgtEl>
                                          <p:spTgt spid="87"/>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141"/>
                                        </p:tgtEl>
                                        <p:attrNameLst>
                                          <p:attrName>style.visibility</p:attrName>
                                        </p:attrNameLst>
                                      </p:cBhvr>
                                      <p:to>
                                        <p:strVal val="visible"/>
                                      </p:to>
                                    </p:set>
                                    <p:animEffect transition="in" filter="wipe(left)">
                                      <p:cBhvr>
                                        <p:cTn id="62" dur="500"/>
                                        <p:tgtEl>
                                          <p:spTgt spid="141"/>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60"/>
                                        </p:tgtEl>
                                        <p:attrNameLst>
                                          <p:attrName>style.visibility</p:attrName>
                                        </p:attrNameLst>
                                      </p:cBhvr>
                                      <p:to>
                                        <p:strVal val="visible"/>
                                      </p:to>
                                    </p:set>
                                    <p:animEffect transition="in" filter="wipe(left)">
                                      <p:cBhvr>
                                        <p:cTn id="65" dur="500"/>
                                        <p:tgtEl>
                                          <p:spTgt spid="60"/>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62"/>
                                        </p:tgtEl>
                                        <p:attrNameLst>
                                          <p:attrName>style.visibility</p:attrName>
                                        </p:attrNameLst>
                                      </p:cBhvr>
                                      <p:to>
                                        <p:strVal val="visible"/>
                                      </p:to>
                                    </p:set>
                                    <p:animEffect transition="in" filter="wipe(left)">
                                      <p:cBhvr>
                                        <p:cTn id="68" dur="500"/>
                                        <p:tgtEl>
                                          <p:spTgt spid="62"/>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66"/>
                                        </p:tgtEl>
                                        <p:attrNameLst>
                                          <p:attrName>style.visibility</p:attrName>
                                        </p:attrNameLst>
                                      </p:cBhvr>
                                      <p:to>
                                        <p:strVal val="visible"/>
                                      </p:to>
                                    </p:set>
                                    <p:animEffect transition="in" filter="wipe(left)">
                                      <p:cBhvr>
                                        <p:cTn id="71" dur="500"/>
                                        <p:tgtEl>
                                          <p:spTgt spid="66"/>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142"/>
                                        </p:tgtEl>
                                        <p:attrNameLst>
                                          <p:attrName>style.visibility</p:attrName>
                                        </p:attrNameLst>
                                      </p:cBhvr>
                                      <p:to>
                                        <p:strVal val="visible"/>
                                      </p:to>
                                    </p:set>
                                    <p:animEffect transition="in" filter="wipe(left)">
                                      <p:cBhvr>
                                        <p:cTn id="74" dur="500"/>
                                        <p:tgtEl>
                                          <p:spTgt spid="142"/>
                                        </p:tgtEl>
                                      </p:cBhvr>
                                    </p:animEffect>
                                  </p:childTnLst>
                                </p:cTn>
                              </p:par>
                              <p:par>
                                <p:cTn id="75" presetID="22" presetClass="entr" presetSubtype="8" fill="hold" grpId="0" nodeType="withEffect">
                                  <p:stCondLst>
                                    <p:cond delay="0"/>
                                  </p:stCondLst>
                                  <p:childTnLst>
                                    <p:set>
                                      <p:cBhvr>
                                        <p:cTn id="76" dur="1" fill="hold">
                                          <p:stCondLst>
                                            <p:cond delay="0"/>
                                          </p:stCondLst>
                                        </p:cTn>
                                        <p:tgtEl>
                                          <p:spTgt spid="58"/>
                                        </p:tgtEl>
                                        <p:attrNameLst>
                                          <p:attrName>style.visibility</p:attrName>
                                        </p:attrNameLst>
                                      </p:cBhvr>
                                      <p:to>
                                        <p:strVal val="visible"/>
                                      </p:to>
                                    </p:set>
                                    <p:animEffect transition="in" filter="wipe(left)">
                                      <p:cBhvr>
                                        <p:cTn id="77"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60" grpId="0" animBg="1"/>
      <p:bldP spid="62" grpId="0" animBg="1"/>
      <p:bldP spid="64" grpId="0" animBg="1"/>
      <p:bldP spid="66" grpId="0" animBg="1"/>
      <p:bldP spid="84" grpId="0" animBg="1"/>
      <p:bldP spid="85" grpId="0" animBg="1"/>
      <p:bldP spid="86" grpId="0" animBg="1"/>
      <p:bldP spid="87" grpId="0" animBg="1"/>
      <p:bldP spid="88" grpId="0" animBg="1"/>
      <p:bldP spid="89" grpId="0" animBg="1"/>
      <p:bldP spid="91" grpId="0" animBg="1"/>
      <p:bldP spid="141" grpId="0" animBg="1"/>
      <p:bldP spid="142"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R Genie App</a:t>
            </a:r>
            <a:endParaRPr lang="en-US" dirty="0"/>
          </a:p>
        </p:txBody>
      </p:sp>
      <p:pic>
        <p:nvPicPr>
          <p:cNvPr id="4" name="Content Placeholder 3" descr="D:\Users\samdeshm\Desktop\HR Help Desk\genie logo.png"/>
          <p:cNvPicPr>
            <a:picLocks noGrp="1" noChangeAspect="1" noChangeArrowheads="1"/>
          </p:cNvPicPr>
          <p:nvPr>
            <p:ph idx="1"/>
          </p:nvPr>
        </p:nvPicPr>
        <p:blipFill>
          <a:blip r:embed="rId2" cstate="print">
            <a:extLst>
              <a:ext uri="{28A0092B-C50C-407E-A947-70E740481C1C}">
                <a14:useLocalDpi xmlns="" xmlns:a14="http://schemas.microsoft.com/office/drawing/2010/main" val="0"/>
              </a:ext>
            </a:extLst>
          </a:blip>
          <a:srcRect/>
          <a:stretch>
            <a:fillRect/>
          </a:stretch>
        </p:blipFill>
        <p:spPr bwMode="auto">
          <a:xfrm>
            <a:off x="8530186" y="41969"/>
            <a:ext cx="960166" cy="960166"/>
          </a:xfrm>
          <a:prstGeom prst="rect">
            <a:avLst/>
          </a:prstGeom>
          <a:noFill/>
          <a:extLst>
            <a:ext uri="{909E8E84-426E-40DD-AFC4-6F175D3DCCD1}">
              <a14:hiddenFill xmlns="" xmlns:a14="http://schemas.microsoft.com/office/drawing/2010/main">
                <a:solidFill>
                  <a:srgbClr val="FFFFFF"/>
                </a:solidFill>
              </a14:hiddenFill>
            </a:ext>
          </a:extLst>
        </p:spPr>
      </p:pic>
      <p:grpSp>
        <p:nvGrpSpPr>
          <p:cNvPr id="5" name="Group 4"/>
          <p:cNvGrpSpPr/>
          <p:nvPr/>
        </p:nvGrpSpPr>
        <p:grpSpPr>
          <a:xfrm>
            <a:off x="506506" y="1124744"/>
            <a:ext cx="8736971" cy="4896544"/>
            <a:chOff x="506506" y="1124744"/>
            <a:chExt cx="8736971" cy="4896544"/>
          </a:xfrm>
        </p:grpSpPr>
        <p:pic>
          <p:nvPicPr>
            <p:cNvPr id="6" name="Picture 5" descr="未标题-26.png"/>
            <p:cNvPicPr>
              <a:picLocks noChangeAspect="1"/>
            </p:cNvPicPr>
            <p:nvPr/>
          </p:nvPicPr>
          <p:blipFill>
            <a:blip r:embed="rId3" cstate="print"/>
            <a:stretch>
              <a:fillRect/>
            </a:stretch>
          </p:blipFill>
          <p:spPr>
            <a:xfrm>
              <a:off x="3548845" y="1412776"/>
              <a:ext cx="2664208" cy="4608512"/>
            </a:xfrm>
            <a:prstGeom prst="rect">
              <a:avLst/>
            </a:prstGeom>
          </p:spPr>
        </p:pic>
        <p:sp>
          <p:nvSpPr>
            <p:cNvPr id="7" name="Rounded Rectangle 6"/>
            <p:cNvSpPr/>
            <p:nvPr/>
          </p:nvSpPr>
          <p:spPr bwMode="auto">
            <a:xfrm>
              <a:off x="698529" y="1196752"/>
              <a:ext cx="2556284" cy="324036"/>
            </a:xfrm>
            <a:prstGeom prst="roundRect">
              <a:avLst/>
            </a:prstGeom>
            <a:solidFill>
              <a:schemeClr val="bg1"/>
            </a:solidFill>
            <a:ln w="19050" cap="flat" cmpd="sng" algn="ctr">
              <a:solidFill>
                <a:schemeClr val="tx2">
                  <a:lumMod val="50000"/>
                </a:schemeClr>
              </a:solid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600" b="1" i="0" u="none" strike="noStrike" cap="none" normalizeH="0" baseline="0" dirty="0">
                  <a:ln>
                    <a:noFill/>
                  </a:ln>
                  <a:solidFill>
                    <a:schemeClr val="bg2">
                      <a:lumMod val="50000"/>
                    </a:schemeClr>
                  </a:solidFill>
                  <a:effectLst/>
                  <a:latin typeface="+mn-lt"/>
                  <a:cs typeface="Arial" charset="0"/>
                </a:rPr>
                <a:t>For the HR</a:t>
              </a:r>
              <a:r>
                <a:rPr kumimoji="0" lang="en-US" sz="1600" b="1" i="0" u="none" strike="noStrike" cap="none" normalizeH="0" dirty="0">
                  <a:ln>
                    <a:noFill/>
                  </a:ln>
                  <a:solidFill>
                    <a:schemeClr val="bg2">
                      <a:lumMod val="50000"/>
                    </a:schemeClr>
                  </a:solidFill>
                  <a:effectLst/>
                  <a:latin typeface="+mn-lt"/>
                  <a:cs typeface="Arial" charset="0"/>
                </a:rPr>
                <a:t> Professional</a:t>
              </a:r>
              <a:endParaRPr kumimoji="0" lang="en-US" sz="1600" b="1" i="0" u="none" strike="noStrike" cap="none" normalizeH="0" baseline="0" dirty="0">
                <a:ln>
                  <a:noFill/>
                </a:ln>
                <a:solidFill>
                  <a:schemeClr val="bg2">
                    <a:lumMod val="50000"/>
                  </a:schemeClr>
                </a:solidFill>
                <a:effectLst/>
                <a:latin typeface="+mn-lt"/>
                <a:cs typeface="Arial" charset="0"/>
              </a:endParaRPr>
            </a:p>
          </p:txBody>
        </p:sp>
        <p:sp>
          <p:nvSpPr>
            <p:cNvPr id="8" name="Rounded Rectangle 7"/>
            <p:cNvSpPr/>
            <p:nvPr/>
          </p:nvSpPr>
          <p:spPr bwMode="auto">
            <a:xfrm>
              <a:off x="6689643" y="1124744"/>
              <a:ext cx="2340260" cy="324036"/>
            </a:xfrm>
            <a:prstGeom prst="roundRect">
              <a:avLst/>
            </a:prstGeom>
            <a:solidFill>
              <a:schemeClr val="bg1"/>
            </a:solidFill>
            <a:ln w="19050" cap="flat" cmpd="sng" algn="ctr">
              <a:solidFill>
                <a:schemeClr val="tx2">
                  <a:lumMod val="50000"/>
                </a:schemeClr>
              </a:solid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600" b="1" i="0" u="none" strike="noStrike" cap="none" normalizeH="0" baseline="0" dirty="0">
                  <a:ln>
                    <a:noFill/>
                  </a:ln>
                  <a:solidFill>
                    <a:schemeClr val="bg2">
                      <a:lumMod val="50000"/>
                    </a:schemeClr>
                  </a:solidFill>
                  <a:effectLst/>
                  <a:latin typeface="+mn-lt"/>
                  <a:cs typeface="Arial" charset="0"/>
                </a:rPr>
                <a:t>For the Employee</a:t>
              </a:r>
            </a:p>
          </p:txBody>
        </p:sp>
        <p:grpSp>
          <p:nvGrpSpPr>
            <p:cNvPr id="9" name="Group 94"/>
            <p:cNvGrpSpPr/>
            <p:nvPr/>
          </p:nvGrpSpPr>
          <p:grpSpPr>
            <a:xfrm>
              <a:off x="6357156" y="1556792"/>
              <a:ext cx="1370678" cy="2016224"/>
              <a:chOff x="675935" y="2378288"/>
              <a:chExt cx="1538512" cy="2101423"/>
            </a:xfrm>
          </p:grpSpPr>
          <p:grpSp>
            <p:nvGrpSpPr>
              <p:cNvPr id="59" name="Group 64"/>
              <p:cNvGrpSpPr/>
              <p:nvPr/>
            </p:nvGrpSpPr>
            <p:grpSpPr>
              <a:xfrm>
                <a:off x="675935" y="2378288"/>
                <a:ext cx="1538512" cy="421482"/>
                <a:chOff x="4013" y="569468"/>
                <a:chExt cx="1538512" cy="421482"/>
              </a:xfrm>
            </p:grpSpPr>
            <p:sp>
              <p:nvSpPr>
                <p:cNvPr id="63" name="Rectangle 62"/>
                <p:cNvSpPr/>
                <p:nvPr/>
              </p:nvSpPr>
              <p:spPr>
                <a:xfrm>
                  <a:off x="4013" y="569468"/>
                  <a:ext cx="1538512" cy="421482"/>
                </a:xfrm>
                <a:prstGeom prst="rect">
                  <a:avLst/>
                </a:pr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64" name="Rectangle 63"/>
                <p:cNvSpPr/>
                <p:nvPr/>
              </p:nvSpPr>
              <p:spPr>
                <a:xfrm>
                  <a:off x="4013" y="569468"/>
                  <a:ext cx="1538512" cy="4214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100" kern="1200" dirty="0" smtClean="0"/>
                    <a:t>Event Calendar</a:t>
                  </a:r>
                  <a:endParaRPr lang="en-US" sz="1100" kern="1200" dirty="0"/>
                </a:p>
              </p:txBody>
            </p:sp>
          </p:grpSp>
          <p:grpSp>
            <p:nvGrpSpPr>
              <p:cNvPr id="60" name="Group 65"/>
              <p:cNvGrpSpPr/>
              <p:nvPr/>
            </p:nvGrpSpPr>
            <p:grpSpPr>
              <a:xfrm>
                <a:off x="675935" y="2799771"/>
                <a:ext cx="1538512" cy="1679940"/>
                <a:chOff x="4013" y="990951"/>
                <a:chExt cx="1538512" cy="1679940"/>
              </a:xfrm>
            </p:grpSpPr>
            <p:sp>
              <p:nvSpPr>
                <p:cNvPr id="61" name="Rectangle 60"/>
                <p:cNvSpPr/>
                <p:nvPr/>
              </p:nvSpPr>
              <p:spPr>
                <a:xfrm>
                  <a:off x="4013" y="990951"/>
                  <a:ext cx="1538512" cy="1679940"/>
                </a:xfrm>
                <a:prstGeom prst="rect">
                  <a:avLst/>
                </a:prstGeom>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sp>
            <p:sp>
              <p:nvSpPr>
                <p:cNvPr id="62" name="Rectangle 61"/>
                <p:cNvSpPr/>
                <p:nvPr/>
              </p:nvSpPr>
              <p:spPr>
                <a:xfrm>
                  <a:off x="4013" y="990951"/>
                  <a:ext cx="1538512" cy="167994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lvl="0">
                    <a:buFont typeface="Arial" pitchFamily="34" charset="0"/>
                    <a:buChar char="•"/>
                  </a:pPr>
                  <a:r>
                    <a:rPr lang="en-US" sz="1100" dirty="0" smtClean="0"/>
                    <a:t>Employees can comment and engage in activities they are interested in  </a:t>
                  </a:r>
                </a:p>
                <a:p>
                  <a:pPr>
                    <a:buFont typeface="Arial" pitchFamily="34" charset="0"/>
                    <a:buChar char="•"/>
                  </a:pPr>
                  <a:r>
                    <a:rPr lang="en-US" sz="1100" dirty="0" smtClean="0"/>
                    <a:t>Push notifications enabled</a:t>
                  </a:r>
                </a:p>
                <a:p>
                  <a:pPr>
                    <a:buFont typeface="Arial" pitchFamily="34" charset="0"/>
                    <a:buChar char="•"/>
                  </a:pPr>
                  <a:r>
                    <a:rPr lang="en-US" sz="1100" dirty="0" smtClean="0"/>
                    <a:t>Streamlined way to view all activities</a:t>
                  </a:r>
                </a:p>
                <a:p>
                  <a:pPr lvl="0">
                    <a:buFont typeface="Arial" pitchFamily="34" charset="0"/>
                    <a:buChar char="•"/>
                  </a:pPr>
                  <a:endParaRPr lang="en-US" sz="1100" dirty="0"/>
                </a:p>
              </p:txBody>
            </p:sp>
          </p:grpSp>
        </p:grpSp>
        <p:grpSp>
          <p:nvGrpSpPr>
            <p:cNvPr id="10" name="Group 95"/>
            <p:cNvGrpSpPr/>
            <p:nvPr/>
          </p:nvGrpSpPr>
          <p:grpSpPr>
            <a:xfrm>
              <a:off x="7941332" y="1556792"/>
              <a:ext cx="1302145" cy="2016224"/>
              <a:chOff x="2429839" y="2378288"/>
              <a:chExt cx="1538512" cy="2101423"/>
            </a:xfrm>
          </p:grpSpPr>
          <p:grpSp>
            <p:nvGrpSpPr>
              <p:cNvPr id="53" name="Group 66"/>
              <p:cNvGrpSpPr/>
              <p:nvPr/>
            </p:nvGrpSpPr>
            <p:grpSpPr>
              <a:xfrm>
                <a:off x="2429839" y="2378288"/>
                <a:ext cx="1538512" cy="421482"/>
                <a:chOff x="1757917" y="569468"/>
                <a:chExt cx="1538512" cy="421482"/>
              </a:xfrm>
            </p:grpSpPr>
            <p:sp>
              <p:nvSpPr>
                <p:cNvPr id="57" name="Rectangle 56"/>
                <p:cNvSpPr/>
                <p:nvPr/>
              </p:nvSpPr>
              <p:spPr>
                <a:xfrm>
                  <a:off x="1757917" y="569468"/>
                  <a:ext cx="1538512" cy="421482"/>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58" name="Rectangle 57"/>
                <p:cNvSpPr/>
                <p:nvPr/>
              </p:nvSpPr>
              <p:spPr>
                <a:xfrm>
                  <a:off x="1757917" y="569468"/>
                  <a:ext cx="1538512" cy="4214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100" kern="1200" dirty="0" smtClean="0"/>
                    <a:t>Social</a:t>
                  </a:r>
                  <a:endParaRPr lang="en-US" sz="1100" kern="1200" dirty="0"/>
                </a:p>
              </p:txBody>
            </p:sp>
          </p:grpSp>
          <p:grpSp>
            <p:nvGrpSpPr>
              <p:cNvPr id="54" name="Group 67"/>
              <p:cNvGrpSpPr/>
              <p:nvPr/>
            </p:nvGrpSpPr>
            <p:grpSpPr>
              <a:xfrm>
                <a:off x="2429839" y="2799771"/>
                <a:ext cx="1538512" cy="1679940"/>
                <a:chOff x="1757917" y="990951"/>
                <a:chExt cx="1538512" cy="1679940"/>
              </a:xfrm>
            </p:grpSpPr>
            <p:sp>
              <p:nvSpPr>
                <p:cNvPr id="55" name="Rectangle 54"/>
                <p:cNvSpPr/>
                <p:nvPr/>
              </p:nvSpPr>
              <p:spPr>
                <a:xfrm>
                  <a:off x="1757917" y="990951"/>
                  <a:ext cx="1538512" cy="1679940"/>
                </a:xfrm>
                <a:prstGeom prst="rect">
                  <a:avLst/>
                </a:prstGeom>
              </p:spPr>
              <p:style>
                <a:lnRef idx="2">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sp>
            <p:sp>
              <p:nvSpPr>
                <p:cNvPr id="56" name="Rectangle 55"/>
                <p:cNvSpPr/>
                <p:nvPr/>
              </p:nvSpPr>
              <p:spPr>
                <a:xfrm>
                  <a:off x="1757917" y="990951"/>
                  <a:ext cx="1538512" cy="167994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lvl="0">
                    <a:buFont typeface="Arial" pitchFamily="34" charset="0"/>
                    <a:buChar char="•"/>
                  </a:pPr>
                  <a:r>
                    <a:rPr lang="en-US" sz="900" dirty="0" smtClean="0"/>
                    <a:t>Allows employees to share accomplishments </a:t>
                  </a:r>
                </a:p>
                <a:p>
                  <a:pPr lvl="0">
                    <a:buFont typeface="Arial" pitchFamily="34" charset="0"/>
                    <a:buChar char="•"/>
                  </a:pPr>
                  <a:r>
                    <a:rPr lang="en-US" sz="900" dirty="0" smtClean="0"/>
                    <a:t>Allows employees to see what their colleagues are up to around the world</a:t>
                  </a:r>
                </a:p>
                <a:p>
                  <a:pPr lvl="0">
                    <a:buFont typeface="Arial" pitchFamily="34" charset="0"/>
                    <a:buChar char="•"/>
                  </a:pPr>
                  <a:r>
                    <a:rPr lang="en-US" sz="900" dirty="0" smtClean="0"/>
                    <a:t>View media global or by location </a:t>
                  </a:r>
                </a:p>
                <a:p>
                  <a:pPr lvl="0">
                    <a:buFont typeface="Arial" pitchFamily="34" charset="0"/>
                    <a:buChar char="•"/>
                  </a:pPr>
                  <a:r>
                    <a:rPr lang="en-US" sz="900" dirty="0" smtClean="0"/>
                    <a:t>Like and comment on posts</a:t>
                  </a:r>
                  <a:endParaRPr lang="en-US" sz="900" dirty="0"/>
                </a:p>
              </p:txBody>
            </p:sp>
          </p:grpSp>
        </p:grpSp>
        <p:grpSp>
          <p:nvGrpSpPr>
            <p:cNvPr id="11" name="Group 24"/>
            <p:cNvGrpSpPr/>
            <p:nvPr/>
          </p:nvGrpSpPr>
          <p:grpSpPr>
            <a:xfrm>
              <a:off x="6357156" y="3717032"/>
              <a:ext cx="1404156" cy="2088232"/>
              <a:chOff x="4196072" y="2302973"/>
              <a:chExt cx="1513855" cy="2252053"/>
            </a:xfrm>
          </p:grpSpPr>
          <p:grpSp>
            <p:nvGrpSpPr>
              <p:cNvPr id="47" name="Group 18"/>
              <p:cNvGrpSpPr/>
              <p:nvPr/>
            </p:nvGrpSpPr>
            <p:grpSpPr>
              <a:xfrm>
                <a:off x="4196072" y="2302973"/>
                <a:ext cx="1513855" cy="379962"/>
                <a:chOff x="3455540" y="314133"/>
                <a:chExt cx="1513855" cy="379962"/>
              </a:xfrm>
            </p:grpSpPr>
            <p:sp>
              <p:nvSpPr>
                <p:cNvPr id="51" name="Rectangle 50"/>
                <p:cNvSpPr/>
                <p:nvPr/>
              </p:nvSpPr>
              <p:spPr>
                <a:xfrm>
                  <a:off x="3455540" y="314133"/>
                  <a:ext cx="1513855" cy="379962"/>
                </a:xfrm>
                <a:prstGeom prst="rect">
                  <a:avLst/>
                </a:pr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52" name="Rectangle 51"/>
                <p:cNvSpPr/>
                <p:nvPr/>
              </p:nvSpPr>
              <p:spPr>
                <a:xfrm>
                  <a:off x="3455540" y="314133"/>
                  <a:ext cx="1513855" cy="3799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44704" rIns="78232" bIns="44704" numCol="1" spcCol="1270" anchor="ctr" anchorCtr="0">
                  <a:noAutofit/>
                </a:bodyPr>
                <a:lstStyle/>
                <a:p>
                  <a:pPr lvl="0" algn="ctr" defTabSz="488950">
                    <a:lnSpc>
                      <a:spcPct val="90000"/>
                    </a:lnSpc>
                    <a:spcBef>
                      <a:spcPct val="0"/>
                    </a:spcBef>
                    <a:spcAft>
                      <a:spcPct val="35000"/>
                    </a:spcAft>
                  </a:pPr>
                  <a:r>
                    <a:rPr lang="en-US" sz="1100" kern="1200" dirty="0" smtClean="0"/>
                    <a:t>Survey/Mood Meter*</a:t>
                  </a:r>
                  <a:endParaRPr lang="en-US" sz="1100" kern="1200" dirty="0"/>
                </a:p>
              </p:txBody>
            </p:sp>
          </p:grpSp>
          <p:grpSp>
            <p:nvGrpSpPr>
              <p:cNvPr id="48" name="Group 19"/>
              <p:cNvGrpSpPr/>
              <p:nvPr/>
            </p:nvGrpSpPr>
            <p:grpSpPr>
              <a:xfrm>
                <a:off x="4196072" y="2682936"/>
                <a:ext cx="1513855" cy="1872090"/>
                <a:chOff x="3455540" y="694096"/>
                <a:chExt cx="1513855" cy="1872090"/>
              </a:xfrm>
            </p:grpSpPr>
            <p:sp>
              <p:nvSpPr>
                <p:cNvPr id="49" name="Rectangle 48"/>
                <p:cNvSpPr/>
                <p:nvPr/>
              </p:nvSpPr>
              <p:spPr>
                <a:xfrm>
                  <a:off x="3455540" y="694096"/>
                  <a:ext cx="1513855" cy="1872090"/>
                </a:xfrm>
                <a:prstGeom prst="rect">
                  <a:avLst/>
                </a:prstGeom>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sp>
            <p:sp>
              <p:nvSpPr>
                <p:cNvPr id="50" name="Rectangle 49"/>
                <p:cNvSpPr/>
                <p:nvPr/>
              </p:nvSpPr>
              <p:spPr>
                <a:xfrm>
                  <a:off x="3455540" y="694096"/>
                  <a:ext cx="1513855" cy="18720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r>
                    <a:rPr lang="en-US" sz="1100" kern="1200" dirty="0"/>
                    <a:t> </a:t>
                  </a:r>
                  <a:r>
                    <a:rPr lang="en-US" sz="1100" dirty="0" smtClean="0"/>
                    <a:t>Allows easier participation to polling surveys</a:t>
                  </a:r>
                </a:p>
                <a:p>
                  <a:pPr marL="57150" lvl="1" indent="-57150" algn="l" defTabSz="488950">
                    <a:lnSpc>
                      <a:spcPct val="90000"/>
                    </a:lnSpc>
                    <a:spcBef>
                      <a:spcPct val="0"/>
                    </a:spcBef>
                    <a:spcAft>
                      <a:spcPct val="15000"/>
                    </a:spcAft>
                    <a:buChar char="••"/>
                  </a:pPr>
                  <a:r>
                    <a:rPr lang="en-US" sz="1100" dirty="0" smtClean="0"/>
                    <a:t>Provide timely feedback</a:t>
                  </a:r>
                </a:p>
                <a:p>
                  <a:pPr marL="57150" lvl="1" indent="-57150" algn="l" defTabSz="488950">
                    <a:lnSpc>
                      <a:spcPct val="90000"/>
                    </a:lnSpc>
                    <a:spcBef>
                      <a:spcPct val="0"/>
                    </a:spcBef>
                    <a:spcAft>
                      <a:spcPct val="15000"/>
                    </a:spcAft>
                    <a:buChar char="••"/>
                  </a:pPr>
                  <a:r>
                    <a:rPr lang="en-US" sz="1100" dirty="0" smtClean="0"/>
                    <a:t>Plot feelings and describe why you have them</a:t>
                  </a:r>
                </a:p>
                <a:p>
                  <a:pPr marL="57150" lvl="1" indent="-57150" algn="l" defTabSz="488950">
                    <a:lnSpc>
                      <a:spcPct val="90000"/>
                    </a:lnSpc>
                    <a:spcBef>
                      <a:spcPct val="0"/>
                    </a:spcBef>
                    <a:spcAft>
                      <a:spcPct val="15000"/>
                    </a:spcAft>
                    <a:buChar char="••"/>
                  </a:pPr>
                  <a:r>
                    <a:rPr lang="en-US" sz="1100" dirty="0" smtClean="0"/>
                    <a:t>Share feelings with colleagues</a:t>
                  </a:r>
                </a:p>
                <a:p>
                  <a:pPr marL="57150" lvl="1" indent="-57150" algn="l" defTabSz="488950">
                    <a:lnSpc>
                      <a:spcPct val="90000"/>
                    </a:lnSpc>
                    <a:spcBef>
                      <a:spcPct val="0"/>
                    </a:spcBef>
                    <a:spcAft>
                      <a:spcPct val="15000"/>
                    </a:spcAft>
                    <a:buChar char="••"/>
                  </a:pPr>
                  <a:endParaRPr lang="en-US" sz="1100" dirty="0" smtClean="0"/>
                </a:p>
                <a:p>
                  <a:pPr marL="57150" lvl="1" indent="-57150" algn="l" defTabSz="488950">
                    <a:lnSpc>
                      <a:spcPct val="90000"/>
                    </a:lnSpc>
                    <a:spcBef>
                      <a:spcPct val="0"/>
                    </a:spcBef>
                    <a:spcAft>
                      <a:spcPct val="15000"/>
                    </a:spcAft>
                    <a:buChar char="••"/>
                  </a:pPr>
                  <a:endParaRPr lang="en-US" sz="1100" kern="1200" dirty="0"/>
                </a:p>
              </p:txBody>
            </p:sp>
          </p:grpSp>
        </p:grpSp>
        <p:grpSp>
          <p:nvGrpSpPr>
            <p:cNvPr id="12" name="Group 97"/>
            <p:cNvGrpSpPr/>
            <p:nvPr/>
          </p:nvGrpSpPr>
          <p:grpSpPr>
            <a:xfrm>
              <a:off x="7917330" y="3717032"/>
              <a:ext cx="1326147" cy="2088232"/>
              <a:chOff x="5937647" y="2378288"/>
              <a:chExt cx="1538512" cy="2101423"/>
            </a:xfrm>
          </p:grpSpPr>
          <p:grpSp>
            <p:nvGrpSpPr>
              <p:cNvPr id="41" name="Group 70"/>
              <p:cNvGrpSpPr/>
              <p:nvPr/>
            </p:nvGrpSpPr>
            <p:grpSpPr>
              <a:xfrm>
                <a:off x="5937647" y="2378288"/>
                <a:ext cx="1538512" cy="421482"/>
                <a:chOff x="5265725" y="569468"/>
                <a:chExt cx="1538512" cy="421482"/>
              </a:xfrm>
            </p:grpSpPr>
            <p:sp>
              <p:nvSpPr>
                <p:cNvPr id="45" name="Rectangle 44"/>
                <p:cNvSpPr/>
                <p:nvPr/>
              </p:nvSpPr>
              <p:spPr>
                <a:xfrm>
                  <a:off x="5265725" y="569468"/>
                  <a:ext cx="1538512" cy="421482"/>
                </a:xfrm>
                <a:prstGeom prst="rect">
                  <a:avLst/>
                </a:pr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46" name="Rectangle 45"/>
                <p:cNvSpPr/>
                <p:nvPr/>
              </p:nvSpPr>
              <p:spPr>
                <a:xfrm>
                  <a:off x="5265725" y="569468"/>
                  <a:ext cx="1538512" cy="4214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100" kern="1200" dirty="0" smtClean="0"/>
                    <a:t>Job Search</a:t>
                  </a:r>
                  <a:endParaRPr lang="en-US" sz="1100" kern="1200" dirty="0"/>
                </a:p>
              </p:txBody>
            </p:sp>
          </p:grpSp>
          <p:grpSp>
            <p:nvGrpSpPr>
              <p:cNvPr id="42" name="Group 71"/>
              <p:cNvGrpSpPr/>
              <p:nvPr/>
            </p:nvGrpSpPr>
            <p:grpSpPr>
              <a:xfrm>
                <a:off x="5937647" y="2799771"/>
                <a:ext cx="1538512" cy="1679940"/>
                <a:chOff x="5265725" y="990951"/>
                <a:chExt cx="1538512" cy="1679940"/>
              </a:xfrm>
            </p:grpSpPr>
            <p:sp>
              <p:nvSpPr>
                <p:cNvPr id="43" name="Rectangle 42"/>
                <p:cNvSpPr/>
                <p:nvPr/>
              </p:nvSpPr>
              <p:spPr>
                <a:xfrm>
                  <a:off x="5265725" y="990951"/>
                  <a:ext cx="1538512" cy="1679940"/>
                </a:xfrm>
                <a:prstGeom prst="rect">
                  <a:avLst/>
                </a:prstGeom>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sp>
            <p:sp>
              <p:nvSpPr>
                <p:cNvPr id="44" name="Rectangle 43"/>
                <p:cNvSpPr/>
                <p:nvPr/>
              </p:nvSpPr>
              <p:spPr>
                <a:xfrm>
                  <a:off x="5265725" y="990951"/>
                  <a:ext cx="1538512" cy="167994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lvl="0">
                    <a:buFont typeface="Arial" pitchFamily="34" charset="0"/>
                    <a:buChar char="•"/>
                  </a:pPr>
                  <a:r>
                    <a:rPr lang="en-US" sz="1000" dirty="0" smtClean="0"/>
                    <a:t>Allows employees to view the latest job opportunities in </a:t>
                  </a:r>
                  <a:r>
                    <a:rPr lang="en-US" sz="1000" dirty="0" err="1" smtClean="0"/>
                    <a:t>Capgemini</a:t>
                  </a:r>
                  <a:endParaRPr lang="en-US" sz="1000" dirty="0" smtClean="0"/>
                </a:p>
                <a:p>
                  <a:pPr lvl="0">
                    <a:buFont typeface="Arial" pitchFamily="34" charset="0"/>
                    <a:buChar char="•"/>
                  </a:pPr>
                  <a:r>
                    <a:rPr lang="en-US" sz="1000" dirty="0" smtClean="0"/>
                    <a:t>Job opportunities can be filtered by keywords and location</a:t>
                  </a:r>
                </a:p>
                <a:p>
                  <a:pPr lvl="0">
                    <a:buFont typeface="Arial" pitchFamily="34" charset="0"/>
                    <a:buChar char="•"/>
                  </a:pPr>
                  <a:r>
                    <a:rPr lang="en-US" sz="1000" dirty="0" smtClean="0"/>
                    <a:t>Upload CV’s</a:t>
                  </a:r>
                </a:p>
              </p:txBody>
            </p:sp>
          </p:grpSp>
        </p:grpSp>
        <p:grpSp>
          <p:nvGrpSpPr>
            <p:cNvPr id="13" name="Group 94"/>
            <p:cNvGrpSpPr/>
            <p:nvPr/>
          </p:nvGrpSpPr>
          <p:grpSpPr>
            <a:xfrm>
              <a:off x="506506" y="1628800"/>
              <a:ext cx="1370678" cy="2016224"/>
              <a:chOff x="675935" y="2378288"/>
              <a:chExt cx="1538512" cy="2101423"/>
            </a:xfrm>
          </p:grpSpPr>
          <p:grpSp>
            <p:nvGrpSpPr>
              <p:cNvPr id="35" name="Group 64"/>
              <p:cNvGrpSpPr/>
              <p:nvPr/>
            </p:nvGrpSpPr>
            <p:grpSpPr>
              <a:xfrm>
                <a:off x="675935" y="2378288"/>
                <a:ext cx="1538512" cy="421482"/>
                <a:chOff x="4013" y="569468"/>
                <a:chExt cx="1538512" cy="421482"/>
              </a:xfrm>
            </p:grpSpPr>
            <p:sp>
              <p:nvSpPr>
                <p:cNvPr id="39" name="Rectangle 38"/>
                <p:cNvSpPr/>
                <p:nvPr/>
              </p:nvSpPr>
              <p:spPr>
                <a:xfrm>
                  <a:off x="4013" y="569468"/>
                  <a:ext cx="1538512" cy="421482"/>
                </a:xfrm>
                <a:prstGeom prst="rect">
                  <a:avLst/>
                </a:pr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40" name="Rectangle 39"/>
                <p:cNvSpPr/>
                <p:nvPr/>
              </p:nvSpPr>
              <p:spPr>
                <a:xfrm>
                  <a:off x="4013" y="569468"/>
                  <a:ext cx="1538512" cy="4214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100" kern="1200" dirty="0" smtClean="0"/>
                    <a:t>Event Calendar</a:t>
                  </a:r>
                  <a:endParaRPr lang="en-US" sz="1100" kern="1200" dirty="0"/>
                </a:p>
              </p:txBody>
            </p:sp>
          </p:grpSp>
          <p:grpSp>
            <p:nvGrpSpPr>
              <p:cNvPr id="36" name="Group 65"/>
              <p:cNvGrpSpPr/>
              <p:nvPr/>
            </p:nvGrpSpPr>
            <p:grpSpPr>
              <a:xfrm>
                <a:off x="675935" y="2799771"/>
                <a:ext cx="1538512" cy="1679940"/>
                <a:chOff x="4013" y="990951"/>
                <a:chExt cx="1538512" cy="1679940"/>
              </a:xfrm>
            </p:grpSpPr>
            <p:sp>
              <p:nvSpPr>
                <p:cNvPr id="37" name="Rectangle 36"/>
                <p:cNvSpPr/>
                <p:nvPr/>
              </p:nvSpPr>
              <p:spPr>
                <a:xfrm>
                  <a:off x="4013" y="990951"/>
                  <a:ext cx="1538512" cy="1679940"/>
                </a:xfrm>
                <a:prstGeom prst="rect">
                  <a:avLst/>
                </a:prstGeom>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sp>
            <p:sp>
              <p:nvSpPr>
                <p:cNvPr id="38" name="Rectangle 37"/>
                <p:cNvSpPr/>
                <p:nvPr/>
              </p:nvSpPr>
              <p:spPr>
                <a:xfrm>
                  <a:off x="4013" y="990951"/>
                  <a:ext cx="1538512" cy="167994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lvl="0">
                    <a:buFont typeface="Arial" pitchFamily="34" charset="0"/>
                    <a:buChar char="•"/>
                  </a:pPr>
                  <a:r>
                    <a:rPr lang="en-US" sz="1100" dirty="0" smtClean="0"/>
                    <a:t>Allows us to communicate all HR activities to a global, local audience </a:t>
                  </a:r>
                </a:p>
                <a:p>
                  <a:pPr lvl="0">
                    <a:buFont typeface="Arial" pitchFamily="34" charset="0"/>
                    <a:buChar char="•"/>
                  </a:pPr>
                  <a:r>
                    <a:rPr lang="en-US" sz="1100" dirty="0" smtClean="0"/>
                    <a:t>Manage create, approve, and remove events </a:t>
                  </a:r>
                  <a:endParaRPr lang="en-US" sz="1100" dirty="0"/>
                </a:p>
              </p:txBody>
            </p:sp>
          </p:grpSp>
        </p:grpSp>
        <p:grpSp>
          <p:nvGrpSpPr>
            <p:cNvPr id="14" name="Group 95"/>
            <p:cNvGrpSpPr/>
            <p:nvPr/>
          </p:nvGrpSpPr>
          <p:grpSpPr>
            <a:xfrm>
              <a:off x="2090682" y="1628800"/>
              <a:ext cx="1302145" cy="2016224"/>
              <a:chOff x="2429839" y="2378288"/>
              <a:chExt cx="1538512" cy="2101423"/>
            </a:xfrm>
          </p:grpSpPr>
          <p:grpSp>
            <p:nvGrpSpPr>
              <p:cNvPr id="29" name="Group 66"/>
              <p:cNvGrpSpPr/>
              <p:nvPr/>
            </p:nvGrpSpPr>
            <p:grpSpPr>
              <a:xfrm>
                <a:off x="2429839" y="2378288"/>
                <a:ext cx="1538512" cy="421482"/>
                <a:chOff x="1757917" y="569468"/>
                <a:chExt cx="1538512" cy="421482"/>
              </a:xfrm>
            </p:grpSpPr>
            <p:sp>
              <p:nvSpPr>
                <p:cNvPr id="33" name="Rectangle 32"/>
                <p:cNvSpPr/>
                <p:nvPr/>
              </p:nvSpPr>
              <p:spPr>
                <a:xfrm>
                  <a:off x="1757917" y="569468"/>
                  <a:ext cx="1538512" cy="421482"/>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34" name="Rectangle 33"/>
                <p:cNvSpPr/>
                <p:nvPr/>
              </p:nvSpPr>
              <p:spPr>
                <a:xfrm>
                  <a:off x="1757917" y="569468"/>
                  <a:ext cx="1538512" cy="4214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100" kern="1200" dirty="0" smtClean="0"/>
                    <a:t>Social</a:t>
                  </a:r>
                  <a:endParaRPr lang="en-US" sz="1100" kern="1200" dirty="0"/>
                </a:p>
              </p:txBody>
            </p:sp>
          </p:grpSp>
          <p:grpSp>
            <p:nvGrpSpPr>
              <p:cNvPr id="30" name="Group 67"/>
              <p:cNvGrpSpPr/>
              <p:nvPr/>
            </p:nvGrpSpPr>
            <p:grpSpPr>
              <a:xfrm>
                <a:off x="2429839" y="2753542"/>
                <a:ext cx="1538512" cy="1726169"/>
                <a:chOff x="1757917" y="944722"/>
                <a:chExt cx="1538512" cy="1726169"/>
              </a:xfrm>
            </p:grpSpPr>
            <p:sp>
              <p:nvSpPr>
                <p:cNvPr id="31" name="Rectangle 30"/>
                <p:cNvSpPr/>
                <p:nvPr/>
              </p:nvSpPr>
              <p:spPr>
                <a:xfrm>
                  <a:off x="1757917" y="990951"/>
                  <a:ext cx="1538512" cy="1679940"/>
                </a:xfrm>
                <a:prstGeom prst="rect">
                  <a:avLst/>
                </a:prstGeom>
              </p:spPr>
              <p:style>
                <a:lnRef idx="2">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sp>
            <p:sp>
              <p:nvSpPr>
                <p:cNvPr id="32" name="Rectangle 31"/>
                <p:cNvSpPr/>
                <p:nvPr/>
              </p:nvSpPr>
              <p:spPr>
                <a:xfrm>
                  <a:off x="1757917" y="944722"/>
                  <a:ext cx="1538512" cy="17261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lvl="0">
                    <a:buFont typeface="Arial" pitchFamily="34" charset="0"/>
                    <a:buChar char="•"/>
                  </a:pPr>
                  <a:r>
                    <a:rPr lang="en-US" sz="1100" dirty="0" smtClean="0"/>
                    <a:t>Allows us to cascade media (</a:t>
                  </a:r>
                  <a:r>
                    <a:rPr lang="en-US" sz="1100" dirty="0" err="1" smtClean="0"/>
                    <a:t>pics</a:t>
                  </a:r>
                  <a:r>
                    <a:rPr lang="en-US" sz="1100" dirty="0" smtClean="0"/>
                    <a:t> and videos) of HR activities</a:t>
                  </a:r>
                </a:p>
                <a:p>
                  <a:pPr lvl="0">
                    <a:buFont typeface="Arial" pitchFamily="34" charset="0"/>
                    <a:buChar char="•"/>
                  </a:pPr>
                  <a:r>
                    <a:rPr lang="en-US" sz="1000" dirty="0" smtClean="0"/>
                    <a:t>Control over user’s media content</a:t>
                  </a:r>
                </a:p>
                <a:p>
                  <a:pPr lvl="0">
                    <a:buFont typeface="Arial" pitchFamily="34" charset="0"/>
                    <a:buChar char="•"/>
                  </a:pPr>
                  <a:r>
                    <a:rPr lang="en-US" sz="1000" dirty="0" smtClean="0"/>
                    <a:t>Promote specific events, people, teams, priorities in a fun way </a:t>
                  </a:r>
                </a:p>
                <a:p>
                  <a:pPr lvl="0">
                    <a:buFont typeface="Arial" pitchFamily="34" charset="0"/>
                    <a:buChar char="•"/>
                  </a:pPr>
                  <a:endParaRPr lang="en-US" sz="1000" dirty="0" smtClean="0"/>
                </a:p>
                <a:p>
                  <a:pPr lvl="0">
                    <a:buFont typeface="Arial" pitchFamily="34" charset="0"/>
                    <a:buChar char="•"/>
                  </a:pPr>
                  <a:endParaRPr lang="en-US" sz="1000" dirty="0" smtClean="0"/>
                </a:p>
                <a:p>
                  <a:pPr lvl="0">
                    <a:buFont typeface="Arial" pitchFamily="34" charset="0"/>
                    <a:buChar char="•"/>
                  </a:pPr>
                  <a:endParaRPr lang="en-US" sz="1000" dirty="0"/>
                </a:p>
              </p:txBody>
            </p:sp>
          </p:grpSp>
        </p:grpSp>
        <p:grpSp>
          <p:nvGrpSpPr>
            <p:cNvPr id="15" name="Group 24"/>
            <p:cNvGrpSpPr/>
            <p:nvPr/>
          </p:nvGrpSpPr>
          <p:grpSpPr>
            <a:xfrm>
              <a:off x="506506" y="3789040"/>
              <a:ext cx="1404156" cy="2088232"/>
              <a:chOff x="4196072" y="2302973"/>
              <a:chExt cx="1513855" cy="2252053"/>
            </a:xfrm>
          </p:grpSpPr>
          <p:grpSp>
            <p:nvGrpSpPr>
              <p:cNvPr id="23" name="Group 18"/>
              <p:cNvGrpSpPr/>
              <p:nvPr/>
            </p:nvGrpSpPr>
            <p:grpSpPr>
              <a:xfrm>
                <a:off x="4196072" y="2302973"/>
                <a:ext cx="1513855" cy="379962"/>
                <a:chOff x="3455540" y="314133"/>
                <a:chExt cx="1513855" cy="379962"/>
              </a:xfrm>
            </p:grpSpPr>
            <p:sp>
              <p:nvSpPr>
                <p:cNvPr id="27" name="Rectangle 26"/>
                <p:cNvSpPr/>
                <p:nvPr/>
              </p:nvSpPr>
              <p:spPr>
                <a:xfrm>
                  <a:off x="3455540" y="314133"/>
                  <a:ext cx="1513855" cy="379962"/>
                </a:xfrm>
                <a:prstGeom prst="rect">
                  <a:avLst/>
                </a:pr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28" name="Rectangle 27"/>
                <p:cNvSpPr/>
                <p:nvPr/>
              </p:nvSpPr>
              <p:spPr>
                <a:xfrm>
                  <a:off x="3455540" y="314133"/>
                  <a:ext cx="1513855" cy="3799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44704" rIns="78232" bIns="44704" numCol="1" spcCol="1270" anchor="ctr" anchorCtr="0">
                  <a:noAutofit/>
                </a:bodyPr>
                <a:lstStyle/>
                <a:p>
                  <a:pPr lvl="0" algn="ctr" defTabSz="488950">
                    <a:lnSpc>
                      <a:spcPct val="90000"/>
                    </a:lnSpc>
                    <a:spcBef>
                      <a:spcPct val="0"/>
                    </a:spcBef>
                    <a:spcAft>
                      <a:spcPct val="35000"/>
                    </a:spcAft>
                  </a:pPr>
                  <a:r>
                    <a:rPr lang="en-US" sz="1100" kern="1200" dirty="0" smtClean="0"/>
                    <a:t>Survey/Mood Meter*</a:t>
                  </a:r>
                  <a:endParaRPr lang="en-US" sz="1100" kern="1200" dirty="0"/>
                </a:p>
              </p:txBody>
            </p:sp>
          </p:grpSp>
          <p:grpSp>
            <p:nvGrpSpPr>
              <p:cNvPr id="24" name="Group 19"/>
              <p:cNvGrpSpPr/>
              <p:nvPr/>
            </p:nvGrpSpPr>
            <p:grpSpPr>
              <a:xfrm>
                <a:off x="4196072" y="2682936"/>
                <a:ext cx="1513855" cy="1872090"/>
                <a:chOff x="3455540" y="694096"/>
                <a:chExt cx="1513855" cy="1872090"/>
              </a:xfrm>
            </p:grpSpPr>
            <p:sp>
              <p:nvSpPr>
                <p:cNvPr id="25" name="Rectangle 24"/>
                <p:cNvSpPr/>
                <p:nvPr/>
              </p:nvSpPr>
              <p:spPr>
                <a:xfrm>
                  <a:off x="3455540" y="694096"/>
                  <a:ext cx="1513855" cy="1872090"/>
                </a:xfrm>
                <a:prstGeom prst="rect">
                  <a:avLst/>
                </a:prstGeom>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sp>
            <p:sp>
              <p:nvSpPr>
                <p:cNvPr id="26" name="Rectangle 25"/>
                <p:cNvSpPr/>
                <p:nvPr/>
              </p:nvSpPr>
              <p:spPr>
                <a:xfrm>
                  <a:off x="3455540" y="694096"/>
                  <a:ext cx="1513855" cy="187209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57150" lvl="1" indent="-57150" defTabSz="488950">
                    <a:lnSpc>
                      <a:spcPct val="90000"/>
                    </a:lnSpc>
                    <a:spcBef>
                      <a:spcPct val="0"/>
                    </a:spcBef>
                    <a:spcAft>
                      <a:spcPct val="15000"/>
                    </a:spcAft>
                    <a:buFontTx/>
                    <a:buChar char="••"/>
                  </a:pPr>
                  <a:r>
                    <a:rPr lang="en-US" sz="1100" dirty="0" smtClean="0"/>
                    <a:t>Facilitate polling surveys</a:t>
                  </a:r>
                </a:p>
                <a:p>
                  <a:pPr marL="57150" lvl="1" indent="-57150" defTabSz="488950">
                    <a:lnSpc>
                      <a:spcPct val="90000"/>
                    </a:lnSpc>
                    <a:spcBef>
                      <a:spcPct val="0"/>
                    </a:spcBef>
                    <a:spcAft>
                      <a:spcPct val="15000"/>
                    </a:spcAft>
                    <a:buFontTx/>
                    <a:buChar char="••"/>
                  </a:pPr>
                  <a:r>
                    <a:rPr lang="en-US" sz="1100" dirty="0" smtClean="0"/>
                    <a:t>Get feedback results real-time</a:t>
                  </a:r>
                </a:p>
                <a:p>
                  <a:pPr marL="57150" lvl="1" indent="-57150" defTabSz="488950">
                    <a:lnSpc>
                      <a:spcPct val="90000"/>
                    </a:lnSpc>
                    <a:spcBef>
                      <a:spcPct val="0"/>
                    </a:spcBef>
                    <a:spcAft>
                      <a:spcPct val="15000"/>
                    </a:spcAft>
                    <a:buFontTx/>
                    <a:buChar char="••"/>
                  </a:pPr>
                  <a:r>
                    <a:rPr lang="en-US" sz="1100" dirty="0" smtClean="0"/>
                    <a:t>Gather data on common feelings of employees and the reason behind them</a:t>
                  </a:r>
                </a:p>
                <a:p>
                  <a:pPr marL="57150" lvl="1" indent="-57150" defTabSz="488950">
                    <a:lnSpc>
                      <a:spcPct val="90000"/>
                    </a:lnSpc>
                    <a:spcBef>
                      <a:spcPct val="0"/>
                    </a:spcBef>
                    <a:spcAft>
                      <a:spcPct val="15000"/>
                    </a:spcAft>
                    <a:buFontTx/>
                    <a:buChar char="••"/>
                  </a:pPr>
                  <a:endParaRPr lang="en-US" sz="1100" dirty="0" smtClean="0"/>
                </a:p>
                <a:p>
                  <a:pPr marL="57150" lvl="1" indent="-57150" defTabSz="488950">
                    <a:lnSpc>
                      <a:spcPct val="90000"/>
                    </a:lnSpc>
                    <a:spcBef>
                      <a:spcPct val="0"/>
                    </a:spcBef>
                    <a:spcAft>
                      <a:spcPct val="15000"/>
                    </a:spcAft>
                    <a:buFontTx/>
                    <a:buChar char="••"/>
                  </a:pPr>
                  <a:endParaRPr lang="en-US" sz="1100" dirty="0" smtClean="0"/>
                </a:p>
                <a:p>
                  <a:pPr marL="57150" lvl="1" indent="-57150" defTabSz="488950">
                    <a:lnSpc>
                      <a:spcPct val="90000"/>
                    </a:lnSpc>
                    <a:spcBef>
                      <a:spcPct val="0"/>
                    </a:spcBef>
                    <a:spcAft>
                      <a:spcPct val="15000"/>
                    </a:spcAft>
                    <a:buFontTx/>
                    <a:buChar char="••"/>
                  </a:pPr>
                  <a:endParaRPr lang="en-US" sz="1100" dirty="0" smtClean="0"/>
                </a:p>
                <a:p>
                  <a:pPr marL="57150" lvl="1" indent="-57150" defTabSz="488950">
                    <a:lnSpc>
                      <a:spcPct val="90000"/>
                    </a:lnSpc>
                    <a:spcBef>
                      <a:spcPct val="0"/>
                    </a:spcBef>
                    <a:spcAft>
                      <a:spcPct val="15000"/>
                    </a:spcAft>
                    <a:buFontTx/>
                    <a:buChar char="••"/>
                  </a:pPr>
                  <a:endParaRPr lang="en-US" sz="1100" dirty="0" smtClean="0"/>
                </a:p>
                <a:p>
                  <a:pPr marL="57150" lvl="1" indent="-57150" defTabSz="488950">
                    <a:lnSpc>
                      <a:spcPct val="90000"/>
                    </a:lnSpc>
                    <a:spcBef>
                      <a:spcPct val="0"/>
                    </a:spcBef>
                    <a:spcAft>
                      <a:spcPct val="15000"/>
                    </a:spcAft>
                    <a:buFontTx/>
                    <a:buChar char="••"/>
                  </a:pPr>
                  <a:endParaRPr lang="en-US" sz="1100" dirty="0" smtClean="0"/>
                </a:p>
                <a:p>
                  <a:pPr marL="57150" lvl="1" indent="-57150" defTabSz="488950">
                    <a:lnSpc>
                      <a:spcPct val="90000"/>
                    </a:lnSpc>
                    <a:spcBef>
                      <a:spcPct val="0"/>
                    </a:spcBef>
                    <a:spcAft>
                      <a:spcPct val="15000"/>
                    </a:spcAft>
                    <a:buFontTx/>
                    <a:buChar char="••"/>
                  </a:pPr>
                  <a:endParaRPr lang="en-US" sz="1100" kern="1200" dirty="0"/>
                </a:p>
              </p:txBody>
            </p:sp>
          </p:grpSp>
        </p:grpSp>
        <p:grpSp>
          <p:nvGrpSpPr>
            <p:cNvPr id="16" name="Group 97"/>
            <p:cNvGrpSpPr/>
            <p:nvPr/>
          </p:nvGrpSpPr>
          <p:grpSpPr>
            <a:xfrm>
              <a:off x="2066680" y="3789040"/>
              <a:ext cx="1326147" cy="2088232"/>
              <a:chOff x="5937647" y="2378288"/>
              <a:chExt cx="1538512" cy="2101423"/>
            </a:xfrm>
          </p:grpSpPr>
          <p:grpSp>
            <p:nvGrpSpPr>
              <p:cNvPr id="17" name="Group 70"/>
              <p:cNvGrpSpPr/>
              <p:nvPr/>
            </p:nvGrpSpPr>
            <p:grpSpPr>
              <a:xfrm>
                <a:off x="5937647" y="2378288"/>
                <a:ext cx="1538512" cy="421482"/>
                <a:chOff x="5265725" y="569468"/>
                <a:chExt cx="1538512" cy="421482"/>
              </a:xfrm>
            </p:grpSpPr>
            <p:sp>
              <p:nvSpPr>
                <p:cNvPr id="21" name="Rectangle 20"/>
                <p:cNvSpPr/>
                <p:nvPr/>
              </p:nvSpPr>
              <p:spPr>
                <a:xfrm>
                  <a:off x="5265725" y="569468"/>
                  <a:ext cx="1538512" cy="421482"/>
                </a:xfrm>
                <a:prstGeom prst="rect">
                  <a:avLst/>
                </a:pr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22" name="Rectangle 21"/>
                <p:cNvSpPr/>
                <p:nvPr/>
              </p:nvSpPr>
              <p:spPr>
                <a:xfrm>
                  <a:off x="5265725" y="569468"/>
                  <a:ext cx="1538512" cy="4214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100" kern="1200" dirty="0" smtClean="0"/>
                    <a:t>Job Search</a:t>
                  </a:r>
                  <a:endParaRPr lang="en-US" sz="1100" kern="1200" dirty="0"/>
                </a:p>
              </p:txBody>
            </p:sp>
          </p:grpSp>
          <p:grpSp>
            <p:nvGrpSpPr>
              <p:cNvPr id="18" name="Group 71"/>
              <p:cNvGrpSpPr/>
              <p:nvPr/>
            </p:nvGrpSpPr>
            <p:grpSpPr>
              <a:xfrm>
                <a:off x="5937647" y="2799771"/>
                <a:ext cx="1538512" cy="1679940"/>
                <a:chOff x="5265725" y="990951"/>
                <a:chExt cx="1538512" cy="1679940"/>
              </a:xfrm>
            </p:grpSpPr>
            <p:sp>
              <p:nvSpPr>
                <p:cNvPr id="19" name="Rectangle 18"/>
                <p:cNvSpPr/>
                <p:nvPr/>
              </p:nvSpPr>
              <p:spPr>
                <a:xfrm>
                  <a:off x="5265725" y="990951"/>
                  <a:ext cx="1538512" cy="1679940"/>
                </a:xfrm>
                <a:prstGeom prst="rect">
                  <a:avLst/>
                </a:prstGeom>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sp>
            <p:sp>
              <p:nvSpPr>
                <p:cNvPr id="20" name="Rectangle 19"/>
                <p:cNvSpPr/>
                <p:nvPr/>
              </p:nvSpPr>
              <p:spPr>
                <a:xfrm>
                  <a:off x="5265725" y="990951"/>
                  <a:ext cx="1538512" cy="167994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lvl="0">
                    <a:buFont typeface="Arial" pitchFamily="34" charset="0"/>
                    <a:buChar char="•"/>
                  </a:pPr>
                  <a:r>
                    <a:rPr lang="en-US" sz="1000" dirty="0" smtClean="0"/>
                    <a:t>Maintain and update job opportunities currently available</a:t>
                  </a:r>
                </a:p>
                <a:p>
                  <a:pPr lvl="0">
                    <a:buFont typeface="Arial" pitchFamily="34" charset="0"/>
                    <a:buChar char="•"/>
                  </a:pPr>
                  <a:r>
                    <a:rPr lang="en-US" sz="1000" dirty="0" smtClean="0"/>
                    <a:t>Collect data on commonly searched jobs</a:t>
                  </a:r>
                  <a:endParaRPr lang="en-US" sz="1000" dirty="0"/>
                </a:p>
              </p:txBody>
            </p:sp>
          </p:grpSp>
        </p:grpSp>
      </p:grpSp>
    </p:spTree>
    <p:extLst>
      <p:ext uri="{BB962C8B-B14F-4D97-AF65-F5344CB8AC3E}">
        <p14:creationId xmlns="" xmlns:p14="http://schemas.microsoft.com/office/powerpoint/2010/main" val="298734004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smtClean="0"/>
              <a:t>Health &amp; Safety Policy</a:t>
            </a:r>
            <a:endParaRPr lang="en-US" dirty="0"/>
          </a:p>
        </p:txBody>
      </p:sp>
      <p:sp>
        <p:nvSpPr>
          <p:cNvPr id="24" name="Content Placeholder 23"/>
          <p:cNvSpPr>
            <a:spLocks noGrp="1"/>
          </p:cNvSpPr>
          <p:nvPr>
            <p:ph idx="1"/>
          </p:nvPr>
        </p:nvSpPr>
        <p:spPr/>
        <p:txBody>
          <a:bodyPr/>
          <a:lstStyle/>
          <a:p>
            <a:r>
              <a:rPr lang="en-US" dirty="0" smtClean="0"/>
              <a:t>Capgemini is committed to the protection of the health ,safety and well being of all the members and hence strives  to promote strong and sustainable culture of a safe and healthy workplace that will facilitate the awareness of the risk and prevention of the injury and illness.</a:t>
            </a:r>
          </a:p>
          <a:p>
            <a:endParaRPr lang="en-US" dirty="0" smtClean="0"/>
          </a:p>
          <a:p>
            <a:r>
              <a:rPr lang="en-US" dirty="0" smtClean="0"/>
              <a:t>Capgemini will always try and implement the best practices and work towards  the continuous improvement  of it’s health and safety policies </a:t>
            </a:r>
          </a:p>
          <a:p>
            <a:endParaRPr lang="en-US" dirty="0" smtClean="0"/>
          </a:p>
          <a:p>
            <a:r>
              <a:rPr lang="en-US" dirty="0" smtClean="0"/>
              <a:t>All employees are responsible for complying with all applicable health and safety requirements, policies and procedures </a:t>
            </a:r>
          </a:p>
          <a:p>
            <a:endParaRPr lang="en-US" dirty="0" smtClean="0"/>
          </a:p>
          <a:p>
            <a:endParaRPr lang="en-US" dirty="0" smtClean="0"/>
          </a:p>
          <a:p>
            <a:endParaRPr lang="en-US" dirty="0" smtClean="0"/>
          </a:p>
          <a:p>
            <a:endParaRPr lang="en-US" dirty="0" smtClean="0"/>
          </a:p>
          <a:p>
            <a:endParaRPr lang="en-US" dirty="0"/>
          </a:p>
        </p:txBody>
      </p:sp>
      <p:sp>
        <p:nvSpPr>
          <p:cNvPr id="19460" name="Slide Number Placeholder 3"/>
          <p:cNvSpPr>
            <a:spLocks noGrp="1"/>
          </p:cNvSpPr>
          <p:nvPr>
            <p:ph type="sldNum" sz="quarter" idx="4294967295"/>
          </p:nvPr>
        </p:nvSpPr>
        <p:spPr>
          <a:xfrm>
            <a:off x="9631363" y="6719888"/>
            <a:ext cx="274637" cy="103187"/>
          </a:xfrm>
          <a:prstGeom prst="rect">
            <a:avLst/>
          </a:prstGeom>
        </p:spPr>
        <p:txBody>
          <a:bodyPr/>
          <a:lstStyle/>
          <a:p>
            <a:fld id="{3B26EE73-ACA6-472F-B455-B0B871166BFF}" type="slidenum">
              <a:rPr lang="en-US" smtClean="0"/>
              <a:pPr/>
              <a:t>51</a:t>
            </a:fld>
            <a:endParaRPr lang="en-US" smtClean="0"/>
          </a:p>
        </p:txBody>
      </p:sp>
      <p:grpSp>
        <p:nvGrpSpPr>
          <p:cNvPr id="2" name="Group 5"/>
          <p:cNvGrpSpPr>
            <a:grpSpLocks/>
          </p:cNvGrpSpPr>
          <p:nvPr/>
        </p:nvGrpSpPr>
        <p:grpSpPr bwMode="auto">
          <a:xfrm>
            <a:off x="8000471" y="76201"/>
            <a:ext cx="887413" cy="409575"/>
            <a:chOff x="932170" y="585314"/>
            <a:chExt cx="820212" cy="410106"/>
          </a:xfrm>
        </p:grpSpPr>
        <p:sp>
          <p:nvSpPr>
            <p:cNvPr id="8" name="Rectangle 7"/>
            <p:cNvSpPr/>
            <p:nvPr/>
          </p:nvSpPr>
          <p:spPr>
            <a:xfrm>
              <a:off x="932170" y="585314"/>
              <a:ext cx="820212" cy="410106"/>
            </a:xfrm>
            <a:prstGeom prst="rect">
              <a:avLst/>
            </a:prstGeom>
            <a:solidFill>
              <a:srgbClr val="DD8047">
                <a:hueOff val="0"/>
                <a:satOff val="0"/>
                <a:lumOff val="0"/>
                <a:alphaOff val="0"/>
              </a:srgbClr>
            </a:solidFill>
            <a:ln w="25400" cap="flat" cmpd="sng" algn="ctr">
              <a:solidFill>
                <a:sysClr val="window" lastClr="FFFFFF">
                  <a:hueOff val="0"/>
                  <a:satOff val="0"/>
                  <a:lumOff val="0"/>
                  <a:alphaOff val="0"/>
                </a:sysClr>
              </a:solidFill>
              <a:prstDash val="solid"/>
            </a:ln>
            <a:effectLst/>
          </p:spPr>
        </p:sp>
        <p:sp>
          <p:nvSpPr>
            <p:cNvPr id="10" name="Rectangle 9"/>
            <p:cNvSpPr/>
            <p:nvPr/>
          </p:nvSpPr>
          <p:spPr>
            <a:xfrm>
              <a:off x="932170" y="585314"/>
              <a:ext cx="820212" cy="410106"/>
            </a:xfrm>
            <a:prstGeom prst="rect">
              <a:avLst/>
            </a:prstGeom>
            <a:noFill/>
            <a:ln>
              <a:noFill/>
            </a:ln>
            <a:effectLst/>
          </p:spPr>
          <p:txBody>
            <a:bodyPr lIns="5715" tIns="5715" rIns="5715" bIns="5715" spcCol="1270" anchor="ctr"/>
            <a:lstStyle/>
            <a:p>
              <a:pPr marL="0" marR="0" lvl="0" indent="0" algn="ctr" defTabSz="400050" eaLnBrk="1" fontAlgn="auto" latinLnBrk="0" hangingPunct="1">
                <a:lnSpc>
                  <a:spcPct val="90000"/>
                </a:lnSpc>
                <a:spcBef>
                  <a:spcPts val="0"/>
                </a:spcBef>
                <a:spcAft>
                  <a:spcPct val="35000"/>
                </a:spcAft>
                <a:buClrTx/>
                <a:buSzTx/>
                <a:buFontTx/>
                <a:buNone/>
                <a:tabLst/>
                <a:defRPr/>
              </a:pPr>
              <a:r>
                <a:rPr kumimoji="0" lang="en-US" sz="900" b="0" i="0" u="none" strike="noStrike" kern="0" cap="none" spc="0" normalizeH="0" baseline="0" noProof="0" dirty="0">
                  <a:ln>
                    <a:noFill/>
                  </a:ln>
                  <a:solidFill>
                    <a:sysClr val="window" lastClr="FFFFFF"/>
                  </a:solidFill>
                  <a:effectLst/>
                  <a:uLnTx/>
                  <a:uFillTx/>
                  <a:latin typeface="Arial"/>
                  <a:ea typeface="+mn-ea"/>
                  <a:cs typeface="+mn-cs"/>
                </a:rPr>
                <a:t>People Care</a:t>
              </a:r>
            </a:p>
          </p:txBody>
        </p:sp>
      </p:grpSp>
      <p:grpSp>
        <p:nvGrpSpPr>
          <p:cNvPr id="3" name="Group 8"/>
          <p:cNvGrpSpPr>
            <a:grpSpLocks/>
          </p:cNvGrpSpPr>
          <p:nvPr/>
        </p:nvGrpSpPr>
        <p:grpSpPr bwMode="auto">
          <a:xfrm>
            <a:off x="8934319" y="76201"/>
            <a:ext cx="889132" cy="409575"/>
            <a:chOff x="1137223" y="1167665"/>
            <a:chExt cx="820212" cy="410106"/>
          </a:xfrm>
        </p:grpSpPr>
        <p:sp>
          <p:nvSpPr>
            <p:cNvPr id="12" name="Rectangle 11"/>
            <p:cNvSpPr/>
            <p:nvPr/>
          </p:nvSpPr>
          <p:spPr>
            <a:xfrm>
              <a:off x="1137223" y="1167665"/>
              <a:ext cx="820212" cy="410106"/>
            </a:xfrm>
            <a:prstGeom prst="rect">
              <a:avLst/>
            </a:prstGeom>
            <a:solidFill>
              <a:srgbClr val="A5AB81">
                <a:hueOff val="0"/>
                <a:satOff val="0"/>
                <a:lumOff val="0"/>
                <a:alphaOff val="0"/>
              </a:srgbClr>
            </a:solidFill>
            <a:ln w="25400" cap="flat" cmpd="sng" algn="ctr">
              <a:solidFill>
                <a:sysClr val="window" lastClr="FFFFFF">
                  <a:hueOff val="0"/>
                  <a:satOff val="0"/>
                  <a:lumOff val="0"/>
                  <a:alphaOff val="0"/>
                </a:sysClr>
              </a:solidFill>
              <a:prstDash val="solid"/>
            </a:ln>
            <a:effectLst/>
          </p:spPr>
        </p:sp>
        <p:sp>
          <p:nvSpPr>
            <p:cNvPr id="13" name="Rectangle 12"/>
            <p:cNvSpPr/>
            <p:nvPr/>
          </p:nvSpPr>
          <p:spPr>
            <a:xfrm>
              <a:off x="1137223" y="1167665"/>
              <a:ext cx="820212" cy="410106"/>
            </a:xfrm>
            <a:prstGeom prst="rect">
              <a:avLst/>
            </a:prstGeom>
            <a:noFill/>
            <a:ln>
              <a:noFill/>
            </a:ln>
            <a:effectLst/>
          </p:spPr>
          <p:txBody>
            <a:bodyPr lIns="5715" tIns="5715" rIns="5715" bIns="5715" spcCol="1270" anchor="ctr"/>
            <a:lstStyle/>
            <a:p>
              <a:pPr marL="0" marR="0" lvl="0" indent="0" algn="ctr" defTabSz="400050" eaLnBrk="1" fontAlgn="auto" latinLnBrk="0" hangingPunct="1">
                <a:lnSpc>
                  <a:spcPct val="90000"/>
                </a:lnSpc>
                <a:spcBef>
                  <a:spcPts val="0"/>
                </a:spcBef>
                <a:spcAft>
                  <a:spcPct val="35000"/>
                </a:spcAft>
                <a:buClrTx/>
                <a:buSzTx/>
                <a:buFontTx/>
                <a:buNone/>
                <a:tabLst/>
                <a:defRPr/>
              </a:pPr>
              <a:r>
                <a:rPr kumimoji="0" lang="en-US" sz="900" b="0" i="0" u="none" strike="noStrike" kern="0" cap="none" spc="0" normalizeH="0" baseline="0" noProof="0" dirty="0">
                  <a:ln>
                    <a:noFill/>
                  </a:ln>
                  <a:solidFill>
                    <a:sysClr val="window" lastClr="FFFFFF"/>
                  </a:solidFill>
                  <a:effectLst/>
                  <a:uLnTx/>
                  <a:uFillTx/>
                  <a:latin typeface="Arial"/>
                  <a:ea typeface="+mn-ea"/>
                  <a:cs typeface="+mn-cs"/>
                </a:rPr>
                <a:t>Benefits / Compensation</a:t>
              </a:r>
            </a:p>
          </p:txBody>
        </p:sp>
      </p:grpSp>
    </p:spTree>
    <p:extLst>
      <p:ext uri="{BB962C8B-B14F-4D97-AF65-F5344CB8AC3E}">
        <p14:creationId xmlns="" xmlns:p14="http://schemas.microsoft.com/office/powerpoint/2010/main" val="3362160843"/>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smtClean="0"/>
              <a:t>Health &amp; Safety Policy</a:t>
            </a:r>
            <a:endParaRPr lang="en-US" dirty="0"/>
          </a:p>
        </p:txBody>
      </p:sp>
      <p:sp>
        <p:nvSpPr>
          <p:cNvPr id="24" name="Content Placeholder 23"/>
          <p:cNvSpPr>
            <a:spLocks noGrp="1"/>
          </p:cNvSpPr>
          <p:nvPr>
            <p:ph idx="1"/>
          </p:nvPr>
        </p:nvSpPr>
        <p:spPr/>
        <p:txBody>
          <a:bodyPr/>
          <a:lstStyle/>
          <a:p>
            <a:r>
              <a:rPr lang="en-US" dirty="0" smtClean="0"/>
              <a:t>Responsibilities of employees</a:t>
            </a:r>
          </a:p>
          <a:p>
            <a:pPr lvl="1"/>
            <a:r>
              <a:rPr lang="en-US" sz="2400" dirty="0" smtClean="0"/>
              <a:t>Wear helmets while riding two wheelers and seat belts while driving four wheelers </a:t>
            </a:r>
          </a:p>
          <a:p>
            <a:pPr lvl="1"/>
            <a:r>
              <a:rPr lang="en-US" sz="2400" dirty="0" smtClean="0"/>
              <a:t>Always adhere to the traffic rules and regulations and practice safe driving</a:t>
            </a:r>
          </a:p>
          <a:p>
            <a:pPr lvl="1"/>
            <a:r>
              <a:rPr lang="en-US" sz="2400" dirty="0" smtClean="0"/>
              <a:t>Follow the procedure to report any emergency to the respective stakeholders</a:t>
            </a:r>
          </a:p>
          <a:p>
            <a:pPr lvl="1"/>
            <a:r>
              <a:rPr lang="en-US" sz="2400" dirty="0" smtClean="0"/>
              <a:t>Contact the Emergency Response Team for Security personnel for immediate assistance</a:t>
            </a:r>
            <a:endParaRPr lang="en-US" sz="2400" dirty="0"/>
          </a:p>
        </p:txBody>
      </p:sp>
      <p:sp>
        <p:nvSpPr>
          <p:cNvPr id="19460" name="Slide Number Placeholder 3"/>
          <p:cNvSpPr>
            <a:spLocks noGrp="1"/>
          </p:cNvSpPr>
          <p:nvPr>
            <p:ph type="sldNum" sz="quarter" idx="4294967295"/>
          </p:nvPr>
        </p:nvSpPr>
        <p:spPr>
          <a:xfrm>
            <a:off x="9631363" y="6719888"/>
            <a:ext cx="274637" cy="103187"/>
          </a:xfrm>
          <a:prstGeom prst="rect">
            <a:avLst/>
          </a:prstGeom>
        </p:spPr>
        <p:txBody>
          <a:bodyPr/>
          <a:lstStyle/>
          <a:p>
            <a:fld id="{3B26EE73-ACA6-472F-B455-B0B871166BFF}" type="slidenum">
              <a:rPr lang="en-US" smtClean="0"/>
              <a:pPr/>
              <a:t>52</a:t>
            </a:fld>
            <a:endParaRPr lang="en-US" smtClean="0"/>
          </a:p>
        </p:txBody>
      </p:sp>
      <p:grpSp>
        <p:nvGrpSpPr>
          <p:cNvPr id="2" name="Group 5"/>
          <p:cNvGrpSpPr>
            <a:grpSpLocks/>
          </p:cNvGrpSpPr>
          <p:nvPr/>
        </p:nvGrpSpPr>
        <p:grpSpPr bwMode="auto">
          <a:xfrm>
            <a:off x="8000471" y="76201"/>
            <a:ext cx="887413" cy="409575"/>
            <a:chOff x="932170" y="585314"/>
            <a:chExt cx="820212" cy="410106"/>
          </a:xfrm>
        </p:grpSpPr>
        <p:sp>
          <p:nvSpPr>
            <p:cNvPr id="8" name="Rectangle 7"/>
            <p:cNvSpPr/>
            <p:nvPr/>
          </p:nvSpPr>
          <p:spPr>
            <a:xfrm>
              <a:off x="932170" y="585314"/>
              <a:ext cx="820212" cy="410106"/>
            </a:xfrm>
            <a:prstGeom prst="rect">
              <a:avLst/>
            </a:prstGeom>
            <a:solidFill>
              <a:srgbClr val="DD8047">
                <a:hueOff val="0"/>
                <a:satOff val="0"/>
                <a:lumOff val="0"/>
                <a:alphaOff val="0"/>
              </a:srgbClr>
            </a:solidFill>
            <a:ln w="25400" cap="flat" cmpd="sng" algn="ctr">
              <a:solidFill>
                <a:sysClr val="window" lastClr="FFFFFF">
                  <a:hueOff val="0"/>
                  <a:satOff val="0"/>
                  <a:lumOff val="0"/>
                  <a:alphaOff val="0"/>
                </a:sysClr>
              </a:solidFill>
              <a:prstDash val="solid"/>
            </a:ln>
            <a:effectLst/>
          </p:spPr>
        </p:sp>
        <p:sp>
          <p:nvSpPr>
            <p:cNvPr id="10" name="Rectangle 9"/>
            <p:cNvSpPr/>
            <p:nvPr/>
          </p:nvSpPr>
          <p:spPr>
            <a:xfrm>
              <a:off x="932170" y="585314"/>
              <a:ext cx="820212" cy="410106"/>
            </a:xfrm>
            <a:prstGeom prst="rect">
              <a:avLst/>
            </a:prstGeom>
            <a:noFill/>
            <a:ln>
              <a:noFill/>
            </a:ln>
            <a:effectLst/>
          </p:spPr>
          <p:txBody>
            <a:bodyPr lIns="5715" tIns="5715" rIns="5715" bIns="5715" spcCol="1270" anchor="ctr"/>
            <a:lstStyle/>
            <a:p>
              <a:pPr marL="0" marR="0" lvl="0" indent="0" algn="ctr" defTabSz="400050" eaLnBrk="1" fontAlgn="auto" latinLnBrk="0" hangingPunct="1">
                <a:lnSpc>
                  <a:spcPct val="90000"/>
                </a:lnSpc>
                <a:spcBef>
                  <a:spcPts val="0"/>
                </a:spcBef>
                <a:spcAft>
                  <a:spcPct val="35000"/>
                </a:spcAft>
                <a:buClrTx/>
                <a:buSzTx/>
                <a:buFontTx/>
                <a:buNone/>
                <a:tabLst/>
                <a:defRPr/>
              </a:pPr>
              <a:r>
                <a:rPr kumimoji="0" lang="en-US" sz="900" b="0" i="0" u="none" strike="noStrike" kern="0" cap="none" spc="0" normalizeH="0" baseline="0" noProof="0" dirty="0">
                  <a:ln>
                    <a:noFill/>
                  </a:ln>
                  <a:solidFill>
                    <a:sysClr val="window" lastClr="FFFFFF"/>
                  </a:solidFill>
                  <a:effectLst/>
                  <a:uLnTx/>
                  <a:uFillTx/>
                  <a:latin typeface="Arial"/>
                  <a:ea typeface="+mn-ea"/>
                  <a:cs typeface="+mn-cs"/>
                </a:rPr>
                <a:t>People Care</a:t>
              </a:r>
            </a:p>
          </p:txBody>
        </p:sp>
      </p:grpSp>
      <p:grpSp>
        <p:nvGrpSpPr>
          <p:cNvPr id="3" name="Group 8"/>
          <p:cNvGrpSpPr>
            <a:grpSpLocks/>
          </p:cNvGrpSpPr>
          <p:nvPr/>
        </p:nvGrpSpPr>
        <p:grpSpPr bwMode="auto">
          <a:xfrm>
            <a:off x="8934319" y="76201"/>
            <a:ext cx="889132" cy="409575"/>
            <a:chOff x="1137223" y="1167665"/>
            <a:chExt cx="820212" cy="410106"/>
          </a:xfrm>
        </p:grpSpPr>
        <p:sp>
          <p:nvSpPr>
            <p:cNvPr id="12" name="Rectangle 11"/>
            <p:cNvSpPr/>
            <p:nvPr/>
          </p:nvSpPr>
          <p:spPr>
            <a:xfrm>
              <a:off x="1137223" y="1167665"/>
              <a:ext cx="820212" cy="410106"/>
            </a:xfrm>
            <a:prstGeom prst="rect">
              <a:avLst/>
            </a:prstGeom>
            <a:solidFill>
              <a:srgbClr val="A5AB81">
                <a:hueOff val="0"/>
                <a:satOff val="0"/>
                <a:lumOff val="0"/>
                <a:alphaOff val="0"/>
              </a:srgbClr>
            </a:solidFill>
            <a:ln w="25400" cap="flat" cmpd="sng" algn="ctr">
              <a:solidFill>
                <a:sysClr val="window" lastClr="FFFFFF">
                  <a:hueOff val="0"/>
                  <a:satOff val="0"/>
                  <a:lumOff val="0"/>
                  <a:alphaOff val="0"/>
                </a:sysClr>
              </a:solidFill>
              <a:prstDash val="solid"/>
            </a:ln>
            <a:effectLst/>
          </p:spPr>
        </p:sp>
        <p:sp>
          <p:nvSpPr>
            <p:cNvPr id="13" name="Rectangle 12"/>
            <p:cNvSpPr/>
            <p:nvPr/>
          </p:nvSpPr>
          <p:spPr>
            <a:xfrm>
              <a:off x="1137223" y="1167665"/>
              <a:ext cx="820212" cy="410106"/>
            </a:xfrm>
            <a:prstGeom prst="rect">
              <a:avLst/>
            </a:prstGeom>
            <a:noFill/>
            <a:ln>
              <a:noFill/>
            </a:ln>
            <a:effectLst/>
          </p:spPr>
          <p:txBody>
            <a:bodyPr lIns="5715" tIns="5715" rIns="5715" bIns="5715" spcCol="1270" anchor="ctr"/>
            <a:lstStyle/>
            <a:p>
              <a:pPr marL="0" marR="0" lvl="0" indent="0" algn="ctr" defTabSz="400050" eaLnBrk="1" fontAlgn="auto" latinLnBrk="0" hangingPunct="1">
                <a:lnSpc>
                  <a:spcPct val="90000"/>
                </a:lnSpc>
                <a:spcBef>
                  <a:spcPts val="0"/>
                </a:spcBef>
                <a:spcAft>
                  <a:spcPct val="35000"/>
                </a:spcAft>
                <a:buClrTx/>
                <a:buSzTx/>
                <a:buFontTx/>
                <a:buNone/>
                <a:tabLst/>
                <a:defRPr/>
              </a:pPr>
              <a:r>
                <a:rPr kumimoji="0" lang="en-US" sz="900" b="0" i="0" u="none" strike="noStrike" kern="0" cap="none" spc="0" normalizeH="0" baseline="0" noProof="0" dirty="0">
                  <a:ln>
                    <a:noFill/>
                  </a:ln>
                  <a:solidFill>
                    <a:sysClr val="window" lastClr="FFFFFF"/>
                  </a:solidFill>
                  <a:effectLst/>
                  <a:uLnTx/>
                  <a:uFillTx/>
                  <a:latin typeface="Arial"/>
                  <a:ea typeface="+mn-ea"/>
                  <a:cs typeface="+mn-cs"/>
                </a:rPr>
                <a:t>Benefits / Compensation</a:t>
              </a:r>
            </a:p>
          </p:txBody>
        </p:sp>
      </p:grpSp>
    </p:spTree>
    <p:extLst>
      <p:ext uri="{BB962C8B-B14F-4D97-AF65-F5344CB8AC3E}">
        <p14:creationId xmlns="" xmlns:p14="http://schemas.microsoft.com/office/powerpoint/2010/main" val="1622566849"/>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dirty="0" smtClean="0"/>
              <a:t>Leaves</a:t>
            </a:r>
            <a:endParaRPr lang="en-US" dirty="0"/>
          </a:p>
        </p:txBody>
      </p:sp>
      <p:sp>
        <p:nvSpPr>
          <p:cNvPr id="22" name="Content Placeholder 5"/>
          <p:cNvSpPr>
            <a:spLocks noGrp="1"/>
          </p:cNvSpPr>
          <p:nvPr>
            <p:ph idx="1"/>
          </p:nvPr>
        </p:nvSpPr>
        <p:spPr/>
        <p:txBody>
          <a:bodyPr/>
          <a:lstStyle/>
          <a:p>
            <a:r>
              <a:rPr lang="en-US" dirty="0" smtClean="0"/>
              <a:t>Categories of leave:</a:t>
            </a:r>
          </a:p>
          <a:p>
            <a:pPr lvl="1"/>
            <a:r>
              <a:rPr lang="en-US" dirty="0" smtClean="0"/>
              <a:t>Privilege leave         </a:t>
            </a:r>
          </a:p>
          <a:p>
            <a:pPr lvl="1"/>
            <a:r>
              <a:rPr lang="en-US" dirty="0" smtClean="0"/>
              <a:t>Compassionate leave</a:t>
            </a:r>
          </a:p>
          <a:p>
            <a:pPr lvl="1"/>
            <a:r>
              <a:rPr lang="en-US" dirty="0" smtClean="0"/>
              <a:t>Maternity leave</a:t>
            </a:r>
          </a:p>
          <a:p>
            <a:pPr lvl="1"/>
            <a:r>
              <a:rPr lang="en-US" dirty="0" smtClean="0"/>
              <a:t>Paternity leave</a:t>
            </a:r>
          </a:p>
          <a:p>
            <a:pPr lvl="1"/>
            <a:r>
              <a:rPr lang="en-US" dirty="0" smtClean="0"/>
              <a:t>Leave for Adoption</a:t>
            </a:r>
          </a:p>
          <a:p>
            <a:pPr lvl="1"/>
            <a:r>
              <a:rPr lang="en-US" dirty="0" smtClean="0"/>
              <a:t>Leave without Pay</a:t>
            </a:r>
          </a:p>
          <a:p>
            <a:pPr lvl="1"/>
            <a:r>
              <a:rPr lang="en-GB" dirty="0" smtClean="0"/>
              <a:t>Compensatory leave (at the discretion of the supervisor)</a:t>
            </a:r>
            <a:br>
              <a:rPr lang="en-GB" dirty="0" smtClean="0"/>
            </a:br>
            <a:endParaRPr lang="en-US" dirty="0" smtClean="0"/>
          </a:p>
        </p:txBody>
      </p:sp>
      <p:pic>
        <p:nvPicPr>
          <p:cNvPr id="86019" name="Picture 3"/>
          <p:cNvPicPr>
            <a:picLocks noChangeAspect="1" noChangeArrowheads="1"/>
          </p:cNvPicPr>
          <p:nvPr/>
        </p:nvPicPr>
        <p:blipFill>
          <a:blip r:embed="rId3" cstate="print"/>
          <a:srcRect/>
          <a:stretch>
            <a:fillRect/>
          </a:stretch>
        </p:blipFill>
        <p:spPr bwMode="auto">
          <a:xfrm>
            <a:off x="3265886" y="5576888"/>
            <a:ext cx="3097344" cy="671512"/>
          </a:xfrm>
          <a:prstGeom prst="rect">
            <a:avLst/>
          </a:prstGeom>
          <a:noFill/>
          <a:ln w="9525">
            <a:noFill/>
            <a:round/>
            <a:headEnd/>
            <a:tailEnd/>
          </a:ln>
        </p:spPr>
      </p:pic>
      <p:sp>
        <p:nvSpPr>
          <p:cNvPr id="86020" name="Rectangle 6"/>
          <p:cNvSpPr>
            <a:spLocks/>
          </p:cNvSpPr>
          <p:nvPr/>
        </p:nvSpPr>
        <p:spPr bwMode="auto">
          <a:xfrm>
            <a:off x="851298" y="2686051"/>
            <a:ext cx="8203406" cy="2428875"/>
          </a:xfrm>
          <a:prstGeom prst="rect">
            <a:avLst/>
          </a:prstGeom>
          <a:noFill/>
          <a:ln w="12700">
            <a:noFill/>
            <a:miter lim="800000"/>
            <a:headEnd/>
            <a:tailEnd/>
          </a:ln>
        </p:spPr>
        <p:txBody>
          <a:bodyPr lIns="0" tIns="0" rIns="43349" bIns="0"/>
          <a:lstStyle/>
          <a:p>
            <a:pPr marL="42863"/>
            <a:endParaRPr lang="en-US" sz="2800">
              <a:solidFill>
                <a:srgbClr val="FFFFFF"/>
              </a:solidFill>
            </a:endParaRPr>
          </a:p>
        </p:txBody>
      </p:sp>
      <p:pic>
        <p:nvPicPr>
          <p:cNvPr id="86021" name="Image 9" descr="Slogan_PMRC_White_W.png"/>
          <p:cNvPicPr>
            <a:picLocks noChangeAspect="1"/>
          </p:cNvPicPr>
          <p:nvPr/>
        </p:nvPicPr>
        <p:blipFill>
          <a:blip r:embed="rId4" cstate="print"/>
          <a:srcRect/>
          <a:stretch>
            <a:fillRect/>
          </a:stretch>
        </p:blipFill>
        <p:spPr bwMode="auto">
          <a:xfrm>
            <a:off x="1616604" y="4460875"/>
            <a:ext cx="6672792" cy="611188"/>
          </a:xfrm>
          <a:prstGeom prst="rect">
            <a:avLst/>
          </a:prstGeom>
          <a:noFill/>
          <a:ln w="9525">
            <a:noFill/>
            <a:miter lim="800000"/>
            <a:headEnd/>
            <a:tailEnd/>
          </a:ln>
        </p:spPr>
      </p:pic>
      <p:grpSp>
        <p:nvGrpSpPr>
          <p:cNvPr id="2" name="Group 31"/>
          <p:cNvGrpSpPr>
            <a:grpSpLocks/>
          </p:cNvGrpSpPr>
          <p:nvPr/>
        </p:nvGrpSpPr>
        <p:grpSpPr bwMode="auto">
          <a:xfrm>
            <a:off x="8941198" y="76201"/>
            <a:ext cx="889132" cy="409575"/>
            <a:chOff x="3327192" y="1750016"/>
            <a:chExt cx="820212" cy="410106"/>
          </a:xfrm>
        </p:grpSpPr>
        <p:sp>
          <p:nvSpPr>
            <p:cNvPr id="11" name="Rectangle 10"/>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3" name="Rectangle 12"/>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ick  Leave / Holiday / Vacation</a:t>
              </a:r>
            </a:p>
          </p:txBody>
        </p:sp>
      </p:grpSp>
      <p:grpSp>
        <p:nvGrpSpPr>
          <p:cNvPr id="3" name="Group 14"/>
          <p:cNvGrpSpPr>
            <a:grpSpLocks/>
          </p:cNvGrpSpPr>
          <p:nvPr/>
        </p:nvGrpSpPr>
        <p:grpSpPr bwMode="auto">
          <a:xfrm>
            <a:off x="7035668" y="76201"/>
            <a:ext cx="887413" cy="409575"/>
            <a:chOff x="932170" y="585314"/>
            <a:chExt cx="820212" cy="410106"/>
          </a:xfrm>
        </p:grpSpPr>
        <p:sp>
          <p:nvSpPr>
            <p:cNvPr id="16" name="Rectangle 15"/>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7" name="Rectangle 16"/>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People Care</a:t>
              </a:r>
            </a:p>
          </p:txBody>
        </p:sp>
      </p:grpSp>
      <p:grpSp>
        <p:nvGrpSpPr>
          <p:cNvPr id="4" name="Group 17"/>
          <p:cNvGrpSpPr>
            <a:grpSpLocks/>
          </p:cNvGrpSpPr>
          <p:nvPr/>
        </p:nvGrpSpPr>
        <p:grpSpPr bwMode="auto">
          <a:xfrm>
            <a:off x="7969515" y="76201"/>
            <a:ext cx="889133" cy="409575"/>
            <a:chOff x="1137223" y="1167665"/>
            <a:chExt cx="820212" cy="410106"/>
          </a:xfrm>
        </p:grpSpPr>
        <p:sp>
          <p:nvSpPr>
            <p:cNvPr id="19" name="Rectangle 18"/>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0" name="Rectangle 19"/>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Benefits / Compensation</a:t>
              </a:r>
            </a:p>
          </p:txBody>
        </p:sp>
      </p:grpSp>
    </p:spTree>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smtClean="0"/>
              <a:t>Leaves</a:t>
            </a:r>
            <a:endParaRPr lang="en-US" dirty="0"/>
          </a:p>
        </p:txBody>
      </p:sp>
      <p:sp>
        <p:nvSpPr>
          <p:cNvPr id="22" name="Content Placeholder 5"/>
          <p:cNvSpPr>
            <a:spLocks noGrp="1"/>
          </p:cNvSpPr>
          <p:nvPr>
            <p:ph idx="1"/>
          </p:nvPr>
        </p:nvSpPr>
        <p:spPr>
          <a:xfrm>
            <a:off x="323392" y="1304925"/>
            <a:ext cx="9582608" cy="5057775"/>
          </a:xfrm>
        </p:spPr>
        <p:txBody>
          <a:bodyPr>
            <a:normAutofit fontScale="62500" lnSpcReduction="20000"/>
          </a:bodyPr>
          <a:lstStyle/>
          <a:p>
            <a:r>
              <a:rPr lang="en-US" b="1" u="sng" dirty="0" smtClean="0"/>
              <a:t>Privilege leave</a:t>
            </a:r>
          </a:p>
          <a:p>
            <a:pPr lvl="1"/>
            <a:r>
              <a:rPr lang="en-US" dirty="0" smtClean="0"/>
              <a:t>Permanent employees are eligible to take 22 working days as privilege leave (</a:t>
            </a:r>
            <a:r>
              <a:rPr lang="en-US" dirty="0" err="1" smtClean="0"/>
              <a:t>prorata</a:t>
            </a:r>
            <a:r>
              <a:rPr lang="en-US" dirty="0" smtClean="0"/>
              <a:t> basis) in a calendar year. Privilege leave </a:t>
            </a:r>
          </a:p>
          <a:p>
            <a:pPr lvl="1">
              <a:buNone/>
            </a:pPr>
            <a:r>
              <a:rPr lang="en-US" dirty="0" smtClean="0"/>
              <a:t>    includes casual and sick leave. </a:t>
            </a:r>
          </a:p>
          <a:p>
            <a:pPr lvl="1"/>
            <a:r>
              <a:rPr lang="en-US" dirty="0" smtClean="0"/>
              <a:t>Privilege Leave would be credited on first day of month. For month of January to May and July to November, 2 days of leave </a:t>
            </a:r>
          </a:p>
          <a:p>
            <a:pPr lvl="1">
              <a:buNone/>
            </a:pPr>
            <a:r>
              <a:rPr lang="en-US" dirty="0" smtClean="0"/>
              <a:t>    would be credited and for month of June and December 1 day of leave would be credited</a:t>
            </a:r>
          </a:p>
          <a:p>
            <a:pPr lvl="1"/>
            <a:r>
              <a:rPr lang="en-US" dirty="0" smtClean="0"/>
              <a:t>A maximum of 15 days of unutilized leave can be carried forward to the following year each calendar year.</a:t>
            </a:r>
          </a:p>
          <a:p>
            <a:pPr lvl="1"/>
            <a:r>
              <a:rPr lang="en-US" dirty="0" smtClean="0"/>
              <a:t>You can accumulate a maximum of 30 days of privilege leave. Any leave in excess of 30 days lapses</a:t>
            </a:r>
          </a:p>
          <a:p>
            <a:pPr lvl="1"/>
            <a:r>
              <a:rPr lang="en-US" dirty="0" smtClean="0"/>
              <a:t>Leave has to be planned at the beginning of the year</a:t>
            </a:r>
          </a:p>
          <a:p>
            <a:pPr lvl="1"/>
            <a:r>
              <a:rPr lang="en-US" dirty="0" smtClean="0"/>
              <a:t>In the event of cessation of employment, privilege leave is </a:t>
            </a:r>
            <a:r>
              <a:rPr lang="en-US" dirty="0" err="1" smtClean="0"/>
              <a:t>encashed</a:t>
            </a:r>
            <a:r>
              <a:rPr lang="en-US" dirty="0" smtClean="0"/>
              <a:t> </a:t>
            </a:r>
            <a:r>
              <a:rPr lang="en-US" dirty="0" err="1" smtClean="0"/>
              <a:t>upto</a:t>
            </a:r>
            <a:r>
              <a:rPr lang="en-US" dirty="0" smtClean="0"/>
              <a:t> a maximum of 30 days.</a:t>
            </a:r>
          </a:p>
          <a:p>
            <a:pPr lvl="1"/>
            <a:r>
              <a:rPr lang="en-US" dirty="0" smtClean="0"/>
              <a:t>Minimum 5 days leaves required to claim LTA</a:t>
            </a:r>
          </a:p>
          <a:p>
            <a:endParaRPr lang="en-US" b="1" u="sng" dirty="0" smtClean="0"/>
          </a:p>
          <a:p>
            <a:r>
              <a:rPr lang="en-US" b="1" u="sng" dirty="0" smtClean="0"/>
              <a:t>Compassionate leave</a:t>
            </a:r>
          </a:p>
          <a:p>
            <a:pPr lvl="1"/>
            <a:r>
              <a:rPr lang="en-US" dirty="0" smtClean="0"/>
              <a:t>5 days leave granted in the event of a death in the immediate family</a:t>
            </a:r>
          </a:p>
          <a:p>
            <a:pPr lvl="1"/>
            <a:r>
              <a:rPr lang="en-US" dirty="0" smtClean="0"/>
              <a:t>If the employee is at the client site during such an event, the company will bear the travel expenses</a:t>
            </a:r>
          </a:p>
          <a:p>
            <a:endParaRPr lang="en-US" b="1" u="sng" dirty="0" smtClean="0"/>
          </a:p>
          <a:p>
            <a:r>
              <a:rPr lang="en-US" b="1" u="sng" dirty="0" smtClean="0"/>
              <a:t>Maternity leave </a:t>
            </a:r>
          </a:p>
          <a:p>
            <a:pPr lvl="1"/>
            <a:r>
              <a:rPr lang="en-US" dirty="0" smtClean="0"/>
              <a:t>Eligible women employees entitled to maximum of 26 weeks of maternity leave. All intervening holidays and</a:t>
            </a:r>
          </a:p>
          <a:p>
            <a:pPr lvl="1"/>
            <a:r>
              <a:rPr lang="en-US" dirty="0" smtClean="0"/>
              <a:t> weekends falling during period of maternity leave are counted.</a:t>
            </a:r>
          </a:p>
          <a:p>
            <a:pPr lvl="1"/>
            <a:r>
              <a:rPr lang="en-US" dirty="0" smtClean="0"/>
              <a:t>In the event of a miscarriage, employee entitled to 45 days leave with pay from that day</a:t>
            </a:r>
          </a:p>
          <a:p>
            <a:pPr lvl="1">
              <a:buNone/>
            </a:pPr>
            <a:endParaRPr lang="en-US" dirty="0" smtClean="0"/>
          </a:p>
          <a:p>
            <a:r>
              <a:rPr lang="en-US" b="1" u="sng" dirty="0" smtClean="0"/>
              <a:t>Paternity leave</a:t>
            </a:r>
          </a:p>
          <a:p>
            <a:pPr lvl="1"/>
            <a:r>
              <a:rPr lang="en-US" dirty="0" smtClean="0"/>
              <a:t>5 working days at the time of the birth of the child</a:t>
            </a:r>
          </a:p>
        </p:txBody>
      </p:sp>
      <p:grpSp>
        <p:nvGrpSpPr>
          <p:cNvPr id="2" name="Group 31"/>
          <p:cNvGrpSpPr>
            <a:grpSpLocks/>
          </p:cNvGrpSpPr>
          <p:nvPr/>
        </p:nvGrpSpPr>
        <p:grpSpPr bwMode="auto">
          <a:xfrm>
            <a:off x="8941198" y="76201"/>
            <a:ext cx="889132" cy="409575"/>
            <a:chOff x="3327192" y="1750016"/>
            <a:chExt cx="820212" cy="410106"/>
          </a:xfrm>
        </p:grpSpPr>
        <p:sp>
          <p:nvSpPr>
            <p:cNvPr id="11" name="Rectangle 10"/>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3" name="Rectangle 12"/>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ick  Leave / Holiday / Vacation</a:t>
              </a:r>
            </a:p>
          </p:txBody>
        </p:sp>
      </p:grpSp>
      <p:grpSp>
        <p:nvGrpSpPr>
          <p:cNvPr id="3" name="Group 14"/>
          <p:cNvGrpSpPr>
            <a:grpSpLocks/>
          </p:cNvGrpSpPr>
          <p:nvPr/>
        </p:nvGrpSpPr>
        <p:grpSpPr bwMode="auto">
          <a:xfrm>
            <a:off x="7035668" y="76201"/>
            <a:ext cx="887413" cy="409575"/>
            <a:chOff x="932170" y="585314"/>
            <a:chExt cx="820212" cy="410106"/>
          </a:xfrm>
        </p:grpSpPr>
        <p:sp>
          <p:nvSpPr>
            <p:cNvPr id="16" name="Rectangle 15"/>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7" name="Rectangle 16"/>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People Care</a:t>
              </a:r>
            </a:p>
          </p:txBody>
        </p:sp>
      </p:grpSp>
      <p:grpSp>
        <p:nvGrpSpPr>
          <p:cNvPr id="4" name="Group 17"/>
          <p:cNvGrpSpPr>
            <a:grpSpLocks/>
          </p:cNvGrpSpPr>
          <p:nvPr/>
        </p:nvGrpSpPr>
        <p:grpSpPr bwMode="auto">
          <a:xfrm>
            <a:off x="7969515" y="76201"/>
            <a:ext cx="889133" cy="409575"/>
            <a:chOff x="1137223" y="1167665"/>
            <a:chExt cx="820212" cy="410106"/>
          </a:xfrm>
        </p:grpSpPr>
        <p:sp>
          <p:nvSpPr>
            <p:cNvPr id="19" name="Rectangle 18"/>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0" name="Rectangle 19"/>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Benefits / Compensation</a:t>
              </a:r>
            </a:p>
          </p:txBody>
        </p:sp>
      </p:grpSp>
    </p:spTree>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r>
              <a:rPr lang="en-US" dirty="0" smtClean="0"/>
              <a:t>Leaves</a:t>
            </a:r>
            <a:endParaRPr lang="en-US" dirty="0"/>
          </a:p>
        </p:txBody>
      </p:sp>
      <p:sp>
        <p:nvSpPr>
          <p:cNvPr id="21" name="Content Placeholder 5"/>
          <p:cNvSpPr>
            <a:spLocks noGrp="1"/>
          </p:cNvSpPr>
          <p:nvPr>
            <p:ph idx="1"/>
          </p:nvPr>
        </p:nvSpPr>
        <p:spPr/>
        <p:txBody>
          <a:bodyPr/>
          <a:lstStyle/>
          <a:p>
            <a:r>
              <a:rPr lang="en-US" u="sng" dirty="0" smtClean="0"/>
              <a:t>Public holidays - 10 in a year</a:t>
            </a:r>
          </a:p>
          <a:p>
            <a:pPr lvl="1"/>
            <a:r>
              <a:rPr lang="en-US" dirty="0" smtClean="0"/>
              <a:t>Employees at the client site or on projects working as per client calendar, shall follow the client list of holidays </a:t>
            </a:r>
          </a:p>
          <a:p>
            <a:endParaRPr lang="en-US" dirty="0" smtClean="0"/>
          </a:p>
          <a:p>
            <a:r>
              <a:rPr lang="en-US" u="sng" dirty="0" smtClean="0"/>
              <a:t>Leave for Adoption</a:t>
            </a:r>
          </a:p>
          <a:p>
            <a:pPr lvl="1"/>
            <a:r>
              <a:rPr lang="en-US" dirty="0" smtClean="0"/>
              <a:t>Women employees can avail leave up to: </a:t>
            </a:r>
          </a:p>
          <a:p>
            <a:pPr lvl="2"/>
            <a:r>
              <a:rPr lang="en-US" dirty="0" smtClean="0"/>
              <a:t>2 calendar months for adopting infant (less than one year old) </a:t>
            </a:r>
          </a:p>
          <a:p>
            <a:pPr lvl="2"/>
            <a:r>
              <a:rPr lang="en-US" dirty="0" smtClean="0"/>
              <a:t>Up to 1 calendar month for adopting a child (more than one year old) </a:t>
            </a:r>
          </a:p>
          <a:p>
            <a:pPr lvl="1"/>
            <a:r>
              <a:rPr lang="en-US" dirty="0" smtClean="0"/>
              <a:t>Eligible male employees are entitled to a maximum of 5 working days of Paternity/Adoption leave</a:t>
            </a:r>
          </a:p>
          <a:p>
            <a:endParaRPr lang="en-US" u="sng" dirty="0" smtClean="0"/>
          </a:p>
          <a:p>
            <a:r>
              <a:rPr lang="en-US" u="sng" dirty="0" smtClean="0"/>
              <a:t>Leave without Pay</a:t>
            </a:r>
          </a:p>
          <a:p>
            <a:pPr lvl="1"/>
            <a:r>
              <a:rPr lang="en-US" dirty="0" smtClean="0"/>
              <a:t>Any leave applied for in excess of the existing leave balance</a:t>
            </a:r>
          </a:p>
          <a:p>
            <a:pPr lvl="1"/>
            <a:r>
              <a:rPr lang="en-US" dirty="0" smtClean="0"/>
              <a:t>It will be approved on case to case basis</a:t>
            </a:r>
          </a:p>
          <a:p>
            <a:pPr lvl="1"/>
            <a:endParaRPr lang="en-US" dirty="0" smtClean="0"/>
          </a:p>
        </p:txBody>
      </p:sp>
      <p:grpSp>
        <p:nvGrpSpPr>
          <p:cNvPr id="2" name="Group 31"/>
          <p:cNvGrpSpPr>
            <a:grpSpLocks/>
          </p:cNvGrpSpPr>
          <p:nvPr/>
        </p:nvGrpSpPr>
        <p:grpSpPr bwMode="auto">
          <a:xfrm>
            <a:off x="8941198" y="76201"/>
            <a:ext cx="889132" cy="409575"/>
            <a:chOff x="3327192" y="1750016"/>
            <a:chExt cx="820212" cy="410106"/>
          </a:xfrm>
        </p:grpSpPr>
        <p:sp>
          <p:nvSpPr>
            <p:cNvPr id="11" name="Rectangle 10"/>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3" name="Rectangle 12"/>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ick  Leave / Holiday / Vacation</a:t>
              </a:r>
            </a:p>
          </p:txBody>
        </p:sp>
      </p:grpSp>
      <p:grpSp>
        <p:nvGrpSpPr>
          <p:cNvPr id="3" name="Group 14"/>
          <p:cNvGrpSpPr>
            <a:grpSpLocks/>
          </p:cNvGrpSpPr>
          <p:nvPr/>
        </p:nvGrpSpPr>
        <p:grpSpPr bwMode="auto">
          <a:xfrm>
            <a:off x="7035668" y="76201"/>
            <a:ext cx="887413" cy="409575"/>
            <a:chOff x="932170" y="585314"/>
            <a:chExt cx="820212" cy="410106"/>
          </a:xfrm>
        </p:grpSpPr>
        <p:sp>
          <p:nvSpPr>
            <p:cNvPr id="16" name="Rectangle 15"/>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7" name="Rectangle 16"/>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People Care</a:t>
              </a:r>
            </a:p>
          </p:txBody>
        </p:sp>
      </p:grpSp>
      <p:grpSp>
        <p:nvGrpSpPr>
          <p:cNvPr id="4" name="Group 17"/>
          <p:cNvGrpSpPr>
            <a:grpSpLocks/>
          </p:cNvGrpSpPr>
          <p:nvPr/>
        </p:nvGrpSpPr>
        <p:grpSpPr bwMode="auto">
          <a:xfrm>
            <a:off x="7969515" y="76201"/>
            <a:ext cx="889133" cy="409575"/>
            <a:chOff x="1137223" y="1167665"/>
            <a:chExt cx="820212" cy="410106"/>
          </a:xfrm>
        </p:grpSpPr>
        <p:sp>
          <p:nvSpPr>
            <p:cNvPr id="19" name="Rectangle 18"/>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0" name="Rectangle 19"/>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Benefits / Compensation</a:t>
              </a:r>
            </a:p>
          </p:txBody>
        </p:sp>
      </p:grpSp>
    </p:spTree>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olidays</a:t>
            </a:r>
            <a:endParaRPr lang="en-US" dirty="0"/>
          </a:p>
        </p:txBody>
      </p:sp>
      <p:sp>
        <p:nvSpPr>
          <p:cNvPr id="18" name="Content Placeholder 17"/>
          <p:cNvSpPr>
            <a:spLocks noGrp="1"/>
          </p:cNvSpPr>
          <p:nvPr>
            <p:ph idx="1"/>
          </p:nvPr>
        </p:nvSpPr>
        <p:spPr/>
        <p:txBody>
          <a:bodyPr/>
          <a:lstStyle/>
          <a:p>
            <a:r>
              <a:rPr lang="en-US" dirty="0" smtClean="0"/>
              <a:t>For the 2017 calendar year, 10 holidays are observed by Capgemini FS SBU</a:t>
            </a:r>
          </a:p>
          <a:p>
            <a:pPr lvl="1"/>
            <a:r>
              <a:rPr lang="en-US" dirty="0" smtClean="0"/>
              <a:t>On these holidays, the </a:t>
            </a:r>
            <a:r>
              <a:rPr lang="en-US" dirty="0" err="1" smtClean="0"/>
              <a:t>Capgemini</a:t>
            </a:r>
            <a:r>
              <a:rPr lang="en-US" dirty="0" smtClean="0"/>
              <a:t> offices will be closed</a:t>
            </a:r>
          </a:p>
          <a:p>
            <a:pPr lvl="1"/>
            <a:r>
              <a:rPr lang="en-US" dirty="0" smtClean="0"/>
              <a:t>For Holiday list, log on to: </a:t>
            </a:r>
            <a:r>
              <a:rPr lang="en-US" dirty="0" smtClean="0">
                <a:solidFill>
                  <a:srgbClr val="00A0D6"/>
                </a:solidFill>
              </a:rPr>
              <a:t>https://iconnect.fs.capgemini.com/frmHolidays.aspx</a:t>
            </a:r>
          </a:p>
          <a:p>
            <a:pPr lvl="1"/>
            <a:r>
              <a:rPr lang="en-US" dirty="0" smtClean="0"/>
              <a:t>Note: Holiday list is city specific</a:t>
            </a:r>
          </a:p>
          <a:p>
            <a:endParaRPr lang="en-US" sz="2000" dirty="0" smtClean="0"/>
          </a:p>
        </p:txBody>
      </p:sp>
      <p:grpSp>
        <p:nvGrpSpPr>
          <p:cNvPr id="2" name="Group 31"/>
          <p:cNvGrpSpPr>
            <a:grpSpLocks/>
          </p:cNvGrpSpPr>
          <p:nvPr/>
        </p:nvGrpSpPr>
        <p:grpSpPr bwMode="auto">
          <a:xfrm>
            <a:off x="8941198" y="76201"/>
            <a:ext cx="889132" cy="409575"/>
            <a:chOff x="3327192" y="1750016"/>
            <a:chExt cx="820212" cy="410106"/>
          </a:xfrm>
        </p:grpSpPr>
        <p:sp>
          <p:nvSpPr>
            <p:cNvPr id="7" name="Rectangle 6"/>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8" name="Rectangle 7"/>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Sick  Leave / Holiday / Vacation</a:t>
              </a:r>
            </a:p>
          </p:txBody>
        </p:sp>
      </p:grpSp>
      <p:grpSp>
        <p:nvGrpSpPr>
          <p:cNvPr id="3" name="Group 8"/>
          <p:cNvGrpSpPr>
            <a:grpSpLocks/>
          </p:cNvGrpSpPr>
          <p:nvPr/>
        </p:nvGrpSpPr>
        <p:grpSpPr bwMode="auto">
          <a:xfrm>
            <a:off x="6934200" y="76201"/>
            <a:ext cx="889133" cy="409575"/>
            <a:chOff x="932170" y="585314"/>
            <a:chExt cx="820212" cy="410106"/>
          </a:xfrm>
        </p:grpSpPr>
        <p:sp>
          <p:nvSpPr>
            <p:cNvPr id="12" name="Rectangle 11"/>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3" name="Rectangle 12"/>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People Care</a:t>
              </a:r>
            </a:p>
          </p:txBody>
        </p:sp>
      </p:grpSp>
      <p:grpSp>
        <p:nvGrpSpPr>
          <p:cNvPr id="4" name="Group 13"/>
          <p:cNvGrpSpPr>
            <a:grpSpLocks/>
          </p:cNvGrpSpPr>
          <p:nvPr/>
        </p:nvGrpSpPr>
        <p:grpSpPr bwMode="auto">
          <a:xfrm>
            <a:off x="7969515" y="76201"/>
            <a:ext cx="889133" cy="409575"/>
            <a:chOff x="1137223" y="1167665"/>
            <a:chExt cx="820212" cy="410106"/>
          </a:xfrm>
        </p:grpSpPr>
        <p:sp>
          <p:nvSpPr>
            <p:cNvPr id="15" name="Rectangle 14"/>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6" name="Rectangle 15"/>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Benefits / Compensation</a:t>
              </a:r>
            </a:p>
          </p:txBody>
        </p:sp>
      </p:grpSp>
    </p:spTree>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a:grpSpLocks/>
          </p:cNvGrpSpPr>
          <p:nvPr/>
        </p:nvGrpSpPr>
        <p:grpSpPr bwMode="auto">
          <a:xfrm>
            <a:off x="8000471" y="76201"/>
            <a:ext cx="887413" cy="409575"/>
            <a:chOff x="932170" y="585314"/>
            <a:chExt cx="820212" cy="410106"/>
          </a:xfrm>
        </p:grpSpPr>
        <p:sp>
          <p:nvSpPr>
            <p:cNvPr id="9" name="Rectangle 8"/>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1" name="Rectangle 10"/>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Being a Capgemini Consultant</a:t>
              </a:r>
            </a:p>
          </p:txBody>
        </p:sp>
      </p:grpSp>
      <p:grpSp>
        <p:nvGrpSpPr>
          <p:cNvPr id="3" name="Group 11"/>
          <p:cNvGrpSpPr>
            <a:grpSpLocks/>
          </p:cNvGrpSpPr>
          <p:nvPr/>
        </p:nvGrpSpPr>
        <p:grpSpPr bwMode="auto">
          <a:xfrm>
            <a:off x="8934319" y="76201"/>
            <a:ext cx="889132" cy="409575"/>
            <a:chOff x="1137223" y="1167665"/>
            <a:chExt cx="820212" cy="410106"/>
          </a:xfrm>
        </p:grpSpPr>
        <p:sp>
          <p:nvSpPr>
            <p:cNvPr id="13" name="Rectangle 12"/>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4" name="Rectangle 13"/>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Consulting Guard</a:t>
              </a:r>
            </a:p>
          </p:txBody>
        </p:sp>
      </p:grpSp>
      <p:sp>
        <p:nvSpPr>
          <p:cNvPr id="15" name="TextBox 14"/>
          <p:cNvSpPr txBox="1"/>
          <p:nvPr/>
        </p:nvSpPr>
        <p:spPr>
          <a:xfrm>
            <a:off x="6922903" y="6107216"/>
            <a:ext cx="2194832" cy="253916"/>
          </a:xfrm>
          <a:prstGeom prst="rect">
            <a:avLst/>
          </a:prstGeom>
          <a:noFill/>
        </p:spPr>
        <p:txBody>
          <a:bodyPr wrap="none">
            <a:spAutoFit/>
          </a:bodyPr>
          <a:lstStyle/>
          <a:p>
            <a:pPr>
              <a:defRPr/>
            </a:pPr>
            <a:r>
              <a:rPr lang="en-US" sz="1050" i="1" dirty="0"/>
              <a:t>*Please also cover-up any tattoos</a:t>
            </a:r>
          </a:p>
        </p:txBody>
      </p:sp>
      <p:graphicFrame>
        <p:nvGraphicFramePr>
          <p:cNvPr id="20" name="Table 19"/>
          <p:cNvGraphicFramePr>
            <a:graphicFrameLocks noGrp="1"/>
          </p:cNvGraphicFramePr>
          <p:nvPr/>
        </p:nvGraphicFramePr>
        <p:xfrm>
          <a:off x="412172" y="1387434"/>
          <a:ext cx="9004959" cy="4930241"/>
        </p:xfrm>
        <a:graphic>
          <a:graphicData uri="http://schemas.openxmlformats.org/drawingml/2006/table">
            <a:tbl>
              <a:tblPr firstRow="1" bandRow="1">
                <a:tableStyleId>{BDBED569-4797-4DF1-A0F4-6AAB3CD982D8}</a:tableStyleId>
              </a:tblPr>
              <a:tblGrid>
                <a:gridCol w="1433373"/>
                <a:gridCol w="2310261"/>
                <a:gridCol w="2917338"/>
                <a:gridCol w="2343987"/>
              </a:tblGrid>
              <a:tr h="672532">
                <a:tc>
                  <a:txBody>
                    <a:bodyPr/>
                    <a:lstStyle/>
                    <a:p>
                      <a:pPr algn="l"/>
                      <a:r>
                        <a:rPr lang="en-US" sz="1200" b="1" kern="1200" baseline="0" dirty="0" smtClean="0">
                          <a:solidFill>
                            <a:srgbClr val="0070C0"/>
                          </a:solidFill>
                          <a:latin typeface="Arial" pitchFamily="34" charset="0"/>
                          <a:ea typeface="+mn-ea"/>
                          <a:cs typeface="Arial" pitchFamily="34" charset="0"/>
                        </a:rPr>
                        <a:t>ATTIRE</a:t>
                      </a:r>
                    </a:p>
                  </a:txBody>
                  <a:tcPr marL="99060" marR="99060"/>
                </a:tc>
                <a:tc>
                  <a:txBody>
                    <a:bodyPr/>
                    <a:lstStyle/>
                    <a:p>
                      <a:pPr algn="l"/>
                      <a:r>
                        <a:rPr lang="en-US" sz="1200" b="1" kern="1200" baseline="0" dirty="0" smtClean="0">
                          <a:solidFill>
                            <a:srgbClr val="0070C0"/>
                          </a:solidFill>
                          <a:latin typeface="Arial" pitchFamily="34" charset="0"/>
                          <a:ea typeface="+mn-ea"/>
                          <a:cs typeface="Arial" pitchFamily="34" charset="0"/>
                        </a:rPr>
                        <a:t>BUSINESS CASUALS</a:t>
                      </a:r>
                    </a:p>
                    <a:p>
                      <a:pPr algn="l"/>
                      <a:r>
                        <a:rPr lang="en-US" sz="1200" b="1" kern="1200" baseline="0" dirty="0" smtClean="0">
                          <a:solidFill>
                            <a:srgbClr val="0070C0"/>
                          </a:solidFill>
                          <a:latin typeface="Arial" pitchFamily="34" charset="0"/>
                          <a:ea typeface="+mn-ea"/>
                          <a:cs typeface="Arial" pitchFamily="34" charset="0"/>
                        </a:rPr>
                        <a:t>(MONDAY - THURSDAY)</a:t>
                      </a:r>
                      <a:endParaRPr lang="en-US" sz="1200" b="1" kern="1200" baseline="0" dirty="0">
                        <a:solidFill>
                          <a:srgbClr val="0070C0"/>
                        </a:solidFill>
                        <a:latin typeface="Arial" pitchFamily="34" charset="0"/>
                        <a:ea typeface="+mn-ea"/>
                        <a:cs typeface="Arial" pitchFamily="34" charset="0"/>
                      </a:endParaRPr>
                    </a:p>
                  </a:txBody>
                  <a:tcPr marL="99060" marR="99060"/>
                </a:tc>
                <a:tc>
                  <a:txBody>
                    <a:bodyPr/>
                    <a:lstStyle/>
                    <a:p>
                      <a:pPr algn="l"/>
                      <a:r>
                        <a:rPr lang="en-US" sz="1200" b="1" kern="1200" baseline="0" dirty="0" smtClean="0">
                          <a:solidFill>
                            <a:srgbClr val="0070C0"/>
                          </a:solidFill>
                          <a:latin typeface="Arial" pitchFamily="34" charset="0"/>
                          <a:ea typeface="+mn-ea"/>
                          <a:cs typeface="Arial" pitchFamily="34" charset="0"/>
                        </a:rPr>
                        <a:t>SMART CASUALS</a:t>
                      </a:r>
                    </a:p>
                    <a:p>
                      <a:pPr algn="l"/>
                      <a:r>
                        <a:rPr lang="en-US" sz="1200" b="1" kern="1200" baseline="0" dirty="0" smtClean="0">
                          <a:solidFill>
                            <a:srgbClr val="0070C0"/>
                          </a:solidFill>
                          <a:latin typeface="Arial" pitchFamily="34" charset="0"/>
                          <a:ea typeface="+mn-ea"/>
                          <a:cs typeface="Arial" pitchFamily="34" charset="0"/>
                        </a:rPr>
                        <a:t> (FRIDAY)</a:t>
                      </a:r>
                    </a:p>
                  </a:txBody>
                  <a:tcPr marL="99060" marR="99060"/>
                </a:tc>
                <a:tc>
                  <a:txBody>
                    <a:bodyPr/>
                    <a:lstStyle/>
                    <a:p>
                      <a:pPr algn="l"/>
                      <a:r>
                        <a:rPr lang="en-US" sz="1200" b="1" kern="1200" baseline="0" dirty="0" smtClean="0">
                          <a:solidFill>
                            <a:srgbClr val="0070C0"/>
                          </a:solidFill>
                          <a:latin typeface="Arial" pitchFamily="34" charset="0"/>
                          <a:ea typeface="+mn-ea"/>
                          <a:cs typeface="Arial" pitchFamily="34" charset="0"/>
                        </a:rPr>
                        <a:t>NOT OFFICEWEAR</a:t>
                      </a:r>
                    </a:p>
                  </a:txBody>
                  <a:tcPr marL="99060" marR="99060"/>
                </a:tc>
              </a:tr>
              <a:tr h="494730">
                <a:tc>
                  <a:txBody>
                    <a:bodyPr/>
                    <a:lstStyle/>
                    <a:p>
                      <a:r>
                        <a:rPr lang="en-US" sz="1200" b="1" kern="1200" baseline="0" dirty="0" smtClean="0"/>
                        <a:t>INDIAN</a:t>
                      </a:r>
                      <a:endParaRPr lang="en-US" sz="1200" b="1" dirty="0"/>
                    </a:p>
                  </a:txBody>
                  <a:tcPr marL="99060" marR="99060"/>
                </a:tc>
                <a:tc>
                  <a:txBody>
                    <a:bodyPr/>
                    <a:lstStyle/>
                    <a:p>
                      <a:r>
                        <a:rPr lang="en-US" sz="1200" dirty="0" smtClean="0"/>
                        <a:t>Salwar</a:t>
                      </a:r>
                      <a:r>
                        <a:rPr lang="en-US" sz="1200" baseline="0" dirty="0" smtClean="0"/>
                        <a:t> Kameez,</a:t>
                      </a:r>
                      <a:br>
                        <a:rPr lang="en-US" sz="1200" baseline="0" dirty="0" smtClean="0"/>
                      </a:br>
                      <a:r>
                        <a:rPr lang="en-US" sz="1200" baseline="0" dirty="0" smtClean="0"/>
                        <a:t>Churidar, Kurta, Sari</a:t>
                      </a:r>
                      <a:endParaRPr lang="en-US" sz="1200" dirty="0"/>
                    </a:p>
                  </a:txBody>
                  <a:tcPr marL="99060" marR="99060"/>
                </a:tc>
                <a:tc>
                  <a:txBody>
                    <a:bodyPr/>
                    <a:lstStyle/>
                    <a:p>
                      <a:r>
                        <a:rPr lang="en-US" sz="1200" dirty="0" smtClean="0"/>
                        <a:t>Business</a:t>
                      </a:r>
                      <a:r>
                        <a:rPr lang="en-US" sz="1200" baseline="0" dirty="0" smtClean="0"/>
                        <a:t> Casuals </a:t>
                      </a:r>
                      <a:endParaRPr lang="en-US" sz="1200" dirty="0"/>
                    </a:p>
                  </a:txBody>
                  <a:tcPr marL="99060" marR="99060"/>
                </a:tc>
                <a:tc>
                  <a:txBody>
                    <a:bodyPr/>
                    <a:lstStyle/>
                    <a:p>
                      <a:endParaRPr lang="en-US" sz="1200" dirty="0"/>
                    </a:p>
                  </a:txBody>
                  <a:tcPr marL="99060" marR="99060"/>
                </a:tc>
              </a:tr>
              <a:tr h="864685">
                <a:tc>
                  <a:txBody>
                    <a:bodyPr/>
                    <a:lstStyle/>
                    <a:p>
                      <a:r>
                        <a:rPr lang="en-US" sz="1200" b="1" kern="1200" baseline="0" dirty="0" smtClean="0"/>
                        <a:t>TROUSERS</a:t>
                      </a:r>
                      <a:endParaRPr lang="en-US" sz="1200" b="1" dirty="0"/>
                    </a:p>
                  </a:txBody>
                  <a:tcPr marL="99060" marR="99060"/>
                </a:tc>
                <a:tc>
                  <a:txBody>
                    <a:bodyPr/>
                    <a:lstStyle/>
                    <a:p>
                      <a:r>
                        <a:rPr lang="en-US" sz="1200" dirty="0" smtClean="0"/>
                        <a:t>Formal Trousers, Gaberdines, khakis</a:t>
                      </a:r>
                    </a:p>
                    <a:p>
                      <a:endParaRPr lang="en-US" sz="1200" dirty="0"/>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Business</a:t>
                      </a:r>
                      <a:r>
                        <a:rPr lang="en-US" sz="1200" baseline="0" dirty="0" smtClean="0"/>
                        <a:t> Casuals, Jeans</a:t>
                      </a:r>
                      <a:endParaRPr lang="en-US" sz="1200" dirty="0" smtClean="0"/>
                    </a:p>
                    <a:p>
                      <a:endParaRPr lang="en-US" sz="1200" dirty="0"/>
                    </a:p>
                  </a:txBody>
                  <a:tcPr marL="99060" marR="99060"/>
                </a:tc>
                <a:tc>
                  <a:txBody>
                    <a:bodyPr/>
                    <a:lstStyle/>
                    <a:p>
                      <a:r>
                        <a:rPr lang="en-US" sz="1200" dirty="0" smtClean="0"/>
                        <a:t>Big Checks, Capri, Bermudas, Shiny Trousers, Hipsters, Suspenders.</a:t>
                      </a:r>
                      <a:endParaRPr lang="en-US" sz="1200" dirty="0"/>
                    </a:p>
                  </a:txBody>
                  <a:tcPr marL="99060" marR="99060"/>
                </a:tc>
              </a:tr>
              <a:tr h="688545">
                <a:tc>
                  <a:txBody>
                    <a:bodyPr/>
                    <a:lstStyle/>
                    <a:p>
                      <a:r>
                        <a:rPr lang="en-US" sz="1200" b="1" kern="1200" baseline="0" dirty="0" smtClean="0"/>
                        <a:t>SKIRTS</a:t>
                      </a:r>
                      <a:endParaRPr lang="en-US" sz="1200" b="1" dirty="0"/>
                    </a:p>
                  </a:txBody>
                  <a:tcPr marL="99060" marR="99060"/>
                </a:tc>
                <a:tc>
                  <a:txBody>
                    <a:bodyPr/>
                    <a:lstStyle/>
                    <a:p>
                      <a:r>
                        <a:rPr lang="en-US" sz="1200" dirty="0" smtClean="0"/>
                        <a:t>Long/</a:t>
                      </a:r>
                      <a:r>
                        <a:rPr lang="en-US" sz="1200" baseline="0" dirty="0" smtClean="0"/>
                        <a:t> Short Skirts with plain / faint Stripes</a:t>
                      </a:r>
                      <a:endParaRPr lang="en-US" sz="1200" dirty="0"/>
                    </a:p>
                  </a:txBody>
                  <a:tcPr marL="99060" marR="99060"/>
                </a:tc>
                <a:tc>
                  <a:txBody>
                    <a:bodyPr/>
                    <a:lstStyle/>
                    <a:p>
                      <a:r>
                        <a:rPr lang="en-US" sz="1200" dirty="0" smtClean="0"/>
                        <a:t>Business</a:t>
                      </a:r>
                      <a:r>
                        <a:rPr lang="en-US" sz="1200" baseline="0" dirty="0" smtClean="0"/>
                        <a:t> Casuals, Knitwear/ Floral Skirts, Denim</a:t>
                      </a:r>
                      <a:endParaRPr lang="en-US" sz="1200" dirty="0"/>
                    </a:p>
                  </a:txBody>
                  <a:tcPr marL="99060" marR="99060"/>
                </a:tc>
                <a:tc>
                  <a:txBody>
                    <a:bodyPr/>
                    <a:lstStyle/>
                    <a:p>
                      <a:r>
                        <a:rPr lang="en-US" sz="1200" dirty="0" smtClean="0"/>
                        <a:t>Mini Skirts, Wrap-around,</a:t>
                      </a:r>
                      <a:r>
                        <a:rPr lang="en-US" sz="1200" baseline="0" dirty="0" smtClean="0"/>
                        <a:t> Shiny Party wear, three-fourths</a:t>
                      </a:r>
                      <a:endParaRPr lang="en-US" sz="1200" dirty="0"/>
                    </a:p>
                  </a:txBody>
                  <a:tcPr marL="99060" marR="99060"/>
                </a:tc>
              </a:tr>
              <a:tr h="864685">
                <a:tc>
                  <a:txBody>
                    <a:bodyPr/>
                    <a:lstStyle/>
                    <a:p>
                      <a:r>
                        <a:rPr lang="en-US" sz="1200" b="1" kern="1200" baseline="0" dirty="0" smtClean="0"/>
                        <a:t>SHIRTS</a:t>
                      </a:r>
                      <a:endParaRPr lang="en-US" sz="1200" b="1" dirty="0"/>
                    </a:p>
                  </a:txBody>
                  <a:tcPr marL="99060" marR="99060"/>
                </a:tc>
                <a:tc>
                  <a:txBody>
                    <a:bodyPr/>
                    <a:lstStyle/>
                    <a:p>
                      <a:r>
                        <a:rPr lang="en-US" sz="1200" dirty="0" smtClean="0"/>
                        <a:t>Shirt- Full Sleeves,</a:t>
                      </a:r>
                      <a:r>
                        <a:rPr lang="en-US" sz="1200" baseline="0" dirty="0" smtClean="0"/>
                        <a:t> </a:t>
                      </a:r>
                      <a:r>
                        <a:rPr lang="en-US" sz="1200" dirty="0" smtClean="0"/>
                        <a:t>Half Sleeves, T-Shirt-Collared only</a:t>
                      </a:r>
                      <a:endParaRPr lang="en-US" sz="1200" dirty="0"/>
                    </a:p>
                  </a:txBody>
                  <a:tcPr marL="99060" marR="99060"/>
                </a:tc>
                <a:tc>
                  <a:txBody>
                    <a:bodyPr/>
                    <a:lstStyle/>
                    <a:p>
                      <a:r>
                        <a:rPr lang="en-US" sz="1200" dirty="0" smtClean="0"/>
                        <a:t>Business</a:t>
                      </a:r>
                      <a:r>
                        <a:rPr lang="en-US" sz="1200" baseline="0" dirty="0" smtClean="0"/>
                        <a:t> Casuals, Checks/Stripes, Shirt with ( Sleeveless Jacket), big Floral Prints, T-Shirt Collared only</a:t>
                      </a:r>
                      <a:endParaRPr lang="en-US" sz="1200" dirty="0"/>
                    </a:p>
                  </a:txBody>
                  <a:tcPr marL="99060" marR="99060"/>
                </a:tc>
                <a:tc>
                  <a:txBody>
                    <a:bodyPr/>
                    <a:lstStyle/>
                    <a:p>
                      <a:r>
                        <a:rPr lang="en-US" sz="1200" dirty="0" smtClean="0"/>
                        <a:t>Lycra</a:t>
                      </a:r>
                      <a:endParaRPr lang="en-US" sz="1200" dirty="0"/>
                    </a:p>
                  </a:txBody>
                  <a:tcPr marL="99060" marR="99060"/>
                </a:tc>
              </a:tr>
              <a:tr h="672532">
                <a:tc>
                  <a:txBody>
                    <a:bodyPr/>
                    <a:lstStyle/>
                    <a:p>
                      <a:r>
                        <a:rPr lang="en-US" sz="1200" b="1" kern="1200" baseline="0" dirty="0" smtClean="0"/>
                        <a:t>TOPS</a:t>
                      </a:r>
                      <a:endParaRPr lang="en-US" sz="1200" b="1" dirty="0"/>
                    </a:p>
                  </a:txBody>
                  <a:tcPr marL="99060" marR="99060"/>
                </a:tc>
                <a:tc>
                  <a:txBody>
                    <a:bodyPr/>
                    <a:lstStyle/>
                    <a:p>
                      <a:r>
                        <a:rPr lang="en-US" sz="1200" dirty="0" smtClean="0"/>
                        <a:t>Plain,</a:t>
                      </a:r>
                      <a:r>
                        <a:rPr lang="en-US" sz="1200" baseline="0" dirty="0" smtClean="0"/>
                        <a:t> Lace </a:t>
                      </a:r>
                      <a:endParaRPr lang="en-US" sz="1200" dirty="0"/>
                    </a:p>
                  </a:txBody>
                  <a:tcPr marL="99060" marR="99060"/>
                </a:tc>
                <a:tc>
                  <a:txBody>
                    <a:bodyPr/>
                    <a:lstStyle/>
                    <a:p>
                      <a:r>
                        <a:rPr lang="en-US" sz="1200" dirty="0" smtClean="0"/>
                        <a:t>Business Casuals, Plain</a:t>
                      </a:r>
                      <a:r>
                        <a:rPr lang="en-US" sz="1200" baseline="0" dirty="0" smtClean="0"/>
                        <a:t> Satins, Small Floral Prints, Big Floral Prints/ Sleeveless</a:t>
                      </a:r>
                      <a:endParaRPr lang="en-US" sz="1200" dirty="0"/>
                    </a:p>
                  </a:txBody>
                  <a:tcPr marL="99060" marR="99060"/>
                </a:tc>
                <a:tc>
                  <a:txBody>
                    <a:bodyPr/>
                    <a:lstStyle/>
                    <a:p>
                      <a:r>
                        <a:rPr lang="en-US" sz="1200" dirty="0" smtClean="0"/>
                        <a:t>Lycra, Tank tops, Figure</a:t>
                      </a:r>
                      <a:r>
                        <a:rPr lang="en-US" sz="1200" baseline="0" dirty="0" smtClean="0"/>
                        <a:t> Hugs without jacket, Spaghetti.</a:t>
                      </a:r>
                      <a:endParaRPr lang="en-US" sz="1200" dirty="0"/>
                    </a:p>
                  </a:txBody>
                  <a:tcPr marL="99060" marR="99060"/>
                </a:tc>
              </a:tr>
              <a:tr h="672532">
                <a:tc>
                  <a:txBody>
                    <a:bodyPr/>
                    <a:lstStyle/>
                    <a:p>
                      <a:r>
                        <a:rPr lang="en-US" sz="1200" b="1" kern="1200" baseline="0" dirty="0" smtClean="0"/>
                        <a:t>FOOTWEAR</a:t>
                      </a:r>
                      <a:endParaRPr lang="en-US" sz="1200" b="1" dirty="0"/>
                    </a:p>
                  </a:txBody>
                  <a:tcPr marL="99060" marR="99060"/>
                </a:tc>
                <a:tc>
                  <a:txBody>
                    <a:bodyPr/>
                    <a:lstStyle/>
                    <a:p>
                      <a:r>
                        <a:rPr lang="en-US" sz="1200" dirty="0" smtClean="0"/>
                        <a:t>Slip- Ons,</a:t>
                      </a:r>
                      <a:r>
                        <a:rPr lang="en-US" sz="1200" baseline="0" dirty="0" smtClean="0"/>
                        <a:t> leather / Suede Boots/ Shoes, Leather / Suede  Sandals</a:t>
                      </a:r>
                      <a:endParaRPr lang="en-US" sz="1200" dirty="0"/>
                    </a:p>
                  </a:txBody>
                  <a:tcPr marL="99060" marR="99060"/>
                </a:tc>
                <a:tc>
                  <a:txBody>
                    <a:bodyPr/>
                    <a:lstStyle/>
                    <a:p>
                      <a:r>
                        <a:rPr lang="en-US" sz="1200" dirty="0" smtClean="0"/>
                        <a:t>Business Casuals, Court shoes, Rubber Sport, Keds, velvet Boots, Canvas Shoes</a:t>
                      </a:r>
                      <a:r>
                        <a:rPr lang="en-US" sz="1200" baseline="0" dirty="0" smtClean="0"/>
                        <a:t>, Suede</a:t>
                      </a:r>
                      <a:endParaRPr lang="en-US" sz="1200" dirty="0"/>
                    </a:p>
                  </a:txBody>
                  <a:tcPr marL="99060" marR="99060"/>
                </a:tc>
                <a:tc>
                  <a:txBody>
                    <a:bodyPr/>
                    <a:lstStyle/>
                    <a:p>
                      <a:r>
                        <a:rPr lang="en-US" sz="1200" dirty="0" smtClean="0"/>
                        <a:t>Slippers, Sports Sandals, Floaters.</a:t>
                      </a:r>
                      <a:endParaRPr lang="en-US" sz="1200" dirty="0"/>
                    </a:p>
                  </a:txBody>
                  <a:tcPr marL="99060" marR="99060"/>
                </a:tc>
              </a:tr>
            </a:tbl>
          </a:graphicData>
        </a:graphic>
      </p:graphicFrame>
      <p:sp>
        <p:nvSpPr>
          <p:cNvPr id="16" name="Title 15"/>
          <p:cNvSpPr>
            <a:spLocks noGrp="1"/>
          </p:cNvSpPr>
          <p:nvPr>
            <p:ph type="title"/>
          </p:nvPr>
        </p:nvSpPr>
        <p:spPr/>
        <p:txBody>
          <a:bodyPr/>
          <a:lstStyle/>
          <a:p>
            <a:r>
              <a:rPr lang="en-US" dirty="0" smtClean="0"/>
              <a:t>Professional Dress Code for Women</a:t>
            </a:r>
            <a:endParaRPr lang="en-US" dirty="0"/>
          </a:p>
        </p:txBody>
      </p:sp>
    </p:spTree>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a:grpSpLocks/>
          </p:cNvGrpSpPr>
          <p:nvPr/>
        </p:nvGrpSpPr>
        <p:grpSpPr bwMode="auto">
          <a:xfrm>
            <a:off x="8000471" y="76201"/>
            <a:ext cx="887413" cy="409575"/>
            <a:chOff x="932170" y="585314"/>
            <a:chExt cx="820212" cy="410106"/>
          </a:xfrm>
        </p:grpSpPr>
        <p:sp>
          <p:nvSpPr>
            <p:cNvPr id="9" name="Rectangle 8"/>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1" name="Rectangle 10"/>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Being a Capgemini Consultant</a:t>
              </a:r>
            </a:p>
          </p:txBody>
        </p:sp>
      </p:grpSp>
      <p:grpSp>
        <p:nvGrpSpPr>
          <p:cNvPr id="3" name="Group 11"/>
          <p:cNvGrpSpPr>
            <a:grpSpLocks/>
          </p:cNvGrpSpPr>
          <p:nvPr/>
        </p:nvGrpSpPr>
        <p:grpSpPr bwMode="auto">
          <a:xfrm>
            <a:off x="8934319" y="76201"/>
            <a:ext cx="889132" cy="409575"/>
            <a:chOff x="1137223" y="1167665"/>
            <a:chExt cx="820212" cy="410106"/>
          </a:xfrm>
        </p:grpSpPr>
        <p:sp>
          <p:nvSpPr>
            <p:cNvPr id="13" name="Rectangle 12"/>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4" name="Rectangle 13"/>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Consulting Guard</a:t>
              </a:r>
            </a:p>
          </p:txBody>
        </p:sp>
      </p:grpSp>
      <p:sp>
        <p:nvSpPr>
          <p:cNvPr id="17" name="TextBox 16"/>
          <p:cNvSpPr txBox="1"/>
          <p:nvPr/>
        </p:nvSpPr>
        <p:spPr>
          <a:xfrm>
            <a:off x="6875402" y="6071590"/>
            <a:ext cx="2194832" cy="253916"/>
          </a:xfrm>
          <a:prstGeom prst="rect">
            <a:avLst/>
          </a:prstGeom>
          <a:noFill/>
        </p:spPr>
        <p:txBody>
          <a:bodyPr wrap="none">
            <a:spAutoFit/>
          </a:bodyPr>
          <a:lstStyle/>
          <a:p>
            <a:pPr>
              <a:defRPr/>
            </a:pPr>
            <a:r>
              <a:rPr lang="en-US" sz="1050" i="1" dirty="0"/>
              <a:t>*Please also cover-up any tattoos</a:t>
            </a:r>
          </a:p>
        </p:txBody>
      </p:sp>
      <p:graphicFrame>
        <p:nvGraphicFramePr>
          <p:cNvPr id="18" name="Table 17"/>
          <p:cNvGraphicFramePr>
            <a:graphicFrameLocks noGrp="1"/>
          </p:cNvGraphicFramePr>
          <p:nvPr/>
        </p:nvGraphicFramePr>
        <p:xfrm>
          <a:off x="330200" y="1534875"/>
          <a:ext cx="9080501" cy="4439677"/>
        </p:xfrm>
        <a:graphic>
          <a:graphicData uri="http://schemas.openxmlformats.org/drawingml/2006/table">
            <a:tbl>
              <a:tblPr firstRow="1" bandRow="1">
                <a:tableStyleId>{BDBED569-4797-4DF1-A0F4-6AAB3CD982D8}</a:tableStyleId>
              </a:tblPr>
              <a:tblGrid>
                <a:gridCol w="1521768"/>
                <a:gridCol w="2217262"/>
                <a:gridCol w="2487600"/>
                <a:gridCol w="2853871"/>
              </a:tblGrid>
              <a:tr h="662049">
                <a:tc>
                  <a:txBody>
                    <a:bodyPr/>
                    <a:lstStyle/>
                    <a:p>
                      <a:pPr algn="l"/>
                      <a:r>
                        <a:rPr lang="en-US" sz="1200" b="1" kern="1200" baseline="0" dirty="0" smtClean="0">
                          <a:solidFill>
                            <a:srgbClr val="0070C0"/>
                          </a:solidFill>
                          <a:latin typeface="+mn-lt"/>
                          <a:ea typeface="+mn-ea"/>
                          <a:cs typeface="+mn-cs"/>
                        </a:rPr>
                        <a:t>ATTIRE</a:t>
                      </a:r>
                    </a:p>
                  </a:txBody>
                  <a:tcPr marL="99060" marR="99060"/>
                </a:tc>
                <a:tc>
                  <a:txBody>
                    <a:bodyPr/>
                    <a:lstStyle/>
                    <a:p>
                      <a:pPr algn="l"/>
                      <a:r>
                        <a:rPr lang="en-US" sz="1200" b="1" kern="1200" baseline="0" dirty="0" smtClean="0">
                          <a:solidFill>
                            <a:srgbClr val="0070C0"/>
                          </a:solidFill>
                          <a:latin typeface="+mn-lt"/>
                          <a:ea typeface="+mn-ea"/>
                          <a:cs typeface="+mn-cs"/>
                        </a:rPr>
                        <a:t>BUSINESS CASUALS</a:t>
                      </a:r>
                    </a:p>
                    <a:p>
                      <a:pPr algn="l"/>
                      <a:r>
                        <a:rPr lang="en-US" sz="1200" b="1" kern="1200" baseline="0" dirty="0" smtClean="0">
                          <a:solidFill>
                            <a:srgbClr val="0070C0"/>
                          </a:solidFill>
                          <a:latin typeface="+mn-lt"/>
                          <a:ea typeface="+mn-ea"/>
                          <a:cs typeface="+mn-cs"/>
                        </a:rPr>
                        <a:t>( MONDAY -THURSDAY)</a:t>
                      </a:r>
                      <a:endParaRPr lang="en-US" sz="1200" b="1" kern="1200" baseline="0" dirty="0">
                        <a:solidFill>
                          <a:srgbClr val="0070C0"/>
                        </a:solidFill>
                        <a:latin typeface="+mn-lt"/>
                        <a:ea typeface="+mn-ea"/>
                        <a:cs typeface="+mn-cs"/>
                      </a:endParaRPr>
                    </a:p>
                  </a:txBody>
                  <a:tcPr marL="99060" marR="99060"/>
                </a:tc>
                <a:tc>
                  <a:txBody>
                    <a:bodyPr/>
                    <a:lstStyle/>
                    <a:p>
                      <a:pPr algn="l"/>
                      <a:r>
                        <a:rPr lang="en-US" sz="1200" b="1" kern="1200" baseline="0" dirty="0" smtClean="0">
                          <a:solidFill>
                            <a:srgbClr val="0070C0"/>
                          </a:solidFill>
                          <a:latin typeface="+mn-lt"/>
                          <a:ea typeface="+mn-ea"/>
                          <a:cs typeface="+mn-cs"/>
                        </a:rPr>
                        <a:t>SMART CASUALS</a:t>
                      </a:r>
                    </a:p>
                    <a:p>
                      <a:pPr algn="l"/>
                      <a:r>
                        <a:rPr lang="en-US" sz="1200" b="1" kern="1200" baseline="0" dirty="0" smtClean="0">
                          <a:solidFill>
                            <a:srgbClr val="0070C0"/>
                          </a:solidFill>
                          <a:latin typeface="+mn-lt"/>
                          <a:ea typeface="+mn-ea"/>
                          <a:cs typeface="+mn-cs"/>
                        </a:rPr>
                        <a:t>       (FRIDAY)</a:t>
                      </a:r>
                    </a:p>
                  </a:txBody>
                  <a:tcPr marL="99060" marR="99060"/>
                </a:tc>
                <a:tc>
                  <a:txBody>
                    <a:bodyPr/>
                    <a:lstStyle/>
                    <a:p>
                      <a:pPr algn="l"/>
                      <a:r>
                        <a:rPr lang="en-US" sz="1200" b="1" kern="1200" baseline="0" dirty="0" smtClean="0">
                          <a:solidFill>
                            <a:srgbClr val="0070C0"/>
                          </a:solidFill>
                          <a:latin typeface="+mn-lt"/>
                          <a:ea typeface="+mn-ea"/>
                          <a:cs typeface="+mn-cs"/>
                        </a:rPr>
                        <a:t>NOT OFFICEWEAR</a:t>
                      </a:r>
                    </a:p>
                  </a:txBody>
                  <a:tcPr marL="99060" marR="99060"/>
                </a:tc>
              </a:tr>
              <a:tr h="1234112">
                <a:tc>
                  <a:txBody>
                    <a:bodyPr/>
                    <a:lstStyle/>
                    <a:p>
                      <a:r>
                        <a:rPr lang="en-US" sz="1600" b="1" kern="1200" baseline="0" dirty="0" smtClean="0">
                          <a:latin typeface="+mn-lt"/>
                        </a:rPr>
                        <a:t>TROUSERS</a:t>
                      </a:r>
                      <a:endParaRPr lang="en-US" sz="1600" b="1" dirty="0">
                        <a:latin typeface="+mn-lt"/>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mn-lt"/>
                        </a:rPr>
                        <a:t>Formal Trousers, Gaberdines, khakis</a:t>
                      </a:r>
                      <a:endParaRPr lang="en-US" sz="1600" dirty="0">
                        <a:latin typeface="+mn-lt"/>
                      </a:endParaRPr>
                    </a:p>
                  </a:txBody>
                  <a:tcPr marL="99060" marR="99060"/>
                </a:tc>
                <a:tc>
                  <a:txBody>
                    <a:bodyPr/>
                    <a:lstStyle/>
                    <a:p>
                      <a:r>
                        <a:rPr lang="en-US" sz="1600" dirty="0" smtClean="0">
                          <a:latin typeface="+mn-lt"/>
                        </a:rPr>
                        <a:t>Same as Business Casuals, Jeans</a:t>
                      </a:r>
                      <a:endParaRPr lang="en-US" sz="1600" dirty="0">
                        <a:latin typeface="+mn-lt"/>
                      </a:endParaRPr>
                    </a:p>
                  </a:txBody>
                  <a:tcPr marL="99060" marR="99060"/>
                </a:tc>
                <a:tc>
                  <a:txBody>
                    <a:bodyPr/>
                    <a:lstStyle/>
                    <a:p>
                      <a:r>
                        <a:rPr lang="en-US" sz="1600" dirty="0" smtClean="0">
                          <a:latin typeface="+mn-lt"/>
                        </a:rPr>
                        <a:t>Cargos, Cowboy Pants, Big Checks Pants, thre</a:t>
                      </a:r>
                      <a:r>
                        <a:rPr lang="en-US" sz="1600" baseline="0" dirty="0" smtClean="0">
                          <a:latin typeface="+mn-lt"/>
                        </a:rPr>
                        <a:t>e Fourths, Excersize pants, Sweat pants</a:t>
                      </a:r>
                      <a:endParaRPr lang="en-US" sz="1600" dirty="0">
                        <a:latin typeface="+mn-lt"/>
                      </a:endParaRPr>
                    </a:p>
                  </a:txBody>
                  <a:tcPr marL="99060" marR="99060"/>
                </a:tc>
              </a:tr>
              <a:tr h="1234112">
                <a:tc>
                  <a:txBody>
                    <a:bodyPr/>
                    <a:lstStyle/>
                    <a:p>
                      <a:pPr marL="0" algn="l" defTabSz="914400" rtl="0" eaLnBrk="1" latinLnBrk="0" hangingPunct="1"/>
                      <a:r>
                        <a:rPr lang="en-US" sz="1600" b="1" kern="1200" baseline="0" dirty="0" smtClean="0">
                          <a:solidFill>
                            <a:schemeClr val="tx1"/>
                          </a:solidFill>
                          <a:latin typeface="+mn-lt"/>
                          <a:ea typeface="+mn-ea"/>
                          <a:cs typeface="+mn-cs"/>
                        </a:rPr>
                        <a:t>SHIRT</a:t>
                      </a:r>
                      <a:endParaRPr lang="en-US" sz="1600" b="1" kern="1200" baseline="0" dirty="0">
                        <a:solidFill>
                          <a:schemeClr val="tx1"/>
                        </a:solidFill>
                        <a:latin typeface="+mn-lt"/>
                        <a:ea typeface="+mn-ea"/>
                        <a:cs typeface="+mn-cs"/>
                      </a:endParaRPr>
                    </a:p>
                  </a:txBody>
                  <a:tcPr marL="99060" marR="99060"/>
                </a:tc>
                <a:tc>
                  <a:txBody>
                    <a:bodyPr/>
                    <a:lstStyle/>
                    <a:p>
                      <a:r>
                        <a:rPr lang="en-US" sz="1600" dirty="0" smtClean="0">
                          <a:latin typeface="+mn-lt"/>
                        </a:rPr>
                        <a:t>Shirt-Full Sleeves,</a:t>
                      </a:r>
                      <a:r>
                        <a:rPr lang="en-US" sz="1600" baseline="0" dirty="0" smtClean="0">
                          <a:latin typeface="+mn-lt"/>
                        </a:rPr>
                        <a:t> Half Sleeves, T-Shirt Collared only ( Should be tucked in)</a:t>
                      </a:r>
                      <a:endParaRPr lang="en-US" sz="1600" dirty="0">
                        <a:latin typeface="+mn-lt"/>
                      </a:endParaRPr>
                    </a:p>
                  </a:txBody>
                  <a:tcPr marL="99060" marR="99060"/>
                </a:tc>
                <a:tc>
                  <a:txBody>
                    <a:bodyPr/>
                    <a:lstStyle/>
                    <a:p>
                      <a:r>
                        <a:rPr lang="en-US" sz="1600" dirty="0" smtClean="0">
                          <a:latin typeface="+mn-lt"/>
                        </a:rPr>
                        <a:t>Same as Business Casuals</a:t>
                      </a:r>
                      <a:r>
                        <a:rPr lang="en-US" sz="1600" baseline="0" dirty="0" smtClean="0">
                          <a:latin typeface="+mn-lt"/>
                        </a:rPr>
                        <a:t> ( should be Tucked in) T-Shirt Collared only</a:t>
                      </a:r>
                      <a:endParaRPr lang="en-US" sz="1600" dirty="0">
                        <a:latin typeface="+mn-lt"/>
                      </a:endParaRPr>
                    </a:p>
                  </a:txBody>
                  <a:tcPr marL="99060" marR="99060"/>
                </a:tc>
                <a:tc>
                  <a:txBody>
                    <a:bodyPr/>
                    <a:lstStyle/>
                    <a:p>
                      <a:r>
                        <a:rPr lang="en-US" sz="1600" dirty="0" smtClean="0">
                          <a:latin typeface="+mn-lt"/>
                        </a:rPr>
                        <a:t>Sleeveless,</a:t>
                      </a:r>
                      <a:r>
                        <a:rPr lang="en-US" sz="1600" baseline="0" dirty="0" smtClean="0">
                          <a:latin typeface="+mn-lt"/>
                        </a:rPr>
                        <a:t> t-shirt with slogans( except Capgemini) Pictures, Collarless T-Shirts</a:t>
                      </a:r>
                      <a:endParaRPr lang="en-US" sz="1600" dirty="0">
                        <a:latin typeface="+mn-lt"/>
                      </a:endParaRPr>
                    </a:p>
                  </a:txBody>
                  <a:tcPr marL="99060" marR="99060"/>
                </a:tc>
              </a:tr>
              <a:tr h="1309404">
                <a:tc>
                  <a:txBody>
                    <a:bodyPr/>
                    <a:lstStyle/>
                    <a:p>
                      <a:pPr marL="0" algn="l" defTabSz="914400" rtl="0" eaLnBrk="1" latinLnBrk="0" hangingPunct="1"/>
                      <a:r>
                        <a:rPr lang="en-US" sz="1600" b="1" kern="1200" baseline="0" dirty="0" smtClean="0">
                          <a:solidFill>
                            <a:schemeClr val="tx1"/>
                          </a:solidFill>
                          <a:latin typeface="+mn-lt"/>
                          <a:ea typeface="+mn-ea"/>
                          <a:cs typeface="+mn-cs"/>
                        </a:rPr>
                        <a:t>FOOTWEAR</a:t>
                      </a:r>
                      <a:endParaRPr lang="en-US" sz="1600" b="1" kern="1200" baseline="0" dirty="0">
                        <a:solidFill>
                          <a:schemeClr val="tx1"/>
                        </a:solidFill>
                        <a:latin typeface="+mn-lt"/>
                        <a:ea typeface="+mn-ea"/>
                        <a:cs typeface="+mn-cs"/>
                      </a:endParaRPr>
                    </a:p>
                  </a:txBody>
                  <a:tcPr marL="99060" marR="99060"/>
                </a:tc>
                <a:tc>
                  <a:txBody>
                    <a:bodyPr/>
                    <a:lstStyle/>
                    <a:p>
                      <a:r>
                        <a:rPr lang="en-US" sz="1600" dirty="0" smtClean="0">
                          <a:latin typeface="+mn-lt"/>
                        </a:rPr>
                        <a:t>Leather, Suede</a:t>
                      </a:r>
                      <a:endParaRPr lang="en-US" sz="1600" dirty="0">
                        <a:latin typeface="+mn-lt"/>
                      </a:endParaRPr>
                    </a:p>
                  </a:txBody>
                  <a:tcPr marL="99060" marR="99060"/>
                </a:tc>
                <a:tc>
                  <a:txBody>
                    <a:bodyPr/>
                    <a:lstStyle/>
                    <a:p>
                      <a:r>
                        <a:rPr lang="en-US" sz="1600" dirty="0" smtClean="0">
                          <a:latin typeface="+mn-lt"/>
                        </a:rPr>
                        <a:t>Business Casuals, Sports Shoes, Canvas</a:t>
                      </a:r>
                      <a:r>
                        <a:rPr lang="en-US" sz="1600" baseline="0" dirty="0" smtClean="0">
                          <a:latin typeface="+mn-lt"/>
                        </a:rPr>
                        <a:t> Shoes</a:t>
                      </a:r>
                      <a:endParaRPr lang="en-US" sz="1600" dirty="0">
                        <a:latin typeface="+mn-lt"/>
                      </a:endParaRPr>
                    </a:p>
                  </a:txBody>
                  <a:tcPr marL="99060" marR="99060"/>
                </a:tc>
                <a:tc>
                  <a:txBody>
                    <a:bodyPr/>
                    <a:lstStyle/>
                    <a:p>
                      <a:r>
                        <a:rPr lang="en-US" sz="1600" dirty="0" smtClean="0">
                          <a:latin typeface="+mn-lt"/>
                        </a:rPr>
                        <a:t>Slippers/ Chappals, Sandals, Floaters, Open Shoes</a:t>
                      </a:r>
                      <a:endParaRPr lang="en-US" sz="1600" dirty="0">
                        <a:latin typeface="+mn-lt"/>
                      </a:endParaRPr>
                    </a:p>
                  </a:txBody>
                  <a:tcPr marL="99060" marR="99060"/>
                </a:tc>
              </a:tr>
            </a:tbl>
          </a:graphicData>
        </a:graphic>
      </p:graphicFrame>
      <p:sp>
        <p:nvSpPr>
          <p:cNvPr id="12" name="Title 11"/>
          <p:cNvSpPr>
            <a:spLocks noGrp="1"/>
          </p:cNvSpPr>
          <p:nvPr>
            <p:ph type="title"/>
          </p:nvPr>
        </p:nvSpPr>
        <p:spPr/>
        <p:txBody>
          <a:bodyPr/>
          <a:lstStyle/>
          <a:p>
            <a:r>
              <a:rPr lang="en-US" dirty="0" smtClean="0"/>
              <a:t>Professional Dress Code for Men</a:t>
            </a:r>
            <a:endParaRPr lang="en-US" dirty="0"/>
          </a:p>
        </p:txBody>
      </p:sp>
    </p:spTree>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smtClean="0"/>
              <a:t>Relocation for India Joinees</a:t>
            </a:r>
            <a:endParaRPr lang="en-US" dirty="0"/>
          </a:p>
        </p:txBody>
      </p:sp>
      <p:sp>
        <p:nvSpPr>
          <p:cNvPr id="19" name="Content Placeholder 18"/>
          <p:cNvSpPr>
            <a:spLocks noGrp="1"/>
          </p:cNvSpPr>
          <p:nvPr>
            <p:ph idx="1"/>
          </p:nvPr>
        </p:nvSpPr>
        <p:spPr>
          <a:xfrm>
            <a:off x="323392" y="1494765"/>
            <a:ext cx="9582608" cy="4801260"/>
          </a:xfrm>
        </p:spPr>
        <p:txBody>
          <a:bodyPr>
            <a:normAutofit fontScale="77500" lnSpcReduction="20000"/>
          </a:bodyPr>
          <a:lstStyle/>
          <a:p>
            <a:r>
              <a:rPr lang="en-US" dirty="0" smtClean="0"/>
              <a:t>Relocation Expenses</a:t>
            </a:r>
          </a:p>
          <a:p>
            <a:pPr lvl="1"/>
            <a:r>
              <a:rPr lang="en-US" dirty="0" smtClean="0"/>
              <a:t>Relocation expenses will include below mentioned expenses and will be reimbursed on production of </a:t>
            </a:r>
          </a:p>
          <a:p>
            <a:pPr lvl="1">
              <a:buNone/>
            </a:pPr>
            <a:r>
              <a:rPr lang="en-US" dirty="0" smtClean="0"/>
              <a:t>    actual receipts.  </a:t>
            </a:r>
          </a:p>
          <a:p>
            <a:pPr lvl="1"/>
            <a:r>
              <a:rPr lang="en-US" dirty="0" smtClean="0"/>
              <a:t>Transportation of household goods</a:t>
            </a:r>
          </a:p>
          <a:p>
            <a:pPr lvl="1"/>
            <a:r>
              <a:rPr lang="en-US" dirty="0" smtClean="0"/>
              <a:t>Cost Incurred on packing and moving (P&amp;M) of personal goods and effects (excluding vehicle) arranged </a:t>
            </a:r>
          </a:p>
          <a:p>
            <a:pPr lvl="1">
              <a:buNone/>
            </a:pPr>
            <a:r>
              <a:rPr lang="en-US" dirty="0" smtClean="0"/>
              <a:t>    through any vendor will be reimbursed subject to the submission of the following: </a:t>
            </a:r>
          </a:p>
          <a:p>
            <a:pPr lvl="2"/>
            <a:r>
              <a:rPr lang="en-US" dirty="0" smtClean="0"/>
              <a:t>Original payment receipt on the vendor's letter head/bill mentioning the vendor's PAN No and Service Tax No. </a:t>
            </a:r>
          </a:p>
          <a:p>
            <a:pPr lvl="2">
              <a:buNone/>
            </a:pPr>
            <a:r>
              <a:rPr lang="en-US" dirty="0" smtClean="0"/>
              <a:t>    This should be duly attested by vendor. </a:t>
            </a:r>
          </a:p>
          <a:p>
            <a:pPr lvl="2"/>
            <a:r>
              <a:rPr lang="en-US" dirty="0" smtClean="0"/>
              <a:t>Original list of items transported and signed by the candidate and acknowledged by the vendor. This should also </a:t>
            </a:r>
          </a:p>
          <a:p>
            <a:pPr lvl="2">
              <a:buNone/>
            </a:pPr>
            <a:r>
              <a:rPr lang="en-US" dirty="0" smtClean="0"/>
              <a:t>    mention the starting location and destination. </a:t>
            </a:r>
          </a:p>
          <a:p>
            <a:pPr lvl="2"/>
            <a:r>
              <a:rPr lang="en-US" dirty="0" smtClean="0"/>
              <a:t>Original Insurance premium receipt (if claimed)</a:t>
            </a:r>
          </a:p>
          <a:p>
            <a:pPr lvl="2"/>
            <a:r>
              <a:rPr lang="en-US" dirty="0" smtClean="0"/>
              <a:t>Original </a:t>
            </a:r>
            <a:r>
              <a:rPr lang="en-US" dirty="0" err="1" smtClean="0"/>
              <a:t>Octroi</a:t>
            </a:r>
            <a:r>
              <a:rPr lang="en-US" dirty="0" smtClean="0"/>
              <a:t> receipts across locations</a:t>
            </a:r>
          </a:p>
          <a:p>
            <a:pPr lvl="2"/>
            <a:r>
              <a:rPr lang="en-US" dirty="0" smtClean="0"/>
              <a:t>Original Good Receipt Note /Delivery </a:t>
            </a:r>
            <a:r>
              <a:rPr lang="en-US" dirty="0" err="1" smtClean="0"/>
              <a:t>Challan</a:t>
            </a:r>
            <a:r>
              <a:rPr lang="en-US" dirty="0" smtClean="0"/>
              <a:t> on the Vendor Letter head – countersigned by the candidate.</a:t>
            </a:r>
          </a:p>
          <a:p>
            <a:endParaRPr lang="en-US" dirty="0" smtClean="0"/>
          </a:p>
          <a:p>
            <a:r>
              <a:rPr lang="en-US" dirty="0" smtClean="0"/>
              <a:t>Notes </a:t>
            </a:r>
          </a:p>
          <a:p>
            <a:pPr lvl="1"/>
            <a:r>
              <a:rPr lang="en-US" dirty="0" smtClean="0"/>
              <a:t>Capgemini will not be held liable for any loss or damage or delay in delivery of goods during transit. </a:t>
            </a:r>
          </a:p>
          <a:p>
            <a:pPr lvl="1"/>
            <a:r>
              <a:rPr lang="en-US" dirty="0" smtClean="0"/>
              <a:t>The reimbursement of P&amp;M of personal goods and effects is non-taxable</a:t>
            </a:r>
          </a:p>
          <a:p>
            <a:pPr lvl="1"/>
            <a:r>
              <a:rPr lang="en-US" dirty="0" smtClean="0"/>
              <a:t>Original receipts would be required for Reimbursement   </a:t>
            </a:r>
          </a:p>
          <a:p>
            <a:pPr lvl="1"/>
            <a:r>
              <a:rPr lang="en-US" dirty="0" smtClean="0"/>
              <a:t>In case the employee resigns before 1 year, the relocation claim must be returned as part of final </a:t>
            </a:r>
          </a:p>
          <a:p>
            <a:pPr lvl="1">
              <a:buNone/>
            </a:pPr>
            <a:r>
              <a:rPr lang="en-US" dirty="0" smtClean="0"/>
              <a:t>    settlement.                       </a:t>
            </a:r>
            <a:endParaRPr lang="en-US" dirty="0"/>
          </a:p>
        </p:txBody>
      </p:sp>
      <p:grpSp>
        <p:nvGrpSpPr>
          <p:cNvPr id="2" name="Group 5"/>
          <p:cNvGrpSpPr>
            <a:grpSpLocks/>
          </p:cNvGrpSpPr>
          <p:nvPr/>
        </p:nvGrpSpPr>
        <p:grpSpPr bwMode="auto">
          <a:xfrm>
            <a:off x="7035668" y="76201"/>
            <a:ext cx="887413" cy="409575"/>
            <a:chOff x="932170" y="585314"/>
            <a:chExt cx="820212" cy="410106"/>
          </a:xfrm>
        </p:grpSpPr>
        <p:sp>
          <p:nvSpPr>
            <p:cNvPr id="7" name="Rectangle 6"/>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8" name="Rectangle 7"/>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People Care</a:t>
              </a:r>
            </a:p>
          </p:txBody>
        </p:sp>
      </p:grpSp>
      <p:grpSp>
        <p:nvGrpSpPr>
          <p:cNvPr id="3" name="Group 8"/>
          <p:cNvGrpSpPr>
            <a:grpSpLocks/>
          </p:cNvGrpSpPr>
          <p:nvPr/>
        </p:nvGrpSpPr>
        <p:grpSpPr bwMode="auto">
          <a:xfrm>
            <a:off x="7969515" y="76201"/>
            <a:ext cx="889133" cy="409575"/>
            <a:chOff x="1137223" y="1167665"/>
            <a:chExt cx="820212" cy="410106"/>
          </a:xfrm>
        </p:grpSpPr>
        <p:sp>
          <p:nvSpPr>
            <p:cNvPr id="10" name="Rectangle 9"/>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1" name="Rectangle 10"/>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Benefits / Compensation</a:t>
              </a:r>
            </a:p>
          </p:txBody>
        </p:sp>
      </p:grpSp>
      <p:grpSp>
        <p:nvGrpSpPr>
          <p:cNvPr id="4" name="Group 31"/>
          <p:cNvGrpSpPr>
            <a:grpSpLocks/>
          </p:cNvGrpSpPr>
          <p:nvPr/>
        </p:nvGrpSpPr>
        <p:grpSpPr bwMode="auto">
          <a:xfrm>
            <a:off x="8941198" y="76201"/>
            <a:ext cx="889132" cy="409575"/>
            <a:chOff x="3327192" y="1750016"/>
            <a:chExt cx="820212" cy="410106"/>
          </a:xfrm>
        </p:grpSpPr>
        <p:sp>
          <p:nvSpPr>
            <p:cNvPr id="13" name="Rectangle 12"/>
            <p:cNvSpPr/>
            <p:nvPr/>
          </p:nvSpPr>
          <p:spPr>
            <a:xfrm>
              <a:off x="3327192" y="1750016"/>
              <a:ext cx="820212" cy="410106"/>
            </a:xfrm>
            <a:prstGeom prst="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4" name="Rectangle 13"/>
            <p:cNvSpPr/>
            <p:nvPr/>
          </p:nvSpPr>
          <p:spPr>
            <a:xfrm>
              <a:off x="3327192" y="1750016"/>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Payroll</a:t>
              </a:r>
            </a:p>
          </p:txBody>
        </p:sp>
      </p:gr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p:cNvGraphicFramePr>
            <a:graphicFrameLocks noChangeAspect="1"/>
          </p:cNvGraphicFramePr>
          <p:nvPr>
            <p:extLst/>
          </p:nvPr>
        </p:nvGraphicFramePr>
        <p:xfrm>
          <a:off x="2217222" y="3454426"/>
          <a:ext cx="2783836" cy="2114307"/>
        </p:xfrm>
        <a:graphic>
          <a:graphicData uri="http://schemas.openxmlformats.org/drawingml/2006/chart">
            <c:chart xmlns:c="http://schemas.openxmlformats.org/drawingml/2006/chart" xmlns:r="http://schemas.openxmlformats.org/officeDocument/2006/relationships" r:id="rId3"/>
          </a:graphicData>
        </a:graphic>
      </p:graphicFrame>
      <p:grpSp>
        <p:nvGrpSpPr>
          <p:cNvPr id="18" name="Group 17"/>
          <p:cNvGrpSpPr/>
          <p:nvPr/>
        </p:nvGrpSpPr>
        <p:grpSpPr>
          <a:xfrm>
            <a:off x="889967" y="1850236"/>
            <a:ext cx="8126300" cy="1024939"/>
            <a:chOff x="992560" y="1484784"/>
            <a:chExt cx="7992888" cy="1008113"/>
          </a:xfrm>
          <a:effectLst/>
        </p:grpSpPr>
        <p:sp>
          <p:nvSpPr>
            <p:cNvPr id="31" name="Rectangle 30"/>
            <p:cNvSpPr/>
            <p:nvPr/>
          </p:nvSpPr>
          <p:spPr bwMode="auto">
            <a:xfrm>
              <a:off x="992560" y="1484784"/>
              <a:ext cx="2304256" cy="1008112"/>
            </a:xfrm>
            <a:prstGeom prst="rect">
              <a:avLst/>
            </a:prstGeom>
            <a:solidFill>
              <a:schemeClr val="accent5">
                <a:lumMod val="75000"/>
              </a:schemeClr>
            </a:solidFill>
            <a:ln w="6350" cap="flat" cmpd="sng" algn="ctr">
              <a:noFill/>
              <a:prstDash val="solid"/>
              <a:round/>
              <a:headEnd type="none" w="med" len="med"/>
              <a:tailEnd type="none" w="med" len="med"/>
            </a:ln>
            <a:effectLst/>
          </p:spPr>
          <p:txBody>
            <a:bodyPr vert="horz" wrap="none" lIns="74271" tIns="37135" rIns="74271" bIns="37135" numCol="1" rtlCol="0" anchor="ctr" anchorCtr="0" compatLnSpc="1">
              <a:prstTxWarp prst="textNoShape">
                <a:avLst/>
              </a:prstTxWarp>
            </a:bodyPr>
            <a:lstStyle/>
            <a:p>
              <a:pPr algn="ctr" defTabSz="742727" eaLnBrk="0" fontAlgn="base" hangingPunct="0">
                <a:spcBef>
                  <a:spcPct val="0"/>
                </a:spcBef>
                <a:spcAft>
                  <a:spcPct val="0"/>
                </a:spcAft>
                <a:defRPr/>
              </a:pPr>
              <a:r>
                <a:rPr lang="en-US" sz="1300" b="1" kern="0" dirty="0">
                  <a:solidFill>
                    <a:prstClr val="white"/>
                  </a:solidFill>
                  <a:latin typeface="Arial" panose="020B0604020202020204" pitchFamily="34" charset="0"/>
                  <a:cs typeface="Arial" panose="020B0604020202020204" pitchFamily="34" charset="0"/>
                </a:rPr>
                <a:t>Revenue</a:t>
              </a:r>
            </a:p>
            <a:p>
              <a:pPr algn="ctr" defTabSz="742727" eaLnBrk="0" fontAlgn="base" hangingPunct="0">
                <a:spcBef>
                  <a:spcPct val="0"/>
                </a:spcBef>
                <a:spcAft>
                  <a:spcPct val="0"/>
                </a:spcAft>
                <a:defRPr/>
              </a:pPr>
              <a:r>
                <a:rPr lang="en-US" sz="2274" b="1" kern="0" dirty="0">
                  <a:solidFill>
                    <a:prstClr val="white"/>
                  </a:solidFill>
                  <a:latin typeface="Arial" panose="020B0604020202020204" pitchFamily="34" charset="0"/>
                  <a:cs typeface="Arial" panose="020B0604020202020204" pitchFamily="34" charset="0"/>
                </a:rPr>
                <a:t>€12,539 </a:t>
              </a:r>
            </a:p>
            <a:p>
              <a:pPr algn="ctr" defTabSz="742727" eaLnBrk="0" fontAlgn="base" hangingPunct="0">
                <a:spcBef>
                  <a:spcPct val="0"/>
                </a:spcBef>
                <a:spcAft>
                  <a:spcPct val="0"/>
                </a:spcAft>
                <a:defRPr/>
              </a:pPr>
              <a:r>
                <a:rPr lang="en-US" sz="1300" b="1" kern="0" dirty="0">
                  <a:solidFill>
                    <a:prstClr val="white"/>
                  </a:solidFill>
                  <a:latin typeface="Arial" panose="020B0604020202020204" pitchFamily="34" charset="0"/>
                  <a:cs typeface="Arial" panose="020B0604020202020204" pitchFamily="34" charset="0"/>
                </a:rPr>
                <a:t>million</a:t>
              </a:r>
              <a:endParaRPr lang="en-US" sz="1300" b="1" kern="0" dirty="0">
                <a:solidFill>
                  <a:srgbClr val="909090">
                    <a:lumMod val="50000"/>
                  </a:srgbClr>
                </a:solidFill>
                <a:latin typeface="Arial" panose="020B0604020202020204" pitchFamily="34" charset="0"/>
                <a:cs typeface="Arial" panose="020B0604020202020204" pitchFamily="34" charset="0"/>
              </a:endParaRPr>
            </a:p>
          </p:txBody>
        </p:sp>
        <p:sp>
          <p:nvSpPr>
            <p:cNvPr id="24" name="Rectangle 23"/>
            <p:cNvSpPr/>
            <p:nvPr/>
          </p:nvSpPr>
          <p:spPr bwMode="auto">
            <a:xfrm>
              <a:off x="3836876" y="1484784"/>
              <a:ext cx="2304256" cy="1008112"/>
            </a:xfrm>
            <a:prstGeom prst="rect">
              <a:avLst/>
            </a:prstGeom>
            <a:solidFill>
              <a:schemeClr val="tx1"/>
            </a:solidFill>
            <a:ln w="6350" cap="flat" cmpd="sng" algn="ctr">
              <a:noFill/>
              <a:prstDash val="solid"/>
              <a:round/>
              <a:headEnd type="none" w="med" len="med"/>
              <a:tailEnd type="none" w="med" len="med"/>
            </a:ln>
            <a:effectLst/>
          </p:spPr>
          <p:txBody>
            <a:bodyPr vert="horz" wrap="none" lIns="74271" tIns="37135" rIns="74271" bIns="37135" numCol="1" rtlCol="0" anchor="ctr" anchorCtr="0" compatLnSpc="1">
              <a:prstTxWarp prst="textNoShape">
                <a:avLst/>
              </a:prstTxWarp>
            </a:bodyPr>
            <a:lstStyle/>
            <a:p>
              <a:pPr algn="ctr" defTabSz="742727" eaLnBrk="0" fontAlgn="base" hangingPunct="0">
                <a:spcBef>
                  <a:spcPct val="0"/>
                </a:spcBef>
                <a:spcAft>
                  <a:spcPct val="0"/>
                </a:spcAft>
                <a:defRPr/>
              </a:pPr>
              <a:r>
                <a:rPr lang="en-US" sz="1300" b="1" kern="0" dirty="0">
                  <a:solidFill>
                    <a:prstClr val="white"/>
                  </a:solidFill>
                  <a:latin typeface="Arial" panose="020B0604020202020204" pitchFamily="34" charset="0"/>
                  <a:cs typeface="Arial" panose="020B0604020202020204" pitchFamily="34" charset="0"/>
                </a:rPr>
                <a:t>Operating Margin</a:t>
              </a:r>
            </a:p>
            <a:p>
              <a:pPr algn="ctr" defTabSz="742727" eaLnBrk="0" fontAlgn="base" hangingPunct="0">
                <a:spcBef>
                  <a:spcPct val="0"/>
                </a:spcBef>
                <a:spcAft>
                  <a:spcPct val="0"/>
                </a:spcAft>
                <a:defRPr/>
              </a:pPr>
              <a:r>
                <a:rPr lang="en-US" sz="2275" b="1" kern="0" dirty="0">
                  <a:solidFill>
                    <a:prstClr val="white"/>
                  </a:solidFill>
                  <a:latin typeface="Arial" panose="020B0604020202020204" pitchFamily="34" charset="0"/>
                  <a:cs typeface="Arial" panose="020B0604020202020204" pitchFamily="34" charset="0"/>
                </a:rPr>
                <a:t>€1,440 </a:t>
              </a:r>
              <a:endParaRPr lang="en-US" sz="1463" b="1" kern="0" dirty="0">
                <a:solidFill>
                  <a:prstClr val="white"/>
                </a:solidFill>
                <a:latin typeface="Arial" panose="020B0604020202020204" pitchFamily="34" charset="0"/>
                <a:cs typeface="Arial" panose="020B0604020202020204" pitchFamily="34" charset="0"/>
              </a:endParaRPr>
            </a:p>
            <a:p>
              <a:pPr algn="ctr" defTabSz="742727" eaLnBrk="0" fontAlgn="base" hangingPunct="0">
                <a:spcBef>
                  <a:spcPct val="0"/>
                </a:spcBef>
                <a:spcAft>
                  <a:spcPct val="0"/>
                </a:spcAft>
                <a:defRPr/>
              </a:pPr>
              <a:r>
                <a:rPr lang="en-US" sz="1463" b="1" kern="0" dirty="0">
                  <a:solidFill>
                    <a:prstClr val="white"/>
                  </a:solidFill>
                  <a:latin typeface="Arial" panose="020B0604020202020204" pitchFamily="34" charset="0"/>
                  <a:cs typeface="Arial" panose="020B0604020202020204" pitchFamily="34" charset="0"/>
                </a:rPr>
                <a:t>million</a:t>
              </a:r>
              <a:endParaRPr lang="en-US" sz="1463" b="1" kern="0" dirty="0">
                <a:solidFill>
                  <a:srgbClr val="909090">
                    <a:lumMod val="50000"/>
                  </a:srgbClr>
                </a:solidFill>
                <a:latin typeface="Arial" panose="020B0604020202020204" pitchFamily="34" charset="0"/>
                <a:cs typeface="Arial" panose="020B0604020202020204" pitchFamily="34" charset="0"/>
              </a:endParaRPr>
            </a:p>
          </p:txBody>
        </p:sp>
        <p:sp>
          <p:nvSpPr>
            <p:cNvPr id="22" name="Rectangle 21"/>
            <p:cNvSpPr/>
            <p:nvPr/>
          </p:nvSpPr>
          <p:spPr bwMode="auto">
            <a:xfrm>
              <a:off x="6681192" y="1484785"/>
              <a:ext cx="2304256" cy="1008112"/>
            </a:xfrm>
            <a:prstGeom prst="rect">
              <a:avLst/>
            </a:prstGeom>
            <a:solidFill>
              <a:srgbClr val="5A8E1F"/>
            </a:solidFill>
            <a:ln w="6350" cap="flat" cmpd="sng" algn="ctr">
              <a:noFill/>
              <a:prstDash val="solid"/>
              <a:round/>
              <a:headEnd type="none" w="med" len="med"/>
              <a:tailEnd type="none" w="med" len="med"/>
            </a:ln>
            <a:effectLst/>
          </p:spPr>
          <p:txBody>
            <a:bodyPr vert="horz" wrap="none" lIns="74271" tIns="37135" rIns="74271" bIns="37135" numCol="1" rtlCol="0" anchor="ctr" anchorCtr="0" compatLnSpc="1">
              <a:prstTxWarp prst="textNoShape">
                <a:avLst/>
              </a:prstTxWarp>
            </a:bodyPr>
            <a:lstStyle/>
            <a:p>
              <a:pPr algn="ctr" defTabSz="742727" eaLnBrk="0" fontAlgn="base" hangingPunct="0">
                <a:spcBef>
                  <a:spcPct val="0"/>
                </a:spcBef>
                <a:spcAft>
                  <a:spcPct val="0"/>
                </a:spcAft>
                <a:defRPr/>
              </a:pPr>
              <a:r>
                <a:rPr lang="en-US" sz="1300" b="1" kern="0" dirty="0">
                  <a:solidFill>
                    <a:prstClr val="white"/>
                  </a:solidFill>
                  <a:latin typeface="Arial" panose="020B0604020202020204" pitchFamily="34" charset="0"/>
                  <a:cs typeface="Arial" panose="020B0604020202020204" pitchFamily="34" charset="0"/>
                </a:rPr>
                <a:t>Operating Profit</a:t>
              </a:r>
            </a:p>
            <a:p>
              <a:pPr algn="ctr" defTabSz="742727" eaLnBrk="0" fontAlgn="base" hangingPunct="0">
                <a:spcBef>
                  <a:spcPct val="0"/>
                </a:spcBef>
                <a:spcAft>
                  <a:spcPct val="0"/>
                </a:spcAft>
                <a:defRPr/>
              </a:pPr>
              <a:r>
                <a:rPr lang="en-US" sz="2600" b="1" kern="0" dirty="0">
                  <a:solidFill>
                    <a:prstClr val="white"/>
                  </a:solidFill>
                  <a:latin typeface="Arial" panose="020B0604020202020204" pitchFamily="34" charset="0"/>
                  <a:cs typeface="Arial" panose="020B0604020202020204" pitchFamily="34" charset="0"/>
                </a:rPr>
                <a:t>€1,148 </a:t>
              </a:r>
            </a:p>
            <a:p>
              <a:pPr algn="ctr" defTabSz="742727" eaLnBrk="0" fontAlgn="base" hangingPunct="0">
                <a:spcBef>
                  <a:spcPct val="0"/>
                </a:spcBef>
                <a:spcAft>
                  <a:spcPct val="0"/>
                </a:spcAft>
                <a:defRPr/>
              </a:pPr>
              <a:r>
                <a:rPr lang="en-US" sz="1463" b="1" kern="0" dirty="0">
                  <a:solidFill>
                    <a:prstClr val="white"/>
                  </a:solidFill>
                  <a:latin typeface="Arial" panose="020B0604020202020204" pitchFamily="34" charset="0"/>
                  <a:cs typeface="Arial" panose="020B0604020202020204" pitchFamily="34" charset="0"/>
                </a:rPr>
                <a:t>million</a:t>
              </a:r>
              <a:endParaRPr lang="en-US" sz="1463" b="1" kern="0" dirty="0">
                <a:solidFill>
                  <a:srgbClr val="909090">
                    <a:lumMod val="50000"/>
                  </a:srgbClr>
                </a:solidFill>
                <a:latin typeface="Arial" panose="020B0604020202020204" pitchFamily="34" charset="0"/>
                <a:cs typeface="Arial" panose="020B0604020202020204" pitchFamily="34" charset="0"/>
              </a:endParaRPr>
            </a:p>
          </p:txBody>
        </p:sp>
      </p:grpSp>
      <p:sp>
        <p:nvSpPr>
          <p:cNvPr id="67" name="Ellipse 9"/>
          <p:cNvSpPr/>
          <p:nvPr/>
        </p:nvSpPr>
        <p:spPr>
          <a:xfrm>
            <a:off x="3030082" y="3914595"/>
            <a:ext cx="1182270" cy="118227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42950">
              <a:lnSpc>
                <a:spcPct val="90000"/>
              </a:lnSpc>
              <a:defRPr/>
            </a:pPr>
            <a:r>
              <a:rPr lang="fr-FR" sz="1300" b="1" kern="0" dirty="0">
                <a:solidFill>
                  <a:srgbClr val="00264A"/>
                </a:solidFill>
                <a:latin typeface="Arial" panose="020B0604020202020204" pitchFamily="34" charset="0"/>
                <a:cs typeface="Arial" panose="020B0604020202020204" pitchFamily="34" charset="0"/>
              </a:rPr>
              <a:t>Revenue by Business</a:t>
            </a:r>
          </a:p>
        </p:txBody>
      </p:sp>
      <p:sp>
        <p:nvSpPr>
          <p:cNvPr id="68" name="Ellipse 151"/>
          <p:cNvSpPr/>
          <p:nvPr/>
        </p:nvSpPr>
        <p:spPr>
          <a:xfrm>
            <a:off x="5324319" y="3950878"/>
            <a:ext cx="1182270" cy="118227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42950">
              <a:lnSpc>
                <a:spcPct val="90000"/>
              </a:lnSpc>
              <a:defRPr/>
            </a:pPr>
            <a:r>
              <a:rPr lang="fr-FR" sz="1300" b="1" kern="0" dirty="0">
                <a:solidFill>
                  <a:srgbClr val="00264A"/>
                </a:solidFill>
                <a:latin typeface="Arial" panose="020B0604020202020204" pitchFamily="34" charset="0"/>
                <a:cs typeface="Arial" panose="020B0604020202020204" pitchFamily="34" charset="0"/>
              </a:rPr>
              <a:t>Revenue by </a:t>
            </a:r>
            <a:r>
              <a:rPr lang="fr-FR" sz="1300" b="1" kern="0" dirty="0" err="1">
                <a:solidFill>
                  <a:srgbClr val="00264A"/>
                </a:solidFill>
                <a:latin typeface="Arial" panose="020B0604020202020204" pitchFamily="34" charset="0"/>
                <a:cs typeface="Arial" panose="020B0604020202020204" pitchFamily="34" charset="0"/>
              </a:rPr>
              <a:t>Industry</a:t>
            </a:r>
            <a:endParaRPr lang="fr-FR" sz="1300" b="1" kern="0" dirty="0">
              <a:solidFill>
                <a:srgbClr val="00264A"/>
              </a:solidFill>
              <a:latin typeface="Arial" panose="020B0604020202020204" pitchFamily="34" charset="0"/>
              <a:cs typeface="Arial" panose="020B0604020202020204" pitchFamily="34" charset="0"/>
            </a:endParaRPr>
          </a:p>
        </p:txBody>
      </p:sp>
      <p:cxnSp>
        <p:nvCxnSpPr>
          <p:cNvPr id="69" name="Connecteur droit 2"/>
          <p:cNvCxnSpPr/>
          <p:nvPr/>
        </p:nvCxnSpPr>
        <p:spPr>
          <a:xfrm>
            <a:off x="3168236" y="3182134"/>
            <a:ext cx="3665651"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4" name="Group 73"/>
          <p:cNvGrpSpPr/>
          <p:nvPr/>
        </p:nvGrpSpPr>
        <p:grpSpPr>
          <a:xfrm>
            <a:off x="889967" y="4012132"/>
            <a:ext cx="1738270" cy="962211"/>
            <a:chOff x="1053584" y="4218009"/>
            <a:chExt cx="2139409" cy="1184260"/>
          </a:xfrm>
        </p:grpSpPr>
        <p:grpSp>
          <p:nvGrpSpPr>
            <p:cNvPr id="38" name="Group 80"/>
            <p:cNvGrpSpPr/>
            <p:nvPr/>
          </p:nvGrpSpPr>
          <p:grpSpPr>
            <a:xfrm>
              <a:off x="1297886" y="4218009"/>
              <a:ext cx="1895107" cy="1180176"/>
              <a:chOff x="2995712" y="4322687"/>
              <a:chExt cx="1597248" cy="994683"/>
            </a:xfrm>
          </p:grpSpPr>
          <p:sp>
            <p:nvSpPr>
              <p:cNvPr id="49" name="Text Box 20"/>
              <p:cNvSpPr txBox="1">
                <a:spLocks noChangeArrowheads="1"/>
              </p:cNvSpPr>
              <p:nvPr/>
            </p:nvSpPr>
            <p:spPr bwMode="auto">
              <a:xfrm>
                <a:off x="2995712" y="4322687"/>
                <a:ext cx="1597248" cy="129768"/>
              </a:xfrm>
              <a:prstGeom prst="rect">
                <a:avLst/>
              </a:prstGeom>
              <a:noFill/>
              <a:ln w="19050">
                <a:noFill/>
                <a:miter lim="800000"/>
                <a:headEnd/>
                <a:tailEnd/>
              </a:ln>
            </p:spPr>
            <p:txBody>
              <a:bodyPr wrap="square" lIns="0" tIns="0" rIns="0" bIns="0" anchor="ctr" anchorCtr="0">
                <a:spAutoFit/>
              </a:bodyPr>
              <a:lstStyle/>
              <a:p>
                <a:pPr defTabSz="742950">
                  <a:defRPr/>
                </a:pPr>
                <a:r>
                  <a:rPr lang="en-US" sz="813" kern="0" dirty="0">
                    <a:solidFill>
                      <a:srgbClr val="324146"/>
                    </a:solidFill>
                    <a:latin typeface="Arial" panose="020B0604020202020204" pitchFamily="34" charset="0"/>
                    <a:cs typeface="Arial" panose="020B0604020202020204" pitchFamily="34" charset="0"/>
                  </a:rPr>
                  <a:t>Application Services</a:t>
                </a:r>
              </a:p>
            </p:txBody>
          </p:sp>
          <p:sp>
            <p:nvSpPr>
              <p:cNvPr id="47" name="Text Box 19"/>
              <p:cNvSpPr txBox="1">
                <a:spLocks noChangeArrowheads="1"/>
              </p:cNvSpPr>
              <p:nvPr/>
            </p:nvSpPr>
            <p:spPr bwMode="auto">
              <a:xfrm>
                <a:off x="2995712" y="5187602"/>
                <a:ext cx="1597248" cy="129768"/>
              </a:xfrm>
              <a:prstGeom prst="rect">
                <a:avLst/>
              </a:prstGeom>
              <a:noFill/>
              <a:ln w="19050">
                <a:noFill/>
                <a:miter lim="800000"/>
                <a:headEnd/>
                <a:tailEnd/>
              </a:ln>
            </p:spPr>
            <p:txBody>
              <a:bodyPr wrap="square" lIns="0" tIns="0" rIns="0" bIns="0" anchor="ctr" anchorCtr="0">
                <a:spAutoFit/>
              </a:bodyPr>
              <a:lstStyle/>
              <a:p>
                <a:pPr defTabSz="742950">
                  <a:defRPr/>
                </a:pPr>
                <a:r>
                  <a:rPr lang="en-US" sz="813" kern="0" dirty="0">
                    <a:solidFill>
                      <a:srgbClr val="324146"/>
                    </a:solidFill>
                    <a:latin typeface="Arial" panose="020B0604020202020204" pitchFamily="34" charset="0"/>
                    <a:cs typeface="Arial" panose="020B0604020202020204" pitchFamily="34" charset="0"/>
                  </a:rPr>
                  <a:t>Consulting Services</a:t>
                </a:r>
              </a:p>
            </p:txBody>
          </p:sp>
          <p:sp>
            <p:nvSpPr>
              <p:cNvPr id="45" name="Text Box 21"/>
              <p:cNvSpPr txBox="1">
                <a:spLocks noChangeArrowheads="1"/>
              </p:cNvSpPr>
              <p:nvPr/>
            </p:nvSpPr>
            <p:spPr bwMode="auto">
              <a:xfrm>
                <a:off x="2995712" y="4822183"/>
                <a:ext cx="1597248" cy="259535"/>
              </a:xfrm>
              <a:prstGeom prst="rect">
                <a:avLst/>
              </a:prstGeom>
              <a:noFill/>
              <a:ln w="19050">
                <a:noFill/>
                <a:miter lim="800000"/>
                <a:headEnd/>
                <a:tailEnd/>
              </a:ln>
            </p:spPr>
            <p:txBody>
              <a:bodyPr wrap="square" lIns="0" tIns="0" rIns="0" bIns="0" anchor="ctr" anchorCtr="0">
                <a:spAutoFit/>
              </a:bodyPr>
              <a:lstStyle/>
              <a:p>
                <a:pPr defTabSz="742950">
                  <a:defRPr/>
                </a:pPr>
                <a:r>
                  <a:rPr lang="en-US" sz="813" kern="0" dirty="0">
                    <a:solidFill>
                      <a:srgbClr val="324146"/>
                    </a:solidFill>
                    <a:latin typeface="Arial" panose="020B0604020202020204" pitchFamily="34" charset="0"/>
                    <a:cs typeface="Arial" panose="020B0604020202020204" pitchFamily="34" charset="0"/>
                  </a:rPr>
                  <a:t>Technology and</a:t>
                </a:r>
              </a:p>
              <a:p>
                <a:pPr defTabSz="742950">
                  <a:defRPr/>
                </a:pPr>
                <a:r>
                  <a:rPr lang="fr-FR" sz="813" kern="0" dirty="0">
                    <a:solidFill>
                      <a:srgbClr val="324146"/>
                    </a:solidFill>
                    <a:latin typeface="Arial" panose="020B0604020202020204" pitchFamily="34" charset="0"/>
                    <a:cs typeface="Arial" panose="020B0604020202020204" pitchFamily="34" charset="0"/>
                  </a:rPr>
                  <a:t>Engineering Services</a:t>
                </a:r>
                <a:endParaRPr lang="en-US" sz="813" kern="0" dirty="0">
                  <a:solidFill>
                    <a:srgbClr val="324146"/>
                  </a:solidFill>
                  <a:latin typeface="Arial" panose="020B0604020202020204" pitchFamily="34" charset="0"/>
                  <a:cs typeface="Arial" panose="020B0604020202020204" pitchFamily="34" charset="0"/>
                </a:endParaRPr>
              </a:p>
            </p:txBody>
          </p:sp>
          <p:sp>
            <p:nvSpPr>
              <p:cNvPr id="43" name="Text Box 21"/>
              <p:cNvSpPr txBox="1">
                <a:spLocks noChangeArrowheads="1"/>
              </p:cNvSpPr>
              <p:nvPr/>
            </p:nvSpPr>
            <p:spPr bwMode="auto">
              <a:xfrm>
                <a:off x="2995712" y="4604876"/>
                <a:ext cx="1597248" cy="129768"/>
              </a:xfrm>
              <a:prstGeom prst="rect">
                <a:avLst/>
              </a:prstGeom>
              <a:noFill/>
              <a:ln w="19050">
                <a:noFill/>
                <a:miter lim="800000"/>
                <a:headEnd/>
                <a:tailEnd/>
              </a:ln>
            </p:spPr>
            <p:txBody>
              <a:bodyPr wrap="square" lIns="0" tIns="0" rIns="0" bIns="0" anchor="ctr" anchorCtr="0">
                <a:spAutoFit/>
              </a:bodyPr>
              <a:lstStyle/>
              <a:p>
                <a:pPr defTabSz="742950">
                  <a:defRPr/>
                </a:pPr>
                <a:r>
                  <a:rPr lang="en-US" sz="813" kern="0" dirty="0">
                    <a:solidFill>
                      <a:srgbClr val="324146"/>
                    </a:solidFill>
                    <a:latin typeface="Arial" panose="020B0604020202020204" pitchFamily="34" charset="0"/>
                    <a:cs typeface="Arial" panose="020B0604020202020204" pitchFamily="34" charset="0"/>
                  </a:rPr>
                  <a:t>Other Managed Services</a:t>
                </a:r>
              </a:p>
            </p:txBody>
          </p:sp>
        </p:grpSp>
        <p:sp>
          <p:nvSpPr>
            <p:cNvPr id="70" name="Rectangle 69"/>
            <p:cNvSpPr/>
            <p:nvPr/>
          </p:nvSpPr>
          <p:spPr>
            <a:xfrm>
              <a:off x="1053584" y="4238625"/>
              <a:ext cx="130132" cy="1301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rgbClr val="9F958F">
                    <a:lumMod val="50000"/>
                  </a:srgbClr>
                </a:solidFill>
                <a:latin typeface="Arial"/>
              </a:endParaRPr>
            </a:p>
          </p:txBody>
        </p:sp>
        <p:sp>
          <p:nvSpPr>
            <p:cNvPr id="71" name="Rectangle 70"/>
            <p:cNvSpPr/>
            <p:nvPr/>
          </p:nvSpPr>
          <p:spPr>
            <a:xfrm>
              <a:off x="1053584" y="4575872"/>
              <a:ext cx="130132" cy="13013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rgbClr val="9F958F">
                    <a:lumMod val="50000"/>
                  </a:srgbClr>
                </a:solidFill>
                <a:latin typeface="Arial"/>
              </a:endParaRPr>
            </a:p>
          </p:txBody>
        </p:sp>
        <p:sp>
          <p:nvSpPr>
            <p:cNvPr id="72" name="Rectangle 71"/>
            <p:cNvSpPr/>
            <p:nvPr/>
          </p:nvSpPr>
          <p:spPr>
            <a:xfrm>
              <a:off x="1053584" y="4913119"/>
              <a:ext cx="130132" cy="130132"/>
            </a:xfrm>
            <a:prstGeom prst="rect">
              <a:avLst/>
            </a:prstGeom>
            <a:solidFill>
              <a:srgbClr val="691E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rgbClr val="9F958F">
                    <a:lumMod val="50000"/>
                  </a:srgbClr>
                </a:solidFill>
                <a:latin typeface="Arial"/>
              </a:endParaRPr>
            </a:p>
          </p:txBody>
        </p:sp>
        <p:sp>
          <p:nvSpPr>
            <p:cNvPr id="73" name="Rectangle 72"/>
            <p:cNvSpPr/>
            <p:nvPr/>
          </p:nvSpPr>
          <p:spPr>
            <a:xfrm>
              <a:off x="1053584" y="5272137"/>
              <a:ext cx="130132" cy="130132"/>
            </a:xfrm>
            <a:prstGeom prst="rect">
              <a:avLst/>
            </a:prstGeom>
            <a:solidFill>
              <a:srgbClr val="F9BE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rgbClr val="9F958F">
                    <a:lumMod val="50000"/>
                  </a:srgbClr>
                </a:solidFill>
                <a:latin typeface="Arial"/>
              </a:endParaRPr>
            </a:p>
          </p:txBody>
        </p:sp>
      </p:grpSp>
      <p:grpSp>
        <p:nvGrpSpPr>
          <p:cNvPr id="82" name="Group 81"/>
          <p:cNvGrpSpPr/>
          <p:nvPr/>
        </p:nvGrpSpPr>
        <p:grpSpPr>
          <a:xfrm>
            <a:off x="7307302" y="3555872"/>
            <a:ext cx="2072667" cy="1857064"/>
            <a:chOff x="8993598" y="3656047"/>
            <a:chExt cx="2550975" cy="2285617"/>
          </a:xfrm>
        </p:grpSpPr>
        <p:grpSp>
          <p:nvGrpSpPr>
            <p:cNvPr id="52" name="Group 78"/>
            <p:cNvGrpSpPr/>
            <p:nvPr/>
          </p:nvGrpSpPr>
          <p:grpSpPr>
            <a:xfrm>
              <a:off x="9266241" y="3656047"/>
              <a:ext cx="2278332" cy="2285617"/>
              <a:chOff x="7674073" y="3973040"/>
              <a:chExt cx="1920240" cy="1926380"/>
            </a:xfrm>
          </p:grpSpPr>
          <p:sp>
            <p:nvSpPr>
              <p:cNvPr id="53" name="Text Box 21"/>
              <p:cNvSpPr txBox="1">
                <a:spLocks noChangeArrowheads="1"/>
              </p:cNvSpPr>
              <p:nvPr/>
            </p:nvSpPr>
            <p:spPr bwMode="auto">
              <a:xfrm>
                <a:off x="7674073" y="5625100"/>
                <a:ext cx="1920240" cy="274320"/>
              </a:xfrm>
              <a:prstGeom prst="rect">
                <a:avLst/>
              </a:prstGeom>
              <a:noFill/>
              <a:ln w="19050">
                <a:noFill/>
                <a:miter lim="800000"/>
                <a:headEnd/>
                <a:tailEnd/>
              </a:ln>
            </p:spPr>
            <p:txBody>
              <a:bodyPr wrap="square" lIns="0" tIns="0" rIns="0" bIns="0" anchor="ctr" anchorCtr="0">
                <a:noAutofit/>
              </a:bodyPr>
              <a:lstStyle/>
              <a:p>
                <a:pPr defTabSz="742950">
                  <a:defRPr/>
                </a:pPr>
                <a:r>
                  <a:rPr lang="en-US" sz="813" kern="0" dirty="0">
                    <a:solidFill>
                      <a:srgbClr val="324146"/>
                    </a:solidFill>
                    <a:latin typeface="Arial" panose="020B0604020202020204" pitchFamily="34" charset="0"/>
                    <a:cs typeface="Arial" panose="020B0604020202020204" pitchFamily="34" charset="0"/>
                  </a:rPr>
                  <a:t>Consumer Product, Retail, Distribution </a:t>
                </a:r>
              </a:p>
              <a:p>
                <a:pPr defTabSz="742950">
                  <a:defRPr/>
                </a:pPr>
                <a:r>
                  <a:rPr lang="fr-FR" sz="813" kern="0" dirty="0">
                    <a:solidFill>
                      <a:srgbClr val="324146"/>
                    </a:solidFill>
                    <a:latin typeface="Arial" panose="020B0604020202020204" pitchFamily="34" charset="0"/>
                    <a:cs typeface="Arial" panose="020B0604020202020204" pitchFamily="34" charset="0"/>
                  </a:rPr>
                  <a:t>&amp; Transportation</a:t>
                </a:r>
                <a:endParaRPr lang="en-US" sz="813" kern="0" dirty="0">
                  <a:solidFill>
                    <a:srgbClr val="324146"/>
                  </a:solidFill>
                  <a:latin typeface="Arial" panose="020B0604020202020204" pitchFamily="34" charset="0"/>
                  <a:cs typeface="Arial" panose="020B0604020202020204" pitchFamily="34" charset="0"/>
                </a:endParaRPr>
              </a:p>
            </p:txBody>
          </p:sp>
          <p:sp>
            <p:nvSpPr>
              <p:cNvPr id="55" name="Text Box 21"/>
              <p:cNvSpPr txBox="1">
                <a:spLocks noChangeArrowheads="1"/>
              </p:cNvSpPr>
              <p:nvPr/>
            </p:nvSpPr>
            <p:spPr bwMode="auto">
              <a:xfrm>
                <a:off x="7674073" y="3973040"/>
                <a:ext cx="1920240" cy="274320"/>
              </a:xfrm>
              <a:prstGeom prst="rect">
                <a:avLst/>
              </a:prstGeom>
              <a:noFill/>
              <a:ln w="19050">
                <a:noFill/>
                <a:miter lim="800000"/>
                <a:headEnd/>
                <a:tailEnd/>
              </a:ln>
            </p:spPr>
            <p:txBody>
              <a:bodyPr wrap="square" lIns="0" tIns="0" rIns="0" bIns="0" anchor="ctr" anchorCtr="0">
                <a:noAutofit/>
              </a:bodyPr>
              <a:lstStyle/>
              <a:p>
                <a:pPr defTabSz="742950">
                  <a:defRPr/>
                </a:pPr>
                <a:r>
                  <a:rPr lang="en-US" sz="813" kern="0" dirty="0">
                    <a:solidFill>
                      <a:srgbClr val="324146"/>
                    </a:solidFill>
                    <a:latin typeface="Arial" panose="020B0604020202020204" pitchFamily="34" charset="0"/>
                    <a:cs typeface="Arial" panose="020B0604020202020204" pitchFamily="34" charset="0"/>
                  </a:rPr>
                  <a:t>Energy, Utilities &amp; Chemicals</a:t>
                </a:r>
              </a:p>
            </p:txBody>
          </p:sp>
          <p:sp>
            <p:nvSpPr>
              <p:cNvPr id="57" name="Text Box 21"/>
              <p:cNvSpPr txBox="1">
                <a:spLocks noChangeArrowheads="1"/>
              </p:cNvSpPr>
              <p:nvPr/>
            </p:nvSpPr>
            <p:spPr bwMode="auto">
              <a:xfrm>
                <a:off x="7674073" y="4248383"/>
                <a:ext cx="1920240" cy="274320"/>
              </a:xfrm>
              <a:prstGeom prst="rect">
                <a:avLst/>
              </a:prstGeom>
              <a:noFill/>
              <a:ln w="19050">
                <a:noFill/>
                <a:miter lim="800000"/>
                <a:headEnd/>
                <a:tailEnd/>
              </a:ln>
            </p:spPr>
            <p:txBody>
              <a:bodyPr wrap="square" lIns="0" tIns="0" rIns="0" bIns="0" anchor="ctr" anchorCtr="0">
                <a:noAutofit/>
              </a:bodyPr>
              <a:lstStyle/>
              <a:p>
                <a:pPr defTabSz="742950">
                  <a:defRPr/>
                </a:pPr>
                <a:r>
                  <a:rPr lang="en-US" sz="813" kern="0" dirty="0">
                    <a:solidFill>
                      <a:srgbClr val="324146"/>
                    </a:solidFill>
                    <a:latin typeface="Arial" panose="020B0604020202020204" pitchFamily="34" charset="0"/>
                    <a:cs typeface="Arial" panose="020B0604020202020204" pitchFamily="34" charset="0"/>
                  </a:rPr>
                  <a:t>Financial Services</a:t>
                </a:r>
              </a:p>
            </p:txBody>
          </p:sp>
          <p:sp>
            <p:nvSpPr>
              <p:cNvPr id="59" name="Text Box 21"/>
              <p:cNvSpPr txBox="1">
                <a:spLocks noChangeArrowheads="1"/>
              </p:cNvSpPr>
              <p:nvPr/>
            </p:nvSpPr>
            <p:spPr bwMode="auto">
              <a:xfrm>
                <a:off x="7674073" y="4523726"/>
                <a:ext cx="1920240" cy="274320"/>
              </a:xfrm>
              <a:prstGeom prst="rect">
                <a:avLst/>
              </a:prstGeom>
              <a:noFill/>
              <a:ln w="19050">
                <a:noFill/>
                <a:miter lim="800000"/>
                <a:headEnd/>
                <a:tailEnd/>
              </a:ln>
            </p:spPr>
            <p:txBody>
              <a:bodyPr wrap="square" lIns="0" tIns="0" rIns="0" bIns="0" anchor="ctr" anchorCtr="0">
                <a:noAutofit/>
              </a:bodyPr>
              <a:lstStyle/>
              <a:p>
                <a:pPr defTabSz="742950">
                  <a:defRPr/>
                </a:pPr>
                <a:r>
                  <a:rPr lang="en-US" sz="813" kern="0" dirty="0">
                    <a:solidFill>
                      <a:srgbClr val="324146"/>
                    </a:solidFill>
                    <a:latin typeface="Arial" panose="020B0604020202020204" pitchFamily="34" charset="0"/>
                    <a:cs typeface="Arial" panose="020B0604020202020204" pitchFamily="34" charset="0"/>
                  </a:rPr>
                  <a:t>Public Sector</a:t>
                </a:r>
              </a:p>
            </p:txBody>
          </p:sp>
          <p:sp>
            <p:nvSpPr>
              <p:cNvPr id="61" name="Text Box 21"/>
              <p:cNvSpPr txBox="1">
                <a:spLocks noChangeArrowheads="1"/>
              </p:cNvSpPr>
              <p:nvPr/>
            </p:nvSpPr>
            <p:spPr bwMode="auto">
              <a:xfrm>
                <a:off x="7674073" y="4799069"/>
                <a:ext cx="1920240" cy="274320"/>
              </a:xfrm>
              <a:prstGeom prst="rect">
                <a:avLst/>
              </a:prstGeom>
              <a:noFill/>
              <a:ln w="19050">
                <a:noFill/>
                <a:miter lim="800000"/>
                <a:headEnd/>
                <a:tailEnd/>
              </a:ln>
            </p:spPr>
            <p:txBody>
              <a:bodyPr wrap="square" lIns="0" tIns="0" rIns="0" bIns="0" anchor="ctr" anchorCtr="0">
                <a:noAutofit/>
              </a:bodyPr>
              <a:lstStyle/>
              <a:p>
                <a:pPr defTabSz="742950">
                  <a:defRPr/>
                </a:pPr>
                <a:r>
                  <a:rPr lang="en-US" sz="813" kern="0" dirty="0">
                    <a:solidFill>
                      <a:srgbClr val="324146"/>
                    </a:solidFill>
                    <a:latin typeface="Arial" panose="020B0604020202020204" pitchFamily="34" charset="0"/>
                    <a:cs typeface="Arial" panose="020B0604020202020204" pitchFamily="34" charset="0"/>
                  </a:rPr>
                  <a:t>Others</a:t>
                </a:r>
              </a:p>
            </p:txBody>
          </p:sp>
          <p:sp>
            <p:nvSpPr>
              <p:cNvPr id="63" name="Text Box 21"/>
              <p:cNvSpPr txBox="1">
                <a:spLocks noChangeArrowheads="1"/>
              </p:cNvSpPr>
              <p:nvPr/>
            </p:nvSpPr>
            <p:spPr bwMode="auto">
              <a:xfrm>
                <a:off x="7674073" y="5074412"/>
                <a:ext cx="1920240" cy="274320"/>
              </a:xfrm>
              <a:prstGeom prst="rect">
                <a:avLst/>
              </a:prstGeom>
              <a:noFill/>
              <a:ln w="19050">
                <a:noFill/>
                <a:miter lim="800000"/>
                <a:headEnd/>
                <a:tailEnd/>
              </a:ln>
            </p:spPr>
            <p:txBody>
              <a:bodyPr wrap="square" lIns="0" tIns="0" rIns="0" bIns="0" anchor="ctr" anchorCtr="0">
                <a:noAutofit/>
              </a:bodyPr>
              <a:lstStyle/>
              <a:p>
                <a:pPr defTabSz="742950">
                  <a:defRPr/>
                </a:pPr>
                <a:r>
                  <a:rPr lang="en-US" sz="813" kern="0" dirty="0">
                    <a:solidFill>
                      <a:srgbClr val="324146"/>
                    </a:solidFill>
                    <a:latin typeface="Arial" panose="020B0604020202020204" pitchFamily="34" charset="0"/>
                    <a:cs typeface="Arial" panose="020B0604020202020204" pitchFamily="34" charset="0"/>
                  </a:rPr>
                  <a:t>Manufacturing, Automotive</a:t>
                </a:r>
              </a:p>
              <a:p>
                <a:pPr defTabSz="742950">
                  <a:defRPr/>
                </a:pPr>
                <a:r>
                  <a:rPr lang="en-US" sz="813" kern="0" dirty="0">
                    <a:solidFill>
                      <a:srgbClr val="324146"/>
                    </a:solidFill>
                    <a:latin typeface="Arial" panose="020B0604020202020204" pitchFamily="34" charset="0"/>
                    <a:cs typeface="Arial" panose="020B0604020202020204" pitchFamily="34" charset="0"/>
                  </a:rPr>
                  <a:t>&amp; Life Sciences</a:t>
                </a:r>
              </a:p>
            </p:txBody>
          </p:sp>
          <p:sp>
            <p:nvSpPr>
              <p:cNvPr id="65" name="Text Box 21"/>
              <p:cNvSpPr txBox="1">
                <a:spLocks noChangeArrowheads="1"/>
              </p:cNvSpPr>
              <p:nvPr/>
            </p:nvSpPr>
            <p:spPr bwMode="auto">
              <a:xfrm>
                <a:off x="7674073" y="5349755"/>
                <a:ext cx="1920240" cy="274320"/>
              </a:xfrm>
              <a:prstGeom prst="rect">
                <a:avLst/>
              </a:prstGeom>
              <a:noFill/>
              <a:ln w="19050">
                <a:noFill/>
                <a:miter lim="800000"/>
                <a:headEnd/>
                <a:tailEnd/>
              </a:ln>
            </p:spPr>
            <p:txBody>
              <a:bodyPr wrap="square" lIns="0" tIns="0" rIns="0" bIns="0" anchor="ctr" anchorCtr="0">
                <a:noAutofit/>
              </a:bodyPr>
              <a:lstStyle/>
              <a:p>
                <a:pPr defTabSz="742950">
                  <a:defRPr/>
                </a:pPr>
                <a:r>
                  <a:rPr lang="en-US" sz="813" kern="0" dirty="0">
                    <a:solidFill>
                      <a:srgbClr val="324146"/>
                    </a:solidFill>
                    <a:latin typeface="Arial" panose="020B0604020202020204" pitchFamily="34" charset="0"/>
                    <a:cs typeface="Arial" panose="020B0604020202020204" pitchFamily="34" charset="0"/>
                  </a:rPr>
                  <a:t>Telecom, Media &amp; Entertainment</a:t>
                </a:r>
              </a:p>
            </p:txBody>
          </p:sp>
        </p:grpSp>
        <p:sp>
          <p:nvSpPr>
            <p:cNvPr id="75" name="Rectangle 74"/>
            <p:cNvSpPr/>
            <p:nvPr/>
          </p:nvSpPr>
          <p:spPr>
            <a:xfrm>
              <a:off x="8993598" y="3753719"/>
              <a:ext cx="130132" cy="130132"/>
            </a:xfrm>
            <a:prstGeom prst="rect">
              <a:avLst/>
            </a:prstGeom>
            <a:solidFill>
              <a:srgbClr val="F9BE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r>
                <a:rPr lang="en-US" sz="1950" kern="0" dirty="0">
                  <a:solidFill>
                    <a:srgbClr val="9F958F">
                      <a:lumMod val="50000"/>
                    </a:srgbClr>
                  </a:solidFill>
                  <a:latin typeface="Arial"/>
                </a:rPr>
                <a:t> </a:t>
              </a:r>
              <a:endParaRPr lang="pt-PT" sz="1950" kern="0" dirty="0" err="1">
                <a:solidFill>
                  <a:srgbClr val="9F958F">
                    <a:lumMod val="50000"/>
                  </a:srgbClr>
                </a:solidFill>
                <a:latin typeface="Arial"/>
              </a:endParaRPr>
            </a:p>
          </p:txBody>
        </p:sp>
        <p:sp>
          <p:nvSpPr>
            <p:cNvPr id="76" name="Rectangle 75"/>
            <p:cNvSpPr/>
            <p:nvPr/>
          </p:nvSpPr>
          <p:spPr>
            <a:xfrm>
              <a:off x="8993598" y="4081510"/>
              <a:ext cx="130132" cy="130132"/>
            </a:xfrm>
            <a:prstGeom prst="rect">
              <a:avLst/>
            </a:prstGeom>
            <a:solidFill>
              <a:srgbClr val="ED77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r>
                <a:rPr lang="en-US" sz="1950" kern="0" dirty="0">
                  <a:solidFill>
                    <a:srgbClr val="9F958F">
                      <a:lumMod val="50000"/>
                    </a:srgbClr>
                  </a:solidFill>
                  <a:latin typeface="Arial"/>
                </a:rPr>
                <a:t> </a:t>
              </a:r>
              <a:endParaRPr lang="pt-PT" sz="1950" kern="0" dirty="0" err="1">
                <a:solidFill>
                  <a:srgbClr val="9F958F">
                    <a:lumMod val="50000"/>
                  </a:srgbClr>
                </a:solidFill>
                <a:latin typeface="Arial"/>
              </a:endParaRPr>
            </a:p>
          </p:txBody>
        </p:sp>
        <p:sp>
          <p:nvSpPr>
            <p:cNvPr id="77" name="Rectangle 76"/>
            <p:cNvSpPr/>
            <p:nvPr/>
          </p:nvSpPr>
          <p:spPr>
            <a:xfrm>
              <a:off x="8993598" y="4409301"/>
              <a:ext cx="130132" cy="130132"/>
            </a:xfrm>
            <a:prstGeom prst="rect">
              <a:avLst/>
            </a:prstGeom>
            <a:solidFill>
              <a:srgbClr val="BA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r>
                <a:rPr lang="en-US" sz="1950" kern="0" dirty="0">
                  <a:solidFill>
                    <a:srgbClr val="9F958F">
                      <a:lumMod val="50000"/>
                    </a:srgbClr>
                  </a:solidFill>
                  <a:latin typeface="Arial"/>
                </a:rPr>
                <a:t> </a:t>
              </a:r>
              <a:endParaRPr lang="pt-PT" sz="1950" kern="0" dirty="0" err="1">
                <a:solidFill>
                  <a:srgbClr val="9F958F">
                    <a:lumMod val="50000"/>
                  </a:srgbClr>
                </a:solidFill>
                <a:latin typeface="Arial"/>
              </a:endParaRPr>
            </a:p>
          </p:txBody>
        </p:sp>
        <p:sp>
          <p:nvSpPr>
            <p:cNvPr id="78" name="Rectangle 77"/>
            <p:cNvSpPr/>
            <p:nvPr/>
          </p:nvSpPr>
          <p:spPr>
            <a:xfrm>
              <a:off x="8993598" y="4737092"/>
              <a:ext cx="130132" cy="130132"/>
            </a:xfrm>
            <a:prstGeom prst="rect">
              <a:avLst/>
            </a:prstGeom>
            <a:solidFill>
              <a:srgbClr val="691E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r>
                <a:rPr lang="en-US" sz="1950" kern="0" dirty="0">
                  <a:solidFill>
                    <a:srgbClr val="9F958F">
                      <a:lumMod val="50000"/>
                    </a:srgbClr>
                  </a:solidFill>
                  <a:latin typeface="Arial"/>
                </a:rPr>
                <a:t> </a:t>
              </a:r>
              <a:endParaRPr lang="pt-PT" sz="1950" kern="0" dirty="0" err="1">
                <a:solidFill>
                  <a:srgbClr val="9F958F">
                    <a:lumMod val="50000"/>
                  </a:srgbClr>
                </a:solidFill>
                <a:latin typeface="Arial"/>
              </a:endParaRPr>
            </a:p>
          </p:txBody>
        </p:sp>
        <p:sp>
          <p:nvSpPr>
            <p:cNvPr id="79" name="Rectangle 78"/>
            <p:cNvSpPr/>
            <p:nvPr/>
          </p:nvSpPr>
          <p:spPr>
            <a:xfrm>
              <a:off x="8993598" y="5064883"/>
              <a:ext cx="130132" cy="130132"/>
            </a:xfrm>
            <a:prstGeom prst="rect">
              <a:avLst/>
            </a:prstGeom>
            <a:solidFill>
              <a:srgbClr val="0098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r>
                <a:rPr lang="en-US" sz="1950" kern="0" dirty="0">
                  <a:solidFill>
                    <a:srgbClr val="9F958F">
                      <a:lumMod val="50000"/>
                    </a:srgbClr>
                  </a:solidFill>
                  <a:latin typeface="Arial"/>
                </a:rPr>
                <a:t> </a:t>
              </a:r>
              <a:endParaRPr lang="pt-PT" sz="1950" kern="0" dirty="0" err="1">
                <a:solidFill>
                  <a:srgbClr val="9F958F">
                    <a:lumMod val="50000"/>
                  </a:srgbClr>
                </a:solidFill>
                <a:latin typeface="Arial"/>
              </a:endParaRPr>
            </a:p>
          </p:txBody>
        </p:sp>
        <p:sp>
          <p:nvSpPr>
            <p:cNvPr id="80" name="Rectangle 79"/>
            <p:cNvSpPr/>
            <p:nvPr/>
          </p:nvSpPr>
          <p:spPr>
            <a:xfrm>
              <a:off x="8993598" y="5392674"/>
              <a:ext cx="130132" cy="130132"/>
            </a:xfrm>
            <a:prstGeom prst="rect">
              <a:avLst/>
            </a:prstGeom>
            <a:solidFill>
              <a:srgbClr val="BD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r>
                <a:rPr lang="en-US" sz="1950" kern="0" dirty="0">
                  <a:solidFill>
                    <a:srgbClr val="9F958F">
                      <a:lumMod val="50000"/>
                    </a:srgbClr>
                  </a:solidFill>
                  <a:latin typeface="Arial"/>
                </a:rPr>
                <a:t> </a:t>
              </a:r>
              <a:endParaRPr lang="pt-PT" sz="1950" kern="0" dirty="0" err="1">
                <a:solidFill>
                  <a:srgbClr val="9F958F">
                    <a:lumMod val="50000"/>
                  </a:srgbClr>
                </a:solidFill>
                <a:latin typeface="Arial"/>
              </a:endParaRPr>
            </a:p>
          </p:txBody>
        </p:sp>
        <p:sp>
          <p:nvSpPr>
            <p:cNvPr id="81" name="Rectangle 80"/>
            <p:cNvSpPr/>
            <p:nvPr/>
          </p:nvSpPr>
          <p:spPr>
            <a:xfrm>
              <a:off x="8993598" y="5720465"/>
              <a:ext cx="130132" cy="130132"/>
            </a:xfrm>
            <a:prstGeom prst="rect">
              <a:avLst/>
            </a:prstGeom>
            <a:solidFill>
              <a:srgbClr val="0026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r>
                <a:rPr lang="en-US" sz="1950" kern="0" dirty="0">
                  <a:solidFill>
                    <a:srgbClr val="9F958F">
                      <a:lumMod val="50000"/>
                    </a:srgbClr>
                  </a:solidFill>
                  <a:latin typeface="Arial"/>
                </a:rPr>
                <a:t> </a:t>
              </a:r>
              <a:endParaRPr lang="pt-PT" sz="1950" kern="0" dirty="0" err="1">
                <a:solidFill>
                  <a:srgbClr val="9F958F">
                    <a:lumMod val="50000"/>
                  </a:srgbClr>
                </a:solidFill>
                <a:latin typeface="Arial"/>
              </a:endParaRPr>
            </a:p>
          </p:txBody>
        </p:sp>
      </p:grpSp>
      <p:grpSp>
        <p:nvGrpSpPr>
          <p:cNvPr id="44" name="Group 43"/>
          <p:cNvGrpSpPr/>
          <p:nvPr/>
        </p:nvGrpSpPr>
        <p:grpSpPr>
          <a:xfrm>
            <a:off x="1238" y="5758463"/>
            <a:ext cx="9903525" cy="456605"/>
            <a:chOff x="1524" y="6296025"/>
            <a:chExt cx="12188954" cy="561975"/>
          </a:xfrm>
        </p:grpSpPr>
        <p:pic>
          <p:nvPicPr>
            <p:cNvPr id="46" name="Imagem 21"/>
            <p:cNvPicPr>
              <a:picLocks noChangeAspect="1"/>
            </p:cNvPicPr>
            <p:nvPr/>
          </p:nvPicPr>
          <p:blipFill rotWithShape="1">
            <a:blip r:embed="rId4" cstate="print">
              <a:extLst>
                <a:ext uri="{28A0092B-C50C-407E-A947-70E740481C1C}">
                  <a14:useLocalDpi xmlns="" xmlns:a14="http://schemas.microsoft.com/office/drawing/2010/main" val="0"/>
                </a:ext>
              </a:extLst>
            </a:blip>
            <a:srcRect t="91806"/>
            <a:stretch/>
          </p:blipFill>
          <p:spPr>
            <a:xfrm>
              <a:off x="1524" y="6296025"/>
              <a:ext cx="12188954" cy="561975"/>
            </a:xfrm>
            <a:prstGeom prst="rect">
              <a:avLst/>
            </a:prstGeom>
          </p:spPr>
        </p:pic>
        <p:sp>
          <p:nvSpPr>
            <p:cNvPr id="48" name="Retângulo 43"/>
            <p:cNvSpPr/>
            <p:nvPr/>
          </p:nvSpPr>
          <p:spPr>
            <a:xfrm>
              <a:off x="10192035" y="6491446"/>
              <a:ext cx="1983188" cy="236751"/>
            </a:xfrm>
            <a:prstGeom prst="rect">
              <a:avLst/>
            </a:prstGeom>
          </p:spPr>
          <p:txBody>
            <a:bodyPr wrap="none">
              <a:spAutoFit/>
            </a:bodyPr>
            <a:lstStyle/>
            <a:p>
              <a:pPr algn="r" defTabSz="778177">
                <a:defRPr/>
              </a:pPr>
              <a:r>
                <a:rPr lang="en-US" sz="650" dirty="0">
                  <a:solidFill>
                    <a:prstClr val="black">
                      <a:lumMod val="50000"/>
                      <a:lumOff val="50000"/>
                    </a:prstClr>
                  </a:solidFill>
                  <a:latin typeface="Arial"/>
                  <a:cs typeface="Arial" panose="020B0604020202020204" pitchFamily="34" charset="0"/>
                </a:rPr>
                <a:t>© 2017 Capgemini. All rights reserved.</a:t>
              </a:r>
            </a:p>
          </p:txBody>
        </p:sp>
        <p:sp>
          <p:nvSpPr>
            <p:cNvPr id="50" name="Retângulo 43"/>
            <p:cNvSpPr/>
            <p:nvPr/>
          </p:nvSpPr>
          <p:spPr>
            <a:xfrm>
              <a:off x="5865610" y="6491446"/>
              <a:ext cx="351577" cy="236751"/>
            </a:xfrm>
            <a:prstGeom prst="rect">
              <a:avLst/>
            </a:prstGeom>
          </p:spPr>
          <p:txBody>
            <a:bodyPr wrap="none">
              <a:spAutoFit/>
            </a:bodyPr>
            <a:lstStyle/>
            <a:p>
              <a:pPr algn="r" defTabSz="778177">
                <a:defRPr/>
              </a:pPr>
              <a:fld id="{0502E5A9-B53C-401E-A0E0-4A359BB0A9E5}" type="slidenum">
                <a:rPr lang="en-US" sz="650">
                  <a:solidFill>
                    <a:prstClr val="black">
                      <a:lumMod val="50000"/>
                      <a:lumOff val="50000"/>
                    </a:prstClr>
                  </a:solidFill>
                  <a:latin typeface="Arial"/>
                  <a:cs typeface="Arial" panose="020B0604020202020204" pitchFamily="34" charset="0"/>
                </a:rPr>
                <a:pPr algn="r" defTabSz="778177">
                  <a:defRPr/>
                </a:pPr>
                <a:t>6</a:t>
              </a:fld>
              <a:endParaRPr lang="en-US" sz="650" dirty="0">
                <a:solidFill>
                  <a:prstClr val="black">
                    <a:lumMod val="50000"/>
                    <a:lumOff val="50000"/>
                  </a:prstClr>
                </a:solidFill>
                <a:latin typeface="Arial"/>
                <a:cs typeface="Arial" panose="020B0604020202020204" pitchFamily="34" charset="0"/>
              </a:endParaRPr>
            </a:p>
          </p:txBody>
        </p:sp>
      </p:grpSp>
      <p:pic>
        <p:nvPicPr>
          <p:cNvPr id="56" name="Picture 1"/>
          <p:cNvPicPr>
            <a:picLocks noChangeAspect="1"/>
          </p:cNvPicPr>
          <p:nvPr/>
        </p:nvPicPr>
        <p:blipFill rotWithShape="1">
          <a:blip r:embed="rId5" cstate="print">
            <a:extLst>
              <a:ext uri="{28A0092B-C50C-407E-A947-70E740481C1C}">
                <a14:useLocalDpi xmlns="" xmlns:a14="http://schemas.microsoft.com/office/drawing/2010/main" val="0"/>
              </a:ext>
            </a:extLst>
          </a:blip>
          <a:srcRect b="78289"/>
          <a:stretch/>
        </p:blipFill>
        <p:spPr>
          <a:xfrm>
            <a:off x="1240" y="642941"/>
            <a:ext cx="9903524" cy="1209752"/>
          </a:xfrm>
          <a:prstGeom prst="rect">
            <a:avLst/>
          </a:prstGeom>
        </p:spPr>
      </p:pic>
      <p:sp>
        <p:nvSpPr>
          <p:cNvPr id="17" name="CaixaDeTexto 3"/>
          <p:cNvSpPr txBox="1"/>
          <p:nvPr/>
        </p:nvSpPr>
        <p:spPr>
          <a:xfrm>
            <a:off x="245556" y="833077"/>
            <a:ext cx="2696572" cy="442429"/>
          </a:xfrm>
          <a:prstGeom prst="rect">
            <a:avLst/>
          </a:prstGeom>
          <a:noFill/>
          <a:effectLst/>
        </p:spPr>
        <p:txBody>
          <a:bodyPr wrap="none" rtlCol="0">
            <a:spAutoFit/>
          </a:bodyPr>
          <a:lstStyle/>
          <a:p>
            <a:pPr defTabSz="742950">
              <a:defRPr/>
            </a:pPr>
            <a:r>
              <a:rPr lang="en-US" sz="2275" b="1" dirty="0">
                <a:solidFill>
                  <a:prstClr val="white"/>
                </a:solidFill>
                <a:latin typeface="Arial" panose="020B0604020202020204" pitchFamily="34" charset="0"/>
                <a:ea typeface="Segoe UI" panose="020B0502040204020203" pitchFamily="34" charset="0"/>
                <a:cs typeface="Arial" panose="020B0604020202020204" pitchFamily="34" charset="0"/>
              </a:rPr>
              <a:t>2016 Performance</a:t>
            </a:r>
          </a:p>
        </p:txBody>
      </p:sp>
      <p:graphicFrame>
        <p:nvGraphicFramePr>
          <p:cNvPr id="51" name="Graphique 51"/>
          <p:cNvGraphicFramePr/>
          <p:nvPr>
            <p:extLst/>
          </p:nvPr>
        </p:nvGraphicFramePr>
        <p:xfrm>
          <a:off x="4769204" y="3473963"/>
          <a:ext cx="2248501" cy="2054516"/>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 xmlns:p14="http://schemas.microsoft.com/office/powerpoint/2010/main" val="38226364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par>
                                <p:cTn id="8" presetID="2" presetClass="entr" presetSubtype="1" decel="100000" fill="hold" nodeType="withEffect">
                                  <p:stCondLst>
                                    <p:cond delay="200"/>
                                  </p:stCondLst>
                                  <p:childTnLst>
                                    <p:set>
                                      <p:cBhvr>
                                        <p:cTn id="9" dur="1" fill="hold">
                                          <p:stCondLst>
                                            <p:cond delay="0"/>
                                          </p:stCondLst>
                                        </p:cTn>
                                        <p:tgtEl>
                                          <p:spTgt spid="18"/>
                                        </p:tgtEl>
                                        <p:attrNameLst>
                                          <p:attrName>style.visibility</p:attrName>
                                        </p:attrNameLst>
                                      </p:cBhvr>
                                      <p:to>
                                        <p:strVal val="visible"/>
                                      </p:to>
                                    </p:set>
                                    <p:anim calcmode="lin" valueType="num">
                                      <p:cBhvr additive="base">
                                        <p:cTn id="10" dur="750" fill="hold"/>
                                        <p:tgtEl>
                                          <p:spTgt spid="18"/>
                                        </p:tgtEl>
                                        <p:attrNameLst>
                                          <p:attrName>ppt_x</p:attrName>
                                        </p:attrNameLst>
                                      </p:cBhvr>
                                      <p:tavLst>
                                        <p:tav tm="0">
                                          <p:val>
                                            <p:strVal val="#ppt_x"/>
                                          </p:val>
                                        </p:tav>
                                        <p:tav tm="100000">
                                          <p:val>
                                            <p:strVal val="#ppt_x"/>
                                          </p:val>
                                        </p:tav>
                                      </p:tavLst>
                                    </p:anim>
                                    <p:anim calcmode="lin" valueType="num">
                                      <p:cBhvr additive="base">
                                        <p:cTn id="11" dur="750" fill="hold"/>
                                        <p:tgtEl>
                                          <p:spTgt spid="18"/>
                                        </p:tgtEl>
                                        <p:attrNameLst>
                                          <p:attrName>ppt_y</p:attrName>
                                        </p:attrNameLst>
                                      </p:cBhvr>
                                      <p:tavLst>
                                        <p:tav tm="0">
                                          <p:val>
                                            <p:strVal val="0-#ppt_h/2"/>
                                          </p:val>
                                        </p:tav>
                                        <p:tav tm="100000">
                                          <p:val>
                                            <p:strVal val="#ppt_y"/>
                                          </p:val>
                                        </p:tav>
                                      </p:tavLst>
                                    </p:anim>
                                  </p:childTnLst>
                                </p:cTn>
                              </p:par>
                              <p:par>
                                <p:cTn id="12" presetID="16" presetClass="entr" presetSubtype="37" fill="hold" nodeType="withEffect">
                                  <p:stCondLst>
                                    <p:cond delay="600"/>
                                  </p:stCondLst>
                                  <p:childTnLst>
                                    <p:set>
                                      <p:cBhvr>
                                        <p:cTn id="13" dur="1" fill="hold">
                                          <p:stCondLst>
                                            <p:cond delay="0"/>
                                          </p:stCondLst>
                                        </p:cTn>
                                        <p:tgtEl>
                                          <p:spTgt spid="69"/>
                                        </p:tgtEl>
                                        <p:attrNameLst>
                                          <p:attrName>style.visibility</p:attrName>
                                        </p:attrNameLst>
                                      </p:cBhvr>
                                      <p:to>
                                        <p:strVal val="visible"/>
                                      </p:to>
                                    </p:set>
                                    <p:animEffect transition="in" filter="barn(outVertical)">
                                      <p:cBhvr>
                                        <p:cTn id="14" dur="500"/>
                                        <p:tgtEl>
                                          <p:spTgt spid="69"/>
                                        </p:tgtEl>
                                      </p:cBhvr>
                                    </p:animEffect>
                                  </p:childTnLst>
                                </p:cTn>
                              </p:par>
                              <p:par>
                                <p:cTn id="15" presetID="10" presetClass="entr" presetSubtype="0" fill="hold" grpId="0" nodeType="withEffect">
                                  <p:stCondLst>
                                    <p:cond delay="100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500"/>
                                        <p:tgtEl>
                                          <p:spTgt spid="67"/>
                                        </p:tgtEl>
                                      </p:cBhvr>
                                    </p:animEffect>
                                  </p:childTnLst>
                                </p:cTn>
                              </p:par>
                              <p:par>
                                <p:cTn id="18" presetID="10" presetClass="entr" presetSubtype="0" fill="hold" nodeType="withEffect">
                                  <p:stCondLst>
                                    <p:cond delay="1100"/>
                                  </p:stCondLst>
                                  <p:childTnLst>
                                    <p:set>
                                      <p:cBhvr>
                                        <p:cTn id="19" dur="1" fill="hold">
                                          <p:stCondLst>
                                            <p:cond delay="0"/>
                                          </p:stCondLst>
                                        </p:cTn>
                                        <p:tgtEl>
                                          <p:spTgt spid="74"/>
                                        </p:tgtEl>
                                        <p:attrNameLst>
                                          <p:attrName>style.visibility</p:attrName>
                                        </p:attrNameLst>
                                      </p:cBhvr>
                                      <p:to>
                                        <p:strVal val="visible"/>
                                      </p:to>
                                    </p:set>
                                    <p:animEffect transition="in" filter="fade">
                                      <p:cBhvr>
                                        <p:cTn id="20" dur="500"/>
                                        <p:tgtEl>
                                          <p:spTgt spid="74"/>
                                        </p:tgtEl>
                                      </p:cBhvr>
                                    </p:animEffect>
                                  </p:childTnLst>
                                </p:cTn>
                              </p:par>
                              <p:par>
                                <p:cTn id="21" presetID="10" presetClass="entr" presetSubtype="0" fill="hold" grpId="0" nodeType="withEffect">
                                  <p:stCondLst>
                                    <p:cond delay="1000"/>
                                  </p:stCondLst>
                                  <p:childTnLst>
                                    <p:set>
                                      <p:cBhvr>
                                        <p:cTn id="22" dur="1" fill="hold">
                                          <p:stCondLst>
                                            <p:cond delay="0"/>
                                          </p:stCondLst>
                                        </p:cTn>
                                        <p:tgtEl>
                                          <p:spTgt spid="68"/>
                                        </p:tgtEl>
                                        <p:attrNameLst>
                                          <p:attrName>style.visibility</p:attrName>
                                        </p:attrNameLst>
                                      </p:cBhvr>
                                      <p:to>
                                        <p:strVal val="visible"/>
                                      </p:to>
                                    </p:set>
                                    <p:animEffect transition="in" filter="fade">
                                      <p:cBhvr>
                                        <p:cTn id="23" dur="500"/>
                                        <p:tgtEl>
                                          <p:spTgt spid="68"/>
                                        </p:tgtEl>
                                      </p:cBhvr>
                                    </p:animEffect>
                                  </p:childTnLst>
                                </p:cTn>
                              </p:par>
                              <p:par>
                                <p:cTn id="24" presetID="10" presetClass="entr" presetSubtype="0" fill="hold" nodeType="withEffect">
                                  <p:stCondLst>
                                    <p:cond delay="1100"/>
                                  </p:stCondLst>
                                  <p:childTnLst>
                                    <p:set>
                                      <p:cBhvr>
                                        <p:cTn id="25" dur="1" fill="hold">
                                          <p:stCondLst>
                                            <p:cond delay="0"/>
                                          </p:stCondLst>
                                        </p:cTn>
                                        <p:tgtEl>
                                          <p:spTgt spid="82"/>
                                        </p:tgtEl>
                                        <p:attrNameLst>
                                          <p:attrName>style.visibility</p:attrName>
                                        </p:attrNameLst>
                                      </p:cBhvr>
                                      <p:to>
                                        <p:strVal val="visible"/>
                                      </p:to>
                                    </p:set>
                                    <p:animEffect transition="in" filter="fade">
                                      <p:cBhvr>
                                        <p:cTn id="26" dur="500"/>
                                        <p:tgtEl>
                                          <p:spTgt spid="82"/>
                                        </p:tgtEl>
                                      </p:cBhvr>
                                    </p:animEffect>
                                  </p:childTnLst>
                                </p:cTn>
                              </p:par>
                            </p:childTnLst>
                          </p:cTn>
                        </p:par>
                        <p:par>
                          <p:cTn id="27" fill="hold">
                            <p:stCondLst>
                              <p:cond delay="1600"/>
                            </p:stCondLst>
                            <p:childTnLst>
                              <p:par>
                                <p:cTn id="28" presetID="21" presetClass="entr" presetSubtype="1" fill="hold" grpId="0" nodeType="afterEffect">
                                  <p:stCondLst>
                                    <p:cond delay="0"/>
                                  </p:stCondLst>
                                  <p:childTnLst>
                                    <p:set>
                                      <p:cBhvr>
                                        <p:cTn id="29" dur="1" fill="hold">
                                          <p:stCondLst>
                                            <p:cond delay="0"/>
                                          </p:stCondLst>
                                        </p:cTn>
                                        <p:tgtEl>
                                          <p:spTgt spid="58"/>
                                        </p:tgtEl>
                                        <p:attrNameLst>
                                          <p:attrName>style.visibility</p:attrName>
                                        </p:attrNameLst>
                                      </p:cBhvr>
                                      <p:to>
                                        <p:strVal val="visible"/>
                                      </p:to>
                                    </p:set>
                                    <p:animEffect transition="in" filter="wheel(1)">
                                      <p:cBhvr>
                                        <p:cTn id="30" dur="1000"/>
                                        <p:tgtEl>
                                          <p:spTgt spid="58"/>
                                        </p:tgtEl>
                                      </p:cBhvr>
                                    </p:animEffect>
                                  </p:childTnLst>
                                </p:cTn>
                              </p:par>
                            </p:childTnLst>
                          </p:cTn>
                        </p:par>
                        <p:par>
                          <p:cTn id="31" fill="hold">
                            <p:stCondLst>
                              <p:cond delay="2600"/>
                            </p:stCondLst>
                            <p:childTnLst>
                              <p:par>
                                <p:cTn id="32" presetID="21" presetClass="entr" presetSubtype="1" fill="hold" grpId="0" nodeType="afterEffect">
                                  <p:stCondLst>
                                    <p:cond delay="0"/>
                                  </p:stCondLst>
                                  <p:childTnLst>
                                    <p:set>
                                      <p:cBhvr>
                                        <p:cTn id="33" dur="1" fill="hold">
                                          <p:stCondLst>
                                            <p:cond delay="0"/>
                                          </p:stCondLst>
                                        </p:cTn>
                                        <p:tgtEl>
                                          <p:spTgt spid="51"/>
                                        </p:tgtEl>
                                        <p:attrNameLst>
                                          <p:attrName>style.visibility</p:attrName>
                                        </p:attrNameLst>
                                      </p:cBhvr>
                                      <p:to>
                                        <p:strVal val="visible"/>
                                      </p:to>
                                    </p:set>
                                    <p:animEffect transition="in" filter="wheel(1)">
                                      <p:cBhvr>
                                        <p:cTn id="34" dur="10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8" grpId="0">
        <p:bldAsOne/>
      </p:bldGraphic>
      <p:bldP spid="67" grpId="0" animBg="1"/>
      <p:bldP spid="68" grpId="0" animBg="1"/>
      <p:bldP spid="17" grpId="0"/>
      <p:bldGraphic spid="51" grpId="0">
        <p:bldAsOne/>
      </p:bldGraphic>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Useful Intranet Weblinks (Office Network or VPN Access Only) </a:t>
            </a:r>
            <a:endParaRPr lang="en-US" dirty="0"/>
          </a:p>
        </p:txBody>
      </p:sp>
      <p:sp>
        <p:nvSpPr>
          <p:cNvPr id="4" name="Content Placeholder 3"/>
          <p:cNvSpPr>
            <a:spLocks noGrp="1"/>
          </p:cNvSpPr>
          <p:nvPr>
            <p:ph idx="1"/>
          </p:nvPr>
        </p:nvSpPr>
        <p:spPr/>
        <p:txBody>
          <a:bodyPr>
            <a:normAutofit fontScale="85000" lnSpcReduction="20000"/>
          </a:bodyPr>
          <a:lstStyle/>
          <a:p>
            <a:r>
              <a:rPr lang="en-US" dirty="0" err="1" smtClean="0"/>
              <a:t>iConnect</a:t>
            </a:r>
            <a:r>
              <a:rPr lang="en-US" dirty="0" smtClean="0"/>
              <a:t>: http://iconnect.fs.capgemini.com</a:t>
            </a:r>
          </a:p>
          <a:p>
            <a:pPr lvl="1"/>
            <a:r>
              <a:rPr lang="en-US" b="1" dirty="0" smtClean="0"/>
              <a:t>Delivery</a:t>
            </a:r>
          </a:p>
          <a:p>
            <a:pPr lvl="2"/>
            <a:r>
              <a:rPr lang="en-US" dirty="0" smtClean="0"/>
              <a:t>Clarity: https://clarity.fs.capgemini.com</a:t>
            </a:r>
          </a:p>
          <a:p>
            <a:pPr lvl="2"/>
            <a:r>
              <a:rPr lang="en-US" dirty="0" smtClean="0"/>
              <a:t>INFORM: https://inform.fs.capgemini.com</a:t>
            </a:r>
          </a:p>
          <a:p>
            <a:pPr lvl="2"/>
            <a:r>
              <a:rPr lang="en-US" dirty="0" smtClean="0"/>
              <a:t>Knowledge Management Portal (KM 3.0): </a:t>
            </a:r>
            <a:r>
              <a:rPr lang="en-US" dirty="0" smtClean="0">
                <a:solidFill>
                  <a:schemeClr val="tx1"/>
                </a:solidFill>
              </a:rPr>
              <a:t>http://km3.capgemini.com </a:t>
            </a:r>
          </a:p>
          <a:p>
            <a:pPr lvl="2"/>
            <a:r>
              <a:rPr lang="en-US" dirty="0" smtClean="0"/>
              <a:t>Webmail: https://webmail.in.capgemini.com</a:t>
            </a:r>
          </a:p>
          <a:p>
            <a:pPr lvl="1"/>
            <a:r>
              <a:rPr lang="en-US" b="1" dirty="0" smtClean="0"/>
              <a:t>Facilities</a:t>
            </a:r>
          </a:p>
          <a:p>
            <a:pPr lvl="2"/>
            <a:r>
              <a:rPr lang="en-US" dirty="0" smtClean="0"/>
              <a:t>Bus Pass: https://buspass.fs.capgemini.com</a:t>
            </a:r>
          </a:p>
          <a:p>
            <a:pPr lvl="2"/>
            <a:r>
              <a:rPr lang="en-US" dirty="0" smtClean="0"/>
              <a:t>Business Cards: http://capgeminifs.cgconverge.com</a:t>
            </a:r>
          </a:p>
          <a:p>
            <a:pPr lvl="2"/>
            <a:r>
              <a:rPr lang="en-US" dirty="0" smtClean="0"/>
              <a:t>My Capgemini Brand Store: capgemini.companystore.in</a:t>
            </a:r>
          </a:p>
          <a:p>
            <a:pPr lvl="1"/>
            <a:r>
              <a:rPr lang="en-US" b="1" dirty="0" smtClean="0"/>
              <a:t>Finance</a:t>
            </a:r>
          </a:p>
          <a:p>
            <a:pPr lvl="2"/>
            <a:r>
              <a:rPr lang="en-US" dirty="0" smtClean="0"/>
              <a:t>Expense: </a:t>
            </a:r>
            <a:r>
              <a:rPr lang="en-US" dirty="0" smtClean="0">
                <a:hlinkClick r:id="rId3"/>
              </a:rPr>
              <a:t>http://talent.capgemini.com/in/pages/supportfunctions/finance_hub/myexpenses/</a:t>
            </a:r>
            <a:endParaRPr lang="en-US" dirty="0" smtClean="0"/>
          </a:p>
          <a:p>
            <a:pPr lvl="2"/>
            <a:r>
              <a:rPr lang="en-US" dirty="0" smtClean="0"/>
              <a:t>Contribution to </a:t>
            </a:r>
            <a:r>
              <a:rPr lang="en-US" dirty="0" err="1" smtClean="0"/>
              <a:t>WeKare</a:t>
            </a:r>
            <a:r>
              <a:rPr lang="en-US" dirty="0" smtClean="0"/>
              <a:t>: http://wekare.in.capgemini.com/contribute</a:t>
            </a:r>
          </a:p>
          <a:p>
            <a:pPr lvl="1"/>
            <a:r>
              <a:rPr lang="en-US" b="1" dirty="0" smtClean="0"/>
              <a:t>Employee Management: </a:t>
            </a:r>
          </a:p>
          <a:p>
            <a:pPr lvl="2"/>
            <a:r>
              <a:rPr lang="en-US" dirty="0" smtClean="0"/>
              <a:t>My Path: https://myconnect.capgemini.com</a:t>
            </a:r>
          </a:p>
          <a:p>
            <a:pPr lvl="2"/>
            <a:r>
              <a:rPr lang="en-US" dirty="0" smtClean="0"/>
              <a:t>Leave Management System: https://lms.fs.capgemini.com</a:t>
            </a:r>
          </a:p>
          <a:p>
            <a:pPr lvl="2"/>
            <a:r>
              <a:rPr lang="en-US" dirty="0" smtClean="0"/>
              <a:t>Learning Portal: http://lnc.fs.capgemini.com</a:t>
            </a:r>
          </a:p>
          <a:p>
            <a:pPr lvl="2"/>
            <a:r>
              <a:rPr lang="en-US" dirty="0" smtClean="0"/>
              <a:t>Internal Job Posting (IJP): </a:t>
            </a:r>
            <a:r>
              <a:rPr lang="en-US" dirty="0" smtClean="0">
                <a:hlinkClick r:id="rId4"/>
              </a:rPr>
              <a:t>http://ijp.fs.capgemini.com</a:t>
            </a:r>
            <a:endParaRPr lang="en-US" dirty="0" smtClean="0"/>
          </a:p>
          <a:p>
            <a:pPr lvl="2"/>
            <a:r>
              <a:rPr lang="en-US" dirty="0" smtClean="0"/>
              <a:t>Resource Management Group: https://orts.fs.capgemini.com/RMGHome.aspx</a:t>
            </a:r>
          </a:p>
          <a:p>
            <a:pPr lvl="2"/>
            <a:endParaRPr lang="en-US" dirty="0" smtClean="0"/>
          </a:p>
        </p:txBody>
      </p:sp>
    </p:spTree>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a:grpSpLocks/>
          </p:cNvGrpSpPr>
          <p:nvPr/>
        </p:nvGrpSpPr>
        <p:grpSpPr bwMode="auto">
          <a:xfrm>
            <a:off x="8000471" y="76201"/>
            <a:ext cx="887413" cy="409575"/>
            <a:chOff x="932170" y="585314"/>
            <a:chExt cx="820212" cy="410106"/>
          </a:xfrm>
        </p:grpSpPr>
        <p:sp>
          <p:nvSpPr>
            <p:cNvPr id="9" name="Rectangle 8"/>
            <p:cNvSpPr/>
            <p:nvPr/>
          </p:nvSpPr>
          <p:spPr>
            <a:xfrm>
              <a:off x="932170" y="585314"/>
              <a:ext cx="820212" cy="410106"/>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1" name="Rectangle 10"/>
            <p:cNvSpPr/>
            <p:nvPr/>
          </p:nvSpPr>
          <p:spPr>
            <a:xfrm>
              <a:off x="932170" y="585314"/>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Being a Capgemini Consultant</a:t>
              </a:r>
            </a:p>
          </p:txBody>
        </p:sp>
      </p:grpSp>
      <p:grpSp>
        <p:nvGrpSpPr>
          <p:cNvPr id="3" name="Group 11"/>
          <p:cNvGrpSpPr>
            <a:grpSpLocks/>
          </p:cNvGrpSpPr>
          <p:nvPr/>
        </p:nvGrpSpPr>
        <p:grpSpPr bwMode="auto">
          <a:xfrm>
            <a:off x="8934319" y="76201"/>
            <a:ext cx="889132" cy="409575"/>
            <a:chOff x="1137223" y="1167665"/>
            <a:chExt cx="820212" cy="410106"/>
          </a:xfrm>
        </p:grpSpPr>
        <p:sp>
          <p:nvSpPr>
            <p:cNvPr id="13" name="Rectangle 12"/>
            <p:cNvSpPr/>
            <p:nvPr/>
          </p:nvSpPr>
          <p:spPr>
            <a:xfrm>
              <a:off x="1137223" y="1167665"/>
              <a:ext cx="820212" cy="410106"/>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4" name="Rectangle 13"/>
            <p:cNvSpPr/>
            <p:nvPr/>
          </p:nvSpPr>
          <p:spPr>
            <a:xfrm>
              <a:off x="1137223" y="1167665"/>
              <a:ext cx="820212" cy="410106"/>
            </a:xfrm>
            <a:prstGeom prst="rect">
              <a:avLst/>
            </a:prstGeom>
          </p:spPr>
          <p:style>
            <a:lnRef idx="0">
              <a:scrgbClr r="0" g="0" b="0"/>
            </a:lnRef>
            <a:fillRef idx="0">
              <a:scrgbClr r="0" g="0" b="0"/>
            </a:fillRef>
            <a:effectRef idx="0">
              <a:scrgbClr r="0" g="0" b="0"/>
            </a:effectRef>
            <a:fontRef idx="minor">
              <a:schemeClr val="lt1"/>
            </a:fontRef>
          </p:style>
          <p:txBody>
            <a:bodyPr lIns="5715" tIns="5715" rIns="5715" bIns="5715" spcCol="1270" anchor="ctr"/>
            <a:lstStyle/>
            <a:p>
              <a:pPr algn="ctr" defTabSz="400050">
                <a:lnSpc>
                  <a:spcPct val="90000"/>
                </a:lnSpc>
                <a:spcAft>
                  <a:spcPct val="35000"/>
                </a:spcAft>
                <a:defRPr/>
              </a:pPr>
              <a:r>
                <a:rPr lang="en-US" sz="900" dirty="0"/>
                <a:t>Consulting Guard</a:t>
              </a:r>
            </a:p>
          </p:txBody>
        </p:sp>
      </p:grpSp>
      <p:sp>
        <p:nvSpPr>
          <p:cNvPr id="15" name="Title 14"/>
          <p:cNvSpPr>
            <a:spLocks noGrp="1"/>
          </p:cNvSpPr>
          <p:nvPr>
            <p:ph type="title"/>
          </p:nvPr>
        </p:nvSpPr>
        <p:spPr/>
        <p:txBody>
          <a:bodyPr/>
          <a:lstStyle/>
          <a:p>
            <a:r>
              <a:rPr lang="en-US" dirty="0" smtClean="0"/>
              <a:t>Payroll</a:t>
            </a:r>
            <a:endParaRPr lang="en-US" dirty="0"/>
          </a:p>
        </p:txBody>
      </p:sp>
      <p:sp>
        <p:nvSpPr>
          <p:cNvPr id="12" name="Content Placeholder 11"/>
          <p:cNvSpPr>
            <a:spLocks noGrp="1"/>
          </p:cNvSpPr>
          <p:nvPr>
            <p:ph idx="1"/>
          </p:nvPr>
        </p:nvSpPr>
        <p:spPr/>
        <p:txBody>
          <a:bodyPr/>
          <a:lstStyle/>
          <a:p>
            <a:pPr>
              <a:buNone/>
            </a:pPr>
            <a:r>
              <a:rPr lang="en-US" dirty="0" smtClean="0"/>
              <a:t>Please use the below links for payroll e learning's and FAQ’s</a:t>
            </a:r>
          </a:p>
          <a:p>
            <a:pPr>
              <a:buNone/>
            </a:pPr>
            <a:endParaRPr lang="en-US" b="1" u="sng" dirty="0" smtClean="0">
              <a:solidFill>
                <a:schemeClr val="tx1"/>
              </a:solidFill>
              <a:hlinkClick r:id="rId3"/>
            </a:endParaRPr>
          </a:p>
          <a:p>
            <a:pPr>
              <a:buNone/>
            </a:pPr>
            <a:r>
              <a:rPr lang="en-US" b="1" u="sng" dirty="0" smtClean="0">
                <a:solidFill>
                  <a:schemeClr val="tx1"/>
                </a:solidFill>
                <a:hlinkClick r:id="rId4"/>
              </a:rPr>
              <a:t>https://km3.capgemini.com/book/354978</a:t>
            </a:r>
            <a:endParaRPr lang="en-US" b="1" u="sng" dirty="0" smtClean="0">
              <a:solidFill>
                <a:schemeClr val="tx1"/>
              </a:solidFill>
            </a:endParaRPr>
          </a:p>
          <a:p>
            <a:pPr>
              <a:buNone/>
            </a:pPr>
            <a:endParaRPr lang="en-US" sz="2400" dirty="0" smtClean="0"/>
          </a:p>
          <a:p>
            <a:pPr>
              <a:buNone/>
            </a:pPr>
            <a:r>
              <a:rPr lang="en-US" sz="2400" dirty="0" smtClean="0"/>
              <a:t>For further information please contact the payroll team at</a:t>
            </a:r>
          </a:p>
          <a:p>
            <a:pPr>
              <a:buNone/>
            </a:pPr>
            <a:endParaRPr lang="en-US" sz="2400" dirty="0" smtClean="0"/>
          </a:p>
          <a:p>
            <a:pPr>
              <a:buNone/>
            </a:pPr>
            <a:r>
              <a:rPr lang="en-US" sz="2400" dirty="0" smtClean="0">
                <a:hlinkClick r:id="rId5"/>
              </a:rPr>
              <a:t>Inpayroll.fssbu@capgemini.com</a:t>
            </a:r>
            <a:endParaRPr lang="en-US" sz="2400" dirty="0" smtClean="0"/>
          </a:p>
          <a:p>
            <a:pPr>
              <a:buNone/>
            </a:pPr>
            <a:endParaRPr lang="en-US" sz="2400" dirty="0" smtClean="0"/>
          </a:p>
          <a:p>
            <a:pPr>
              <a:buNone/>
            </a:pPr>
            <a:endParaRPr lang="en-US" sz="2400" dirty="0"/>
          </a:p>
        </p:txBody>
      </p:sp>
    </p:spTree>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itle 1"/>
          <p:cNvSpPr>
            <a:spLocks noGrp="1"/>
          </p:cNvSpPr>
          <p:nvPr>
            <p:ph type="title"/>
          </p:nvPr>
        </p:nvSpPr>
        <p:spPr/>
        <p:txBody>
          <a:bodyPr/>
          <a:lstStyle/>
          <a:p>
            <a:r>
              <a:rPr lang="en-US" sz="2800" dirty="0" smtClean="0"/>
              <a:t>Useful Intranet </a:t>
            </a:r>
            <a:r>
              <a:rPr lang="en-US" sz="2800" dirty="0" err="1" smtClean="0"/>
              <a:t>Weblinks</a:t>
            </a:r>
            <a:r>
              <a:rPr lang="en-US" sz="2800" dirty="0" smtClean="0"/>
              <a:t> (Office Network or VPN Access Only) </a:t>
            </a:r>
          </a:p>
        </p:txBody>
      </p:sp>
      <p:sp>
        <p:nvSpPr>
          <p:cNvPr id="4" name="Content Placeholder 3"/>
          <p:cNvSpPr>
            <a:spLocks noGrp="1"/>
          </p:cNvSpPr>
          <p:nvPr>
            <p:ph idx="1"/>
          </p:nvPr>
        </p:nvSpPr>
        <p:spPr>
          <a:xfrm>
            <a:off x="323392" y="1151907"/>
            <a:ext cx="9582608" cy="4986610"/>
          </a:xfrm>
        </p:spPr>
        <p:txBody>
          <a:bodyPr>
            <a:normAutofit/>
          </a:bodyPr>
          <a:lstStyle/>
          <a:p>
            <a:pPr lvl="1"/>
            <a:r>
              <a:rPr lang="en-US" dirty="0" smtClean="0"/>
              <a:t>Global Talent: </a:t>
            </a:r>
            <a:r>
              <a:rPr lang="en-US" dirty="0" smtClean="0">
                <a:solidFill>
                  <a:srgbClr val="00A0D6"/>
                </a:solidFill>
              </a:rPr>
              <a:t>http://talent.capgemini.com</a:t>
            </a:r>
          </a:p>
          <a:p>
            <a:pPr lvl="1"/>
            <a:r>
              <a:rPr lang="en-US" dirty="0" smtClean="0">
                <a:solidFill>
                  <a:schemeClr val="tx1"/>
                </a:solidFill>
              </a:rPr>
              <a:t>India Talent: </a:t>
            </a:r>
            <a:r>
              <a:rPr lang="en-US" dirty="0" smtClean="0">
                <a:solidFill>
                  <a:srgbClr val="00A0D6"/>
                </a:solidFill>
              </a:rPr>
              <a:t>http://talent.capgemini.com/in</a:t>
            </a:r>
          </a:p>
          <a:p>
            <a:pPr lvl="1"/>
            <a:r>
              <a:rPr lang="en-US" dirty="0" smtClean="0"/>
              <a:t>FS Talent: </a:t>
            </a:r>
            <a:r>
              <a:rPr lang="en-US" sz="1700" dirty="0" smtClean="0">
                <a:solidFill>
                  <a:srgbClr val="00A0D6"/>
                </a:solidFill>
                <a:hlinkClick r:id="rId3"/>
              </a:rPr>
              <a:t>http://talent.capgemini.com/global/pages/hubs/strategic_business_units/financial_services/</a:t>
            </a:r>
            <a:endParaRPr lang="en-US" sz="1700" dirty="0" smtClean="0">
              <a:solidFill>
                <a:srgbClr val="00A0D6"/>
              </a:solidFill>
            </a:endParaRPr>
          </a:p>
          <a:p>
            <a:pPr lvl="1"/>
            <a:r>
              <a:rPr lang="en-US" dirty="0" smtClean="0"/>
              <a:t>Ethics &amp; Compliance: </a:t>
            </a:r>
            <a:r>
              <a:rPr lang="en-US" dirty="0" smtClean="0">
                <a:solidFill>
                  <a:srgbClr val="00A0D6"/>
                </a:solidFill>
              </a:rPr>
              <a:t>http://talent.capgemini.com/ethicsandcompliance</a:t>
            </a:r>
          </a:p>
          <a:p>
            <a:pPr lvl="1"/>
            <a:r>
              <a:rPr lang="en-US" dirty="0" smtClean="0"/>
              <a:t>Blue Book: </a:t>
            </a:r>
            <a:r>
              <a:rPr lang="en-US" sz="1600" dirty="0" smtClean="0">
                <a:solidFill>
                  <a:srgbClr val="00A0D6"/>
                </a:solidFill>
                <a:hlinkClick r:id="rId4"/>
              </a:rPr>
              <a:t>http://talent.capgemini.com/global/pages/about_us/our_group/ethicsandcompliance/Blue_Book</a:t>
            </a:r>
            <a:endParaRPr lang="en-US" sz="1600" dirty="0" smtClean="0">
              <a:solidFill>
                <a:srgbClr val="00A0D6"/>
              </a:solidFill>
            </a:endParaRPr>
          </a:p>
          <a:p>
            <a:pPr lvl="1"/>
            <a:r>
              <a:rPr lang="en-US" dirty="0" smtClean="0">
                <a:solidFill>
                  <a:schemeClr val="tx1"/>
                </a:solidFill>
              </a:rPr>
              <a:t>My Essentials Curriculum: </a:t>
            </a:r>
          </a:p>
          <a:p>
            <a:pPr lvl="1">
              <a:buNone/>
            </a:pPr>
            <a:r>
              <a:rPr lang="en-US" dirty="0" smtClean="0">
                <a:solidFill>
                  <a:srgbClr val="00A0D6"/>
                </a:solidFill>
              </a:rPr>
              <a:t>	</a:t>
            </a:r>
            <a:r>
              <a:rPr lang="en-US" dirty="0" smtClean="0">
                <a:solidFill>
                  <a:srgbClr val="00A0D6"/>
                </a:solidFill>
                <a:hlinkClick r:id="rId5"/>
              </a:rPr>
              <a:t>http://talent.capgemini.com/university/pages/curriculum/essentials_curriculum</a:t>
            </a:r>
            <a:endParaRPr lang="en-US" dirty="0" smtClean="0">
              <a:solidFill>
                <a:srgbClr val="00A0D6"/>
              </a:solidFill>
            </a:endParaRPr>
          </a:p>
          <a:p>
            <a:pPr lvl="1"/>
            <a:r>
              <a:rPr lang="en-US" dirty="0" smtClean="0"/>
              <a:t>India Employee Handbook: </a:t>
            </a:r>
            <a:r>
              <a:rPr lang="en-US" dirty="0" smtClean="0">
                <a:solidFill>
                  <a:srgbClr val="00A0D6"/>
                </a:solidFill>
              </a:rPr>
              <a:t>https://km3.capgemini.com/book/585257</a:t>
            </a:r>
          </a:p>
          <a:p>
            <a:pPr lvl="1"/>
            <a:r>
              <a:rPr lang="en-US" dirty="0" err="1" smtClean="0"/>
              <a:t>WeKare</a:t>
            </a:r>
            <a:r>
              <a:rPr lang="en-US" dirty="0" smtClean="0"/>
              <a:t>: </a:t>
            </a:r>
            <a:r>
              <a:rPr lang="en-US" dirty="0" smtClean="0">
                <a:solidFill>
                  <a:srgbClr val="00A0D6"/>
                </a:solidFill>
              </a:rPr>
              <a:t>http://wekare.in.capgemini.com</a:t>
            </a:r>
          </a:p>
        </p:txBody>
      </p:sp>
    </p:spTree>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Proven Track Record of Growth</a:t>
            </a:r>
            <a:endParaRPr lang="en-US" dirty="0"/>
          </a:p>
        </p:txBody>
      </p:sp>
      <p:graphicFrame>
        <p:nvGraphicFramePr>
          <p:cNvPr id="23" name="Group 96"/>
          <p:cNvGraphicFramePr>
            <a:graphicFrameLocks/>
          </p:cNvGraphicFramePr>
          <p:nvPr>
            <p:extLst/>
          </p:nvPr>
        </p:nvGraphicFramePr>
        <p:xfrm>
          <a:off x="5122989" y="3021777"/>
          <a:ext cx="4384550" cy="2523681"/>
        </p:xfrm>
        <a:graphic>
          <a:graphicData uri="http://schemas.openxmlformats.org/drawingml/2006/table">
            <a:tbl>
              <a:tblPr>
                <a:tableStyleId>{793D81CF-94F2-401A-BA57-92F5A7B2D0C5}</a:tableStyleId>
              </a:tblPr>
              <a:tblGrid>
                <a:gridCol w="1163511"/>
                <a:gridCol w="3221039"/>
              </a:tblGrid>
              <a:tr h="841227">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ts val="600"/>
                        </a:spcAft>
                        <a:buClr>
                          <a:schemeClr val="accent2"/>
                        </a:buClr>
                        <a:buSzTx/>
                        <a:buFont typeface="Wingdings" pitchFamily="2" charset="2"/>
                        <a:buNone/>
                        <a:tabLst>
                          <a:tab pos="631825" algn="dec"/>
                        </a:tabLst>
                      </a:pPr>
                      <a:r>
                        <a:rPr kumimoji="0" lang="en-US" sz="2000" b="1" u="none" strike="noStrike" cap="none" normalizeH="0" baseline="0" dirty="0" smtClean="0">
                          <a:ln>
                            <a:noFill/>
                          </a:ln>
                          <a:solidFill>
                            <a:schemeClr val="tx1"/>
                          </a:solidFill>
                          <a:effectLst/>
                        </a:rPr>
                        <a:t>	55,000+</a:t>
                      </a:r>
                      <a:endParaRPr kumimoji="0" lang="en-US" sz="2000" b="1" i="0" u="none" strike="noStrike" cap="none" normalizeH="0" baseline="0" dirty="0" smtClean="0">
                        <a:ln>
                          <a:noFill/>
                        </a:ln>
                        <a:solidFill>
                          <a:schemeClr val="tx1"/>
                        </a:solidFill>
                        <a:effectLst/>
                        <a:latin typeface="Arial" charset="0"/>
                        <a:cs typeface="Arial" charset="0"/>
                      </a:endParaRPr>
                    </a:p>
                  </a:txBody>
                  <a:tcPr marL="102523" marR="102523" marT="37148" marB="37148" anchor="ctr" horzOverflow="overflow">
                    <a:lnL w="127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ts val="600"/>
                        </a:spcAft>
                        <a:buClr>
                          <a:schemeClr val="accent2"/>
                        </a:buClr>
                        <a:buSzTx/>
                        <a:buFont typeface="Wingdings" pitchFamily="2" charset="2"/>
                        <a:buNone/>
                        <a:tabLst/>
                      </a:pPr>
                      <a:r>
                        <a:rPr kumimoji="0" lang="en-US" sz="1300" u="none" strike="noStrike" cap="none" normalizeH="0" baseline="0" dirty="0" smtClean="0">
                          <a:ln>
                            <a:noFill/>
                          </a:ln>
                          <a:effectLst/>
                        </a:rPr>
                        <a:t>Professionals in a </a:t>
                      </a:r>
                      <a:r>
                        <a:rPr kumimoji="0" lang="en-US" sz="1300" b="1" u="none" strike="noStrike" cap="none" normalizeH="0" baseline="0" dirty="0" smtClean="0">
                          <a:ln>
                            <a:noFill/>
                          </a:ln>
                          <a:solidFill>
                            <a:schemeClr val="accent2"/>
                          </a:solidFill>
                          <a:effectLst/>
                        </a:rPr>
                        <a:t>global network</a:t>
                      </a:r>
                      <a:r>
                        <a:rPr kumimoji="0" lang="en-US" sz="1300" u="none" strike="noStrike" cap="none" normalizeH="0" baseline="0" dirty="0" smtClean="0">
                          <a:ln>
                            <a:noFill/>
                          </a:ln>
                          <a:effectLst/>
                        </a:rPr>
                        <a:t> serving financial services clients</a:t>
                      </a:r>
                      <a:endParaRPr kumimoji="0" lang="en-US" sz="1300" b="0" i="0" u="none" strike="noStrike" cap="none" normalizeH="0" baseline="0" dirty="0" smtClean="0">
                        <a:ln>
                          <a:noFill/>
                        </a:ln>
                        <a:solidFill>
                          <a:schemeClr val="tx1"/>
                        </a:solidFill>
                        <a:effectLst/>
                        <a:latin typeface="Arial" charset="0"/>
                        <a:cs typeface="Arial" charset="0"/>
                      </a:endParaRPr>
                    </a:p>
                  </a:txBody>
                  <a:tcPr marL="102523" marR="102523" marT="37148" marB="37148" anchor="ctr" horzOverflow="overflow">
                    <a:lnL w="12700" cap="flat" cmpd="sng" algn="ctr">
                      <a:no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r>
              <a:tr h="841227">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ts val="600"/>
                        </a:spcAft>
                        <a:buClr>
                          <a:schemeClr val="accent2"/>
                        </a:buClr>
                        <a:buSzTx/>
                        <a:buFont typeface="Wingdings" pitchFamily="2" charset="2"/>
                        <a:buNone/>
                        <a:tabLst>
                          <a:tab pos="631825" algn="dec"/>
                        </a:tabLst>
                      </a:pPr>
                      <a:r>
                        <a:rPr kumimoji="0" lang="en-US" sz="2000" b="1" u="none" strike="noStrike" cap="none" normalizeH="0" baseline="0" dirty="0" smtClean="0">
                          <a:ln>
                            <a:noFill/>
                          </a:ln>
                          <a:solidFill>
                            <a:schemeClr val="tx1"/>
                          </a:solidFill>
                          <a:effectLst/>
                        </a:rPr>
                        <a:t>37,000+</a:t>
                      </a:r>
                      <a:endParaRPr kumimoji="0" lang="en-US" sz="2000" b="1" i="0" u="none" strike="noStrike" cap="none" normalizeH="0" baseline="0" dirty="0" smtClean="0">
                        <a:ln>
                          <a:noFill/>
                        </a:ln>
                        <a:solidFill>
                          <a:schemeClr val="tx1"/>
                        </a:solidFill>
                        <a:effectLst/>
                        <a:latin typeface="Arial" charset="0"/>
                        <a:cs typeface="Arial" charset="0"/>
                      </a:endParaRPr>
                    </a:p>
                  </a:txBody>
                  <a:tcPr marL="102523" marR="102523" marT="37148" marB="37148" anchor="ctr" horzOverflow="overflow">
                    <a:lnL w="127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ts val="600"/>
                        </a:spcAft>
                        <a:buClr>
                          <a:schemeClr val="accent2"/>
                        </a:buClr>
                        <a:buSzTx/>
                        <a:buFont typeface="Wingdings" pitchFamily="2" charset="2"/>
                        <a:buNone/>
                        <a:tabLst/>
                      </a:pPr>
                      <a:r>
                        <a:rPr kumimoji="0" lang="en-US" sz="1300" u="none" strike="noStrike" cap="none" normalizeH="0" baseline="0" dirty="0" smtClean="0">
                          <a:ln>
                            <a:noFill/>
                          </a:ln>
                          <a:effectLst/>
                        </a:rPr>
                        <a:t>Professionals in </a:t>
                      </a:r>
                      <a:r>
                        <a:rPr kumimoji="0" lang="en-US" sz="1300" b="1" u="none" strike="noStrike" cap="none" normalizeH="0" baseline="0" dirty="0" smtClean="0">
                          <a:ln>
                            <a:noFill/>
                          </a:ln>
                          <a:solidFill>
                            <a:schemeClr val="accent2"/>
                          </a:solidFill>
                          <a:effectLst/>
                        </a:rPr>
                        <a:t>India</a:t>
                      </a:r>
                      <a:r>
                        <a:rPr kumimoji="0" lang="en-US" sz="1300" u="none" strike="noStrike" cap="none" normalizeH="0" baseline="0" dirty="0" smtClean="0">
                          <a:ln>
                            <a:noFill/>
                          </a:ln>
                          <a:effectLst/>
                        </a:rPr>
                        <a:t> dedicated to financial services</a:t>
                      </a:r>
                      <a:endParaRPr kumimoji="0" lang="en-US" sz="1300" b="0" i="0" u="none" strike="noStrike" cap="none" normalizeH="0" baseline="0" dirty="0" smtClean="0">
                        <a:ln>
                          <a:noFill/>
                        </a:ln>
                        <a:solidFill>
                          <a:schemeClr val="tx1"/>
                        </a:solidFill>
                        <a:effectLst/>
                        <a:latin typeface="Arial" charset="0"/>
                        <a:cs typeface="Arial" charset="0"/>
                      </a:endParaRPr>
                    </a:p>
                  </a:txBody>
                  <a:tcPr marL="102523" marR="102523" marT="37148" marB="37148" anchor="ctr" horzOverflow="overflow">
                    <a:lnL w="12700" cap="flat" cmpd="sng" algn="ctr">
                      <a:no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r>
              <a:tr h="841227">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ts val="600"/>
                        </a:spcAft>
                        <a:buClr>
                          <a:schemeClr val="accent2"/>
                        </a:buClr>
                        <a:buSzTx/>
                        <a:buFont typeface="Wingdings" pitchFamily="2" charset="2"/>
                        <a:buNone/>
                        <a:tabLst/>
                      </a:pPr>
                      <a:r>
                        <a:rPr kumimoji="0" lang="en-US" sz="2000" b="1" u="none" strike="noStrike" cap="none" normalizeH="0" baseline="0" dirty="0" smtClean="0">
                          <a:ln>
                            <a:noFill/>
                          </a:ln>
                          <a:solidFill>
                            <a:schemeClr val="tx1"/>
                          </a:solidFill>
                          <a:effectLst/>
                        </a:rPr>
                        <a:t>25</a:t>
                      </a:r>
                      <a:r>
                        <a:rPr kumimoji="0" lang="en-US" sz="2000" b="1" u="none" strike="noStrike" cap="none" normalizeH="0" baseline="30000" dirty="0" smtClean="0">
                          <a:ln>
                            <a:noFill/>
                          </a:ln>
                          <a:solidFill>
                            <a:schemeClr val="tx1"/>
                          </a:solidFill>
                          <a:effectLst/>
                        </a:rPr>
                        <a:t>+</a:t>
                      </a:r>
                      <a:endParaRPr kumimoji="0" lang="en-US" sz="2000" b="1" i="0" u="none" strike="noStrike" cap="none" normalizeH="0" baseline="30000" dirty="0" smtClean="0">
                        <a:ln>
                          <a:noFill/>
                        </a:ln>
                        <a:solidFill>
                          <a:schemeClr val="tx1"/>
                        </a:solidFill>
                        <a:effectLst/>
                        <a:latin typeface="Arial" charset="0"/>
                        <a:cs typeface="Arial" charset="0"/>
                      </a:endParaRPr>
                    </a:p>
                  </a:txBody>
                  <a:tcPr marL="102523" marR="102523" marT="37148" marB="37148" anchor="ctr" horzOverflow="overflow">
                    <a:lnL w="127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ts val="600"/>
                        </a:spcAft>
                        <a:buClr>
                          <a:schemeClr val="accent2"/>
                        </a:buClr>
                        <a:buSzTx/>
                        <a:buFont typeface="Wingdings" pitchFamily="2" charset="2"/>
                        <a:buNone/>
                        <a:tabLst/>
                      </a:pPr>
                      <a:r>
                        <a:rPr kumimoji="0" lang="en-US" sz="1300" u="none" strike="noStrike" cap="none" normalizeH="0" baseline="0" dirty="0" smtClean="0">
                          <a:ln>
                            <a:noFill/>
                          </a:ln>
                          <a:effectLst/>
                        </a:rPr>
                        <a:t>Years delivering offshore services to banks and insurers</a:t>
                      </a:r>
                      <a:endParaRPr kumimoji="0" lang="en-US" sz="1300" b="0" i="0" u="none" strike="noStrike" cap="none" normalizeH="0" baseline="0" dirty="0" smtClean="0">
                        <a:ln>
                          <a:noFill/>
                        </a:ln>
                        <a:solidFill>
                          <a:schemeClr val="tx1"/>
                        </a:solidFill>
                        <a:effectLst/>
                        <a:latin typeface="Arial" charset="0"/>
                        <a:cs typeface="Arial" charset="0"/>
                      </a:endParaRPr>
                    </a:p>
                  </a:txBody>
                  <a:tcPr marL="102523" marR="102523" marT="37148" marB="37148" anchor="ctr" horzOverflow="overflow">
                    <a:lnL w="12700" cap="flat" cmpd="sng" algn="ctr">
                      <a:no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r>
            </a:tbl>
          </a:graphicData>
        </a:graphic>
      </p:graphicFrame>
      <p:graphicFrame>
        <p:nvGraphicFramePr>
          <p:cNvPr id="28" name="Object 2"/>
          <p:cNvGraphicFramePr>
            <a:graphicFrameLocks noChangeAspect="1"/>
          </p:cNvGraphicFramePr>
          <p:nvPr>
            <p:extLst/>
          </p:nvPr>
        </p:nvGraphicFramePr>
        <p:xfrm>
          <a:off x="317377" y="3021777"/>
          <a:ext cx="4383484" cy="2523680"/>
        </p:xfrm>
        <a:graphic>
          <a:graphicData uri="http://schemas.openxmlformats.org/drawingml/2006/chart">
            <c:chart xmlns:c="http://schemas.openxmlformats.org/drawingml/2006/chart" xmlns:r="http://schemas.openxmlformats.org/officeDocument/2006/relationships" r:id="rId5"/>
          </a:graphicData>
        </a:graphic>
      </p:graphicFrame>
      <p:sp>
        <p:nvSpPr>
          <p:cNvPr id="45" name="Retângulo de cantos arredondados 12"/>
          <p:cNvSpPr/>
          <p:nvPr>
            <p:custDataLst>
              <p:tags r:id="rId1"/>
            </p:custDataLst>
          </p:nvPr>
        </p:nvSpPr>
        <p:spPr bwMode="auto">
          <a:xfrm>
            <a:off x="312498" y="2707317"/>
            <a:ext cx="4402024" cy="336638"/>
          </a:xfrm>
          <a:prstGeom prst="round1Rect">
            <a:avLst>
              <a:gd name="adj" fmla="val 50000"/>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74291" tIns="37146" rIns="74291" bIns="37146" numCol="1" rtlCol="0" anchor="ctr" anchorCtr="0" compatLnSpc="1">
            <a:prstTxWarp prst="textNoShape">
              <a:avLst/>
            </a:prstTxWarp>
          </a:bodyPr>
          <a:lstStyle/>
          <a:p>
            <a:pPr algn="ctr" eaLnBrk="0" hangingPunct="0">
              <a:lnSpc>
                <a:spcPct val="85000"/>
              </a:lnSpc>
            </a:pPr>
            <a:r>
              <a:rPr lang="en-US" sz="1138" b="1" dirty="0">
                <a:solidFill>
                  <a:schemeClr val="bg1"/>
                </a:solidFill>
                <a:latin typeface="Arial" pitchFamily="34" charset="0"/>
                <a:cs typeface="Arial" pitchFamily="34" charset="0"/>
              </a:rPr>
              <a:t>Capgemini Revenue from FS (€</a:t>
            </a:r>
            <a:r>
              <a:rPr lang="en-US" sz="1138" b="1" dirty="0" err="1">
                <a:solidFill>
                  <a:schemeClr val="bg1"/>
                </a:solidFill>
                <a:latin typeface="Arial" pitchFamily="34" charset="0"/>
                <a:cs typeface="Arial" pitchFamily="34" charset="0"/>
              </a:rPr>
              <a:t>Bn</a:t>
            </a:r>
            <a:r>
              <a:rPr lang="en-US" sz="1138" b="1" dirty="0">
                <a:solidFill>
                  <a:schemeClr val="bg1"/>
                </a:solidFill>
                <a:latin typeface="Arial" pitchFamily="34" charset="0"/>
                <a:cs typeface="Arial" pitchFamily="34" charset="0"/>
              </a:rPr>
              <a:t>)</a:t>
            </a:r>
          </a:p>
        </p:txBody>
      </p:sp>
      <p:sp>
        <p:nvSpPr>
          <p:cNvPr id="47" name="Right Arrow 46"/>
          <p:cNvSpPr/>
          <p:nvPr/>
        </p:nvSpPr>
        <p:spPr>
          <a:xfrm rot="20679394">
            <a:off x="1032494" y="4281177"/>
            <a:ext cx="3318908" cy="441901"/>
          </a:xfrm>
          <a:prstGeom prst="rightArrow">
            <a:avLst/>
          </a:prstGeom>
          <a:ln/>
        </p:spPr>
        <p:style>
          <a:lnRef idx="1">
            <a:schemeClr val="accent5"/>
          </a:lnRef>
          <a:fillRef idx="3">
            <a:schemeClr val="accent5"/>
          </a:fillRef>
          <a:effectRef idx="2">
            <a:schemeClr val="accent5"/>
          </a:effectRef>
          <a:fontRef idx="minor">
            <a:schemeClr val="lt1"/>
          </a:fontRef>
        </p:style>
        <p:txBody>
          <a:bodyPr lIns="148701" tIns="74351" rIns="148701" bIns="74351" rtlCol="0" anchor="ctr"/>
          <a:lstStyle/>
          <a:p>
            <a:pPr algn="ctr"/>
            <a:r>
              <a:rPr lang="en-US" sz="1300" dirty="0">
                <a:solidFill>
                  <a:schemeClr val="bg1"/>
                </a:solidFill>
                <a:latin typeface="Arial" pitchFamily="34" charset="0"/>
                <a:cs typeface="Arial" pitchFamily="34" charset="0"/>
              </a:rPr>
              <a:t>Consistent Growth</a:t>
            </a:r>
          </a:p>
        </p:txBody>
      </p:sp>
      <p:sp>
        <p:nvSpPr>
          <p:cNvPr id="14" name="Retângulo de cantos arredondados 12"/>
          <p:cNvSpPr/>
          <p:nvPr>
            <p:custDataLst>
              <p:tags r:id="rId2"/>
            </p:custDataLst>
          </p:nvPr>
        </p:nvSpPr>
        <p:spPr bwMode="auto">
          <a:xfrm flipH="1">
            <a:off x="5109828" y="2707317"/>
            <a:ext cx="4397710" cy="336638"/>
          </a:xfrm>
          <a:prstGeom prst="round1Rect">
            <a:avLst>
              <a:gd name="adj" fmla="val 50000"/>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74291" tIns="37146" rIns="74291" bIns="37146" numCol="1" rtlCol="0" anchor="ctr" anchorCtr="0" compatLnSpc="1">
            <a:prstTxWarp prst="textNoShape">
              <a:avLst/>
            </a:prstTxWarp>
          </a:bodyPr>
          <a:lstStyle/>
          <a:p>
            <a:pPr algn="ctr" eaLnBrk="0" hangingPunct="0">
              <a:lnSpc>
                <a:spcPct val="85000"/>
              </a:lnSpc>
            </a:pPr>
            <a:r>
              <a:rPr lang="en-US" sz="1138" b="1" dirty="0">
                <a:solidFill>
                  <a:schemeClr val="bg1"/>
                </a:solidFill>
                <a:latin typeface="Arial" pitchFamily="34" charset="0"/>
                <a:cs typeface="Arial" pitchFamily="34" charset="0"/>
              </a:rPr>
              <a:t>At a Glance</a:t>
            </a:r>
          </a:p>
        </p:txBody>
      </p:sp>
      <p:sp>
        <p:nvSpPr>
          <p:cNvPr id="43" name="Rectangle à coins arrondis 69"/>
          <p:cNvSpPr/>
          <p:nvPr>
            <p:custDataLst>
              <p:tags r:id="rId3"/>
            </p:custDataLst>
          </p:nvPr>
        </p:nvSpPr>
        <p:spPr bwMode="auto">
          <a:xfrm>
            <a:off x="1306947" y="1803991"/>
            <a:ext cx="7257189" cy="672997"/>
          </a:xfrm>
          <a:prstGeom prst="roundRect">
            <a:avLst>
              <a:gd name="adj" fmla="val 30068"/>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lIns="74291" tIns="37146" rIns="74291" bIns="37146" anchor="ctr" anchorCtr="0"/>
          <a:lstStyle/>
          <a:p>
            <a:pPr marL="1207294" eaLnBrk="0" hangingPunct="0">
              <a:defRPr/>
            </a:pPr>
            <a:endParaRPr lang="en-US" sz="1625" baseline="-25000" dirty="0">
              <a:solidFill>
                <a:schemeClr val="bg1"/>
              </a:solidFill>
              <a:latin typeface="Arial" pitchFamily="34" charset="0"/>
              <a:cs typeface="Arial" pitchFamily="34" charset="0"/>
            </a:endParaRPr>
          </a:p>
        </p:txBody>
      </p:sp>
      <p:sp>
        <p:nvSpPr>
          <p:cNvPr id="12" name="TextBox 11"/>
          <p:cNvSpPr txBox="1"/>
          <p:nvPr/>
        </p:nvSpPr>
        <p:spPr>
          <a:xfrm>
            <a:off x="1534963" y="1869509"/>
            <a:ext cx="6917846" cy="780214"/>
          </a:xfrm>
          <a:prstGeom prst="rect">
            <a:avLst/>
          </a:prstGeom>
          <a:noFill/>
        </p:spPr>
        <p:txBody>
          <a:bodyPr wrap="square" rtlCol="0">
            <a:spAutoFit/>
          </a:bodyPr>
          <a:lstStyle/>
          <a:p>
            <a:r>
              <a:rPr lang="en-US" sz="1463" dirty="0">
                <a:solidFill>
                  <a:schemeClr val="bg1"/>
                </a:solidFill>
                <a:latin typeface="Arial" pitchFamily="34" charset="0"/>
                <a:cs typeface="Arial" pitchFamily="34" charset="0"/>
              </a:rPr>
              <a:t>Financial Services is </a:t>
            </a:r>
            <a:r>
              <a:rPr lang="en-US" sz="1463" dirty="0" err="1">
                <a:solidFill>
                  <a:schemeClr val="bg1"/>
                </a:solidFill>
                <a:latin typeface="Arial" pitchFamily="34" charset="0"/>
                <a:cs typeface="Arial" pitchFamily="34" charset="0"/>
              </a:rPr>
              <a:t>Capgemini’s</a:t>
            </a:r>
            <a:r>
              <a:rPr lang="en-US" sz="1463" dirty="0">
                <a:solidFill>
                  <a:schemeClr val="bg1"/>
                </a:solidFill>
                <a:latin typeface="Arial" pitchFamily="34" charset="0"/>
                <a:cs typeface="Arial" pitchFamily="34" charset="0"/>
              </a:rPr>
              <a:t> largest sector, representing 26% of overall Capgemini 2016 revenue</a:t>
            </a:r>
            <a:endParaRPr lang="en-US" sz="1463" baseline="-25000" dirty="0">
              <a:solidFill>
                <a:schemeClr val="bg1"/>
              </a:solidFill>
              <a:latin typeface="Arial" pitchFamily="34" charset="0"/>
              <a:cs typeface="Arial" pitchFamily="34" charset="0"/>
            </a:endParaRPr>
          </a:p>
          <a:p>
            <a:endParaRPr lang="en-US" sz="1544" dirty="0">
              <a:latin typeface="Arial" pitchFamily="34" charset="0"/>
              <a:cs typeface="Arial" pitchFamily="34" charset="0"/>
            </a:endParaRPr>
          </a:p>
        </p:txBody>
      </p:sp>
    </p:spTree>
    <p:extLst>
      <p:ext uri="{BB962C8B-B14F-4D97-AF65-F5344CB8AC3E}">
        <p14:creationId xmlns="" xmlns:p14="http://schemas.microsoft.com/office/powerpoint/2010/main" val="7356199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
          <p:cNvGrpSpPr>
            <a:grpSpLocks noChangeAspect="1"/>
          </p:cNvGrpSpPr>
          <p:nvPr/>
        </p:nvGrpSpPr>
        <p:grpSpPr bwMode="auto">
          <a:xfrm>
            <a:off x="290482" y="1160423"/>
            <a:ext cx="9125656" cy="5229488"/>
            <a:chOff x="-263" y="743"/>
            <a:chExt cx="6242" cy="3577"/>
          </a:xfrm>
        </p:grpSpPr>
        <p:sp>
          <p:nvSpPr>
            <p:cNvPr id="430" name="AutoShape 2"/>
            <p:cNvSpPr>
              <a:spLocks noChangeAspect="1" noChangeArrowheads="1" noTextEdit="1"/>
            </p:cNvSpPr>
            <p:nvPr/>
          </p:nvSpPr>
          <p:spPr bwMode="auto">
            <a:xfrm>
              <a:off x="-261" y="743"/>
              <a:ext cx="6240" cy="35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3" name="Group 204"/>
            <p:cNvGrpSpPr>
              <a:grpSpLocks/>
            </p:cNvGrpSpPr>
            <p:nvPr/>
          </p:nvGrpSpPr>
          <p:grpSpPr bwMode="auto">
            <a:xfrm>
              <a:off x="-263" y="745"/>
              <a:ext cx="6238" cy="3575"/>
              <a:chOff x="-263" y="745"/>
              <a:chExt cx="6238" cy="3575"/>
            </a:xfrm>
          </p:grpSpPr>
          <p:sp>
            <p:nvSpPr>
              <p:cNvPr id="432" name="Freeform 4"/>
              <p:cNvSpPr>
                <a:spLocks noEditPoints="1"/>
              </p:cNvSpPr>
              <p:nvPr/>
            </p:nvSpPr>
            <p:spPr bwMode="auto">
              <a:xfrm>
                <a:off x="3903" y="1854"/>
                <a:ext cx="1203" cy="895"/>
              </a:xfrm>
              <a:custGeom>
                <a:avLst/>
                <a:gdLst/>
                <a:ahLst/>
                <a:cxnLst>
                  <a:cxn ang="0">
                    <a:pos x="896" y="119"/>
                  </a:cxn>
                  <a:cxn ang="0">
                    <a:pos x="905" y="85"/>
                  </a:cxn>
                  <a:cxn ang="0">
                    <a:pos x="909" y="42"/>
                  </a:cxn>
                  <a:cxn ang="0">
                    <a:pos x="903" y="15"/>
                  </a:cxn>
                  <a:cxn ang="0">
                    <a:pos x="939" y="4"/>
                  </a:cxn>
                  <a:cxn ang="0">
                    <a:pos x="975" y="6"/>
                  </a:cxn>
                  <a:cxn ang="0">
                    <a:pos x="994" y="19"/>
                  </a:cxn>
                  <a:cxn ang="0">
                    <a:pos x="1012" y="42"/>
                  </a:cxn>
                  <a:cxn ang="0">
                    <a:pos x="1041" y="76"/>
                  </a:cxn>
                  <a:cxn ang="0">
                    <a:pos x="1065" y="108"/>
                  </a:cxn>
                  <a:cxn ang="0">
                    <a:pos x="1090" y="110"/>
                  </a:cxn>
                  <a:cxn ang="0">
                    <a:pos x="1114" y="126"/>
                  </a:cxn>
                  <a:cxn ang="0">
                    <a:pos x="1125" y="149"/>
                  </a:cxn>
                  <a:cxn ang="0">
                    <a:pos x="1161" y="155"/>
                  </a:cxn>
                  <a:cxn ang="0">
                    <a:pos x="1186" y="130"/>
                  </a:cxn>
                  <a:cxn ang="0">
                    <a:pos x="1197" y="160"/>
                  </a:cxn>
                  <a:cxn ang="0">
                    <a:pos x="1199" y="192"/>
                  </a:cxn>
                  <a:cxn ang="0">
                    <a:pos x="1197" y="221"/>
                  </a:cxn>
                  <a:cxn ang="0">
                    <a:pos x="1165" y="238"/>
                  </a:cxn>
                  <a:cxn ang="0">
                    <a:pos x="1176" y="287"/>
                  </a:cxn>
                  <a:cxn ang="0">
                    <a:pos x="1086" y="386"/>
                  </a:cxn>
                  <a:cxn ang="0">
                    <a:pos x="1043" y="415"/>
                  </a:cxn>
                  <a:cxn ang="0">
                    <a:pos x="1043" y="403"/>
                  </a:cxn>
                  <a:cxn ang="0">
                    <a:pos x="1043" y="373"/>
                  </a:cxn>
                  <a:cxn ang="0">
                    <a:pos x="999" y="386"/>
                  </a:cxn>
                  <a:cxn ang="0">
                    <a:pos x="969" y="420"/>
                  </a:cxn>
                  <a:cxn ang="0">
                    <a:pos x="994" y="445"/>
                  </a:cxn>
                  <a:cxn ang="0">
                    <a:pos x="1022" y="445"/>
                  </a:cxn>
                  <a:cxn ang="0">
                    <a:pos x="1067" y="454"/>
                  </a:cxn>
                  <a:cxn ang="0">
                    <a:pos x="1043" y="473"/>
                  </a:cxn>
                  <a:cxn ang="0">
                    <a:pos x="1018" y="499"/>
                  </a:cxn>
                  <a:cxn ang="0">
                    <a:pos x="1052" y="558"/>
                  </a:cxn>
                  <a:cxn ang="0">
                    <a:pos x="1060" y="588"/>
                  </a:cxn>
                  <a:cxn ang="0">
                    <a:pos x="1028" y="584"/>
                  </a:cxn>
                  <a:cxn ang="0">
                    <a:pos x="1073" y="620"/>
                  </a:cxn>
                  <a:cxn ang="0">
                    <a:pos x="1073" y="628"/>
                  </a:cxn>
                  <a:cxn ang="0">
                    <a:pos x="1090" y="641"/>
                  </a:cxn>
                  <a:cxn ang="0">
                    <a:pos x="1086" y="658"/>
                  </a:cxn>
                  <a:cxn ang="0">
                    <a:pos x="1076" y="680"/>
                  </a:cxn>
                  <a:cxn ang="0">
                    <a:pos x="1073" y="703"/>
                  </a:cxn>
                  <a:cxn ang="0">
                    <a:pos x="1060" y="718"/>
                  </a:cxn>
                  <a:cxn ang="0">
                    <a:pos x="1060" y="741"/>
                  </a:cxn>
                  <a:cxn ang="0">
                    <a:pos x="1048" y="748"/>
                  </a:cxn>
                  <a:cxn ang="0">
                    <a:pos x="1035" y="765"/>
                  </a:cxn>
                  <a:cxn ang="0">
                    <a:pos x="1022" y="776"/>
                  </a:cxn>
                  <a:cxn ang="0">
                    <a:pos x="999" y="799"/>
                  </a:cxn>
                  <a:cxn ang="0">
                    <a:pos x="973" y="806"/>
                  </a:cxn>
                  <a:cxn ang="0">
                    <a:pos x="954" y="812"/>
                  </a:cxn>
                  <a:cxn ang="0">
                    <a:pos x="918" y="827"/>
                  </a:cxn>
                  <a:cxn ang="0">
                    <a:pos x="905" y="833"/>
                  </a:cxn>
                  <a:cxn ang="0">
                    <a:pos x="898" y="850"/>
                  </a:cxn>
                  <a:cxn ang="0">
                    <a:pos x="879" y="825"/>
                  </a:cxn>
                  <a:cxn ang="0">
                    <a:pos x="738" y="844"/>
                  </a:cxn>
                  <a:cxn ang="0">
                    <a:pos x="1028" y="786"/>
                  </a:cxn>
                  <a:cxn ang="0">
                    <a:pos x="1061" y="735"/>
                  </a:cxn>
                  <a:cxn ang="0">
                    <a:pos x="1076" y="597"/>
                  </a:cxn>
                  <a:cxn ang="0">
                    <a:pos x="1097" y="799"/>
                  </a:cxn>
                  <a:cxn ang="0">
                    <a:pos x="1103" y="739"/>
                  </a:cxn>
                  <a:cxn ang="0">
                    <a:pos x="1078" y="791"/>
                  </a:cxn>
                  <a:cxn ang="0">
                    <a:pos x="905" y="837"/>
                  </a:cxn>
                  <a:cxn ang="0">
                    <a:pos x="892" y="859"/>
                  </a:cxn>
                  <a:cxn ang="0">
                    <a:pos x="900" y="889"/>
                  </a:cxn>
                  <a:cxn ang="0">
                    <a:pos x="909" y="857"/>
                  </a:cxn>
                </a:cxnLst>
                <a:rect l="0" t="0" r="r" b="b"/>
                <a:pathLst>
                  <a:path w="1203" h="895">
                    <a:moveTo>
                      <a:pt x="363" y="191"/>
                    </a:moveTo>
                    <a:lnTo>
                      <a:pt x="369" y="191"/>
                    </a:lnTo>
                    <a:lnTo>
                      <a:pt x="372" y="192"/>
                    </a:lnTo>
                    <a:lnTo>
                      <a:pt x="374" y="192"/>
                    </a:lnTo>
                    <a:lnTo>
                      <a:pt x="538" y="196"/>
                    </a:lnTo>
                    <a:lnTo>
                      <a:pt x="826" y="166"/>
                    </a:lnTo>
                    <a:lnTo>
                      <a:pt x="864" y="126"/>
                    </a:lnTo>
                    <a:lnTo>
                      <a:pt x="871" y="125"/>
                    </a:lnTo>
                    <a:lnTo>
                      <a:pt x="871" y="125"/>
                    </a:lnTo>
                    <a:lnTo>
                      <a:pt x="875" y="126"/>
                    </a:lnTo>
                    <a:lnTo>
                      <a:pt x="879" y="126"/>
                    </a:lnTo>
                    <a:lnTo>
                      <a:pt x="884" y="126"/>
                    </a:lnTo>
                    <a:lnTo>
                      <a:pt x="884" y="128"/>
                    </a:lnTo>
                    <a:lnTo>
                      <a:pt x="886" y="128"/>
                    </a:lnTo>
                    <a:lnTo>
                      <a:pt x="896" y="119"/>
                    </a:lnTo>
                    <a:lnTo>
                      <a:pt x="901" y="119"/>
                    </a:lnTo>
                    <a:lnTo>
                      <a:pt x="905" y="115"/>
                    </a:lnTo>
                    <a:lnTo>
                      <a:pt x="909" y="115"/>
                    </a:lnTo>
                    <a:lnTo>
                      <a:pt x="911" y="110"/>
                    </a:lnTo>
                    <a:lnTo>
                      <a:pt x="909" y="106"/>
                    </a:lnTo>
                    <a:lnTo>
                      <a:pt x="909" y="106"/>
                    </a:lnTo>
                    <a:lnTo>
                      <a:pt x="909" y="106"/>
                    </a:lnTo>
                    <a:lnTo>
                      <a:pt x="905" y="106"/>
                    </a:lnTo>
                    <a:lnTo>
                      <a:pt x="905" y="106"/>
                    </a:lnTo>
                    <a:lnTo>
                      <a:pt x="905" y="100"/>
                    </a:lnTo>
                    <a:lnTo>
                      <a:pt x="905" y="98"/>
                    </a:lnTo>
                    <a:lnTo>
                      <a:pt x="905" y="93"/>
                    </a:lnTo>
                    <a:lnTo>
                      <a:pt x="903" y="89"/>
                    </a:lnTo>
                    <a:lnTo>
                      <a:pt x="905" y="89"/>
                    </a:lnTo>
                    <a:lnTo>
                      <a:pt x="905" y="85"/>
                    </a:lnTo>
                    <a:lnTo>
                      <a:pt x="905" y="83"/>
                    </a:lnTo>
                    <a:lnTo>
                      <a:pt x="905" y="81"/>
                    </a:lnTo>
                    <a:lnTo>
                      <a:pt x="905" y="77"/>
                    </a:lnTo>
                    <a:lnTo>
                      <a:pt x="905" y="74"/>
                    </a:lnTo>
                    <a:lnTo>
                      <a:pt x="903" y="72"/>
                    </a:lnTo>
                    <a:lnTo>
                      <a:pt x="903" y="68"/>
                    </a:lnTo>
                    <a:lnTo>
                      <a:pt x="905" y="64"/>
                    </a:lnTo>
                    <a:lnTo>
                      <a:pt x="909" y="64"/>
                    </a:lnTo>
                    <a:lnTo>
                      <a:pt x="909" y="59"/>
                    </a:lnTo>
                    <a:lnTo>
                      <a:pt x="909" y="55"/>
                    </a:lnTo>
                    <a:lnTo>
                      <a:pt x="915" y="53"/>
                    </a:lnTo>
                    <a:lnTo>
                      <a:pt x="915" y="49"/>
                    </a:lnTo>
                    <a:lnTo>
                      <a:pt x="911" y="47"/>
                    </a:lnTo>
                    <a:lnTo>
                      <a:pt x="911" y="44"/>
                    </a:lnTo>
                    <a:lnTo>
                      <a:pt x="909" y="42"/>
                    </a:lnTo>
                    <a:lnTo>
                      <a:pt x="909" y="38"/>
                    </a:lnTo>
                    <a:lnTo>
                      <a:pt x="905" y="34"/>
                    </a:lnTo>
                    <a:lnTo>
                      <a:pt x="903" y="34"/>
                    </a:lnTo>
                    <a:lnTo>
                      <a:pt x="901" y="34"/>
                    </a:lnTo>
                    <a:lnTo>
                      <a:pt x="898" y="36"/>
                    </a:lnTo>
                    <a:lnTo>
                      <a:pt x="894" y="36"/>
                    </a:lnTo>
                    <a:lnTo>
                      <a:pt x="894" y="34"/>
                    </a:lnTo>
                    <a:lnTo>
                      <a:pt x="894" y="30"/>
                    </a:lnTo>
                    <a:lnTo>
                      <a:pt x="894" y="30"/>
                    </a:lnTo>
                    <a:lnTo>
                      <a:pt x="894" y="29"/>
                    </a:lnTo>
                    <a:lnTo>
                      <a:pt x="896" y="25"/>
                    </a:lnTo>
                    <a:lnTo>
                      <a:pt x="898" y="21"/>
                    </a:lnTo>
                    <a:lnTo>
                      <a:pt x="900" y="19"/>
                    </a:lnTo>
                    <a:lnTo>
                      <a:pt x="900" y="17"/>
                    </a:lnTo>
                    <a:lnTo>
                      <a:pt x="903" y="15"/>
                    </a:lnTo>
                    <a:lnTo>
                      <a:pt x="905" y="13"/>
                    </a:lnTo>
                    <a:lnTo>
                      <a:pt x="909" y="13"/>
                    </a:lnTo>
                    <a:lnTo>
                      <a:pt x="911" y="13"/>
                    </a:lnTo>
                    <a:lnTo>
                      <a:pt x="911" y="12"/>
                    </a:lnTo>
                    <a:lnTo>
                      <a:pt x="915" y="13"/>
                    </a:lnTo>
                    <a:lnTo>
                      <a:pt x="916" y="12"/>
                    </a:lnTo>
                    <a:lnTo>
                      <a:pt x="918" y="8"/>
                    </a:lnTo>
                    <a:lnTo>
                      <a:pt x="922" y="8"/>
                    </a:lnTo>
                    <a:lnTo>
                      <a:pt x="924" y="6"/>
                    </a:lnTo>
                    <a:lnTo>
                      <a:pt x="928" y="6"/>
                    </a:lnTo>
                    <a:lnTo>
                      <a:pt x="932" y="6"/>
                    </a:lnTo>
                    <a:lnTo>
                      <a:pt x="935" y="6"/>
                    </a:lnTo>
                    <a:lnTo>
                      <a:pt x="935" y="4"/>
                    </a:lnTo>
                    <a:lnTo>
                      <a:pt x="939" y="4"/>
                    </a:lnTo>
                    <a:lnTo>
                      <a:pt x="939" y="4"/>
                    </a:lnTo>
                    <a:lnTo>
                      <a:pt x="943" y="0"/>
                    </a:lnTo>
                    <a:lnTo>
                      <a:pt x="945" y="0"/>
                    </a:lnTo>
                    <a:lnTo>
                      <a:pt x="947" y="0"/>
                    </a:lnTo>
                    <a:lnTo>
                      <a:pt x="950" y="0"/>
                    </a:lnTo>
                    <a:lnTo>
                      <a:pt x="952" y="4"/>
                    </a:lnTo>
                    <a:lnTo>
                      <a:pt x="958" y="4"/>
                    </a:lnTo>
                    <a:lnTo>
                      <a:pt x="960" y="6"/>
                    </a:lnTo>
                    <a:lnTo>
                      <a:pt x="960" y="8"/>
                    </a:lnTo>
                    <a:lnTo>
                      <a:pt x="965" y="8"/>
                    </a:lnTo>
                    <a:lnTo>
                      <a:pt x="969" y="6"/>
                    </a:lnTo>
                    <a:lnTo>
                      <a:pt x="969" y="8"/>
                    </a:lnTo>
                    <a:lnTo>
                      <a:pt x="973" y="10"/>
                    </a:lnTo>
                    <a:lnTo>
                      <a:pt x="973" y="10"/>
                    </a:lnTo>
                    <a:lnTo>
                      <a:pt x="973" y="6"/>
                    </a:lnTo>
                    <a:lnTo>
                      <a:pt x="975" y="6"/>
                    </a:lnTo>
                    <a:lnTo>
                      <a:pt x="977" y="6"/>
                    </a:lnTo>
                    <a:lnTo>
                      <a:pt x="980" y="6"/>
                    </a:lnTo>
                    <a:lnTo>
                      <a:pt x="980" y="6"/>
                    </a:lnTo>
                    <a:lnTo>
                      <a:pt x="982" y="8"/>
                    </a:lnTo>
                    <a:lnTo>
                      <a:pt x="984" y="8"/>
                    </a:lnTo>
                    <a:lnTo>
                      <a:pt x="988" y="8"/>
                    </a:lnTo>
                    <a:lnTo>
                      <a:pt x="988" y="10"/>
                    </a:lnTo>
                    <a:lnTo>
                      <a:pt x="988" y="12"/>
                    </a:lnTo>
                    <a:lnTo>
                      <a:pt x="990" y="13"/>
                    </a:lnTo>
                    <a:lnTo>
                      <a:pt x="990" y="15"/>
                    </a:lnTo>
                    <a:lnTo>
                      <a:pt x="990" y="15"/>
                    </a:lnTo>
                    <a:lnTo>
                      <a:pt x="994" y="13"/>
                    </a:lnTo>
                    <a:lnTo>
                      <a:pt x="997" y="15"/>
                    </a:lnTo>
                    <a:lnTo>
                      <a:pt x="997" y="17"/>
                    </a:lnTo>
                    <a:lnTo>
                      <a:pt x="994" y="19"/>
                    </a:lnTo>
                    <a:lnTo>
                      <a:pt x="997" y="21"/>
                    </a:lnTo>
                    <a:lnTo>
                      <a:pt x="999" y="21"/>
                    </a:lnTo>
                    <a:lnTo>
                      <a:pt x="1001" y="21"/>
                    </a:lnTo>
                    <a:lnTo>
                      <a:pt x="1001" y="21"/>
                    </a:lnTo>
                    <a:lnTo>
                      <a:pt x="1001" y="25"/>
                    </a:lnTo>
                    <a:lnTo>
                      <a:pt x="1005" y="25"/>
                    </a:lnTo>
                    <a:lnTo>
                      <a:pt x="1005" y="25"/>
                    </a:lnTo>
                    <a:lnTo>
                      <a:pt x="1005" y="30"/>
                    </a:lnTo>
                    <a:lnTo>
                      <a:pt x="1007" y="30"/>
                    </a:lnTo>
                    <a:lnTo>
                      <a:pt x="1007" y="34"/>
                    </a:lnTo>
                    <a:lnTo>
                      <a:pt x="1007" y="34"/>
                    </a:lnTo>
                    <a:lnTo>
                      <a:pt x="1012" y="34"/>
                    </a:lnTo>
                    <a:lnTo>
                      <a:pt x="1012" y="36"/>
                    </a:lnTo>
                    <a:lnTo>
                      <a:pt x="1012" y="40"/>
                    </a:lnTo>
                    <a:lnTo>
                      <a:pt x="1012" y="42"/>
                    </a:lnTo>
                    <a:lnTo>
                      <a:pt x="1014" y="44"/>
                    </a:lnTo>
                    <a:lnTo>
                      <a:pt x="1018" y="47"/>
                    </a:lnTo>
                    <a:lnTo>
                      <a:pt x="1018" y="49"/>
                    </a:lnTo>
                    <a:lnTo>
                      <a:pt x="1022" y="53"/>
                    </a:lnTo>
                    <a:lnTo>
                      <a:pt x="1022" y="55"/>
                    </a:lnTo>
                    <a:lnTo>
                      <a:pt x="1024" y="55"/>
                    </a:lnTo>
                    <a:lnTo>
                      <a:pt x="1028" y="59"/>
                    </a:lnTo>
                    <a:lnTo>
                      <a:pt x="1028" y="59"/>
                    </a:lnTo>
                    <a:lnTo>
                      <a:pt x="1024" y="61"/>
                    </a:lnTo>
                    <a:lnTo>
                      <a:pt x="1028" y="64"/>
                    </a:lnTo>
                    <a:lnTo>
                      <a:pt x="1028" y="61"/>
                    </a:lnTo>
                    <a:lnTo>
                      <a:pt x="1029" y="64"/>
                    </a:lnTo>
                    <a:lnTo>
                      <a:pt x="1029" y="66"/>
                    </a:lnTo>
                    <a:lnTo>
                      <a:pt x="1033" y="72"/>
                    </a:lnTo>
                    <a:lnTo>
                      <a:pt x="1041" y="76"/>
                    </a:lnTo>
                    <a:lnTo>
                      <a:pt x="1043" y="79"/>
                    </a:lnTo>
                    <a:lnTo>
                      <a:pt x="1043" y="83"/>
                    </a:lnTo>
                    <a:lnTo>
                      <a:pt x="1044" y="85"/>
                    </a:lnTo>
                    <a:lnTo>
                      <a:pt x="1044" y="89"/>
                    </a:lnTo>
                    <a:lnTo>
                      <a:pt x="1046" y="89"/>
                    </a:lnTo>
                    <a:lnTo>
                      <a:pt x="1048" y="89"/>
                    </a:lnTo>
                    <a:lnTo>
                      <a:pt x="1048" y="93"/>
                    </a:lnTo>
                    <a:lnTo>
                      <a:pt x="1048" y="94"/>
                    </a:lnTo>
                    <a:lnTo>
                      <a:pt x="1052" y="98"/>
                    </a:lnTo>
                    <a:lnTo>
                      <a:pt x="1054" y="104"/>
                    </a:lnTo>
                    <a:lnTo>
                      <a:pt x="1058" y="104"/>
                    </a:lnTo>
                    <a:lnTo>
                      <a:pt x="1060" y="108"/>
                    </a:lnTo>
                    <a:lnTo>
                      <a:pt x="1061" y="108"/>
                    </a:lnTo>
                    <a:lnTo>
                      <a:pt x="1063" y="106"/>
                    </a:lnTo>
                    <a:lnTo>
                      <a:pt x="1065" y="108"/>
                    </a:lnTo>
                    <a:lnTo>
                      <a:pt x="1067" y="108"/>
                    </a:lnTo>
                    <a:lnTo>
                      <a:pt x="1071" y="108"/>
                    </a:lnTo>
                    <a:lnTo>
                      <a:pt x="1073" y="106"/>
                    </a:lnTo>
                    <a:lnTo>
                      <a:pt x="1076" y="106"/>
                    </a:lnTo>
                    <a:lnTo>
                      <a:pt x="1076" y="108"/>
                    </a:lnTo>
                    <a:lnTo>
                      <a:pt x="1073" y="108"/>
                    </a:lnTo>
                    <a:lnTo>
                      <a:pt x="1076" y="110"/>
                    </a:lnTo>
                    <a:lnTo>
                      <a:pt x="1078" y="110"/>
                    </a:lnTo>
                    <a:lnTo>
                      <a:pt x="1082" y="110"/>
                    </a:lnTo>
                    <a:lnTo>
                      <a:pt x="1082" y="113"/>
                    </a:lnTo>
                    <a:lnTo>
                      <a:pt x="1084" y="113"/>
                    </a:lnTo>
                    <a:lnTo>
                      <a:pt x="1084" y="113"/>
                    </a:lnTo>
                    <a:lnTo>
                      <a:pt x="1086" y="110"/>
                    </a:lnTo>
                    <a:lnTo>
                      <a:pt x="1088" y="113"/>
                    </a:lnTo>
                    <a:lnTo>
                      <a:pt x="1090" y="110"/>
                    </a:lnTo>
                    <a:lnTo>
                      <a:pt x="1092" y="110"/>
                    </a:lnTo>
                    <a:lnTo>
                      <a:pt x="1093" y="110"/>
                    </a:lnTo>
                    <a:lnTo>
                      <a:pt x="1093" y="113"/>
                    </a:lnTo>
                    <a:lnTo>
                      <a:pt x="1095" y="115"/>
                    </a:lnTo>
                    <a:lnTo>
                      <a:pt x="1097" y="115"/>
                    </a:lnTo>
                    <a:lnTo>
                      <a:pt x="1097" y="115"/>
                    </a:lnTo>
                    <a:lnTo>
                      <a:pt x="1101" y="119"/>
                    </a:lnTo>
                    <a:lnTo>
                      <a:pt x="1101" y="119"/>
                    </a:lnTo>
                    <a:lnTo>
                      <a:pt x="1103" y="119"/>
                    </a:lnTo>
                    <a:lnTo>
                      <a:pt x="1103" y="123"/>
                    </a:lnTo>
                    <a:lnTo>
                      <a:pt x="1107" y="123"/>
                    </a:lnTo>
                    <a:lnTo>
                      <a:pt x="1107" y="125"/>
                    </a:lnTo>
                    <a:lnTo>
                      <a:pt x="1108" y="125"/>
                    </a:lnTo>
                    <a:lnTo>
                      <a:pt x="1110" y="126"/>
                    </a:lnTo>
                    <a:lnTo>
                      <a:pt x="1114" y="126"/>
                    </a:lnTo>
                    <a:lnTo>
                      <a:pt x="1116" y="126"/>
                    </a:lnTo>
                    <a:lnTo>
                      <a:pt x="1118" y="126"/>
                    </a:lnTo>
                    <a:lnTo>
                      <a:pt x="1120" y="125"/>
                    </a:lnTo>
                    <a:lnTo>
                      <a:pt x="1122" y="125"/>
                    </a:lnTo>
                    <a:lnTo>
                      <a:pt x="1124" y="125"/>
                    </a:lnTo>
                    <a:lnTo>
                      <a:pt x="1124" y="126"/>
                    </a:lnTo>
                    <a:lnTo>
                      <a:pt x="1122" y="130"/>
                    </a:lnTo>
                    <a:lnTo>
                      <a:pt x="1122" y="132"/>
                    </a:lnTo>
                    <a:lnTo>
                      <a:pt x="1122" y="134"/>
                    </a:lnTo>
                    <a:lnTo>
                      <a:pt x="1125" y="134"/>
                    </a:lnTo>
                    <a:lnTo>
                      <a:pt x="1125" y="138"/>
                    </a:lnTo>
                    <a:lnTo>
                      <a:pt x="1127" y="142"/>
                    </a:lnTo>
                    <a:lnTo>
                      <a:pt x="1125" y="143"/>
                    </a:lnTo>
                    <a:lnTo>
                      <a:pt x="1125" y="143"/>
                    </a:lnTo>
                    <a:lnTo>
                      <a:pt x="1125" y="149"/>
                    </a:lnTo>
                    <a:lnTo>
                      <a:pt x="1127" y="153"/>
                    </a:lnTo>
                    <a:lnTo>
                      <a:pt x="1131" y="153"/>
                    </a:lnTo>
                    <a:lnTo>
                      <a:pt x="1131" y="157"/>
                    </a:lnTo>
                    <a:lnTo>
                      <a:pt x="1135" y="158"/>
                    </a:lnTo>
                    <a:lnTo>
                      <a:pt x="1137" y="158"/>
                    </a:lnTo>
                    <a:lnTo>
                      <a:pt x="1140" y="157"/>
                    </a:lnTo>
                    <a:lnTo>
                      <a:pt x="1140" y="157"/>
                    </a:lnTo>
                    <a:lnTo>
                      <a:pt x="1142" y="158"/>
                    </a:lnTo>
                    <a:lnTo>
                      <a:pt x="1144" y="160"/>
                    </a:lnTo>
                    <a:lnTo>
                      <a:pt x="1146" y="160"/>
                    </a:lnTo>
                    <a:lnTo>
                      <a:pt x="1148" y="158"/>
                    </a:lnTo>
                    <a:lnTo>
                      <a:pt x="1152" y="158"/>
                    </a:lnTo>
                    <a:lnTo>
                      <a:pt x="1152" y="158"/>
                    </a:lnTo>
                    <a:lnTo>
                      <a:pt x="1159" y="157"/>
                    </a:lnTo>
                    <a:lnTo>
                      <a:pt x="1161" y="155"/>
                    </a:lnTo>
                    <a:lnTo>
                      <a:pt x="1161" y="155"/>
                    </a:lnTo>
                    <a:lnTo>
                      <a:pt x="1161" y="153"/>
                    </a:lnTo>
                    <a:lnTo>
                      <a:pt x="1161" y="149"/>
                    </a:lnTo>
                    <a:lnTo>
                      <a:pt x="1165" y="149"/>
                    </a:lnTo>
                    <a:lnTo>
                      <a:pt x="1165" y="143"/>
                    </a:lnTo>
                    <a:lnTo>
                      <a:pt x="1165" y="143"/>
                    </a:lnTo>
                    <a:lnTo>
                      <a:pt x="1169" y="143"/>
                    </a:lnTo>
                    <a:lnTo>
                      <a:pt x="1172" y="143"/>
                    </a:lnTo>
                    <a:lnTo>
                      <a:pt x="1172" y="140"/>
                    </a:lnTo>
                    <a:lnTo>
                      <a:pt x="1174" y="138"/>
                    </a:lnTo>
                    <a:lnTo>
                      <a:pt x="1176" y="138"/>
                    </a:lnTo>
                    <a:lnTo>
                      <a:pt x="1178" y="134"/>
                    </a:lnTo>
                    <a:lnTo>
                      <a:pt x="1180" y="132"/>
                    </a:lnTo>
                    <a:lnTo>
                      <a:pt x="1184" y="132"/>
                    </a:lnTo>
                    <a:lnTo>
                      <a:pt x="1186" y="130"/>
                    </a:lnTo>
                    <a:lnTo>
                      <a:pt x="1189" y="132"/>
                    </a:lnTo>
                    <a:lnTo>
                      <a:pt x="1189" y="134"/>
                    </a:lnTo>
                    <a:lnTo>
                      <a:pt x="1191" y="134"/>
                    </a:lnTo>
                    <a:lnTo>
                      <a:pt x="1195" y="136"/>
                    </a:lnTo>
                    <a:lnTo>
                      <a:pt x="1195" y="140"/>
                    </a:lnTo>
                    <a:lnTo>
                      <a:pt x="1195" y="142"/>
                    </a:lnTo>
                    <a:lnTo>
                      <a:pt x="1195" y="143"/>
                    </a:lnTo>
                    <a:lnTo>
                      <a:pt x="1197" y="147"/>
                    </a:lnTo>
                    <a:lnTo>
                      <a:pt x="1197" y="149"/>
                    </a:lnTo>
                    <a:lnTo>
                      <a:pt x="1199" y="149"/>
                    </a:lnTo>
                    <a:lnTo>
                      <a:pt x="1203" y="153"/>
                    </a:lnTo>
                    <a:lnTo>
                      <a:pt x="1201" y="155"/>
                    </a:lnTo>
                    <a:lnTo>
                      <a:pt x="1201" y="158"/>
                    </a:lnTo>
                    <a:lnTo>
                      <a:pt x="1201" y="160"/>
                    </a:lnTo>
                    <a:lnTo>
                      <a:pt x="1197" y="160"/>
                    </a:lnTo>
                    <a:lnTo>
                      <a:pt x="1195" y="164"/>
                    </a:lnTo>
                    <a:lnTo>
                      <a:pt x="1195" y="166"/>
                    </a:lnTo>
                    <a:lnTo>
                      <a:pt x="1197" y="168"/>
                    </a:lnTo>
                    <a:lnTo>
                      <a:pt x="1197" y="170"/>
                    </a:lnTo>
                    <a:lnTo>
                      <a:pt x="1197" y="172"/>
                    </a:lnTo>
                    <a:lnTo>
                      <a:pt x="1195" y="174"/>
                    </a:lnTo>
                    <a:lnTo>
                      <a:pt x="1197" y="177"/>
                    </a:lnTo>
                    <a:lnTo>
                      <a:pt x="1199" y="177"/>
                    </a:lnTo>
                    <a:lnTo>
                      <a:pt x="1199" y="179"/>
                    </a:lnTo>
                    <a:lnTo>
                      <a:pt x="1199" y="179"/>
                    </a:lnTo>
                    <a:lnTo>
                      <a:pt x="1199" y="183"/>
                    </a:lnTo>
                    <a:lnTo>
                      <a:pt x="1199" y="183"/>
                    </a:lnTo>
                    <a:lnTo>
                      <a:pt x="1197" y="183"/>
                    </a:lnTo>
                    <a:lnTo>
                      <a:pt x="1197" y="187"/>
                    </a:lnTo>
                    <a:lnTo>
                      <a:pt x="1199" y="192"/>
                    </a:lnTo>
                    <a:lnTo>
                      <a:pt x="1201" y="194"/>
                    </a:lnTo>
                    <a:lnTo>
                      <a:pt x="1201" y="194"/>
                    </a:lnTo>
                    <a:lnTo>
                      <a:pt x="1199" y="196"/>
                    </a:lnTo>
                    <a:lnTo>
                      <a:pt x="1197" y="200"/>
                    </a:lnTo>
                    <a:lnTo>
                      <a:pt x="1199" y="202"/>
                    </a:lnTo>
                    <a:lnTo>
                      <a:pt x="1199" y="204"/>
                    </a:lnTo>
                    <a:lnTo>
                      <a:pt x="1201" y="204"/>
                    </a:lnTo>
                    <a:lnTo>
                      <a:pt x="1197" y="207"/>
                    </a:lnTo>
                    <a:lnTo>
                      <a:pt x="1197" y="207"/>
                    </a:lnTo>
                    <a:lnTo>
                      <a:pt x="1197" y="207"/>
                    </a:lnTo>
                    <a:lnTo>
                      <a:pt x="1199" y="213"/>
                    </a:lnTo>
                    <a:lnTo>
                      <a:pt x="1197" y="213"/>
                    </a:lnTo>
                    <a:lnTo>
                      <a:pt x="1195" y="217"/>
                    </a:lnTo>
                    <a:lnTo>
                      <a:pt x="1195" y="219"/>
                    </a:lnTo>
                    <a:lnTo>
                      <a:pt x="1197" y="221"/>
                    </a:lnTo>
                    <a:lnTo>
                      <a:pt x="1195" y="223"/>
                    </a:lnTo>
                    <a:lnTo>
                      <a:pt x="1197" y="224"/>
                    </a:lnTo>
                    <a:lnTo>
                      <a:pt x="1197" y="226"/>
                    </a:lnTo>
                    <a:lnTo>
                      <a:pt x="1197" y="230"/>
                    </a:lnTo>
                    <a:lnTo>
                      <a:pt x="1197" y="232"/>
                    </a:lnTo>
                    <a:lnTo>
                      <a:pt x="1195" y="232"/>
                    </a:lnTo>
                    <a:lnTo>
                      <a:pt x="1191" y="230"/>
                    </a:lnTo>
                    <a:lnTo>
                      <a:pt x="1182" y="228"/>
                    </a:lnTo>
                    <a:lnTo>
                      <a:pt x="1178" y="228"/>
                    </a:lnTo>
                    <a:lnTo>
                      <a:pt x="1176" y="226"/>
                    </a:lnTo>
                    <a:lnTo>
                      <a:pt x="1174" y="226"/>
                    </a:lnTo>
                    <a:lnTo>
                      <a:pt x="1171" y="232"/>
                    </a:lnTo>
                    <a:lnTo>
                      <a:pt x="1171" y="236"/>
                    </a:lnTo>
                    <a:lnTo>
                      <a:pt x="1169" y="238"/>
                    </a:lnTo>
                    <a:lnTo>
                      <a:pt x="1165" y="238"/>
                    </a:lnTo>
                    <a:lnTo>
                      <a:pt x="1165" y="238"/>
                    </a:lnTo>
                    <a:lnTo>
                      <a:pt x="1165" y="241"/>
                    </a:lnTo>
                    <a:lnTo>
                      <a:pt x="1165" y="243"/>
                    </a:lnTo>
                    <a:lnTo>
                      <a:pt x="1169" y="251"/>
                    </a:lnTo>
                    <a:lnTo>
                      <a:pt x="1169" y="253"/>
                    </a:lnTo>
                    <a:lnTo>
                      <a:pt x="1171" y="255"/>
                    </a:lnTo>
                    <a:lnTo>
                      <a:pt x="1172" y="258"/>
                    </a:lnTo>
                    <a:lnTo>
                      <a:pt x="1172" y="262"/>
                    </a:lnTo>
                    <a:lnTo>
                      <a:pt x="1174" y="268"/>
                    </a:lnTo>
                    <a:lnTo>
                      <a:pt x="1174" y="268"/>
                    </a:lnTo>
                    <a:lnTo>
                      <a:pt x="1174" y="275"/>
                    </a:lnTo>
                    <a:lnTo>
                      <a:pt x="1176" y="277"/>
                    </a:lnTo>
                    <a:lnTo>
                      <a:pt x="1176" y="281"/>
                    </a:lnTo>
                    <a:lnTo>
                      <a:pt x="1176" y="285"/>
                    </a:lnTo>
                    <a:lnTo>
                      <a:pt x="1176" y="287"/>
                    </a:lnTo>
                    <a:lnTo>
                      <a:pt x="1176" y="288"/>
                    </a:lnTo>
                    <a:lnTo>
                      <a:pt x="1176" y="290"/>
                    </a:lnTo>
                    <a:lnTo>
                      <a:pt x="1176" y="292"/>
                    </a:lnTo>
                    <a:lnTo>
                      <a:pt x="1174" y="292"/>
                    </a:lnTo>
                    <a:lnTo>
                      <a:pt x="1171" y="292"/>
                    </a:lnTo>
                    <a:lnTo>
                      <a:pt x="1167" y="292"/>
                    </a:lnTo>
                    <a:lnTo>
                      <a:pt x="1167" y="296"/>
                    </a:lnTo>
                    <a:lnTo>
                      <a:pt x="1169" y="298"/>
                    </a:lnTo>
                    <a:lnTo>
                      <a:pt x="1169" y="302"/>
                    </a:lnTo>
                    <a:lnTo>
                      <a:pt x="1169" y="302"/>
                    </a:lnTo>
                    <a:lnTo>
                      <a:pt x="1169" y="305"/>
                    </a:lnTo>
                    <a:lnTo>
                      <a:pt x="1152" y="317"/>
                    </a:lnTo>
                    <a:lnTo>
                      <a:pt x="1148" y="345"/>
                    </a:lnTo>
                    <a:lnTo>
                      <a:pt x="1095" y="385"/>
                    </a:lnTo>
                    <a:lnTo>
                      <a:pt x="1086" y="386"/>
                    </a:lnTo>
                    <a:lnTo>
                      <a:pt x="1084" y="386"/>
                    </a:lnTo>
                    <a:lnTo>
                      <a:pt x="1084" y="385"/>
                    </a:lnTo>
                    <a:lnTo>
                      <a:pt x="1078" y="390"/>
                    </a:lnTo>
                    <a:lnTo>
                      <a:pt x="1073" y="390"/>
                    </a:lnTo>
                    <a:lnTo>
                      <a:pt x="1073" y="390"/>
                    </a:lnTo>
                    <a:lnTo>
                      <a:pt x="1071" y="390"/>
                    </a:lnTo>
                    <a:lnTo>
                      <a:pt x="1065" y="392"/>
                    </a:lnTo>
                    <a:lnTo>
                      <a:pt x="1061" y="392"/>
                    </a:lnTo>
                    <a:lnTo>
                      <a:pt x="1060" y="396"/>
                    </a:lnTo>
                    <a:lnTo>
                      <a:pt x="1058" y="396"/>
                    </a:lnTo>
                    <a:lnTo>
                      <a:pt x="1052" y="401"/>
                    </a:lnTo>
                    <a:lnTo>
                      <a:pt x="1046" y="405"/>
                    </a:lnTo>
                    <a:lnTo>
                      <a:pt x="1048" y="411"/>
                    </a:lnTo>
                    <a:lnTo>
                      <a:pt x="1048" y="411"/>
                    </a:lnTo>
                    <a:lnTo>
                      <a:pt x="1043" y="415"/>
                    </a:lnTo>
                    <a:lnTo>
                      <a:pt x="1039" y="417"/>
                    </a:lnTo>
                    <a:lnTo>
                      <a:pt x="1037" y="417"/>
                    </a:lnTo>
                    <a:lnTo>
                      <a:pt x="1033" y="420"/>
                    </a:lnTo>
                    <a:lnTo>
                      <a:pt x="1031" y="420"/>
                    </a:lnTo>
                    <a:lnTo>
                      <a:pt x="1031" y="417"/>
                    </a:lnTo>
                    <a:lnTo>
                      <a:pt x="1028" y="417"/>
                    </a:lnTo>
                    <a:lnTo>
                      <a:pt x="1029" y="415"/>
                    </a:lnTo>
                    <a:lnTo>
                      <a:pt x="1033" y="415"/>
                    </a:lnTo>
                    <a:lnTo>
                      <a:pt x="1035" y="411"/>
                    </a:lnTo>
                    <a:lnTo>
                      <a:pt x="1039" y="411"/>
                    </a:lnTo>
                    <a:lnTo>
                      <a:pt x="1041" y="411"/>
                    </a:lnTo>
                    <a:lnTo>
                      <a:pt x="1041" y="409"/>
                    </a:lnTo>
                    <a:lnTo>
                      <a:pt x="1039" y="407"/>
                    </a:lnTo>
                    <a:lnTo>
                      <a:pt x="1039" y="405"/>
                    </a:lnTo>
                    <a:lnTo>
                      <a:pt x="1043" y="403"/>
                    </a:lnTo>
                    <a:lnTo>
                      <a:pt x="1044" y="400"/>
                    </a:lnTo>
                    <a:lnTo>
                      <a:pt x="1039" y="403"/>
                    </a:lnTo>
                    <a:lnTo>
                      <a:pt x="1035" y="405"/>
                    </a:lnTo>
                    <a:lnTo>
                      <a:pt x="1033" y="403"/>
                    </a:lnTo>
                    <a:lnTo>
                      <a:pt x="1033" y="400"/>
                    </a:lnTo>
                    <a:lnTo>
                      <a:pt x="1035" y="400"/>
                    </a:lnTo>
                    <a:lnTo>
                      <a:pt x="1035" y="400"/>
                    </a:lnTo>
                    <a:lnTo>
                      <a:pt x="1031" y="392"/>
                    </a:lnTo>
                    <a:lnTo>
                      <a:pt x="1031" y="390"/>
                    </a:lnTo>
                    <a:lnTo>
                      <a:pt x="1031" y="386"/>
                    </a:lnTo>
                    <a:lnTo>
                      <a:pt x="1035" y="386"/>
                    </a:lnTo>
                    <a:lnTo>
                      <a:pt x="1035" y="383"/>
                    </a:lnTo>
                    <a:lnTo>
                      <a:pt x="1039" y="377"/>
                    </a:lnTo>
                    <a:lnTo>
                      <a:pt x="1041" y="375"/>
                    </a:lnTo>
                    <a:lnTo>
                      <a:pt x="1043" y="373"/>
                    </a:lnTo>
                    <a:lnTo>
                      <a:pt x="1043" y="369"/>
                    </a:lnTo>
                    <a:lnTo>
                      <a:pt x="1033" y="366"/>
                    </a:lnTo>
                    <a:lnTo>
                      <a:pt x="1028" y="360"/>
                    </a:lnTo>
                    <a:lnTo>
                      <a:pt x="1028" y="362"/>
                    </a:lnTo>
                    <a:lnTo>
                      <a:pt x="1024" y="362"/>
                    </a:lnTo>
                    <a:lnTo>
                      <a:pt x="1022" y="360"/>
                    </a:lnTo>
                    <a:lnTo>
                      <a:pt x="1018" y="360"/>
                    </a:lnTo>
                    <a:lnTo>
                      <a:pt x="1014" y="366"/>
                    </a:lnTo>
                    <a:lnTo>
                      <a:pt x="1014" y="366"/>
                    </a:lnTo>
                    <a:lnTo>
                      <a:pt x="1014" y="369"/>
                    </a:lnTo>
                    <a:lnTo>
                      <a:pt x="1009" y="375"/>
                    </a:lnTo>
                    <a:lnTo>
                      <a:pt x="1009" y="383"/>
                    </a:lnTo>
                    <a:lnTo>
                      <a:pt x="1007" y="383"/>
                    </a:lnTo>
                    <a:lnTo>
                      <a:pt x="1003" y="386"/>
                    </a:lnTo>
                    <a:lnTo>
                      <a:pt x="999" y="386"/>
                    </a:lnTo>
                    <a:lnTo>
                      <a:pt x="994" y="390"/>
                    </a:lnTo>
                    <a:lnTo>
                      <a:pt x="990" y="400"/>
                    </a:lnTo>
                    <a:lnTo>
                      <a:pt x="990" y="403"/>
                    </a:lnTo>
                    <a:lnTo>
                      <a:pt x="990" y="403"/>
                    </a:lnTo>
                    <a:lnTo>
                      <a:pt x="994" y="409"/>
                    </a:lnTo>
                    <a:lnTo>
                      <a:pt x="990" y="409"/>
                    </a:lnTo>
                    <a:lnTo>
                      <a:pt x="990" y="411"/>
                    </a:lnTo>
                    <a:lnTo>
                      <a:pt x="990" y="415"/>
                    </a:lnTo>
                    <a:lnTo>
                      <a:pt x="984" y="415"/>
                    </a:lnTo>
                    <a:lnTo>
                      <a:pt x="979" y="415"/>
                    </a:lnTo>
                    <a:lnTo>
                      <a:pt x="973" y="411"/>
                    </a:lnTo>
                    <a:lnTo>
                      <a:pt x="969" y="415"/>
                    </a:lnTo>
                    <a:lnTo>
                      <a:pt x="969" y="417"/>
                    </a:lnTo>
                    <a:lnTo>
                      <a:pt x="969" y="420"/>
                    </a:lnTo>
                    <a:lnTo>
                      <a:pt x="969" y="420"/>
                    </a:lnTo>
                    <a:lnTo>
                      <a:pt x="969" y="424"/>
                    </a:lnTo>
                    <a:lnTo>
                      <a:pt x="965" y="424"/>
                    </a:lnTo>
                    <a:lnTo>
                      <a:pt x="969" y="428"/>
                    </a:lnTo>
                    <a:lnTo>
                      <a:pt x="969" y="433"/>
                    </a:lnTo>
                    <a:lnTo>
                      <a:pt x="973" y="435"/>
                    </a:lnTo>
                    <a:lnTo>
                      <a:pt x="979" y="439"/>
                    </a:lnTo>
                    <a:lnTo>
                      <a:pt x="979" y="441"/>
                    </a:lnTo>
                    <a:lnTo>
                      <a:pt x="982" y="445"/>
                    </a:lnTo>
                    <a:lnTo>
                      <a:pt x="982" y="445"/>
                    </a:lnTo>
                    <a:lnTo>
                      <a:pt x="984" y="445"/>
                    </a:lnTo>
                    <a:lnTo>
                      <a:pt x="984" y="445"/>
                    </a:lnTo>
                    <a:lnTo>
                      <a:pt x="988" y="445"/>
                    </a:lnTo>
                    <a:lnTo>
                      <a:pt x="988" y="445"/>
                    </a:lnTo>
                    <a:lnTo>
                      <a:pt x="990" y="445"/>
                    </a:lnTo>
                    <a:lnTo>
                      <a:pt x="994" y="445"/>
                    </a:lnTo>
                    <a:lnTo>
                      <a:pt x="994" y="449"/>
                    </a:lnTo>
                    <a:lnTo>
                      <a:pt x="994" y="454"/>
                    </a:lnTo>
                    <a:lnTo>
                      <a:pt x="999" y="464"/>
                    </a:lnTo>
                    <a:lnTo>
                      <a:pt x="1005" y="464"/>
                    </a:lnTo>
                    <a:lnTo>
                      <a:pt x="1009" y="462"/>
                    </a:lnTo>
                    <a:lnTo>
                      <a:pt x="1012" y="464"/>
                    </a:lnTo>
                    <a:lnTo>
                      <a:pt x="1014" y="462"/>
                    </a:lnTo>
                    <a:lnTo>
                      <a:pt x="1014" y="458"/>
                    </a:lnTo>
                    <a:lnTo>
                      <a:pt x="1014" y="454"/>
                    </a:lnTo>
                    <a:lnTo>
                      <a:pt x="1012" y="454"/>
                    </a:lnTo>
                    <a:lnTo>
                      <a:pt x="1018" y="454"/>
                    </a:lnTo>
                    <a:lnTo>
                      <a:pt x="1022" y="450"/>
                    </a:lnTo>
                    <a:lnTo>
                      <a:pt x="1022" y="449"/>
                    </a:lnTo>
                    <a:lnTo>
                      <a:pt x="1018" y="445"/>
                    </a:lnTo>
                    <a:lnTo>
                      <a:pt x="1022" y="445"/>
                    </a:lnTo>
                    <a:lnTo>
                      <a:pt x="1031" y="441"/>
                    </a:lnTo>
                    <a:lnTo>
                      <a:pt x="1033" y="445"/>
                    </a:lnTo>
                    <a:lnTo>
                      <a:pt x="1035" y="445"/>
                    </a:lnTo>
                    <a:lnTo>
                      <a:pt x="1037" y="449"/>
                    </a:lnTo>
                    <a:lnTo>
                      <a:pt x="1039" y="450"/>
                    </a:lnTo>
                    <a:lnTo>
                      <a:pt x="1043" y="450"/>
                    </a:lnTo>
                    <a:lnTo>
                      <a:pt x="1052" y="450"/>
                    </a:lnTo>
                    <a:lnTo>
                      <a:pt x="1054" y="450"/>
                    </a:lnTo>
                    <a:lnTo>
                      <a:pt x="1060" y="450"/>
                    </a:lnTo>
                    <a:lnTo>
                      <a:pt x="1058" y="450"/>
                    </a:lnTo>
                    <a:lnTo>
                      <a:pt x="1063" y="450"/>
                    </a:lnTo>
                    <a:lnTo>
                      <a:pt x="1069" y="450"/>
                    </a:lnTo>
                    <a:lnTo>
                      <a:pt x="1071" y="450"/>
                    </a:lnTo>
                    <a:lnTo>
                      <a:pt x="1067" y="450"/>
                    </a:lnTo>
                    <a:lnTo>
                      <a:pt x="1067" y="454"/>
                    </a:lnTo>
                    <a:lnTo>
                      <a:pt x="1069" y="458"/>
                    </a:lnTo>
                    <a:lnTo>
                      <a:pt x="1067" y="458"/>
                    </a:lnTo>
                    <a:lnTo>
                      <a:pt x="1065" y="460"/>
                    </a:lnTo>
                    <a:lnTo>
                      <a:pt x="1065" y="464"/>
                    </a:lnTo>
                    <a:lnTo>
                      <a:pt x="1069" y="464"/>
                    </a:lnTo>
                    <a:lnTo>
                      <a:pt x="1069" y="466"/>
                    </a:lnTo>
                    <a:lnTo>
                      <a:pt x="1063" y="469"/>
                    </a:lnTo>
                    <a:lnTo>
                      <a:pt x="1060" y="467"/>
                    </a:lnTo>
                    <a:lnTo>
                      <a:pt x="1058" y="464"/>
                    </a:lnTo>
                    <a:lnTo>
                      <a:pt x="1058" y="467"/>
                    </a:lnTo>
                    <a:lnTo>
                      <a:pt x="1056" y="464"/>
                    </a:lnTo>
                    <a:lnTo>
                      <a:pt x="1052" y="469"/>
                    </a:lnTo>
                    <a:lnTo>
                      <a:pt x="1048" y="469"/>
                    </a:lnTo>
                    <a:lnTo>
                      <a:pt x="1046" y="473"/>
                    </a:lnTo>
                    <a:lnTo>
                      <a:pt x="1043" y="473"/>
                    </a:lnTo>
                    <a:lnTo>
                      <a:pt x="1043" y="475"/>
                    </a:lnTo>
                    <a:lnTo>
                      <a:pt x="1039" y="473"/>
                    </a:lnTo>
                    <a:lnTo>
                      <a:pt x="1035" y="473"/>
                    </a:lnTo>
                    <a:lnTo>
                      <a:pt x="1039" y="475"/>
                    </a:lnTo>
                    <a:lnTo>
                      <a:pt x="1039" y="479"/>
                    </a:lnTo>
                    <a:lnTo>
                      <a:pt x="1035" y="481"/>
                    </a:lnTo>
                    <a:lnTo>
                      <a:pt x="1035" y="484"/>
                    </a:lnTo>
                    <a:lnTo>
                      <a:pt x="1029" y="484"/>
                    </a:lnTo>
                    <a:lnTo>
                      <a:pt x="1028" y="486"/>
                    </a:lnTo>
                    <a:lnTo>
                      <a:pt x="1028" y="488"/>
                    </a:lnTo>
                    <a:lnTo>
                      <a:pt x="1031" y="490"/>
                    </a:lnTo>
                    <a:lnTo>
                      <a:pt x="1028" y="494"/>
                    </a:lnTo>
                    <a:lnTo>
                      <a:pt x="1028" y="494"/>
                    </a:lnTo>
                    <a:lnTo>
                      <a:pt x="1022" y="499"/>
                    </a:lnTo>
                    <a:lnTo>
                      <a:pt x="1018" y="499"/>
                    </a:lnTo>
                    <a:lnTo>
                      <a:pt x="1018" y="499"/>
                    </a:lnTo>
                    <a:lnTo>
                      <a:pt x="1018" y="505"/>
                    </a:lnTo>
                    <a:lnTo>
                      <a:pt x="1018" y="509"/>
                    </a:lnTo>
                    <a:lnTo>
                      <a:pt x="1018" y="514"/>
                    </a:lnTo>
                    <a:lnTo>
                      <a:pt x="1018" y="524"/>
                    </a:lnTo>
                    <a:lnTo>
                      <a:pt x="1018" y="524"/>
                    </a:lnTo>
                    <a:lnTo>
                      <a:pt x="1028" y="528"/>
                    </a:lnTo>
                    <a:lnTo>
                      <a:pt x="1028" y="531"/>
                    </a:lnTo>
                    <a:lnTo>
                      <a:pt x="1031" y="530"/>
                    </a:lnTo>
                    <a:lnTo>
                      <a:pt x="1043" y="535"/>
                    </a:lnTo>
                    <a:lnTo>
                      <a:pt x="1048" y="545"/>
                    </a:lnTo>
                    <a:lnTo>
                      <a:pt x="1048" y="548"/>
                    </a:lnTo>
                    <a:lnTo>
                      <a:pt x="1048" y="550"/>
                    </a:lnTo>
                    <a:lnTo>
                      <a:pt x="1052" y="552"/>
                    </a:lnTo>
                    <a:lnTo>
                      <a:pt x="1052" y="558"/>
                    </a:lnTo>
                    <a:lnTo>
                      <a:pt x="1058" y="563"/>
                    </a:lnTo>
                    <a:lnTo>
                      <a:pt x="1058" y="569"/>
                    </a:lnTo>
                    <a:lnTo>
                      <a:pt x="1063" y="575"/>
                    </a:lnTo>
                    <a:lnTo>
                      <a:pt x="1067" y="577"/>
                    </a:lnTo>
                    <a:lnTo>
                      <a:pt x="1071" y="575"/>
                    </a:lnTo>
                    <a:lnTo>
                      <a:pt x="1073" y="577"/>
                    </a:lnTo>
                    <a:lnTo>
                      <a:pt x="1073" y="579"/>
                    </a:lnTo>
                    <a:lnTo>
                      <a:pt x="1076" y="584"/>
                    </a:lnTo>
                    <a:lnTo>
                      <a:pt x="1078" y="586"/>
                    </a:lnTo>
                    <a:lnTo>
                      <a:pt x="1082" y="592"/>
                    </a:lnTo>
                    <a:lnTo>
                      <a:pt x="1078" y="592"/>
                    </a:lnTo>
                    <a:lnTo>
                      <a:pt x="1073" y="590"/>
                    </a:lnTo>
                    <a:lnTo>
                      <a:pt x="1067" y="594"/>
                    </a:lnTo>
                    <a:lnTo>
                      <a:pt x="1063" y="588"/>
                    </a:lnTo>
                    <a:lnTo>
                      <a:pt x="1060" y="588"/>
                    </a:lnTo>
                    <a:lnTo>
                      <a:pt x="1056" y="586"/>
                    </a:lnTo>
                    <a:lnTo>
                      <a:pt x="1048" y="584"/>
                    </a:lnTo>
                    <a:lnTo>
                      <a:pt x="1048" y="588"/>
                    </a:lnTo>
                    <a:lnTo>
                      <a:pt x="1044" y="588"/>
                    </a:lnTo>
                    <a:lnTo>
                      <a:pt x="1043" y="586"/>
                    </a:lnTo>
                    <a:lnTo>
                      <a:pt x="1039" y="580"/>
                    </a:lnTo>
                    <a:lnTo>
                      <a:pt x="1035" y="582"/>
                    </a:lnTo>
                    <a:lnTo>
                      <a:pt x="1031" y="580"/>
                    </a:lnTo>
                    <a:lnTo>
                      <a:pt x="1031" y="582"/>
                    </a:lnTo>
                    <a:lnTo>
                      <a:pt x="1028" y="582"/>
                    </a:lnTo>
                    <a:lnTo>
                      <a:pt x="1028" y="582"/>
                    </a:lnTo>
                    <a:lnTo>
                      <a:pt x="1022" y="582"/>
                    </a:lnTo>
                    <a:lnTo>
                      <a:pt x="1018" y="592"/>
                    </a:lnTo>
                    <a:lnTo>
                      <a:pt x="1024" y="586"/>
                    </a:lnTo>
                    <a:lnTo>
                      <a:pt x="1028" y="584"/>
                    </a:lnTo>
                    <a:lnTo>
                      <a:pt x="1033" y="584"/>
                    </a:lnTo>
                    <a:lnTo>
                      <a:pt x="1037" y="582"/>
                    </a:lnTo>
                    <a:lnTo>
                      <a:pt x="1039" y="584"/>
                    </a:lnTo>
                    <a:lnTo>
                      <a:pt x="1039" y="586"/>
                    </a:lnTo>
                    <a:lnTo>
                      <a:pt x="1044" y="590"/>
                    </a:lnTo>
                    <a:lnTo>
                      <a:pt x="1046" y="592"/>
                    </a:lnTo>
                    <a:lnTo>
                      <a:pt x="1052" y="586"/>
                    </a:lnTo>
                    <a:lnTo>
                      <a:pt x="1056" y="586"/>
                    </a:lnTo>
                    <a:lnTo>
                      <a:pt x="1063" y="594"/>
                    </a:lnTo>
                    <a:lnTo>
                      <a:pt x="1071" y="597"/>
                    </a:lnTo>
                    <a:lnTo>
                      <a:pt x="1078" y="603"/>
                    </a:lnTo>
                    <a:lnTo>
                      <a:pt x="1082" y="611"/>
                    </a:lnTo>
                    <a:lnTo>
                      <a:pt x="1082" y="612"/>
                    </a:lnTo>
                    <a:lnTo>
                      <a:pt x="1078" y="614"/>
                    </a:lnTo>
                    <a:lnTo>
                      <a:pt x="1073" y="620"/>
                    </a:lnTo>
                    <a:lnTo>
                      <a:pt x="1073" y="618"/>
                    </a:lnTo>
                    <a:lnTo>
                      <a:pt x="1071" y="620"/>
                    </a:lnTo>
                    <a:lnTo>
                      <a:pt x="1071" y="624"/>
                    </a:lnTo>
                    <a:lnTo>
                      <a:pt x="1067" y="624"/>
                    </a:lnTo>
                    <a:lnTo>
                      <a:pt x="1061" y="624"/>
                    </a:lnTo>
                    <a:lnTo>
                      <a:pt x="1060" y="624"/>
                    </a:lnTo>
                    <a:lnTo>
                      <a:pt x="1058" y="624"/>
                    </a:lnTo>
                    <a:lnTo>
                      <a:pt x="1052" y="628"/>
                    </a:lnTo>
                    <a:lnTo>
                      <a:pt x="1052" y="633"/>
                    </a:lnTo>
                    <a:lnTo>
                      <a:pt x="1054" y="628"/>
                    </a:lnTo>
                    <a:lnTo>
                      <a:pt x="1058" y="628"/>
                    </a:lnTo>
                    <a:lnTo>
                      <a:pt x="1061" y="624"/>
                    </a:lnTo>
                    <a:lnTo>
                      <a:pt x="1065" y="629"/>
                    </a:lnTo>
                    <a:lnTo>
                      <a:pt x="1069" y="633"/>
                    </a:lnTo>
                    <a:lnTo>
                      <a:pt x="1073" y="628"/>
                    </a:lnTo>
                    <a:lnTo>
                      <a:pt x="1076" y="628"/>
                    </a:lnTo>
                    <a:lnTo>
                      <a:pt x="1084" y="637"/>
                    </a:lnTo>
                    <a:lnTo>
                      <a:pt x="1084" y="633"/>
                    </a:lnTo>
                    <a:lnTo>
                      <a:pt x="1086" y="637"/>
                    </a:lnTo>
                    <a:lnTo>
                      <a:pt x="1090" y="637"/>
                    </a:lnTo>
                    <a:lnTo>
                      <a:pt x="1092" y="637"/>
                    </a:lnTo>
                    <a:lnTo>
                      <a:pt x="1082" y="644"/>
                    </a:lnTo>
                    <a:lnTo>
                      <a:pt x="1076" y="644"/>
                    </a:lnTo>
                    <a:lnTo>
                      <a:pt x="1076" y="648"/>
                    </a:lnTo>
                    <a:lnTo>
                      <a:pt x="1078" y="650"/>
                    </a:lnTo>
                    <a:lnTo>
                      <a:pt x="1084" y="644"/>
                    </a:lnTo>
                    <a:lnTo>
                      <a:pt x="1088" y="646"/>
                    </a:lnTo>
                    <a:lnTo>
                      <a:pt x="1088" y="644"/>
                    </a:lnTo>
                    <a:lnTo>
                      <a:pt x="1088" y="643"/>
                    </a:lnTo>
                    <a:lnTo>
                      <a:pt x="1090" y="641"/>
                    </a:lnTo>
                    <a:lnTo>
                      <a:pt x="1092" y="643"/>
                    </a:lnTo>
                    <a:lnTo>
                      <a:pt x="1093" y="648"/>
                    </a:lnTo>
                    <a:lnTo>
                      <a:pt x="1093" y="650"/>
                    </a:lnTo>
                    <a:lnTo>
                      <a:pt x="1092" y="652"/>
                    </a:lnTo>
                    <a:lnTo>
                      <a:pt x="1092" y="650"/>
                    </a:lnTo>
                    <a:lnTo>
                      <a:pt x="1090" y="650"/>
                    </a:lnTo>
                    <a:lnTo>
                      <a:pt x="1088" y="652"/>
                    </a:lnTo>
                    <a:lnTo>
                      <a:pt x="1088" y="652"/>
                    </a:lnTo>
                    <a:lnTo>
                      <a:pt x="1084" y="652"/>
                    </a:lnTo>
                    <a:lnTo>
                      <a:pt x="1078" y="656"/>
                    </a:lnTo>
                    <a:lnTo>
                      <a:pt x="1078" y="658"/>
                    </a:lnTo>
                    <a:lnTo>
                      <a:pt x="1086" y="656"/>
                    </a:lnTo>
                    <a:lnTo>
                      <a:pt x="1088" y="658"/>
                    </a:lnTo>
                    <a:lnTo>
                      <a:pt x="1088" y="658"/>
                    </a:lnTo>
                    <a:lnTo>
                      <a:pt x="1086" y="658"/>
                    </a:lnTo>
                    <a:lnTo>
                      <a:pt x="1082" y="661"/>
                    </a:lnTo>
                    <a:lnTo>
                      <a:pt x="1086" y="661"/>
                    </a:lnTo>
                    <a:lnTo>
                      <a:pt x="1088" y="663"/>
                    </a:lnTo>
                    <a:lnTo>
                      <a:pt x="1084" y="667"/>
                    </a:lnTo>
                    <a:lnTo>
                      <a:pt x="1082" y="667"/>
                    </a:lnTo>
                    <a:lnTo>
                      <a:pt x="1082" y="667"/>
                    </a:lnTo>
                    <a:lnTo>
                      <a:pt x="1082" y="669"/>
                    </a:lnTo>
                    <a:lnTo>
                      <a:pt x="1086" y="669"/>
                    </a:lnTo>
                    <a:lnTo>
                      <a:pt x="1088" y="673"/>
                    </a:lnTo>
                    <a:lnTo>
                      <a:pt x="1086" y="675"/>
                    </a:lnTo>
                    <a:lnTo>
                      <a:pt x="1084" y="678"/>
                    </a:lnTo>
                    <a:lnTo>
                      <a:pt x="1084" y="676"/>
                    </a:lnTo>
                    <a:lnTo>
                      <a:pt x="1082" y="673"/>
                    </a:lnTo>
                    <a:lnTo>
                      <a:pt x="1082" y="675"/>
                    </a:lnTo>
                    <a:lnTo>
                      <a:pt x="1076" y="680"/>
                    </a:lnTo>
                    <a:lnTo>
                      <a:pt x="1076" y="682"/>
                    </a:lnTo>
                    <a:lnTo>
                      <a:pt x="1071" y="680"/>
                    </a:lnTo>
                    <a:lnTo>
                      <a:pt x="1073" y="682"/>
                    </a:lnTo>
                    <a:lnTo>
                      <a:pt x="1073" y="686"/>
                    </a:lnTo>
                    <a:lnTo>
                      <a:pt x="1076" y="688"/>
                    </a:lnTo>
                    <a:lnTo>
                      <a:pt x="1073" y="688"/>
                    </a:lnTo>
                    <a:lnTo>
                      <a:pt x="1073" y="692"/>
                    </a:lnTo>
                    <a:lnTo>
                      <a:pt x="1073" y="692"/>
                    </a:lnTo>
                    <a:lnTo>
                      <a:pt x="1073" y="693"/>
                    </a:lnTo>
                    <a:lnTo>
                      <a:pt x="1073" y="697"/>
                    </a:lnTo>
                    <a:lnTo>
                      <a:pt x="1071" y="699"/>
                    </a:lnTo>
                    <a:lnTo>
                      <a:pt x="1069" y="695"/>
                    </a:lnTo>
                    <a:lnTo>
                      <a:pt x="1067" y="699"/>
                    </a:lnTo>
                    <a:lnTo>
                      <a:pt x="1071" y="699"/>
                    </a:lnTo>
                    <a:lnTo>
                      <a:pt x="1073" y="703"/>
                    </a:lnTo>
                    <a:lnTo>
                      <a:pt x="1069" y="703"/>
                    </a:lnTo>
                    <a:lnTo>
                      <a:pt x="1069" y="705"/>
                    </a:lnTo>
                    <a:lnTo>
                      <a:pt x="1063" y="710"/>
                    </a:lnTo>
                    <a:lnTo>
                      <a:pt x="1061" y="710"/>
                    </a:lnTo>
                    <a:lnTo>
                      <a:pt x="1061" y="707"/>
                    </a:lnTo>
                    <a:lnTo>
                      <a:pt x="1060" y="707"/>
                    </a:lnTo>
                    <a:lnTo>
                      <a:pt x="1058" y="707"/>
                    </a:lnTo>
                    <a:lnTo>
                      <a:pt x="1058" y="709"/>
                    </a:lnTo>
                    <a:lnTo>
                      <a:pt x="1054" y="709"/>
                    </a:lnTo>
                    <a:lnTo>
                      <a:pt x="1056" y="710"/>
                    </a:lnTo>
                    <a:lnTo>
                      <a:pt x="1054" y="712"/>
                    </a:lnTo>
                    <a:lnTo>
                      <a:pt x="1058" y="712"/>
                    </a:lnTo>
                    <a:lnTo>
                      <a:pt x="1060" y="716"/>
                    </a:lnTo>
                    <a:lnTo>
                      <a:pt x="1056" y="716"/>
                    </a:lnTo>
                    <a:lnTo>
                      <a:pt x="1060" y="718"/>
                    </a:lnTo>
                    <a:lnTo>
                      <a:pt x="1063" y="718"/>
                    </a:lnTo>
                    <a:lnTo>
                      <a:pt x="1065" y="718"/>
                    </a:lnTo>
                    <a:lnTo>
                      <a:pt x="1058" y="722"/>
                    </a:lnTo>
                    <a:lnTo>
                      <a:pt x="1054" y="724"/>
                    </a:lnTo>
                    <a:lnTo>
                      <a:pt x="1054" y="727"/>
                    </a:lnTo>
                    <a:lnTo>
                      <a:pt x="1056" y="725"/>
                    </a:lnTo>
                    <a:lnTo>
                      <a:pt x="1058" y="725"/>
                    </a:lnTo>
                    <a:lnTo>
                      <a:pt x="1060" y="727"/>
                    </a:lnTo>
                    <a:lnTo>
                      <a:pt x="1056" y="731"/>
                    </a:lnTo>
                    <a:lnTo>
                      <a:pt x="1060" y="733"/>
                    </a:lnTo>
                    <a:lnTo>
                      <a:pt x="1060" y="735"/>
                    </a:lnTo>
                    <a:lnTo>
                      <a:pt x="1056" y="737"/>
                    </a:lnTo>
                    <a:lnTo>
                      <a:pt x="1058" y="739"/>
                    </a:lnTo>
                    <a:lnTo>
                      <a:pt x="1060" y="739"/>
                    </a:lnTo>
                    <a:lnTo>
                      <a:pt x="1060" y="741"/>
                    </a:lnTo>
                    <a:lnTo>
                      <a:pt x="1060" y="746"/>
                    </a:lnTo>
                    <a:lnTo>
                      <a:pt x="1058" y="742"/>
                    </a:lnTo>
                    <a:lnTo>
                      <a:pt x="1056" y="742"/>
                    </a:lnTo>
                    <a:lnTo>
                      <a:pt x="1056" y="741"/>
                    </a:lnTo>
                    <a:lnTo>
                      <a:pt x="1052" y="737"/>
                    </a:lnTo>
                    <a:lnTo>
                      <a:pt x="1052" y="741"/>
                    </a:lnTo>
                    <a:lnTo>
                      <a:pt x="1052" y="741"/>
                    </a:lnTo>
                    <a:lnTo>
                      <a:pt x="1048" y="742"/>
                    </a:lnTo>
                    <a:lnTo>
                      <a:pt x="1052" y="746"/>
                    </a:lnTo>
                    <a:lnTo>
                      <a:pt x="1052" y="748"/>
                    </a:lnTo>
                    <a:lnTo>
                      <a:pt x="1052" y="746"/>
                    </a:lnTo>
                    <a:lnTo>
                      <a:pt x="1048" y="746"/>
                    </a:lnTo>
                    <a:lnTo>
                      <a:pt x="1048" y="742"/>
                    </a:lnTo>
                    <a:lnTo>
                      <a:pt x="1046" y="746"/>
                    </a:lnTo>
                    <a:lnTo>
                      <a:pt x="1048" y="748"/>
                    </a:lnTo>
                    <a:lnTo>
                      <a:pt x="1048" y="752"/>
                    </a:lnTo>
                    <a:lnTo>
                      <a:pt x="1052" y="752"/>
                    </a:lnTo>
                    <a:lnTo>
                      <a:pt x="1052" y="752"/>
                    </a:lnTo>
                    <a:lnTo>
                      <a:pt x="1048" y="752"/>
                    </a:lnTo>
                    <a:lnTo>
                      <a:pt x="1046" y="752"/>
                    </a:lnTo>
                    <a:lnTo>
                      <a:pt x="1046" y="752"/>
                    </a:lnTo>
                    <a:lnTo>
                      <a:pt x="1046" y="756"/>
                    </a:lnTo>
                    <a:lnTo>
                      <a:pt x="1048" y="756"/>
                    </a:lnTo>
                    <a:lnTo>
                      <a:pt x="1048" y="759"/>
                    </a:lnTo>
                    <a:lnTo>
                      <a:pt x="1043" y="756"/>
                    </a:lnTo>
                    <a:lnTo>
                      <a:pt x="1041" y="757"/>
                    </a:lnTo>
                    <a:lnTo>
                      <a:pt x="1039" y="757"/>
                    </a:lnTo>
                    <a:lnTo>
                      <a:pt x="1037" y="761"/>
                    </a:lnTo>
                    <a:lnTo>
                      <a:pt x="1029" y="761"/>
                    </a:lnTo>
                    <a:lnTo>
                      <a:pt x="1035" y="765"/>
                    </a:lnTo>
                    <a:lnTo>
                      <a:pt x="1039" y="763"/>
                    </a:lnTo>
                    <a:lnTo>
                      <a:pt x="1041" y="765"/>
                    </a:lnTo>
                    <a:lnTo>
                      <a:pt x="1041" y="767"/>
                    </a:lnTo>
                    <a:lnTo>
                      <a:pt x="1037" y="769"/>
                    </a:lnTo>
                    <a:lnTo>
                      <a:pt x="1037" y="773"/>
                    </a:lnTo>
                    <a:lnTo>
                      <a:pt x="1035" y="769"/>
                    </a:lnTo>
                    <a:lnTo>
                      <a:pt x="1033" y="773"/>
                    </a:lnTo>
                    <a:lnTo>
                      <a:pt x="1031" y="774"/>
                    </a:lnTo>
                    <a:lnTo>
                      <a:pt x="1031" y="773"/>
                    </a:lnTo>
                    <a:lnTo>
                      <a:pt x="1029" y="773"/>
                    </a:lnTo>
                    <a:lnTo>
                      <a:pt x="1029" y="776"/>
                    </a:lnTo>
                    <a:lnTo>
                      <a:pt x="1028" y="776"/>
                    </a:lnTo>
                    <a:lnTo>
                      <a:pt x="1028" y="780"/>
                    </a:lnTo>
                    <a:lnTo>
                      <a:pt x="1022" y="780"/>
                    </a:lnTo>
                    <a:lnTo>
                      <a:pt x="1022" y="776"/>
                    </a:lnTo>
                    <a:lnTo>
                      <a:pt x="1018" y="776"/>
                    </a:lnTo>
                    <a:lnTo>
                      <a:pt x="1014" y="782"/>
                    </a:lnTo>
                    <a:lnTo>
                      <a:pt x="1014" y="780"/>
                    </a:lnTo>
                    <a:lnTo>
                      <a:pt x="1014" y="782"/>
                    </a:lnTo>
                    <a:lnTo>
                      <a:pt x="1014" y="788"/>
                    </a:lnTo>
                    <a:lnTo>
                      <a:pt x="1014" y="790"/>
                    </a:lnTo>
                    <a:lnTo>
                      <a:pt x="1014" y="791"/>
                    </a:lnTo>
                    <a:lnTo>
                      <a:pt x="1012" y="793"/>
                    </a:lnTo>
                    <a:lnTo>
                      <a:pt x="1011" y="793"/>
                    </a:lnTo>
                    <a:lnTo>
                      <a:pt x="1009" y="795"/>
                    </a:lnTo>
                    <a:lnTo>
                      <a:pt x="1009" y="791"/>
                    </a:lnTo>
                    <a:lnTo>
                      <a:pt x="1007" y="793"/>
                    </a:lnTo>
                    <a:lnTo>
                      <a:pt x="1005" y="797"/>
                    </a:lnTo>
                    <a:lnTo>
                      <a:pt x="999" y="797"/>
                    </a:lnTo>
                    <a:lnTo>
                      <a:pt x="999" y="799"/>
                    </a:lnTo>
                    <a:lnTo>
                      <a:pt x="997" y="799"/>
                    </a:lnTo>
                    <a:lnTo>
                      <a:pt x="997" y="797"/>
                    </a:lnTo>
                    <a:lnTo>
                      <a:pt x="994" y="797"/>
                    </a:lnTo>
                    <a:lnTo>
                      <a:pt x="994" y="801"/>
                    </a:lnTo>
                    <a:lnTo>
                      <a:pt x="994" y="803"/>
                    </a:lnTo>
                    <a:lnTo>
                      <a:pt x="990" y="799"/>
                    </a:lnTo>
                    <a:lnTo>
                      <a:pt x="988" y="797"/>
                    </a:lnTo>
                    <a:lnTo>
                      <a:pt x="988" y="799"/>
                    </a:lnTo>
                    <a:lnTo>
                      <a:pt x="984" y="799"/>
                    </a:lnTo>
                    <a:lnTo>
                      <a:pt x="984" y="803"/>
                    </a:lnTo>
                    <a:lnTo>
                      <a:pt x="980" y="803"/>
                    </a:lnTo>
                    <a:lnTo>
                      <a:pt x="979" y="801"/>
                    </a:lnTo>
                    <a:lnTo>
                      <a:pt x="977" y="803"/>
                    </a:lnTo>
                    <a:lnTo>
                      <a:pt x="973" y="805"/>
                    </a:lnTo>
                    <a:lnTo>
                      <a:pt x="973" y="806"/>
                    </a:lnTo>
                    <a:lnTo>
                      <a:pt x="965" y="810"/>
                    </a:lnTo>
                    <a:lnTo>
                      <a:pt x="965" y="810"/>
                    </a:lnTo>
                    <a:lnTo>
                      <a:pt x="969" y="806"/>
                    </a:lnTo>
                    <a:lnTo>
                      <a:pt x="969" y="806"/>
                    </a:lnTo>
                    <a:lnTo>
                      <a:pt x="969" y="806"/>
                    </a:lnTo>
                    <a:lnTo>
                      <a:pt x="964" y="803"/>
                    </a:lnTo>
                    <a:lnTo>
                      <a:pt x="964" y="801"/>
                    </a:lnTo>
                    <a:lnTo>
                      <a:pt x="960" y="797"/>
                    </a:lnTo>
                    <a:lnTo>
                      <a:pt x="958" y="795"/>
                    </a:lnTo>
                    <a:lnTo>
                      <a:pt x="958" y="797"/>
                    </a:lnTo>
                    <a:lnTo>
                      <a:pt x="958" y="801"/>
                    </a:lnTo>
                    <a:lnTo>
                      <a:pt x="958" y="805"/>
                    </a:lnTo>
                    <a:lnTo>
                      <a:pt x="960" y="806"/>
                    </a:lnTo>
                    <a:lnTo>
                      <a:pt x="956" y="810"/>
                    </a:lnTo>
                    <a:lnTo>
                      <a:pt x="954" y="812"/>
                    </a:lnTo>
                    <a:lnTo>
                      <a:pt x="952" y="816"/>
                    </a:lnTo>
                    <a:lnTo>
                      <a:pt x="950" y="812"/>
                    </a:lnTo>
                    <a:lnTo>
                      <a:pt x="950" y="810"/>
                    </a:lnTo>
                    <a:lnTo>
                      <a:pt x="948" y="812"/>
                    </a:lnTo>
                    <a:lnTo>
                      <a:pt x="947" y="816"/>
                    </a:lnTo>
                    <a:lnTo>
                      <a:pt x="943" y="820"/>
                    </a:lnTo>
                    <a:lnTo>
                      <a:pt x="939" y="822"/>
                    </a:lnTo>
                    <a:lnTo>
                      <a:pt x="939" y="822"/>
                    </a:lnTo>
                    <a:lnTo>
                      <a:pt x="935" y="822"/>
                    </a:lnTo>
                    <a:lnTo>
                      <a:pt x="932" y="822"/>
                    </a:lnTo>
                    <a:lnTo>
                      <a:pt x="928" y="822"/>
                    </a:lnTo>
                    <a:lnTo>
                      <a:pt x="930" y="825"/>
                    </a:lnTo>
                    <a:lnTo>
                      <a:pt x="924" y="827"/>
                    </a:lnTo>
                    <a:lnTo>
                      <a:pt x="920" y="829"/>
                    </a:lnTo>
                    <a:lnTo>
                      <a:pt x="918" y="827"/>
                    </a:lnTo>
                    <a:lnTo>
                      <a:pt x="916" y="829"/>
                    </a:lnTo>
                    <a:lnTo>
                      <a:pt x="915" y="831"/>
                    </a:lnTo>
                    <a:lnTo>
                      <a:pt x="911" y="833"/>
                    </a:lnTo>
                    <a:lnTo>
                      <a:pt x="909" y="833"/>
                    </a:lnTo>
                    <a:lnTo>
                      <a:pt x="911" y="831"/>
                    </a:lnTo>
                    <a:lnTo>
                      <a:pt x="909" y="831"/>
                    </a:lnTo>
                    <a:lnTo>
                      <a:pt x="909" y="831"/>
                    </a:lnTo>
                    <a:lnTo>
                      <a:pt x="909" y="829"/>
                    </a:lnTo>
                    <a:lnTo>
                      <a:pt x="909" y="829"/>
                    </a:lnTo>
                    <a:lnTo>
                      <a:pt x="909" y="829"/>
                    </a:lnTo>
                    <a:lnTo>
                      <a:pt x="909" y="827"/>
                    </a:lnTo>
                    <a:lnTo>
                      <a:pt x="905" y="829"/>
                    </a:lnTo>
                    <a:lnTo>
                      <a:pt x="905" y="829"/>
                    </a:lnTo>
                    <a:lnTo>
                      <a:pt x="905" y="831"/>
                    </a:lnTo>
                    <a:lnTo>
                      <a:pt x="905" y="833"/>
                    </a:lnTo>
                    <a:lnTo>
                      <a:pt x="903" y="837"/>
                    </a:lnTo>
                    <a:lnTo>
                      <a:pt x="903" y="837"/>
                    </a:lnTo>
                    <a:lnTo>
                      <a:pt x="903" y="840"/>
                    </a:lnTo>
                    <a:lnTo>
                      <a:pt x="905" y="840"/>
                    </a:lnTo>
                    <a:lnTo>
                      <a:pt x="909" y="844"/>
                    </a:lnTo>
                    <a:lnTo>
                      <a:pt x="909" y="844"/>
                    </a:lnTo>
                    <a:lnTo>
                      <a:pt x="909" y="844"/>
                    </a:lnTo>
                    <a:lnTo>
                      <a:pt x="909" y="846"/>
                    </a:lnTo>
                    <a:lnTo>
                      <a:pt x="905" y="850"/>
                    </a:lnTo>
                    <a:lnTo>
                      <a:pt x="905" y="850"/>
                    </a:lnTo>
                    <a:lnTo>
                      <a:pt x="905" y="850"/>
                    </a:lnTo>
                    <a:lnTo>
                      <a:pt x="901" y="850"/>
                    </a:lnTo>
                    <a:lnTo>
                      <a:pt x="900" y="852"/>
                    </a:lnTo>
                    <a:lnTo>
                      <a:pt x="898" y="852"/>
                    </a:lnTo>
                    <a:lnTo>
                      <a:pt x="898" y="850"/>
                    </a:lnTo>
                    <a:lnTo>
                      <a:pt x="898" y="846"/>
                    </a:lnTo>
                    <a:lnTo>
                      <a:pt x="896" y="844"/>
                    </a:lnTo>
                    <a:lnTo>
                      <a:pt x="890" y="840"/>
                    </a:lnTo>
                    <a:lnTo>
                      <a:pt x="890" y="837"/>
                    </a:lnTo>
                    <a:lnTo>
                      <a:pt x="894" y="833"/>
                    </a:lnTo>
                    <a:lnTo>
                      <a:pt x="894" y="831"/>
                    </a:lnTo>
                    <a:lnTo>
                      <a:pt x="898" y="829"/>
                    </a:lnTo>
                    <a:lnTo>
                      <a:pt x="896" y="829"/>
                    </a:lnTo>
                    <a:lnTo>
                      <a:pt x="894" y="827"/>
                    </a:lnTo>
                    <a:lnTo>
                      <a:pt x="892" y="829"/>
                    </a:lnTo>
                    <a:lnTo>
                      <a:pt x="888" y="825"/>
                    </a:lnTo>
                    <a:lnTo>
                      <a:pt x="886" y="829"/>
                    </a:lnTo>
                    <a:lnTo>
                      <a:pt x="884" y="829"/>
                    </a:lnTo>
                    <a:lnTo>
                      <a:pt x="884" y="829"/>
                    </a:lnTo>
                    <a:lnTo>
                      <a:pt x="879" y="825"/>
                    </a:lnTo>
                    <a:lnTo>
                      <a:pt x="877" y="827"/>
                    </a:lnTo>
                    <a:lnTo>
                      <a:pt x="871" y="823"/>
                    </a:lnTo>
                    <a:lnTo>
                      <a:pt x="871" y="820"/>
                    </a:lnTo>
                    <a:lnTo>
                      <a:pt x="871" y="823"/>
                    </a:lnTo>
                    <a:lnTo>
                      <a:pt x="871" y="825"/>
                    </a:lnTo>
                    <a:lnTo>
                      <a:pt x="868" y="827"/>
                    </a:lnTo>
                    <a:lnTo>
                      <a:pt x="866" y="825"/>
                    </a:lnTo>
                    <a:lnTo>
                      <a:pt x="864" y="827"/>
                    </a:lnTo>
                    <a:lnTo>
                      <a:pt x="862" y="825"/>
                    </a:lnTo>
                    <a:lnTo>
                      <a:pt x="862" y="825"/>
                    </a:lnTo>
                    <a:lnTo>
                      <a:pt x="862" y="825"/>
                    </a:lnTo>
                    <a:lnTo>
                      <a:pt x="860" y="825"/>
                    </a:lnTo>
                    <a:lnTo>
                      <a:pt x="841" y="827"/>
                    </a:lnTo>
                    <a:lnTo>
                      <a:pt x="802" y="810"/>
                    </a:lnTo>
                    <a:lnTo>
                      <a:pt x="738" y="844"/>
                    </a:lnTo>
                    <a:lnTo>
                      <a:pt x="692" y="829"/>
                    </a:lnTo>
                    <a:lnTo>
                      <a:pt x="583" y="750"/>
                    </a:lnTo>
                    <a:lnTo>
                      <a:pt x="354" y="727"/>
                    </a:lnTo>
                    <a:lnTo>
                      <a:pt x="231" y="612"/>
                    </a:lnTo>
                    <a:lnTo>
                      <a:pt x="0" y="511"/>
                    </a:lnTo>
                    <a:lnTo>
                      <a:pt x="19" y="313"/>
                    </a:lnTo>
                    <a:lnTo>
                      <a:pt x="171" y="230"/>
                    </a:lnTo>
                    <a:lnTo>
                      <a:pt x="350" y="192"/>
                    </a:lnTo>
                    <a:lnTo>
                      <a:pt x="363" y="191"/>
                    </a:lnTo>
                    <a:lnTo>
                      <a:pt x="363" y="191"/>
                    </a:lnTo>
                    <a:lnTo>
                      <a:pt x="363" y="191"/>
                    </a:lnTo>
                    <a:lnTo>
                      <a:pt x="363" y="191"/>
                    </a:lnTo>
                    <a:close/>
                    <a:moveTo>
                      <a:pt x="1022" y="782"/>
                    </a:moveTo>
                    <a:lnTo>
                      <a:pt x="1022" y="786"/>
                    </a:lnTo>
                    <a:lnTo>
                      <a:pt x="1028" y="786"/>
                    </a:lnTo>
                    <a:lnTo>
                      <a:pt x="1028" y="786"/>
                    </a:lnTo>
                    <a:lnTo>
                      <a:pt x="1024" y="782"/>
                    </a:lnTo>
                    <a:lnTo>
                      <a:pt x="1022" y="782"/>
                    </a:lnTo>
                    <a:lnTo>
                      <a:pt x="1022" y="782"/>
                    </a:lnTo>
                    <a:lnTo>
                      <a:pt x="1022" y="782"/>
                    </a:lnTo>
                    <a:lnTo>
                      <a:pt x="1022" y="782"/>
                    </a:lnTo>
                    <a:close/>
                    <a:moveTo>
                      <a:pt x="1061" y="735"/>
                    </a:moveTo>
                    <a:lnTo>
                      <a:pt x="1063" y="741"/>
                    </a:lnTo>
                    <a:lnTo>
                      <a:pt x="1065" y="739"/>
                    </a:lnTo>
                    <a:lnTo>
                      <a:pt x="1065" y="737"/>
                    </a:lnTo>
                    <a:lnTo>
                      <a:pt x="1063" y="735"/>
                    </a:lnTo>
                    <a:lnTo>
                      <a:pt x="1061" y="735"/>
                    </a:lnTo>
                    <a:lnTo>
                      <a:pt x="1061" y="735"/>
                    </a:lnTo>
                    <a:lnTo>
                      <a:pt x="1061" y="735"/>
                    </a:lnTo>
                    <a:lnTo>
                      <a:pt x="1061" y="735"/>
                    </a:lnTo>
                    <a:close/>
                    <a:moveTo>
                      <a:pt x="1090" y="628"/>
                    </a:moveTo>
                    <a:lnTo>
                      <a:pt x="1092" y="629"/>
                    </a:lnTo>
                    <a:lnTo>
                      <a:pt x="1095" y="633"/>
                    </a:lnTo>
                    <a:lnTo>
                      <a:pt x="1097" y="633"/>
                    </a:lnTo>
                    <a:lnTo>
                      <a:pt x="1097" y="629"/>
                    </a:lnTo>
                    <a:lnTo>
                      <a:pt x="1093" y="628"/>
                    </a:lnTo>
                    <a:lnTo>
                      <a:pt x="1092" y="628"/>
                    </a:lnTo>
                    <a:lnTo>
                      <a:pt x="1090" y="628"/>
                    </a:lnTo>
                    <a:lnTo>
                      <a:pt x="1090" y="628"/>
                    </a:lnTo>
                    <a:lnTo>
                      <a:pt x="1090" y="628"/>
                    </a:lnTo>
                    <a:lnTo>
                      <a:pt x="1090" y="628"/>
                    </a:lnTo>
                    <a:close/>
                    <a:moveTo>
                      <a:pt x="1071" y="592"/>
                    </a:moveTo>
                    <a:lnTo>
                      <a:pt x="1071" y="594"/>
                    </a:lnTo>
                    <a:lnTo>
                      <a:pt x="1073" y="597"/>
                    </a:lnTo>
                    <a:lnTo>
                      <a:pt x="1076" y="597"/>
                    </a:lnTo>
                    <a:lnTo>
                      <a:pt x="1078" y="599"/>
                    </a:lnTo>
                    <a:lnTo>
                      <a:pt x="1078" y="594"/>
                    </a:lnTo>
                    <a:lnTo>
                      <a:pt x="1076" y="594"/>
                    </a:lnTo>
                    <a:lnTo>
                      <a:pt x="1073" y="594"/>
                    </a:lnTo>
                    <a:lnTo>
                      <a:pt x="1071" y="592"/>
                    </a:lnTo>
                    <a:lnTo>
                      <a:pt x="1071" y="592"/>
                    </a:lnTo>
                    <a:lnTo>
                      <a:pt x="1071" y="592"/>
                    </a:lnTo>
                    <a:lnTo>
                      <a:pt x="1071" y="592"/>
                    </a:lnTo>
                    <a:close/>
                    <a:moveTo>
                      <a:pt x="1093" y="816"/>
                    </a:moveTo>
                    <a:lnTo>
                      <a:pt x="1095" y="816"/>
                    </a:lnTo>
                    <a:lnTo>
                      <a:pt x="1097" y="816"/>
                    </a:lnTo>
                    <a:lnTo>
                      <a:pt x="1097" y="812"/>
                    </a:lnTo>
                    <a:lnTo>
                      <a:pt x="1097" y="806"/>
                    </a:lnTo>
                    <a:lnTo>
                      <a:pt x="1097" y="803"/>
                    </a:lnTo>
                    <a:lnTo>
                      <a:pt x="1097" y="799"/>
                    </a:lnTo>
                    <a:lnTo>
                      <a:pt x="1103" y="791"/>
                    </a:lnTo>
                    <a:lnTo>
                      <a:pt x="1103" y="786"/>
                    </a:lnTo>
                    <a:lnTo>
                      <a:pt x="1107" y="786"/>
                    </a:lnTo>
                    <a:lnTo>
                      <a:pt x="1103" y="786"/>
                    </a:lnTo>
                    <a:lnTo>
                      <a:pt x="1107" y="776"/>
                    </a:lnTo>
                    <a:lnTo>
                      <a:pt x="1107" y="773"/>
                    </a:lnTo>
                    <a:lnTo>
                      <a:pt x="1103" y="767"/>
                    </a:lnTo>
                    <a:lnTo>
                      <a:pt x="1107" y="763"/>
                    </a:lnTo>
                    <a:lnTo>
                      <a:pt x="1107" y="756"/>
                    </a:lnTo>
                    <a:lnTo>
                      <a:pt x="1108" y="750"/>
                    </a:lnTo>
                    <a:lnTo>
                      <a:pt x="1108" y="750"/>
                    </a:lnTo>
                    <a:lnTo>
                      <a:pt x="1108" y="746"/>
                    </a:lnTo>
                    <a:lnTo>
                      <a:pt x="1107" y="742"/>
                    </a:lnTo>
                    <a:lnTo>
                      <a:pt x="1107" y="742"/>
                    </a:lnTo>
                    <a:lnTo>
                      <a:pt x="1103" y="739"/>
                    </a:lnTo>
                    <a:lnTo>
                      <a:pt x="1097" y="739"/>
                    </a:lnTo>
                    <a:lnTo>
                      <a:pt x="1097" y="739"/>
                    </a:lnTo>
                    <a:lnTo>
                      <a:pt x="1097" y="742"/>
                    </a:lnTo>
                    <a:lnTo>
                      <a:pt x="1093" y="742"/>
                    </a:lnTo>
                    <a:lnTo>
                      <a:pt x="1090" y="748"/>
                    </a:lnTo>
                    <a:lnTo>
                      <a:pt x="1086" y="756"/>
                    </a:lnTo>
                    <a:lnTo>
                      <a:pt x="1086" y="756"/>
                    </a:lnTo>
                    <a:lnTo>
                      <a:pt x="1086" y="757"/>
                    </a:lnTo>
                    <a:lnTo>
                      <a:pt x="1084" y="759"/>
                    </a:lnTo>
                    <a:lnTo>
                      <a:pt x="1082" y="767"/>
                    </a:lnTo>
                    <a:lnTo>
                      <a:pt x="1078" y="774"/>
                    </a:lnTo>
                    <a:lnTo>
                      <a:pt x="1076" y="776"/>
                    </a:lnTo>
                    <a:lnTo>
                      <a:pt x="1076" y="776"/>
                    </a:lnTo>
                    <a:lnTo>
                      <a:pt x="1078" y="786"/>
                    </a:lnTo>
                    <a:lnTo>
                      <a:pt x="1078" y="791"/>
                    </a:lnTo>
                    <a:lnTo>
                      <a:pt x="1082" y="793"/>
                    </a:lnTo>
                    <a:lnTo>
                      <a:pt x="1082" y="795"/>
                    </a:lnTo>
                    <a:lnTo>
                      <a:pt x="1082" y="795"/>
                    </a:lnTo>
                    <a:lnTo>
                      <a:pt x="1082" y="797"/>
                    </a:lnTo>
                    <a:lnTo>
                      <a:pt x="1082" y="801"/>
                    </a:lnTo>
                    <a:lnTo>
                      <a:pt x="1084" y="801"/>
                    </a:lnTo>
                    <a:lnTo>
                      <a:pt x="1084" y="805"/>
                    </a:lnTo>
                    <a:lnTo>
                      <a:pt x="1090" y="806"/>
                    </a:lnTo>
                    <a:lnTo>
                      <a:pt x="1093" y="810"/>
                    </a:lnTo>
                    <a:lnTo>
                      <a:pt x="1093" y="812"/>
                    </a:lnTo>
                    <a:lnTo>
                      <a:pt x="1093" y="816"/>
                    </a:lnTo>
                    <a:lnTo>
                      <a:pt x="1093" y="816"/>
                    </a:lnTo>
                    <a:lnTo>
                      <a:pt x="1093" y="816"/>
                    </a:lnTo>
                    <a:lnTo>
                      <a:pt x="1093" y="816"/>
                    </a:lnTo>
                    <a:close/>
                    <a:moveTo>
                      <a:pt x="905" y="837"/>
                    </a:moveTo>
                    <a:lnTo>
                      <a:pt x="909" y="837"/>
                    </a:lnTo>
                    <a:lnTo>
                      <a:pt x="911" y="837"/>
                    </a:lnTo>
                    <a:lnTo>
                      <a:pt x="915" y="840"/>
                    </a:lnTo>
                    <a:lnTo>
                      <a:pt x="915" y="837"/>
                    </a:lnTo>
                    <a:lnTo>
                      <a:pt x="911" y="837"/>
                    </a:lnTo>
                    <a:lnTo>
                      <a:pt x="905" y="837"/>
                    </a:lnTo>
                    <a:lnTo>
                      <a:pt x="905" y="837"/>
                    </a:lnTo>
                    <a:lnTo>
                      <a:pt x="905" y="837"/>
                    </a:lnTo>
                    <a:lnTo>
                      <a:pt x="905" y="837"/>
                    </a:lnTo>
                    <a:close/>
                    <a:moveTo>
                      <a:pt x="909" y="855"/>
                    </a:moveTo>
                    <a:lnTo>
                      <a:pt x="903" y="855"/>
                    </a:lnTo>
                    <a:lnTo>
                      <a:pt x="901" y="855"/>
                    </a:lnTo>
                    <a:lnTo>
                      <a:pt x="900" y="857"/>
                    </a:lnTo>
                    <a:lnTo>
                      <a:pt x="896" y="857"/>
                    </a:lnTo>
                    <a:lnTo>
                      <a:pt x="892" y="859"/>
                    </a:lnTo>
                    <a:lnTo>
                      <a:pt x="888" y="859"/>
                    </a:lnTo>
                    <a:lnTo>
                      <a:pt x="886" y="861"/>
                    </a:lnTo>
                    <a:lnTo>
                      <a:pt x="881" y="867"/>
                    </a:lnTo>
                    <a:lnTo>
                      <a:pt x="879" y="870"/>
                    </a:lnTo>
                    <a:lnTo>
                      <a:pt x="881" y="874"/>
                    </a:lnTo>
                    <a:lnTo>
                      <a:pt x="881" y="882"/>
                    </a:lnTo>
                    <a:lnTo>
                      <a:pt x="881" y="886"/>
                    </a:lnTo>
                    <a:lnTo>
                      <a:pt x="881" y="887"/>
                    </a:lnTo>
                    <a:lnTo>
                      <a:pt x="884" y="891"/>
                    </a:lnTo>
                    <a:lnTo>
                      <a:pt x="888" y="891"/>
                    </a:lnTo>
                    <a:lnTo>
                      <a:pt x="890" y="893"/>
                    </a:lnTo>
                    <a:lnTo>
                      <a:pt x="894" y="893"/>
                    </a:lnTo>
                    <a:lnTo>
                      <a:pt x="898" y="895"/>
                    </a:lnTo>
                    <a:lnTo>
                      <a:pt x="900" y="893"/>
                    </a:lnTo>
                    <a:lnTo>
                      <a:pt x="900" y="889"/>
                    </a:lnTo>
                    <a:lnTo>
                      <a:pt x="903" y="889"/>
                    </a:lnTo>
                    <a:lnTo>
                      <a:pt x="905" y="891"/>
                    </a:lnTo>
                    <a:lnTo>
                      <a:pt x="909" y="887"/>
                    </a:lnTo>
                    <a:lnTo>
                      <a:pt x="909" y="886"/>
                    </a:lnTo>
                    <a:lnTo>
                      <a:pt x="911" y="884"/>
                    </a:lnTo>
                    <a:lnTo>
                      <a:pt x="915" y="882"/>
                    </a:lnTo>
                    <a:lnTo>
                      <a:pt x="915" y="878"/>
                    </a:lnTo>
                    <a:lnTo>
                      <a:pt x="915" y="874"/>
                    </a:lnTo>
                    <a:lnTo>
                      <a:pt x="916" y="870"/>
                    </a:lnTo>
                    <a:lnTo>
                      <a:pt x="918" y="869"/>
                    </a:lnTo>
                    <a:lnTo>
                      <a:pt x="920" y="865"/>
                    </a:lnTo>
                    <a:lnTo>
                      <a:pt x="920" y="859"/>
                    </a:lnTo>
                    <a:lnTo>
                      <a:pt x="915" y="857"/>
                    </a:lnTo>
                    <a:lnTo>
                      <a:pt x="911" y="855"/>
                    </a:lnTo>
                    <a:lnTo>
                      <a:pt x="909" y="857"/>
                    </a:lnTo>
                    <a:lnTo>
                      <a:pt x="909" y="857"/>
                    </a:lnTo>
                    <a:lnTo>
                      <a:pt x="909" y="855"/>
                    </a:lnTo>
                    <a:lnTo>
                      <a:pt x="909" y="855"/>
                    </a:lnTo>
                    <a:lnTo>
                      <a:pt x="909" y="855"/>
                    </a:lnTo>
                    <a:lnTo>
                      <a:pt x="909" y="855"/>
                    </a:lnTo>
                    <a:close/>
                  </a:path>
                </a:pathLst>
              </a:custGeom>
              <a:solidFill>
                <a:srgbClr val="691E7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3" name="Freeform 5"/>
              <p:cNvSpPr>
                <a:spLocks noEditPoints="1"/>
              </p:cNvSpPr>
              <p:nvPr/>
            </p:nvSpPr>
            <p:spPr bwMode="auto">
              <a:xfrm>
                <a:off x="3186" y="807"/>
                <a:ext cx="2430" cy="1477"/>
              </a:xfrm>
              <a:custGeom>
                <a:avLst/>
                <a:gdLst/>
                <a:ahLst/>
                <a:cxnLst>
                  <a:cxn ang="0">
                    <a:pos x="1854" y="1205"/>
                  </a:cxn>
                  <a:cxn ang="0">
                    <a:pos x="1686" y="1057"/>
                  </a:cxn>
                  <a:cxn ang="0">
                    <a:pos x="1470" y="1205"/>
                  </a:cxn>
                  <a:cxn ang="0">
                    <a:pos x="1135" y="1196"/>
                  </a:cxn>
                  <a:cxn ang="0">
                    <a:pos x="792" y="1134"/>
                  </a:cxn>
                  <a:cxn ang="0">
                    <a:pos x="615" y="1213"/>
                  </a:cxn>
                  <a:cxn ang="0">
                    <a:pos x="433" y="1343"/>
                  </a:cxn>
                  <a:cxn ang="0">
                    <a:pos x="280" y="1418"/>
                  </a:cxn>
                  <a:cxn ang="0">
                    <a:pos x="124" y="1177"/>
                  </a:cxn>
                  <a:cxn ang="0">
                    <a:pos x="28" y="765"/>
                  </a:cxn>
                  <a:cxn ang="0">
                    <a:pos x="173" y="738"/>
                  </a:cxn>
                  <a:cxn ang="0">
                    <a:pos x="163" y="881"/>
                  </a:cxn>
                  <a:cxn ang="0">
                    <a:pos x="282" y="774"/>
                  </a:cxn>
                  <a:cxn ang="0">
                    <a:pos x="465" y="701"/>
                  </a:cxn>
                  <a:cxn ang="0">
                    <a:pos x="547" y="501"/>
                  </a:cxn>
                  <a:cxn ang="0">
                    <a:pos x="687" y="706"/>
                  </a:cxn>
                  <a:cxn ang="0">
                    <a:pos x="673" y="559"/>
                  </a:cxn>
                  <a:cxn ang="0">
                    <a:pos x="788" y="573"/>
                  </a:cxn>
                  <a:cxn ang="0">
                    <a:pos x="753" y="339"/>
                  </a:cxn>
                  <a:cxn ang="0">
                    <a:pos x="864" y="211"/>
                  </a:cxn>
                  <a:cxn ang="0">
                    <a:pos x="1067" y="234"/>
                  </a:cxn>
                  <a:cxn ang="0">
                    <a:pos x="1093" y="324"/>
                  </a:cxn>
                  <a:cxn ang="0">
                    <a:pos x="1342" y="288"/>
                  </a:cxn>
                  <a:cxn ang="0">
                    <a:pos x="1528" y="328"/>
                  </a:cxn>
                  <a:cxn ang="0">
                    <a:pos x="1686" y="264"/>
                  </a:cxn>
                  <a:cxn ang="0">
                    <a:pos x="2042" y="271"/>
                  </a:cxn>
                  <a:cxn ang="0">
                    <a:pos x="2289" y="226"/>
                  </a:cxn>
                  <a:cxn ang="0">
                    <a:pos x="2400" y="296"/>
                  </a:cxn>
                  <a:cxn ang="0">
                    <a:pos x="2337" y="411"/>
                  </a:cxn>
                  <a:cxn ang="0">
                    <a:pos x="2345" y="565"/>
                  </a:cxn>
                  <a:cxn ang="0">
                    <a:pos x="2232" y="774"/>
                  </a:cxn>
                  <a:cxn ang="0">
                    <a:pos x="2255" y="1036"/>
                  </a:cxn>
                  <a:cxn ang="0">
                    <a:pos x="2161" y="586"/>
                  </a:cxn>
                  <a:cxn ang="0">
                    <a:pos x="2083" y="748"/>
                  </a:cxn>
                  <a:cxn ang="0">
                    <a:pos x="1886" y="831"/>
                  </a:cxn>
                  <a:cxn ang="0">
                    <a:pos x="1978" y="1053"/>
                  </a:cxn>
                  <a:cxn ang="0">
                    <a:pos x="114" y="179"/>
                  </a:cxn>
                  <a:cxn ang="0">
                    <a:pos x="141" y="173"/>
                  </a:cxn>
                  <a:cxn ang="0">
                    <a:pos x="231" y="100"/>
                  </a:cxn>
                  <a:cxn ang="0">
                    <a:pos x="237" y="149"/>
                  </a:cxn>
                  <a:cxn ang="0">
                    <a:pos x="225" y="183"/>
                  </a:cxn>
                  <a:cxn ang="0">
                    <a:pos x="267" y="186"/>
                  </a:cxn>
                  <a:cxn ang="0">
                    <a:pos x="301" y="128"/>
                  </a:cxn>
                  <a:cxn ang="0">
                    <a:pos x="410" y="405"/>
                  </a:cxn>
                  <a:cxn ang="0">
                    <a:pos x="321" y="433"/>
                  </a:cxn>
                  <a:cxn ang="0">
                    <a:pos x="395" y="612"/>
                  </a:cxn>
                  <a:cxn ang="0">
                    <a:pos x="352" y="622"/>
                  </a:cxn>
                  <a:cxn ang="0">
                    <a:pos x="384" y="710"/>
                  </a:cxn>
                  <a:cxn ang="0">
                    <a:pos x="444" y="637"/>
                  </a:cxn>
                  <a:cxn ang="0">
                    <a:pos x="617" y="456"/>
                  </a:cxn>
                  <a:cxn ang="0">
                    <a:pos x="719" y="394"/>
                  </a:cxn>
                  <a:cxn ang="0">
                    <a:pos x="796" y="258"/>
                  </a:cxn>
                  <a:cxn ang="0">
                    <a:pos x="655" y="88"/>
                  </a:cxn>
                  <a:cxn ang="0">
                    <a:pos x="1498" y="85"/>
                  </a:cxn>
                  <a:cxn ang="0">
                    <a:pos x="1402" y="83"/>
                  </a:cxn>
                  <a:cxn ang="0">
                    <a:pos x="1426" y="77"/>
                  </a:cxn>
                  <a:cxn ang="0">
                    <a:pos x="905" y="134"/>
                  </a:cxn>
                  <a:cxn ang="0">
                    <a:pos x="1528" y="198"/>
                  </a:cxn>
                  <a:cxn ang="0">
                    <a:pos x="1997" y="241"/>
                  </a:cxn>
                  <a:cxn ang="0">
                    <a:pos x="1997" y="1008"/>
                  </a:cxn>
                  <a:cxn ang="0">
                    <a:pos x="1869" y="968"/>
                  </a:cxn>
                  <a:cxn ang="0">
                    <a:pos x="2238" y="1057"/>
                  </a:cxn>
                  <a:cxn ang="0">
                    <a:pos x="2225" y="1187"/>
                  </a:cxn>
                </a:cxnLst>
                <a:rect l="0" t="0" r="r" b="b"/>
                <a:pathLst>
                  <a:path w="2430" h="1477">
                    <a:moveTo>
                      <a:pt x="1886" y="1354"/>
                    </a:moveTo>
                    <a:lnTo>
                      <a:pt x="1886" y="1354"/>
                    </a:lnTo>
                    <a:lnTo>
                      <a:pt x="1882" y="1352"/>
                    </a:lnTo>
                    <a:lnTo>
                      <a:pt x="1882" y="1352"/>
                    </a:lnTo>
                    <a:lnTo>
                      <a:pt x="1882" y="1351"/>
                    </a:lnTo>
                    <a:lnTo>
                      <a:pt x="1882" y="1349"/>
                    </a:lnTo>
                    <a:lnTo>
                      <a:pt x="1882" y="1345"/>
                    </a:lnTo>
                    <a:lnTo>
                      <a:pt x="1880" y="1343"/>
                    </a:lnTo>
                    <a:lnTo>
                      <a:pt x="1880" y="1341"/>
                    </a:lnTo>
                    <a:lnTo>
                      <a:pt x="1884" y="1341"/>
                    </a:lnTo>
                    <a:lnTo>
                      <a:pt x="1888" y="1341"/>
                    </a:lnTo>
                    <a:lnTo>
                      <a:pt x="1889" y="1341"/>
                    </a:lnTo>
                    <a:lnTo>
                      <a:pt x="1889" y="1337"/>
                    </a:lnTo>
                    <a:lnTo>
                      <a:pt x="1889" y="1335"/>
                    </a:lnTo>
                    <a:lnTo>
                      <a:pt x="1889" y="1334"/>
                    </a:lnTo>
                    <a:lnTo>
                      <a:pt x="1889" y="1334"/>
                    </a:lnTo>
                    <a:lnTo>
                      <a:pt x="1889" y="1328"/>
                    </a:lnTo>
                    <a:lnTo>
                      <a:pt x="1889" y="1324"/>
                    </a:lnTo>
                    <a:lnTo>
                      <a:pt x="1888" y="1324"/>
                    </a:lnTo>
                    <a:lnTo>
                      <a:pt x="1888" y="1317"/>
                    </a:lnTo>
                    <a:lnTo>
                      <a:pt x="1888" y="1315"/>
                    </a:lnTo>
                    <a:lnTo>
                      <a:pt x="1886" y="1309"/>
                    </a:lnTo>
                    <a:lnTo>
                      <a:pt x="1886" y="1305"/>
                    </a:lnTo>
                    <a:lnTo>
                      <a:pt x="1884" y="1302"/>
                    </a:lnTo>
                    <a:lnTo>
                      <a:pt x="1882" y="1300"/>
                    </a:lnTo>
                    <a:lnTo>
                      <a:pt x="1882" y="1300"/>
                    </a:lnTo>
                    <a:lnTo>
                      <a:pt x="1878" y="1290"/>
                    </a:lnTo>
                    <a:lnTo>
                      <a:pt x="1878" y="1288"/>
                    </a:lnTo>
                    <a:lnTo>
                      <a:pt x="1878" y="1286"/>
                    </a:lnTo>
                    <a:lnTo>
                      <a:pt x="1878" y="1285"/>
                    </a:lnTo>
                    <a:lnTo>
                      <a:pt x="1882" y="1285"/>
                    </a:lnTo>
                    <a:lnTo>
                      <a:pt x="1884" y="1283"/>
                    </a:lnTo>
                    <a:lnTo>
                      <a:pt x="1884" y="1279"/>
                    </a:lnTo>
                    <a:lnTo>
                      <a:pt x="1888" y="1273"/>
                    </a:lnTo>
                    <a:lnTo>
                      <a:pt x="1889" y="1273"/>
                    </a:lnTo>
                    <a:lnTo>
                      <a:pt x="1891" y="1275"/>
                    </a:lnTo>
                    <a:lnTo>
                      <a:pt x="1895" y="1275"/>
                    </a:lnTo>
                    <a:lnTo>
                      <a:pt x="1905" y="1277"/>
                    </a:lnTo>
                    <a:lnTo>
                      <a:pt x="1908" y="1279"/>
                    </a:lnTo>
                    <a:lnTo>
                      <a:pt x="1910" y="1279"/>
                    </a:lnTo>
                    <a:lnTo>
                      <a:pt x="1910" y="1277"/>
                    </a:lnTo>
                    <a:lnTo>
                      <a:pt x="1910" y="1273"/>
                    </a:lnTo>
                    <a:lnTo>
                      <a:pt x="1910" y="1271"/>
                    </a:lnTo>
                    <a:lnTo>
                      <a:pt x="1908" y="1270"/>
                    </a:lnTo>
                    <a:lnTo>
                      <a:pt x="1910" y="1270"/>
                    </a:lnTo>
                    <a:lnTo>
                      <a:pt x="1908" y="1266"/>
                    </a:lnTo>
                    <a:lnTo>
                      <a:pt x="1908" y="1266"/>
                    </a:lnTo>
                    <a:lnTo>
                      <a:pt x="1910" y="1260"/>
                    </a:lnTo>
                    <a:lnTo>
                      <a:pt x="1912" y="1260"/>
                    </a:lnTo>
                    <a:lnTo>
                      <a:pt x="1910" y="1256"/>
                    </a:lnTo>
                    <a:lnTo>
                      <a:pt x="1910" y="1254"/>
                    </a:lnTo>
                    <a:lnTo>
                      <a:pt x="1910" y="1254"/>
                    </a:lnTo>
                    <a:lnTo>
                      <a:pt x="1914" y="1253"/>
                    </a:lnTo>
                    <a:lnTo>
                      <a:pt x="1912" y="1251"/>
                    </a:lnTo>
                    <a:lnTo>
                      <a:pt x="1912" y="1249"/>
                    </a:lnTo>
                    <a:lnTo>
                      <a:pt x="1910" y="1247"/>
                    </a:lnTo>
                    <a:lnTo>
                      <a:pt x="1912" y="1243"/>
                    </a:lnTo>
                    <a:lnTo>
                      <a:pt x="1914" y="1241"/>
                    </a:lnTo>
                    <a:lnTo>
                      <a:pt x="1914" y="1241"/>
                    </a:lnTo>
                    <a:lnTo>
                      <a:pt x="1912" y="1239"/>
                    </a:lnTo>
                    <a:lnTo>
                      <a:pt x="1910" y="1236"/>
                    </a:lnTo>
                    <a:lnTo>
                      <a:pt x="1910" y="1230"/>
                    </a:lnTo>
                    <a:lnTo>
                      <a:pt x="1912" y="1230"/>
                    </a:lnTo>
                    <a:lnTo>
                      <a:pt x="1912" y="1230"/>
                    </a:lnTo>
                    <a:lnTo>
                      <a:pt x="1912" y="1226"/>
                    </a:lnTo>
                    <a:lnTo>
                      <a:pt x="1912" y="1226"/>
                    </a:lnTo>
                    <a:lnTo>
                      <a:pt x="1912" y="1224"/>
                    </a:lnTo>
                    <a:lnTo>
                      <a:pt x="1910" y="1224"/>
                    </a:lnTo>
                    <a:lnTo>
                      <a:pt x="1908" y="1222"/>
                    </a:lnTo>
                    <a:lnTo>
                      <a:pt x="1910" y="1219"/>
                    </a:lnTo>
                    <a:lnTo>
                      <a:pt x="1910" y="1217"/>
                    </a:lnTo>
                    <a:lnTo>
                      <a:pt x="1910" y="1215"/>
                    </a:lnTo>
                    <a:lnTo>
                      <a:pt x="1908" y="1213"/>
                    </a:lnTo>
                    <a:lnTo>
                      <a:pt x="1908" y="1211"/>
                    </a:lnTo>
                    <a:lnTo>
                      <a:pt x="1910" y="1207"/>
                    </a:lnTo>
                    <a:lnTo>
                      <a:pt x="1914" y="1207"/>
                    </a:lnTo>
                    <a:lnTo>
                      <a:pt x="1914" y="1205"/>
                    </a:lnTo>
                    <a:lnTo>
                      <a:pt x="1914" y="1202"/>
                    </a:lnTo>
                    <a:lnTo>
                      <a:pt x="1916" y="1200"/>
                    </a:lnTo>
                    <a:lnTo>
                      <a:pt x="1912" y="1196"/>
                    </a:lnTo>
                    <a:lnTo>
                      <a:pt x="1910" y="1196"/>
                    </a:lnTo>
                    <a:lnTo>
                      <a:pt x="1910" y="1194"/>
                    </a:lnTo>
                    <a:lnTo>
                      <a:pt x="1908" y="1190"/>
                    </a:lnTo>
                    <a:lnTo>
                      <a:pt x="1908" y="1189"/>
                    </a:lnTo>
                    <a:lnTo>
                      <a:pt x="1908" y="1187"/>
                    </a:lnTo>
                    <a:lnTo>
                      <a:pt x="1908" y="1183"/>
                    </a:lnTo>
                    <a:lnTo>
                      <a:pt x="1905" y="1181"/>
                    </a:lnTo>
                    <a:lnTo>
                      <a:pt x="1903" y="1181"/>
                    </a:lnTo>
                    <a:lnTo>
                      <a:pt x="1903" y="1179"/>
                    </a:lnTo>
                    <a:lnTo>
                      <a:pt x="1899" y="1177"/>
                    </a:lnTo>
                    <a:lnTo>
                      <a:pt x="1897" y="1179"/>
                    </a:lnTo>
                    <a:lnTo>
                      <a:pt x="1893" y="1179"/>
                    </a:lnTo>
                    <a:lnTo>
                      <a:pt x="1891" y="1181"/>
                    </a:lnTo>
                    <a:lnTo>
                      <a:pt x="1889" y="1185"/>
                    </a:lnTo>
                    <a:lnTo>
                      <a:pt x="1888" y="1185"/>
                    </a:lnTo>
                    <a:lnTo>
                      <a:pt x="1886" y="1187"/>
                    </a:lnTo>
                    <a:lnTo>
                      <a:pt x="1886" y="1190"/>
                    </a:lnTo>
                    <a:lnTo>
                      <a:pt x="1882" y="1190"/>
                    </a:lnTo>
                    <a:lnTo>
                      <a:pt x="1878" y="1190"/>
                    </a:lnTo>
                    <a:lnTo>
                      <a:pt x="1878" y="1192"/>
                    </a:lnTo>
                    <a:lnTo>
                      <a:pt x="1878" y="1196"/>
                    </a:lnTo>
                    <a:lnTo>
                      <a:pt x="1874" y="1196"/>
                    </a:lnTo>
                    <a:lnTo>
                      <a:pt x="1874" y="1202"/>
                    </a:lnTo>
                    <a:lnTo>
                      <a:pt x="1874" y="1202"/>
                    </a:lnTo>
                    <a:lnTo>
                      <a:pt x="1874" y="1202"/>
                    </a:lnTo>
                    <a:lnTo>
                      <a:pt x="1873" y="1205"/>
                    </a:lnTo>
                    <a:lnTo>
                      <a:pt x="1865" y="1205"/>
                    </a:lnTo>
                    <a:lnTo>
                      <a:pt x="1865" y="1205"/>
                    </a:lnTo>
                    <a:lnTo>
                      <a:pt x="1861" y="1205"/>
                    </a:lnTo>
                    <a:lnTo>
                      <a:pt x="1859" y="1207"/>
                    </a:lnTo>
                    <a:lnTo>
                      <a:pt x="1857" y="1207"/>
                    </a:lnTo>
                    <a:lnTo>
                      <a:pt x="1856" y="1205"/>
                    </a:lnTo>
                    <a:lnTo>
                      <a:pt x="1854" y="1205"/>
                    </a:lnTo>
                    <a:lnTo>
                      <a:pt x="1854" y="1205"/>
                    </a:lnTo>
                    <a:lnTo>
                      <a:pt x="1850" y="1205"/>
                    </a:lnTo>
                    <a:lnTo>
                      <a:pt x="1848" y="1205"/>
                    </a:lnTo>
                    <a:lnTo>
                      <a:pt x="1844" y="1205"/>
                    </a:lnTo>
                    <a:lnTo>
                      <a:pt x="1844" y="1202"/>
                    </a:lnTo>
                    <a:lnTo>
                      <a:pt x="1841" y="1200"/>
                    </a:lnTo>
                    <a:lnTo>
                      <a:pt x="1839" y="1196"/>
                    </a:lnTo>
                    <a:lnTo>
                      <a:pt x="1839" y="1192"/>
                    </a:lnTo>
                    <a:lnTo>
                      <a:pt x="1839" y="1192"/>
                    </a:lnTo>
                    <a:lnTo>
                      <a:pt x="1841" y="1189"/>
                    </a:lnTo>
                    <a:lnTo>
                      <a:pt x="1839" y="1185"/>
                    </a:lnTo>
                    <a:lnTo>
                      <a:pt x="1839" y="1181"/>
                    </a:lnTo>
                    <a:lnTo>
                      <a:pt x="1835" y="1181"/>
                    </a:lnTo>
                    <a:lnTo>
                      <a:pt x="1835" y="1179"/>
                    </a:lnTo>
                    <a:lnTo>
                      <a:pt x="1835" y="1177"/>
                    </a:lnTo>
                    <a:lnTo>
                      <a:pt x="1837" y="1175"/>
                    </a:lnTo>
                    <a:lnTo>
                      <a:pt x="1837" y="1172"/>
                    </a:lnTo>
                    <a:lnTo>
                      <a:pt x="1835" y="1172"/>
                    </a:lnTo>
                    <a:lnTo>
                      <a:pt x="1833" y="1172"/>
                    </a:lnTo>
                    <a:lnTo>
                      <a:pt x="1831" y="1175"/>
                    </a:lnTo>
                    <a:lnTo>
                      <a:pt x="1829" y="1175"/>
                    </a:lnTo>
                    <a:lnTo>
                      <a:pt x="1827" y="1175"/>
                    </a:lnTo>
                    <a:lnTo>
                      <a:pt x="1824" y="1175"/>
                    </a:lnTo>
                    <a:lnTo>
                      <a:pt x="1822" y="1172"/>
                    </a:lnTo>
                    <a:lnTo>
                      <a:pt x="1820" y="1172"/>
                    </a:lnTo>
                    <a:lnTo>
                      <a:pt x="1820" y="1172"/>
                    </a:lnTo>
                    <a:lnTo>
                      <a:pt x="1816" y="1170"/>
                    </a:lnTo>
                    <a:lnTo>
                      <a:pt x="1816" y="1168"/>
                    </a:lnTo>
                    <a:lnTo>
                      <a:pt x="1814" y="1166"/>
                    </a:lnTo>
                    <a:lnTo>
                      <a:pt x="1814" y="1166"/>
                    </a:lnTo>
                    <a:lnTo>
                      <a:pt x="1810" y="1162"/>
                    </a:lnTo>
                    <a:lnTo>
                      <a:pt x="1810" y="1162"/>
                    </a:lnTo>
                    <a:lnTo>
                      <a:pt x="1809" y="1162"/>
                    </a:lnTo>
                    <a:lnTo>
                      <a:pt x="1807" y="1160"/>
                    </a:lnTo>
                    <a:lnTo>
                      <a:pt x="1807" y="1158"/>
                    </a:lnTo>
                    <a:lnTo>
                      <a:pt x="1805" y="1157"/>
                    </a:lnTo>
                    <a:lnTo>
                      <a:pt x="1803" y="1157"/>
                    </a:lnTo>
                    <a:lnTo>
                      <a:pt x="1801" y="1160"/>
                    </a:lnTo>
                    <a:lnTo>
                      <a:pt x="1799" y="1158"/>
                    </a:lnTo>
                    <a:lnTo>
                      <a:pt x="1797" y="1160"/>
                    </a:lnTo>
                    <a:lnTo>
                      <a:pt x="1797" y="1160"/>
                    </a:lnTo>
                    <a:lnTo>
                      <a:pt x="1795" y="1160"/>
                    </a:lnTo>
                    <a:lnTo>
                      <a:pt x="1795" y="1158"/>
                    </a:lnTo>
                    <a:lnTo>
                      <a:pt x="1792" y="1157"/>
                    </a:lnTo>
                    <a:lnTo>
                      <a:pt x="1790" y="1157"/>
                    </a:lnTo>
                    <a:lnTo>
                      <a:pt x="1786" y="1155"/>
                    </a:lnTo>
                    <a:lnTo>
                      <a:pt x="1790" y="1155"/>
                    </a:lnTo>
                    <a:lnTo>
                      <a:pt x="1790" y="1153"/>
                    </a:lnTo>
                    <a:lnTo>
                      <a:pt x="1786" y="1153"/>
                    </a:lnTo>
                    <a:lnTo>
                      <a:pt x="1784" y="1155"/>
                    </a:lnTo>
                    <a:lnTo>
                      <a:pt x="1780" y="1155"/>
                    </a:lnTo>
                    <a:lnTo>
                      <a:pt x="1778" y="1155"/>
                    </a:lnTo>
                    <a:lnTo>
                      <a:pt x="1777" y="1153"/>
                    </a:lnTo>
                    <a:lnTo>
                      <a:pt x="1775" y="1155"/>
                    </a:lnTo>
                    <a:lnTo>
                      <a:pt x="1773" y="1155"/>
                    </a:lnTo>
                    <a:lnTo>
                      <a:pt x="1771" y="1151"/>
                    </a:lnTo>
                    <a:lnTo>
                      <a:pt x="1767" y="1151"/>
                    </a:lnTo>
                    <a:lnTo>
                      <a:pt x="1765" y="1145"/>
                    </a:lnTo>
                    <a:lnTo>
                      <a:pt x="1761" y="1141"/>
                    </a:lnTo>
                    <a:lnTo>
                      <a:pt x="1761" y="1141"/>
                    </a:lnTo>
                    <a:lnTo>
                      <a:pt x="1761" y="1138"/>
                    </a:lnTo>
                    <a:lnTo>
                      <a:pt x="1760" y="1138"/>
                    </a:lnTo>
                    <a:lnTo>
                      <a:pt x="1758" y="1136"/>
                    </a:lnTo>
                    <a:lnTo>
                      <a:pt x="1758" y="1132"/>
                    </a:lnTo>
                    <a:lnTo>
                      <a:pt x="1756" y="1130"/>
                    </a:lnTo>
                    <a:lnTo>
                      <a:pt x="1756" y="1126"/>
                    </a:lnTo>
                    <a:lnTo>
                      <a:pt x="1754" y="1123"/>
                    </a:lnTo>
                    <a:lnTo>
                      <a:pt x="1746" y="1121"/>
                    </a:lnTo>
                    <a:lnTo>
                      <a:pt x="1743" y="1113"/>
                    </a:lnTo>
                    <a:lnTo>
                      <a:pt x="1743" y="1111"/>
                    </a:lnTo>
                    <a:lnTo>
                      <a:pt x="1741" y="1108"/>
                    </a:lnTo>
                    <a:lnTo>
                      <a:pt x="1741" y="1111"/>
                    </a:lnTo>
                    <a:lnTo>
                      <a:pt x="1737" y="1108"/>
                    </a:lnTo>
                    <a:lnTo>
                      <a:pt x="1741" y="1108"/>
                    </a:lnTo>
                    <a:lnTo>
                      <a:pt x="1741" y="1106"/>
                    </a:lnTo>
                    <a:lnTo>
                      <a:pt x="1737" y="1104"/>
                    </a:lnTo>
                    <a:lnTo>
                      <a:pt x="1737" y="1102"/>
                    </a:lnTo>
                    <a:lnTo>
                      <a:pt x="1735" y="1100"/>
                    </a:lnTo>
                    <a:lnTo>
                      <a:pt x="1731" y="1096"/>
                    </a:lnTo>
                    <a:lnTo>
                      <a:pt x="1731" y="1094"/>
                    </a:lnTo>
                    <a:lnTo>
                      <a:pt x="1728" y="1091"/>
                    </a:lnTo>
                    <a:lnTo>
                      <a:pt x="1726" y="1089"/>
                    </a:lnTo>
                    <a:lnTo>
                      <a:pt x="1726" y="1087"/>
                    </a:lnTo>
                    <a:lnTo>
                      <a:pt x="1726" y="1083"/>
                    </a:lnTo>
                    <a:lnTo>
                      <a:pt x="1726" y="1083"/>
                    </a:lnTo>
                    <a:lnTo>
                      <a:pt x="1720" y="1083"/>
                    </a:lnTo>
                    <a:lnTo>
                      <a:pt x="1720" y="1081"/>
                    </a:lnTo>
                    <a:lnTo>
                      <a:pt x="1720" y="1077"/>
                    </a:lnTo>
                    <a:lnTo>
                      <a:pt x="1718" y="1077"/>
                    </a:lnTo>
                    <a:lnTo>
                      <a:pt x="1718" y="1074"/>
                    </a:lnTo>
                    <a:lnTo>
                      <a:pt x="1718" y="1072"/>
                    </a:lnTo>
                    <a:lnTo>
                      <a:pt x="1714" y="1072"/>
                    </a:lnTo>
                    <a:lnTo>
                      <a:pt x="1714" y="1070"/>
                    </a:lnTo>
                    <a:lnTo>
                      <a:pt x="1714" y="1068"/>
                    </a:lnTo>
                    <a:lnTo>
                      <a:pt x="1713" y="1068"/>
                    </a:lnTo>
                    <a:lnTo>
                      <a:pt x="1711" y="1068"/>
                    </a:lnTo>
                    <a:lnTo>
                      <a:pt x="1707" y="1066"/>
                    </a:lnTo>
                    <a:lnTo>
                      <a:pt x="1711" y="1064"/>
                    </a:lnTo>
                    <a:lnTo>
                      <a:pt x="1711" y="1062"/>
                    </a:lnTo>
                    <a:lnTo>
                      <a:pt x="1707" y="1060"/>
                    </a:lnTo>
                    <a:lnTo>
                      <a:pt x="1703" y="1062"/>
                    </a:lnTo>
                    <a:lnTo>
                      <a:pt x="1703" y="1062"/>
                    </a:lnTo>
                    <a:lnTo>
                      <a:pt x="1703" y="1060"/>
                    </a:lnTo>
                    <a:lnTo>
                      <a:pt x="1701" y="1059"/>
                    </a:lnTo>
                    <a:lnTo>
                      <a:pt x="1701" y="1057"/>
                    </a:lnTo>
                    <a:lnTo>
                      <a:pt x="1701" y="1057"/>
                    </a:lnTo>
                    <a:lnTo>
                      <a:pt x="1697" y="1057"/>
                    </a:lnTo>
                    <a:lnTo>
                      <a:pt x="1696" y="1057"/>
                    </a:lnTo>
                    <a:lnTo>
                      <a:pt x="1694" y="1053"/>
                    </a:lnTo>
                    <a:lnTo>
                      <a:pt x="1694" y="1053"/>
                    </a:lnTo>
                    <a:lnTo>
                      <a:pt x="1690" y="1053"/>
                    </a:lnTo>
                    <a:lnTo>
                      <a:pt x="1688" y="1053"/>
                    </a:lnTo>
                    <a:lnTo>
                      <a:pt x="1686" y="1053"/>
                    </a:lnTo>
                    <a:lnTo>
                      <a:pt x="1686" y="1057"/>
                    </a:lnTo>
                    <a:lnTo>
                      <a:pt x="1686" y="1057"/>
                    </a:lnTo>
                    <a:lnTo>
                      <a:pt x="1682" y="1057"/>
                    </a:lnTo>
                    <a:lnTo>
                      <a:pt x="1682" y="1053"/>
                    </a:lnTo>
                    <a:lnTo>
                      <a:pt x="1679" y="1057"/>
                    </a:lnTo>
                    <a:lnTo>
                      <a:pt x="1673" y="1057"/>
                    </a:lnTo>
                    <a:lnTo>
                      <a:pt x="1673" y="1053"/>
                    </a:lnTo>
                    <a:lnTo>
                      <a:pt x="1671" y="1053"/>
                    </a:lnTo>
                    <a:lnTo>
                      <a:pt x="1665" y="1053"/>
                    </a:lnTo>
                    <a:lnTo>
                      <a:pt x="1664" y="1049"/>
                    </a:lnTo>
                    <a:lnTo>
                      <a:pt x="1662" y="1049"/>
                    </a:lnTo>
                    <a:lnTo>
                      <a:pt x="1658" y="1049"/>
                    </a:lnTo>
                    <a:lnTo>
                      <a:pt x="1656" y="1049"/>
                    </a:lnTo>
                    <a:lnTo>
                      <a:pt x="1652" y="1051"/>
                    </a:lnTo>
                    <a:lnTo>
                      <a:pt x="1652" y="1053"/>
                    </a:lnTo>
                    <a:lnTo>
                      <a:pt x="1649" y="1053"/>
                    </a:lnTo>
                    <a:lnTo>
                      <a:pt x="1649" y="1053"/>
                    </a:lnTo>
                    <a:lnTo>
                      <a:pt x="1645" y="1053"/>
                    </a:lnTo>
                    <a:lnTo>
                      <a:pt x="1641" y="1053"/>
                    </a:lnTo>
                    <a:lnTo>
                      <a:pt x="1637" y="1053"/>
                    </a:lnTo>
                    <a:lnTo>
                      <a:pt x="1635" y="1057"/>
                    </a:lnTo>
                    <a:lnTo>
                      <a:pt x="1632" y="1057"/>
                    </a:lnTo>
                    <a:lnTo>
                      <a:pt x="1630" y="1059"/>
                    </a:lnTo>
                    <a:lnTo>
                      <a:pt x="1628" y="1060"/>
                    </a:lnTo>
                    <a:lnTo>
                      <a:pt x="1624" y="1059"/>
                    </a:lnTo>
                    <a:lnTo>
                      <a:pt x="1624" y="1060"/>
                    </a:lnTo>
                    <a:lnTo>
                      <a:pt x="1624" y="1060"/>
                    </a:lnTo>
                    <a:lnTo>
                      <a:pt x="1618" y="1060"/>
                    </a:lnTo>
                    <a:lnTo>
                      <a:pt x="1617" y="1062"/>
                    </a:lnTo>
                    <a:lnTo>
                      <a:pt x="1613" y="1064"/>
                    </a:lnTo>
                    <a:lnTo>
                      <a:pt x="1613" y="1066"/>
                    </a:lnTo>
                    <a:lnTo>
                      <a:pt x="1611" y="1070"/>
                    </a:lnTo>
                    <a:lnTo>
                      <a:pt x="1609" y="1074"/>
                    </a:lnTo>
                    <a:lnTo>
                      <a:pt x="1607" y="1076"/>
                    </a:lnTo>
                    <a:lnTo>
                      <a:pt x="1607" y="1077"/>
                    </a:lnTo>
                    <a:lnTo>
                      <a:pt x="1607" y="1077"/>
                    </a:lnTo>
                    <a:lnTo>
                      <a:pt x="1607" y="1083"/>
                    </a:lnTo>
                    <a:lnTo>
                      <a:pt x="1607" y="1083"/>
                    </a:lnTo>
                    <a:lnTo>
                      <a:pt x="1611" y="1083"/>
                    </a:lnTo>
                    <a:lnTo>
                      <a:pt x="1615" y="1083"/>
                    </a:lnTo>
                    <a:lnTo>
                      <a:pt x="1617" y="1081"/>
                    </a:lnTo>
                    <a:lnTo>
                      <a:pt x="1618" y="1081"/>
                    </a:lnTo>
                    <a:lnTo>
                      <a:pt x="1622" y="1087"/>
                    </a:lnTo>
                    <a:lnTo>
                      <a:pt x="1624" y="1089"/>
                    </a:lnTo>
                    <a:lnTo>
                      <a:pt x="1624" y="1091"/>
                    </a:lnTo>
                    <a:lnTo>
                      <a:pt x="1624" y="1094"/>
                    </a:lnTo>
                    <a:lnTo>
                      <a:pt x="1628" y="1096"/>
                    </a:lnTo>
                    <a:lnTo>
                      <a:pt x="1628" y="1100"/>
                    </a:lnTo>
                    <a:lnTo>
                      <a:pt x="1624" y="1102"/>
                    </a:lnTo>
                    <a:lnTo>
                      <a:pt x="1622" y="1106"/>
                    </a:lnTo>
                    <a:lnTo>
                      <a:pt x="1622" y="1111"/>
                    </a:lnTo>
                    <a:lnTo>
                      <a:pt x="1618" y="1111"/>
                    </a:lnTo>
                    <a:lnTo>
                      <a:pt x="1617" y="1117"/>
                    </a:lnTo>
                    <a:lnTo>
                      <a:pt x="1617" y="1121"/>
                    </a:lnTo>
                    <a:lnTo>
                      <a:pt x="1618" y="1121"/>
                    </a:lnTo>
                    <a:lnTo>
                      <a:pt x="1618" y="1124"/>
                    </a:lnTo>
                    <a:lnTo>
                      <a:pt x="1618" y="1128"/>
                    </a:lnTo>
                    <a:lnTo>
                      <a:pt x="1618" y="1130"/>
                    </a:lnTo>
                    <a:lnTo>
                      <a:pt x="1618" y="1134"/>
                    </a:lnTo>
                    <a:lnTo>
                      <a:pt x="1618" y="1136"/>
                    </a:lnTo>
                    <a:lnTo>
                      <a:pt x="1617" y="1138"/>
                    </a:lnTo>
                    <a:lnTo>
                      <a:pt x="1618" y="1141"/>
                    </a:lnTo>
                    <a:lnTo>
                      <a:pt x="1618" y="1145"/>
                    </a:lnTo>
                    <a:lnTo>
                      <a:pt x="1618" y="1147"/>
                    </a:lnTo>
                    <a:lnTo>
                      <a:pt x="1618" y="1153"/>
                    </a:lnTo>
                    <a:lnTo>
                      <a:pt x="1618" y="1153"/>
                    </a:lnTo>
                    <a:lnTo>
                      <a:pt x="1622" y="1153"/>
                    </a:lnTo>
                    <a:lnTo>
                      <a:pt x="1622" y="1153"/>
                    </a:lnTo>
                    <a:lnTo>
                      <a:pt x="1624" y="1153"/>
                    </a:lnTo>
                    <a:lnTo>
                      <a:pt x="1624" y="1158"/>
                    </a:lnTo>
                    <a:lnTo>
                      <a:pt x="1624" y="1162"/>
                    </a:lnTo>
                    <a:lnTo>
                      <a:pt x="1618" y="1162"/>
                    </a:lnTo>
                    <a:lnTo>
                      <a:pt x="1615" y="1166"/>
                    </a:lnTo>
                    <a:lnTo>
                      <a:pt x="1609" y="1168"/>
                    </a:lnTo>
                    <a:lnTo>
                      <a:pt x="1600" y="1175"/>
                    </a:lnTo>
                    <a:lnTo>
                      <a:pt x="1598" y="1175"/>
                    </a:lnTo>
                    <a:lnTo>
                      <a:pt x="1598" y="1175"/>
                    </a:lnTo>
                    <a:lnTo>
                      <a:pt x="1592" y="1175"/>
                    </a:lnTo>
                    <a:lnTo>
                      <a:pt x="1588" y="1175"/>
                    </a:lnTo>
                    <a:lnTo>
                      <a:pt x="1586" y="1172"/>
                    </a:lnTo>
                    <a:lnTo>
                      <a:pt x="1585" y="1172"/>
                    </a:lnTo>
                    <a:lnTo>
                      <a:pt x="1583" y="1172"/>
                    </a:lnTo>
                    <a:lnTo>
                      <a:pt x="1581" y="1172"/>
                    </a:lnTo>
                    <a:lnTo>
                      <a:pt x="1573" y="1170"/>
                    </a:lnTo>
                    <a:lnTo>
                      <a:pt x="1566" y="1172"/>
                    </a:lnTo>
                    <a:lnTo>
                      <a:pt x="1566" y="1172"/>
                    </a:lnTo>
                    <a:lnTo>
                      <a:pt x="1564" y="1175"/>
                    </a:lnTo>
                    <a:lnTo>
                      <a:pt x="1560" y="1175"/>
                    </a:lnTo>
                    <a:lnTo>
                      <a:pt x="1558" y="1172"/>
                    </a:lnTo>
                    <a:lnTo>
                      <a:pt x="1554" y="1175"/>
                    </a:lnTo>
                    <a:lnTo>
                      <a:pt x="1551" y="1175"/>
                    </a:lnTo>
                    <a:lnTo>
                      <a:pt x="1549" y="1172"/>
                    </a:lnTo>
                    <a:lnTo>
                      <a:pt x="1545" y="1168"/>
                    </a:lnTo>
                    <a:lnTo>
                      <a:pt x="1541" y="1168"/>
                    </a:lnTo>
                    <a:lnTo>
                      <a:pt x="1536" y="1170"/>
                    </a:lnTo>
                    <a:lnTo>
                      <a:pt x="1536" y="1168"/>
                    </a:lnTo>
                    <a:lnTo>
                      <a:pt x="1532" y="1168"/>
                    </a:lnTo>
                    <a:lnTo>
                      <a:pt x="1530" y="1172"/>
                    </a:lnTo>
                    <a:lnTo>
                      <a:pt x="1528" y="1175"/>
                    </a:lnTo>
                    <a:lnTo>
                      <a:pt x="1524" y="1177"/>
                    </a:lnTo>
                    <a:lnTo>
                      <a:pt x="1521" y="1179"/>
                    </a:lnTo>
                    <a:lnTo>
                      <a:pt x="1519" y="1183"/>
                    </a:lnTo>
                    <a:lnTo>
                      <a:pt x="1519" y="1185"/>
                    </a:lnTo>
                    <a:lnTo>
                      <a:pt x="1517" y="1189"/>
                    </a:lnTo>
                    <a:lnTo>
                      <a:pt x="1515" y="1192"/>
                    </a:lnTo>
                    <a:lnTo>
                      <a:pt x="1505" y="1192"/>
                    </a:lnTo>
                    <a:lnTo>
                      <a:pt x="1504" y="1192"/>
                    </a:lnTo>
                    <a:lnTo>
                      <a:pt x="1500" y="1196"/>
                    </a:lnTo>
                    <a:lnTo>
                      <a:pt x="1494" y="1196"/>
                    </a:lnTo>
                    <a:lnTo>
                      <a:pt x="1490" y="1200"/>
                    </a:lnTo>
                    <a:lnTo>
                      <a:pt x="1485" y="1205"/>
                    </a:lnTo>
                    <a:lnTo>
                      <a:pt x="1485" y="1205"/>
                    </a:lnTo>
                    <a:lnTo>
                      <a:pt x="1481" y="1202"/>
                    </a:lnTo>
                    <a:lnTo>
                      <a:pt x="1475" y="1202"/>
                    </a:lnTo>
                    <a:lnTo>
                      <a:pt x="1473" y="1202"/>
                    </a:lnTo>
                    <a:lnTo>
                      <a:pt x="1470" y="1205"/>
                    </a:lnTo>
                    <a:lnTo>
                      <a:pt x="1457" y="1205"/>
                    </a:lnTo>
                    <a:lnTo>
                      <a:pt x="1451" y="1202"/>
                    </a:lnTo>
                    <a:lnTo>
                      <a:pt x="1443" y="1202"/>
                    </a:lnTo>
                    <a:lnTo>
                      <a:pt x="1440" y="1202"/>
                    </a:lnTo>
                    <a:lnTo>
                      <a:pt x="1436" y="1200"/>
                    </a:lnTo>
                    <a:lnTo>
                      <a:pt x="1436" y="1200"/>
                    </a:lnTo>
                    <a:lnTo>
                      <a:pt x="1430" y="1196"/>
                    </a:lnTo>
                    <a:lnTo>
                      <a:pt x="1426" y="1196"/>
                    </a:lnTo>
                    <a:lnTo>
                      <a:pt x="1426" y="1189"/>
                    </a:lnTo>
                    <a:lnTo>
                      <a:pt x="1423" y="1187"/>
                    </a:lnTo>
                    <a:lnTo>
                      <a:pt x="1421" y="1189"/>
                    </a:lnTo>
                    <a:lnTo>
                      <a:pt x="1415" y="1189"/>
                    </a:lnTo>
                    <a:lnTo>
                      <a:pt x="1408" y="1185"/>
                    </a:lnTo>
                    <a:lnTo>
                      <a:pt x="1406" y="1179"/>
                    </a:lnTo>
                    <a:lnTo>
                      <a:pt x="1398" y="1181"/>
                    </a:lnTo>
                    <a:lnTo>
                      <a:pt x="1393" y="1179"/>
                    </a:lnTo>
                    <a:lnTo>
                      <a:pt x="1389" y="1177"/>
                    </a:lnTo>
                    <a:lnTo>
                      <a:pt x="1383" y="1179"/>
                    </a:lnTo>
                    <a:lnTo>
                      <a:pt x="1377" y="1179"/>
                    </a:lnTo>
                    <a:lnTo>
                      <a:pt x="1374" y="1181"/>
                    </a:lnTo>
                    <a:lnTo>
                      <a:pt x="1368" y="1181"/>
                    </a:lnTo>
                    <a:lnTo>
                      <a:pt x="1362" y="1183"/>
                    </a:lnTo>
                    <a:lnTo>
                      <a:pt x="1359" y="1187"/>
                    </a:lnTo>
                    <a:lnTo>
                      <a:pt x="1357" y="1189"/>
                    </a:lnTo>
                    <a:lnTo>
                      <a:pt x="1355" y="1187"/>
                    </a:lnTo>
                    <a:lnTo>
                      <a:pt x="1351" y="1187"/>
                    </a:lnTo>
                    <a:lnTo>
                      <a:pt x="1349" y="1189"/>
                    </a:lnTo>
                    <a:lnTo>
                      <a:pt x="1344" y="1189"/>
                    </a:lnTo>
                    <a:lnTo>
                      <a:pt x="1344" y="1190"/>
                    </a:lnTo>
                    <a:lnTo>
                      <a:pt x="1340" y="1190"/>
                    </a:lnTo>
                    <a:lnTo>
                      <a:pt x="1334" y="1187"/>
                    </a:lnTo>
                    <a:lnTo>
                      <a:pt x="1329" y="1185"/>
                    </a:lnTo>
                    <a:lnTo>
                      <a:pt x="1327" y="1183"/>
                    </a:lnTo>
                    <a:lnTo>
                      <a:pt x="1323" y="1179"/>
                    </a:lnTo>
                    <a:lnTo>
                      <a:pt x="1323" y="1179"/>
                    </a:lnTo>
                    <a:lnTo>
                      <a:pt x="1319" y="1177"/>
                    </a:lnTo>
                    <a:lnTo>
                      <a:pt x="1319" y="1175"/>
                    </a:lnTo>
                    <a:lnTo>
                      <a:pt x="1319" y="1172"/>
                    </a:lnTo>
                    <a:lnTo>
                      <a:pt x="1317" y="1170"/>
                    </a:lnTo>
                    <a:lnTo>
                      <a:pt x="1317" y="1166"/>
                    </a:lnTo>
                    <a:lnTo>
                      <a:pt x="1313" y="1162"/>
                    </a:lnTo>
                    <a:lnTo>
                      <a:pt x="1313" y="1160"/>
                    </a:lnTo>
                    <a:lnTo>
                      <a:pt x="1313" y="1158"/>
                    </a:lnTo>
                    <a:lnTo>
                      <a:pt x="1310" y="1157"/>
                    </a:lnTo>
                    <a:lnTo>
                      <a:pt x="1302" y="1157"/>
                    </a:lnTo>
                    <a:lnTo>
                      <a:pt x="1298" y="1157"/>
                    </a:lnTo>
                    <a:lnTo>
                      <a:pt x="1295" y="1155"/>
                    </a:lnTo>
                    <a:lnTo>
                      <a:pt x="1293" y="1155"/>
                    </a:lnTo>
                    <a:lnTo>
                      <a:pt x="1289" y="1153"/>
                    </a:lnTo>
                    <a:lnTo>
                      <a:pt x="1285" y="1151"/>
                    </a:lnTo>
                    <a:lnTo>
                      <a:pt x="1281" y="1151"/>
                    </a:lnTo>
                    <a:lnTo>
                      <a:pt x="1276" y="1151"/>
                    </a:lnTo>
                    <a:lnTo>
                      <a:pt x="1272" y="1151"/>
                    </a:lnTo>
                    <a:lnTo>
                      <a:pt x="1270" y="1147"/>
                    </a:lnTo>
                    <a:lnTo>
                      <a:pt x="1265" y="1145"/>
                    </a:lnTo>
                    <a:lnTo>
                      <a:pt x="1261" y="1145"/>
                    </a:lnTo>
                    <a:lnTo>
                      <a:pt x="1259" y="1141"/>
                    </a:lnTo>
                    <a:lnTo>
                      <a:pt x="1255" y="1141"/>
                    </a:lnTo>
                    <a:lnTo>
                      <a:pt x="1253" y="1145"/>
                    </a:lnTo>
                    <a:lnTo>
                      <a:pt x="1253" y="1147"/>
                    </a:lnTo>
                    <a:lnTo>
                      <a:pt x="1253" y="1151"/>
                    </a:lnTo>
                    <a:lnTo>
                      <a:pt x="1251" y="1153"/>
                    </a:lnTo>
                    <a:lnTo>
                      <a:pt x="1249" y="1153"/>
                    </a:lnTo>
                    <a:lnTo>
                      <a:pt x="1248" y="1155"/>
                    </a:lnTo>
                    <a:lnTo>
                      <a:pt x="1246" y="1157"/>
                    </a:lnTo>
                    <a:lnTo>
                      <a:pt x="1246" y="1160"/>
                    </a:lnTo>
                    <a:lnTo>
                      <a:pt x="1240" y="1162"/>
                    </a:lnTo>
                    <a:lnTo>
                      <a:pt x="1240" y="1175"/>
                    </a:lnTo>
                    <a:lnTo>
                      <a:pt x="1244" y="1177"/>
                    </a:lnTo>
                    <a:lnTo>
                      <a:pt x="1248" y="1179"/>
                    </a:lnTo>
                    <a:lnTo>
                      <a:pt x="1249" y="1181"/>
                    </a:lnTo>
                    <a:lnTo>
                      <a:pt x="1253" y="1183"/>
                    </a:lnTo>
                    <a:lnTo>
                      <a:pt x="1255" y="1185"/>
                    </a:lnTo>
                    <a:lnTo>
                      <a:pt x="1253" y="1192"/>
                    </a:lnTo>
                    <a:lnTo>
                      <a:pt x="1253" y="1196"/>
                    </a:lnTo>
                    <a:lnTo>
                      <a:pt x="1255" y="1200"/>
                    </a:lnTo>
                    <a:lnTo>
                      <a:pt x="1259" y="1202"/>
                    </a:lnTo>
                    <a:lnTo>
                      <a:pt x="1255" y="1207"/>
                    </a:lnTo>
                    <a:lnTo>
                      <a:pt x="1249" y="1207"/>
                    </a:lnTo>
                    <a:lnTo>
                      <a:pt x="1246" y="1207"/>
                    </a:lnTo>
                    <a:lnTo>
                      <a:pt x="1244" y="1207"/>
                    </a:lnTo>
                    <a:lnTo>
                      <a:pt x="1240" y="1209"/>
                    </a:lnTo>
                    <a:lnTo>
                      <a:pt x="1238" y="1207"/>
                    </a:lnTo>
                    <a:lnTo>
                      <a:pt x="1231" y="1207"/>
                    </a:lnTo>
                    <a:lnTo>
                      <a:pt x="1227" y="1207"/>
                    </a:lnTo>
                    <a:lnTo>
                      <a:pt x="1225" y="1205"/>
                    </a:lnTo>
                    <a:lnTo>
                      <a:pt x="1221" y="1205"/>
                    </a:lnTo>
                    <a:lnTo>
                      <a:pt x="1217" y="1205"/>
                    </a:lnTo>
                    <a:lnTo>
                      <a:pt x="1214" y="1207"/>
                    </a:lnTo>
                    <a:lnTo>
                      <a:pt x="1210" y="1209"/>
                    </a:lnTo>
                    <a:lnTo>
                      <a:pt x="1206" y="1211"/>
                    </a:lnTo>
                    <a:lnTo>
                      <a:pt x="1201" y="1207"/>
                    </a:lnTo>
                    <a:lnTo>
                      <a:pt x="1199" y="1205"/>
                    </a:lnTo>
                    <a:lnTo>
                      <a:pt x="1187" y="1202"/>
                    </a:lnTo>
                    <a:lnTo>
                      <a:pt x="1187" y="1196"/>
                    </a:lnTo>
                    <a:lnTo>
                      <a:pt x="1185" y="1196"/>
                    </a:lnTo>
                    <a:lnTo>
                      <a:pt x="1185" y="1192"/>
                    </a:lnTo>
                    <a:lnTo>
                      <a:pt x="1180" y="1192"/>
                    </a:lnTo>
                    <a:lnTo>
                      <a:pt x="1176" y="1194"/>
                    </a:lnTo>
                    <a:lnTo>
                      <a:pt x="1174" y="1194"/>
                    </a:lnTo>
                    <a:lnTo>
                      <a:pt x="1172" y="1194"/>
                    </a:lnTo>
                    <a:lnTo>
                      <a:pt x="1169" y="1196"/>
                    </a:lnTo>
                    <a:lnTo>
                      <a:pt x="1167" y="1192"/>
                    </a:lnTo>
                    <a:lnTo>
                      <a:pt x="1165" y="1190"/>
                    </a:lnTo>
                    <a:lnTo>
                      <a:pt x="1163" y="1187"/>
                    </a:lnTo>
                    <a:lnTo>
                      <a:pt x="1161" y="1187"/>
                    </a:lnTo>
                    <a:lnTo>
                      <a:pt x="1159" y="1189"/>
                    </a:lnTo>
                    <a:lnTo>
                      <a:pt x="1155" y="1189"/>
                    </a:lnTo>
                    <a:lnTo>
                      <a:pt x="1152" y="1189"/>
                    </a:lnTo>
                    <a:lnTo>
                      <a:pt x="1150" y="1190"/>
                    </a:lnTo>
                    <a:lnTo>
                      <a:pt x="1142" y="1190"/>
                    </a:lnTo>
                    <a:lnTo>
                      <a:pt x="1138" y="1192"/>
                    </a:lnTo>
                    <a:lnTo>
                      <a:pt x="1137" y="1196"/>
                    </a:lnTo>
                    <a:lnTo>
                      <a:pt x="1135" y="1196"/>
                    </a:lnTo>
                    <a:lnTo>
                      <a:pt x="1127" y="1196"/>
                    </a:lnTo>
                    <a:lnTo>
                      <a:pt x="1127" y="1196"/>
                    </a:lnTo>
                    <a:lnTo>
                      <a:pt x="1127" y="1202"/>
                    </a:lnTo>
                    <a:lnTo>
                      <a:pt x="1131" y="1202"/>
                    </a:lnTo>
                    <a:lnTo>
                      <a:pt x="1127" y="1202"/>
                    </a:lnTo>
                    <a:lnTo>
                      <a:pt x="1125" y="1205"/>
                    </a:lnTo>
                    <a:lnTo>
                      <a:pt x="1121" y="1207"/>
                    </a:lnTo>
                    <a:lnTo>
                      <a:pt x="1118" y="1211"/>
                    </a:lnTo>
                    <a:lnTo>
                      <a:pt x="1118" y="1213"/>
                    </a:lnTo>
                    <a:lnTo>
                      <a:pt x="1114" y="1215"/>
                    </a:lnTo>
                    <a:lnTo>
                      <a:pt x="1114" y="1219"/>
                    </a:lnTo>
                    <a:lnTo>
                      <a:pt x="1112" y="1224"/>
                    </a:lnTo>
                    <a:lnTo>
                      <a:pt x="1106" y="1226"/>
                    </a:lnTo>
                    <a:lnTo>
                      <a:pt x="1103" y="1230"/>
                    </a:lnTo>
                    <a:lnTo>
                      <a:pt x="1103" y="1230"/>
                    </a:lnTo>
                    <a:lnTo>
                      <a:pt x="1093" y="1230"/>
                    </a:lnTo>
                    <a:lnTo>
                      <a:pt x="1091" y="1232"/>
                    </a:lnTo>
                    <a:lnTo>
                      <a:pt x="1088" y="1239"/>
                    </a:lnTo>
                    <a:lnTo>
                      <a:pt x="1088" y="1239"/>
                    </a:lnTo>
                    <a:lnTo>
                      <a:pt x="1086" y="1239"/>
                    </a:lnTo>
                    <a:lnTo>
                      <a:pt x="1082" y="1239"/>
                    </a:lnTo>
                    <a:lnTo>
                      <a:pt x="1080" y="1239"/>
                    </a:lnTo>
                    <a:lnTo>
                      <a:pt x="1078" y="1236"/>
                    </a:lnTo>
                    <a:lnTo>
                      <a:pt x="1073" y="1236"/>
                    </a:lnTo>
                    <a:lnTo>
                      <a:pt x="1069" y="1230"/>
                    </a:lnTo>
                    <a:lnTo>
                      <a:pt x="1067" y="1230"/>
                    </a:lnTo>
                    <a:lnTo>
                      <a:pt x="1067" y="1226"/>
                    </a:lnTo>
                    <a:lnTo>
                      <a:pt x="1067" y="1222"/>
                    </a:lnTo>
                    <a:lnTo>
                      <a:pt x="1067" y="1222"/>
                    </a:lnTo>
                    <a:lnTo>
                      <a:pt x="1063" y="1224"/>
                    </a:lnTo>
                    <a:lnTo>
                      <a:pt x="1061" y="1226"/>
                    </a:lnTo>
                    <a:lnTo>
                      <a:pt x="1056" y="1230"/>
                    </a:lnTo>
                    <a:lnTo>
                      <a:pt x="1046" y="1230"/>
                    </a:lnTo>
                    <a:lnTo>
                      <a:pt x="1044" y="1230"/>
                    </a:lnTo>
                    <a:lnTo>
                      <a:pt x="1042" y="1232"/>
                    </a:lnTo>
                    <a:lnTo>
                      <a:pt x="1042" y="1230"/>
                    </a:lnTo>
                    <a:lnTo>
                      <a:pt x="1039" y="1230"/>
                    </a:lnTo>
                    <a:lnTo>
                      <a:pt x="1037" y="1230"/>
                    </a:lnTo>
                    <a:lnTo>
                      <a:pt x="1035" y="1230"/>
                    </a:lnTo>
                    <a:lnTo>
                      <a:pt x="1033" y="1226"/>
                    </a:lnTo>
                    <a:lnTo>
                      <a:pt x="1033" y="1224"/>
                    </a:lnTo>
                    <a:lnTo>
                      <a:pt x="1029" y="1222"/>
                    </a:lnTo>
                    <a:lnTo>
                      <a:pt x="1033" y="1221"/>
                    </a:lnTo>
                    <a:lnTo>
                      <a:pt x="1033" y="1217"/>
                    </a:lnTo>
                    <a:lnTo>
                      <a:pt x="1029" y="1217"/>
                    </a:lnTo>
                    <a:lnTo>
                      <a:pt x="1027" y="1217"/>
                    </a:lnTo>
                    <a:lnTo>
                      <a:pt x="1024" y="1213"/>
                    </a:lnTo>
                    <a:lnTo>
                      <a:pt x="1020" y="1211"/>
                    </a:lnTo>
                    <a:lnTo>
                      <a:pt x="1018" y="1211"/>
                    </a:lnTo>
                    <a:lnTo>
                      <a:pt x="1018" y="1207"/>
                    </a:lnTo>
                    <a:lnTo>
                      <a:pt x="1012" y="1202"/>
                    </a:lnTo>
                    <a:lnTo>
                      <a:pt x="1009" y="1200"/>
                    </a:lnTo>
                    <a:lnTo>
                      <a:pt x="1003" y="1196"/>
                    </a:lnTo>
                    <a:lnTo>
                      <a:pt x="995" y="1196"/>
                    </a:lnTo>
                    <a:lnTo>
                      <a:pt x="990" y="1196"/>
                    </a:lnTo>
                    <a:lnTo>
                      <a:pt x="988" y="1200"/>
                    </a:lnTo>
                    <a:lnTo>
                      <a:pt x="990" y="1202"/>
                    </a:lnTo>
                    <a:lnTo>
                      <a:pt x="988" y="1202"/>
                    </a:lnTo>
                    <a:lnTo>
                      <a:pt x="984" y="1205"/>
                    </a:lnTo>
                    <a:lnTo>
                      <a:pt x="984" y="1205"/>
                    </a:lnTo>
                    <a:lnTo>
                      <a:pt x="978" y="1205"/>
                    </a:lnTo>
                    <a:lnTo>
                      <a:pt x="975" y="1202"/>
                    </a:lnTo>
                    <a:lnTo>
                      <a:pt x="971" y="1205"/>
                    </a:lnTo>
                    <a:lnTo>
                      <a:pt x="967" y="1205"/>
                    </a:lnTo>
                    <a:lnTo>
                      <a:pt x="965" y="1205"/>
                    </a:lnTo>
                    <a:lnTo>
                      <a:pt x="963" y="1202"/>
                    </a:lnTo>
                    <a:lnTo>
                      <a:pt x="960" y="1202"/>
                    </a:lnTo>
                    <a:lnTo>
                      <a:pt x="956" y="1200"/>
                    </a:lnTo>
                    <a:lnTo>
                      <a:pt x="960" y="1196"/>
                    </a:lnTo>
                    <a:lnTo>
                      <a:pt x="954" y="1194"/>
                    </a:lnTo>
                    <a:lnTo>
                      <a:pt x="950" y="1196"/>
                    </a:lnTo>
                    <a:lnTo>
                      <a:pt x="950" y="1200"/>
                    </a:lnTo>
                    <a:lnTo>
                      <a:pt x="950" y="1202"/>
                    </a:lnTo>
                    <a:lnTo>
                      <a:pt x="950" y="1202"/>
                    </a:lnTo>
                    <a:lnTo>
                      <a:pt x="948" y="1205"/>
                    </a:lnTo>
                    <a:lnTo>
                      <a:pt x="943" y="1205"/>
                    </a:lnTo>
                    <a:lnTo>
                      <a:pt x="896" y="1147"/>
                    </a:lnTo>
                    <a:lnTo>
                      <a:pt x="864" y="1123"/>
                    </a:lnTo>
                    <a:lnTo>
                      <a:pt x="864" y="1121"/>
                    </a:lnTo>
                    <a:lnTo>
                      <a:pt x="865" y="1121"/>
                    </a:lnTo>
                    <a:lnTo>
                      <a:pt x="867" y="1117"/>
                    </a:lnTo>
                    <a:lnTo>
                      <a:pt x="867" y="1111"/>
                    </a:lnTo>
                    <a:lnTo>
                      <a:pt x="867" y="1111"/>
                    </a:lnTo>
                    <a:lnTo>
                      <a:pt x="862" y="1113"/>
                    </a:lnTo>
                    <a:lnTo>
                      <a:pt x="858" y="1113"/>
                    </a:lnTo>
                    <a:lnTo>
                      <a:pt x="854" y="1117"/>
                    </a:lnTo>
                    <a:lnTo>
                      <a:pt x="852" y="1117"/>
                    </a:lnTo>
                    <a:lnTo>
                      <a:pt x="847" y="1123"/>
                    </a:lnTo>
                    <a:lnTo>
                      <a:pt x="847" y="1124"/>
                    </a:lnTo>
                    <a:lnTo>
                      <a:pt x="847" y="1128"/>
                    </a:lnTo>
                    <a:lnTo>
                      <a:pt x="843" y="1130"/>
                    </a:lnTo>
                    <a:lnTo>
                      <a:pt x="841" y="1134"/>
                    </a:lnTo>
                    <a:lnTo>
                      <a:pt x="835" y="1134"/>
                    </a:lnTo>
                    <a:lnTo>
                      <a:pt x="832" y="1136"/>
                    </a:lnTo>
                    <a:lnTo>
                      <a:pt x="832" y="1138"/>
                    </a:lnTo>
                    <a:lnTo>
                      <a:pt x="830" y="1141"/>
                    </a:lnTo>
                    <a:lnTo>
                      <a:pt x="828" y="1138"/>
                    </a:lnTo>
                    <a:lnTo>
                      <a:pt x="820" y="1138"/>
                    </a:lnTo>
                    <a:lnTo>
                      <a:pt x="817" y="1138"/>
                    </a:lnTo>
                    <a:lnTo>
                      <a:pt x="813" y="1141"/>
                    </a:lnTo>
                    <a:lnTo>
                      <a:pt x="813" y="1141"/>
                    </a:lnTo>
                    <a:lnTo>
                      <a:pt x="809" y="1138"/>
                    </a:lnTo>
                    <a:lnTo>
                      <a:pt x="809" y="1134"/>
                    </a:lnTo>
                    <a:lnTo>
                      <a:pt x="813" y="1132"/>
                    </a:lnTo>
                    <a:lnTo>
                      <a:pt x="813" y="1128"/>
                    </a:lnTo>
                    <a:lnTo>
                      <a:pt x="811" y="1126"/>
                    </a:lnTo>
                    <a:lnTo>
                      <a:pt x="809" y="1130"/>
                    </a:lnTo>
                    <a:lnTo>
                      <a:pt x="805" y="1130"/>
                    </a:lnTo>
                    <a:lnTo>
                      <a:pt x="798" y="1126"/>
                    </a:lnTo>
                    <a:lnTo>
                      <a:pt x="794" y="1126"/>
                    </a:lnTo>
                    <a:lnTo>
                      <a:pt x="796" y="1128"/>
                    </a:lnTo>
                    <a:lnTo>
                      <a:pt x="798" y="1130"/>
                    </a:lnTo>
                    <a:lnTo>
                      <a:pt x="794" y="1132"/>
                    </a:lnTo>
                    <a:lnTo>
                      <a:pt x="792" y="1134"/>
                    </a:lnTo>
                    <a:lnTo>
                      <a:pt x="792" y="1128"/>
                    </a:lnTo>
                    <a:lnTo>
                      <a:pt x="788" y="1123"/>
                    </a:lnTo>
                    <a:lnTo>
                      <a:pt x="783" y="1117"/>
                    </a:lnTo>
                    <a:lnTo>
                      <a:pt x="783" y="1117"/>
                    </a:lnTo>
                    <a:lnTo>
                      <a:pt x="783" y="1123"/>
                    </a:lnTo>
                    <a:lnTo>
                      <a:pt x="783" y="1124"/>
                    </a:lnTo>
                    <a:lnTo>
                      <a:pt x="781" y="1124"/>
                    </a:lnTo>
                    <a:lnTo>
                      <a:pt x="781" y="1121"/>
                    </a:lnTo>
                    <a:lnTo>
                      <a:pt x="777" y="1123"/>
                    </a:lnTo>
                    <a:lnTo>
                      <a:pt x="777" y="1126"/>
                    </a:lnTo>
                    <a:lnTo>
                      <a:pt x="775" y="1126"/>
                    </a:lnTo>
                    <a:lnTo>
                      <a:pt x="771" y="1124"/>
                    </a:lnTo>
                    <a:lnTo>
                      <a:pt x="768" y="1126"/>
                    </a:lnTo>
                    <a:lnTo>
                      <a:pt x="768" y="1124"/>
                    </a:lnTo>
                    <a:lnTo>
                      <a:pt x="764" y="1121"/>
                    </a:lnTo>
                    <a:lnTo>
                      <a:pt x="768" y="1121"/>
                    </a:lnTo>
                    <a:lnTo>
                      <a:pt x="768" y="1121"/>
                    </a:lnTo>
                    <a:lnTo>
                      <a:pt x="768" y="1117"/>
                    </a:lnTo>
                    <a:lnTo>
                      <a:pt x="768" y="1111"/>
                    </a:lnTo>
                    <a:lnTo>
                      <a:pt x="768" y="1111"/>
                    </a:lnTo>
                    <a:lnTo>
                      <a:pt x="764" y="1108"/>
                    </a:lnTo>
                    <a:lnTo>
                      <a:pt x="762" y="1106"/>
                    </a:lnTo>
                    <a:lnTo>
                      <a:pt x="762" y="1102"/>
                    </a:lnTo>
                    <a:lnTo>
                      <a:pt x="758" y="1102"/>
                    </a:lnTo>
                    <a:lnTo>
                      <a:pt x="758" y="1096"/>
                    </a:lnTo>
                    <a:lnTo>
                      <a:pt x="754" y="1096"/>
                    </a:lnTo>
                    <a:lnTo>
                      <a:pt x="751" y="1098"/>
                    </a:lnTo>
                    <a:lnTo>
                      <a:pt x="745" y="1098"/>
                    </a:lnTo>
                    <a:lnTo>
                      <a:pt x="741" y="1094"/>
                    </a:lnTo>
                    <a:lnTo>
                      <a:pt x="737" y="1096"/>
                    </a:lnTo>
                    <a:lnTo>
                      <a:pt x="732" y="1092"/>
                    </a:lnTo>
                    <a:lnTo>
                      <a:pt x="730" y="1094"/>
                    </a:lnTo>
                    <a:lnTo>
                      <a:pt x="724" y="1094"/>
                    </a:lnTo>
                    <a:lnTo>
                      <a:pt x="722" y="1096"/>
                    </a:lnTo>
                    <a:lnTo>
                      <a:pt x="722" y="1100"/>
                    </a:lnTo>
                    <a:lnTo>
                      <a:pt x="717" y="1100"/>
                    </a:lnTo>
                    <a:lnTo>
                      <a:pt x="715" y="1102"/>
                    </a:lnTo>
                    <a:lnTo>
                      <a:pt x="717" y="1104"/>
                    </a:lnTo>
                    <a:lnTo>
                      <a:pt x="717" y="1108"/>
                    </a:lnTo>
                    <a:lnTo>
                      <a:pt x="713" y="1108"/>
                    </a:lnTo>
                    <a:lnTo>
                      <a:pt x="709" y="1108"/>
                    </a:lnTo>
                    <a:lnTo>
                      <a:pt x="707" y="1111"/>
                    </a:lnTo>
                    <a:lnTo>
                      <a:pt x="704" y="1111"/>
                    </a:lnTo>
                    <a:lnTo>
                      <a:pt x="700" y="1111"/>
                    </a:lnTo>
                    <a:lnTo>
                      <a:pt x="700" y="1111"/>
                    </a:lnTo>
                    <a:lnTo>
                      <a:pt x="690" y="1117"/>
                    </a:lnTo>
                    <a:lnTo>
                      <a:pt x="687" y="1121"/>
                    </a:lnTo>
                    <a:lnTo>
                      <a:pt x="683" y="1121"/>
                    </a:lnTo>
                    <a:lnTo>
                      <a:pt x="681" y="1121"/>
                    </a:lnTo>
                    <a:lnTo>
                      <a:pt x="679" y="1117"/>
                    </a:lnTo>
                    <a:lnTo>
                      <a:pt x="675" y="1121"/>
                    </a:lnTo>
                    <a:lnTo>
                      <a:pt x="675" y="1123"/>
                    </a:lnTo>
                    <a:lnTo>
                      <a:pt x="673" y="1123"/>
                    </a:lnTo>
                    <a:lnTo>
                      <a:pt x="670" y="1124"/>
                    </a:lnTo>
                    <a:lnTo>
                      <a:pt x="670" y="1128"/>
                    </a:lnTo>
                    <a:lnTo>
                      <a:pt x="670" y="1130"/>
                    </a:lnTo>
                    <a:lnTo>
                      <a:pt x="666" y="1128"/>
                    </a:lnTo>
                    <a:lnTo>
                      <a:pt x="664" y="1130"/>
                    </a:lnTo>
                    <a:lnTo>
                      <a:pt x="660" y="1132"/>
                    </a:lnTo>
                    <a:lnTo>
                      <a:pt x="655" y="1132"/>
                    </a:lnTo>
                    <a:lnTo>
                      <a:pt x="651" y="1134"/>
                    </a:lnTo>
                    <a:lnTo>
                      <a:pt x="649" y="1136"/>
                    </a:lnTo>
                    <a:lnTo>
                      <a:pt x="645" y="1138"/>
                    </a:lnTo>
                    <a:lnTo>
                      <a:pt x="641" y="1138"/>
                    </a:lnTo>
                    <a:lnTo>
                      <a:pt x="636" y="1138"/>
                    </a:lnTo>
                    <a:lnTo>
                      <a:pt x="630" y="1141"/>
                    </a:lnTo>
                    <a:lnTo>
                      <a:pt x="628" y="1145"/>
                    </a:lnTo>
                    <a:lnTo>
                      <a:pt x="626" y="1145"/>
                    </a:lnTo>
                    <a:lnTo>
                      <a:pt x="625" y="1141"/>
                    </a:lnTo>
                    <a:lnTo>
                      <a:pt x="621" y="1141"/>
                    </a:lnTo>
                    <a:lnTo>
                      <a:pt x="621" y="1145"/>
                    </a:lnTo>
                    <a:lnTo>
                      <a:pt x="621" y="1147"/>
                    </a:lnTo>
                    <a:lnTo>
                      <a:pt x="619" y="1151"/>
                    </a:lnTo>
                    <a:lnTo>
                      <a:pt x="615" y="1145"/>
                    </a:lnTo>
                    <a:lnTo>
                      <a:pt x="609" y="1147"/>
                    </a:lnTo>
                    <a:lnTo>
                      <a:pt x="609" y="1145"/>
                    </a:lnTo>
                    <a:lnTo>
                      <a:pt x="606" y="1145"/>
                    </a:lnTo>
                    <a:lnTo>
                      <a:pt x="604" y="1147"/>
                    </a:lnTo>
                    <a:lnTo>
                      <a:pt x="600" y="1147"/>
                    </a:lnTo>
                    <a:lnTo>
                      <a:pt x="600" y="1147"/>
                    </a:lnTo>
                    <a:lnTo>
                      <a:pt x="600" y="1153"/>
                    </a:lnTo>
                    <a:lnTo>
                      <a:pt x="600" y="1155"/>
                    </a:lnTo>
                    <a:lnTo>
                      <a:pt x="602" y="1157"/>
                    </a:lnTo>
                    <a:lnTo>
                      <a:pt x="608" y="1155"/>
                    </a:lnTo>
                    <a:lnTo>
                      <a:pt x="609" y="1158"/>
                    </a:lnTo>
                    <a:lnTo>
                      <a:pt x="604" y="1158"/>
                    </a:lnTo>
                    <a:lnTo>
                      <a:pt x="602" y="1160"/>
                    </a:lnTo>
                    <a:lnTo>
                      <a:pt x="602" y="1162"/>
                    </a:lnTo>
                    <a:lnTo>
                      <a:pt x="608" y="1162"/>
                    </a:lnTo>
                    <a:lnTo>
                      <a:pt x="611" y="1166"/>
                    </a:lnTo>
                    <a:lnTo>
                      <a:pt x="613" y="1162"/>
                    </a:lnTo>
                    <a:lnTo>
                      <a:pt x="617" y="1162"/>
                    </a:lnTo>
                    <a:lnTo>
                      <a:pt x="621" y="1166"/>
                    </a:lnTo>
                    <a:lnTo>
                      <a:pt x="625" y="1168"/>
                    </a:lnTo>
                    <a:lnTo>
                      <a:pt x="625" y="1172"/>
                    </a:lnTo>
                    <a:lnTo>
                      <a:pt x="621" y="1172"/>
                    </a:lnTo>
                    <a:lnTo>
                      <a:pt x="619" y="1172"/>
                    </a:lnTo>
                    <a:lnTo>
                      <a:pt x="609" y="1172"/>
                    </a:lnTo>
                    <a:lnTo>
                      <a:pt x="606" y="1175"/>
                    </a:lnTo>
                    <a:lnTo>
                      <a:pt x="600" y="1181"/>
                    </a:lnTo>
                    <a:lnTo>
                      <a:pt x="602" y="1185"/>
                    </a:lnTo>
                    <a:lnTo>
                      <a:pt x="604" y="1187"/>
                    </a:lnTo>
                    <a:lnTo>
                      <a:pt x="606" y="1190"/>
                    </a:lnTo>
                    <a:lnTo>
                      <a:pt x="602" y="1194"/>
                    </a:lnTo>
                    <a:lnTo>
                      <a:pt x="602" y="1196"/>
                    </a:lnTo>
                    <a:lnTo>
                      <a:pt x="600" y="1196"/>
                    </a:lnTo>
                    <a:lnTo>
                      <a:pt x="600" y="1200"/>
                    </a:lnTo>
                    <a:lnTo>
                      <a:pt x="600" y="1202"/>
                    </a:lnTo>
                    <a:lnTo>
                      <a:pt x="600" y="1205"/>
                    </a:lnTo>
                    <a:lnTo>
                      <a:pt x="604" y="1205"/>
                    </a:lnTo>
                    <a:lnTo>
                      <a:pt x="606" y="1205"/>
                    </a:lnTo>
                    <a:lnTo>
                      <a:pt x="611" y="1207"/>
                    </a:lnTo>
                    <a:lnTo>
                      <a:pt x="611" y="1209"/>
                    </a:lnTo>
                    <a:lnTo>
                      <a:pt x="615" y="1213"/>
                    </a:lnTo>
                    <a:lnTo>
                      <a:pt x="621" y="1213"/>
                    </a:lnTo>
                    <a:lnTo>
                      <a:pt x="621" y="1215"/>
                    </a:lnTo>
                    <a:lnTo>
                      <a:pt x="625" y="1230"/>
                    </a:lnTo>
                    <a:lnTo>
                      <a:pt x="621" y="1232"/>
                    </a:lnTo>
                    <a:lnTo>
                      <a:pt x="615" y="1236"/>
                    </a:lnTo>
                    <a:lnTo>
                      <a:pt x="609" y="1232"/>
                    </a:lnTo>
                    <a:lnTo>
                      <a:pt x="604" y="1230"/>
                    </a:lnTo>
                    <a:lnTo>
                      <a:pt x="602" y="1230"/>
                    </a:lnTo>
                    <a:lnTo>
                      <a:pt x="602" y="1236"/>
                    </a:lnTo>
                    <a:lnTo>
                      <a:pt x="600" y="1239"/>
                    </a:lnTo>
                    <a:lnTo>
                      <a:pt x="596" y="1239"/>
                    </a:lnTo>
                    <a:lnTo>
                      <a:pt x="591" y="1236"/>
                    </a:lnTo>
                    <a:lnTo>
                      <a:pt x="583" y="1236"/>
                    </a:lnTo>
                    <a:lnTo>
                      <a:pt x="581" y="1236"/>
                    </a:lnTo>
                    <a:lnTo>
                      <a:pt x="579" y="1236"/>
                    </a:lnTo>
                    <a:lnTo>
                      <a:pt x="576" y="1236"/>
                    </a:lnTo>
                    <a:lnTo>
                      <a:pt x="572" y="1230"/>
                    </a:lnTo>
                    <a:lnTo>
                      <a:pt x="576" y="1230"/>
                    </a:lnTo>
                    <a:lnTo>
                      <a:pt x="576" y="1226"/>
                    </a:lnTo>
                    <a:lnTo>
                      <a:pt x="574" y="1226"/>
                    </a:lnTo>
                    <a:lnTo>
                      <a:pt x="570" y="1224"/>
                    </a:lnTo>
                    <a:lnTo>
                      <a:pt x="566" y="1226"/>
                    </a:lnTo>
                    <a:lnTo>
                      <a:pt x="562" y="1226"/>
                    </a:lnTo>
                    <a:lnTo>
                      <a:pt x="561" y="1226"/>
                    </a:lnTo>
                    <a:lnTo>
                      <a:pt x="562" y="1230"/>
                    </a:lnTo>
                    <a:lnTo>
                      <a:pt x="557" y="1230"/>
                    </a:lnTo>
                    <a:lnTo>
                      <a:pt x="555" y="1230"/>
                    </a:lnTo>
                    <a:lnTo>
                      <a:pt x="549" y="1224"/>
                    </a:lnTo>
                    <a:lnTo>
                      <a:pt x="545" y="1226"/>
                    </a:lnTo>
                    <a:lnTo>
                      <a:pt x="545" y="1226"/>
                    </a:lnTo>
                    <a:lnTo>
                      <a:pt x="542" y="1226"/>
                    </a:lnTo>
                    <a:lnTo>
                      <a:pt x="538" y="1226"/>
                    </a:lnTo>
                    <a:lnTo>
                      <a:pt x="538" y="1230"/>
                    </a:lnTo>
                    <a:lnTo>
                      <a:pt x="536" y="1230"/>
                    </a:lnTo>
                    <a:lnTo>
                      <a:pt x="532" y="1236"/>
                    </a:lnTo>
                    <a:lnTo>
                      <a:pt x="530" y="1239"/>
                    </a:lnTo>
                    <a:lnTo>
                      <a:pt x="527" y="1239"/>
                    </a:lnTo>
                    <a:lnTo>
                      <a:pt x="525" y="1236"/>
                    </a:lnTo>
                    <a:lnTo>
                      <a:pt x="517" y="1236"/>
                    </a:lnTo>
                    <a:lnTo>
                      <a:pt x="513" y="1230"/>
                    </a:lnTo>
                    <a:lnTo>
                      <a:pt x="512" y="1232"/>
                    </a:lnTo>
                    <a:lnTo>
                      <a:pt x="512" y="1239"/>
                    </a:lnTo>
                    <a:lnTo>
                      <a:pt x="508" y="1241"/>
                    </a:lnTo>
                    <a:lnTo>
                      <a:pt x="508" y="1241"/>
                    </a:lnTo>
                    <a:lnTo>
                      <a:pt x="508" y="1236"/>
                    </a:lnTo>
                    <a:lnTo>
                      <a:pt x="506" y="1236"/>
                    </a:lnTo>
                    <a:lnTo>
                      <a:pt x="502" y="1236"/>
                    </a:lnTo>
                    <a:lnTo>
                      <a:pt x="498" y="1230"/>
                    </a:lnTo>
                    <a:lnTo>
                      <a:pt x="495" y="1226"/>
                    </a:lnTo>
                    <a:lnTo>
                      <a:pt x="491" y="1226"/>
                    </a:lnTo>
                    <a:lnTo>
                      <a:pt x="487" y="1222"/>
                    </a:lnTo>
                    <a:lnTo>
                      <a:pt x="483" y="1221"/>
                    </a:lnTo>
                    <a:lnTo>
                      <a:pt x="483" y="1219"/>
                    </a:lnTo>
                    <a:lnTo>
                      <a:pt x="481" y="1219"/>
                    </a:lnTo>
                    <a:lnTo>
                      <a:pt x="474" y="1221"/>
                    </a:lnTo>
                    <a:lnTo>
                      <a:pt x="468" y="1217"/>
                    </a:lnTo>
                    <a:lnTo>
                      <a:pt x="466" y="1213"/>
                    </a:lnTo>
                    <a:lnTo>
                      <a:pt x="463" y="1213"/>
                    </a:lnTo>
                    <a:lnTo>
                      <a:pt x="459" y="1215"/>
                    </a:lnTo>
                    <a:lnTo>
                      <a:pt x="457" y="1215"/>
                    </a:lnTo>
                    <a:lnTo>
                      <a:pt x="457" y="1219"/>
                    </a:lnTo>
                    <a:lnTo>
                      <a:pt x="453" y="1221"/>
                    </a:lnTo>
                    <a:lnTo>
                      <a:pt x="453" y="1217"/>
                    </a:lnTo>
                    <a:lnTo>
                      <a:pt x="451" y="1219"/>
                    </a:lnTo>
                    <a:lnTo>
                      <a:pt x="449" y="1222"/>
                    </a:lnTo>
                    <a:lnTo>
                      <a:pt x="448" y="1224"/>
                    </a:lnTo>
                    <a:lnTo>
                      <a:pt x="444" y="1222"/>
                    </a:lnTo>
                    <a:lnTo>
                      <a:pt x="448" y="1219"/>
                    </a:lnTo>
                    <a:lnTo>
                      <a:pt x="448" y="1217"/>
                    </a:lnTo>
                    <a:lnTo>
                      <a:pt x="444" y="1215"/>
                    </a:lnTo>
                    <a:lnTo>
                      <a:pt x="438" y="1211"/>
                    </a:lnTo>
                    <a:lnTo>
                      <a:pt x="436" y="1213"/>
                    </a:lnTo>
                    <a:lnTo>
                      <a:pt x="438" y="1217"/>
                    </a:lnTo>
                    <a:lnTo>
                      <a:pt x="436" y="1221"/>
                    </a:lnTo>
                    <a:lnTo>
                      <a:pt x="433" y="1219"/>
                    </a:lnTo>
                    <a:lnTo>
                      <a:pt x="433" y="1222"/>
                    </a:lnTo>
                    <a:lnTo>
                      <a:pt x="429" y="1226"/>
                    </a:lnTo>
                    <a:lnTo>
                      <a:pt x="425" y="1226"/>
                    </a:lnTo>
                    <a:lnTo>
                      <a:pt x="419" y="1230"/>
                    </a:lnTo>
                    <a:lnTo>
                      <a:pt x="419" y="1236"/>
                    </a:lnTo>
                    <a:lnTo>
                      <a:pt x="423" y="1239"/>
                    </a:lnTo>
                    <a:lnTo>
                      <a:pt x="423" y="1241"/>
                    </a:lnTo>
                    <a:lnTo>
                      <a:pt x="416" y="1241"/>
                    </a:lnTo>
                    <a:lnTo>
                      <a:pt x="410" y="1243"/>
                    </a:lnTo>
                    <a:lnTo>
                      <a:pt x="416" y="1258"/>
                    </a:lnTo>
                    <a:lnTo>
                      <a:pt x="412" y="1260"/>
                    </a:lnTo>
                    <a:lnTo>
                      <a:pt x="414" y="1266"/>
                    </a:lnTo>
                    <a:lnTo>
                      <a:pt x="408" y="1266"/>
                    </a:lnTo>
                    <a:lnTo>
                      <a:pt x="401" y="1264"/>
                    </a:lnTo>
                    <a:lnTo>
                      <a:pt x="401" y="1260"/>
                    </a:lnTo>
                    <a:lnTo>
                      <a:pt x="391" y="1251"/>
                    </a:lnTo>
                    <a:lnTo>
                      <a:pt x="389" y="1254"/>
                    </a:lnTo>
                    <a:lnTo>
                      <a:pt x="389" y="1258"/>
                    </a:lnTo>
                    <a:lnTo>
                      <a:pt x="384" y="1266"/>
                    </a:lnTo>
                    <a:lnTo>
                      <a:pt x="380" y="1266"/>
                    </a:lnTo>
                    <a:lnTo>
                      <a:pt x="380" y="1275"/>
                    </a:lnTo>
                    <a:lnTo>
                      <a:pt x="384" y="1277"/>
                    </a:lnTo>
                    <a:lnTo>
                      <a:pt x="382" y="1290"/>
                    </a:lnTo>
                    <a:lnTo>
                      <a:pt x="378" y="1296"/>
                    </a:lnTo>
                    <a:lnTo>
                      <a:pt x="387" y="1300"/>
                    </a:lnTo>
                    <a:lnTo>
                      <a:pt x="389" y="1303"/>
                    </a:lnTo>
                    <a:lnTo>
                      <a:pt x="389" y="1307"/>
                    </a:lnTo>
                    <a:lnTo>
                      <a:pt x="395" y="1313"/>
                    </a:lnTo>
                    <a:lnTo>
                      <a:pt x="395" y="1309"/>
                    </a:lnTo>
                    <a:lnTo>
                      <a:pt x="408" y="1313"/>
                    </a:lnTo>
                    <a:lnTo>
                      <a:pt x="417" y="1320"/>
                    </a:lnTo>
                    <a:lnTo>
                      <a:pt x="425" y="1334"/>
                    </a:lnTo>
                    <a:lnTo>
                      <a:pt x="417" y="1334"/>
                    </a:lnTo>
                    <a:lnTo>
                      <a:pt x="417" y="1335"/>
                    </a:lnTo>
                    <a:lnTo>
                      <a:pt x="423" y="1341"/>
                    </a:lnTo>
                    <a:lnTo>
                      <a:pt x="429" y="1339"/>
                    </a:lnTo>
                    <a:lnTo>
                      <a:pt x="433" y="1343"/>
                    </a:lnTo>
                    <a:lnTo>
                      <a:pt x="433" y="1343"/>
                    </a:lnTo>
                    <a:lnTo>
                      <a:pt x="433" y="1343"/>
                    </a:lnTo>
                    <a:lnTo>
                      <a:pt x="433" y="1343"/>
                    </a:lnTo>
                    <a:lnTo>
                      <a:pt x="433" y="1345"/>
                    </a:lnTo>
                    <a:lnTo>
                      <a:pt x="429" y="1345"/>
                    </a:lnTo>
                    <a:lnTo>
                      <a:pt x="433" y="1349"/>
                    </a:lnTo>
                    <a:lnTo>
                      <a:pt x="433" y="1351"/>
                    </a:lnTo>
                    <a:lnTo>
                      <a:pt x="429" y="1351"/>
                    </a:lnTo>
                    <a:lnTo>
                      <a:pt x="433" y="1352"/>
                    </a:lnTo>
                    <a:lnTo>
                      <a:pt x="433" y="1354"/>
                    </a:lnTo>
                    <a:lnTo>
                      <a:pt x="429" y="1352"/>
                    </a:lnTo>
                    <a:lnTo>
                      <a:pt x="425" y="1354"/>
                    </a:lnTo>
                    <a:lnTo>
                      <a:pt x="423" y="1352"/>
                    </a:lnTo>
                    <a:lnTo>
                      <a:pt x="419" y="1352"/>
                    </a:lnTo>
                    <a:lnTo>
                      <a:pt x="425" y="1354"/>
                    </a:lnTo>
                    <a:lnTo>
                      <a:pt x="425" y="1358"/>
                    </a:lnTo>
                    <a:lnTo>
                      <a:pt x="425" y="1358"/>
                    </a:lnTo>
                    <a:lnTo>
                      <a:pt x="425" y="1358"/>
                    </a:lnTo>
                    <a:lnTo>
                      <a:pt x="425" y="1358"/>
                    </a:lnTo>
                    <a:lnTo>
                      <a:pt x="419" y="1358"/>
                    </a:lnTo>
                    <a:lnTo>
                      <a:pt x="419" y="1358"/>
                    </a:lnTo>
                    <a:lnTo>
                      <a:pt x="419" y="1358"/>
                    </a:lnTo>
                    <a:lnTo>
                      <a:pt x="417" y="1358"/>
                    </a:lnTo>
                    <a:lnTo>
                      <a:pt x="419" y="1358"/>
                    </a:lnTo>
                    <a:lnTo>
                      <a:pt x="419" y="1360"/>
                    </a:lnTo>
                    <a:lnTo>
                      <a:pt x="417" y="1362"/>
                    </a:lnTo>
                    <a:lnTo>
                      <a:pt x="416" y="1362"/>
                    </a:lnTo>
                    <a:lnTo>
                      <a:pt x="414" y="1362"/>
                    </a:lnTo>
                    <a:lnTo>
                      <a:pt x="412" y="1360"/>
                    </a:lnTo>
                    <a:lnTo>
                      <a:pt x="412" y="1364"/>
                    </a:lnTo>
                    <a:lnTo>
                      <a:pt x="410" y="1364"/>
                    </a:lnTo>
                    <a:lnTo>
                      <a:pt x="408" y="1362"/>
                    </a:lnTo>
                    <a:lnTo>
                      <a:pt x="408" y="1362"/>
                    </a:lnTo>
                    <a:lnTo>
                      <a:pt x="408" y="1364"/>
                    </a:lnTo>
                    <a:lnTo>
                      <a:pt x="404" y="1367"/>
                    </a:lnTo>
                    <a:lnTo>
                      <a:pt x="402" y="1371"/>
                    </a:lnTo>
                    <a:lnTo>
                      <a:pt x="401" y="1373"/>
                    </a:lnTo>
                    <a:lnTo>
                      <a:pt x="401" y="1377"/>
                    </a:lnTo>
                    <a:lnTo>
                      <a:pt x="399" y="1379"/>
                    </a:lnTo>
                    <a:lnTo>
                      <a:pt x="399" y="1388"/>
                    </a:lnTo>
                    <a:lnTo>
                      <a:pt x="399" y="1388"/>
                    </a:lnTo>
                    <a:lnTo>
                      <a:pt x="395" y="1390"/>
                    </a:lnTo>
                    <a:lnTo>
                      <a:pt x="399" y="1398"/>
                    </a:lnTo>
                    <a:lnTo>
                      <a:pt x="401" y="1398"/>
                    </a:lnTo>
                    <a:lnTo>
                      <a:pt x="402" y="1398"/>
                    </a:lnTo>
                    <a:lnTo>
                      <a:pt x="404" y="1401"/>
                    </a:lnTo>
                    <a:lnTo>
                      <a:pt x="408" y="1401"/>
                    </a:lnTo>
                    <a:lnTo>
                      <a:pt x="408" y="1409"/>
                    </a:lnTo>
                    <a:lnTo>
                      <a:pt x="414" y="1409"/>
                    </a:lnTo>
                    <a:lnTo>
                      <a:pt x="416" y="1409"/>
                    </a:lnTo>
                    <a:lnTo>
                      <a:pt x="417" y="1409"/>
                    </a:lnTo>
                    <a:lnTo>
                      <a:pt x="416" y="1413"/>
                    </a:lnTo>
                    <a:lnTo>
                      <a:pt x="416" y="1415"/>
                    </a:lnTo>
                    <a:lnTo>
                      <a:pt x="412" y="1413"/>
                    </a:lnTo>
                    <a:lnTo>
                      <a:pt x="412" y="1418"/>
                    </a:lnTo>
                    <a:lnTo>
                      <a:pt x="416" y="1418"/>
                    </a:lnTo>
                    <a:lnTo>
                      <a:pt x="416" y="1418"/>
                    </a:lnTo>
                    <a:lnTo>
                      <a:pt x="417" y="1422"/>
                    </a:lnTo>
                    <a:lnTo>
                      <a:pt x="417" y="1428"/>
                    </a:lnTo>
                    <a:lnTo>
                      <a:pt x="419" y="1432"/>
                    </a:lnTo>
                    <a:lnTo>
                      <a:pt x="419" y="1437"/>
                    </a:lnTo>
                    <a:lnTo>
                      <a:pt x="429" y="1443"/>
                    </a:lnTo>
                    <a:lnTo>
                      <a:pt x="438" y="1452"/>
                    </a:lnTo>
                    <a:lnTo>
                      <a:pt x="440" y="1454"/>
                    </a:lnTo>
                    <a:lnTo>
                      <a:pt x="438" y="1454"/>
                    </a:lnTo>
                    <a:lnTo>
                      <a:pt x="433" y="1462"/>
                    </a:lnTo>
                    <a:lnTo>
                      <a:pt x="429" y="1464"/>
                    </a:lnTo>
                    <a:lnTo>
                      <a:pt x="425" y="1467"/>
                    </a:lnTo>
                    <a:lnTo>
                      <a:pt x="417" y="1467"/>
                    </a:lnTo>
                    <a:lnTo>
                      <a:pt x="416" y="1462"/>
                    </a:lnTo>
                    <a:lnTo>
                      <a:pt x="408" y="1456"/>
                    </a:lnTo>
                    <a:lnTo>
                      <a:pt x="401" y="1454"/>
                    </a:lnTo>
                    <a:lnTo>
                      <a:pt x="399" y="1462"/>
                    </a:lnTo>
                    <a:lnTo>
                      <a:pt x="404" y="1464"/>
                    </a:lnTo>
                    <a:lnTo>
                      <a:pt x="408" y="1469"/>
                    </a:lnTo>
                    <a:lnTo>
                      <a:pt x="404" y="1477"/>
                    </a:lnTo>
                    <a:lnTo>
                      <a:pt x="399" y="1473"/>
                    </a:lnTo>
                    <a:lnTo>
                      <a:pt x="393" y="1471"/>
                    </a:lnTo>
                    <a:lnTo>
                      <a:pt x="382" y="1464"/>
                    </a:lnTo>
                    <a:lnTo>
                      <a:pt x="374" y="1469"/>
                    </a:lnTo>
                    <a:lnTo>
                      <a:pt x="374" y="1471"/>
                    </a:lnTo>
                    <a:lnTo>
                      <a:pt x="378" y="1473"/>
                    </a:lnTo>
                    <a:lnTo>
                      <a:pt x="374" y="1471"/>
                    </a:lnTo>
                    <a:lnTo>
                      <a:pt x="363" y="1471"/>
                    </a:lnTo>
                    <a:lnTo>
                      <a:pt x="361" y="1471"/>
                    </a:lnTo>
                    <a:lnTo>
                      <a:pt x="352" y="1473"/>
                    </a:lnTo>
                    <a:lnTo>
                      <a:pt x="346" y="1473"/>
                    </a:lnTo>
                    <a:lnTo>
                      <a:pt x="346" y="1473"/>
                    </a:lnTo>
                    <a:lnTo>
                      <a:pt x="344" y="1473"/>
                    </a:lnTo>
                    <a:lnTo>
                      <a:pt x="337" y="1467"/>
                    </a:lnTo>
                    <a:lnTo>
                      <a:pt x="333" y="1464"/>
                    </a:lnTo>
                    <a:lnTo>
                      <a:pt x="329" y="1467"/>
                    </a:lnTo>
                    <a:lnTo>
                      <a:pt x="327" y="1469"/>
                    </a:lnTo>
                    <a:lnTo>
                      <a:pt x="321" y="1467"/>
                    </a:lnTo>
                    <a:lnTo>
                      <a:pt x="320" y="1469"/>
                    </a:lnTo>
                    <a:lnTo>
                      <a:pt x="320" y="1467"/>
                    </a:lnTo>
                    <a:lnTo>
                      <a:pt x="320" y="1464"/>
                    </a:lnTo>
                    <a:lnTo>
                      <a:pt x="316" y="1464"/>
                    </a:lnTo>
                    <a:lnTo>
                      <a:pt x="316" y="1464"/>
                    </a:lnTo>
                    <a:lnTo>
                      <a:pt x="316" y="1464"/>
                    </a:lnTo>
                    <a:lnTo>
                      <a:pt x="316" y="1460"/>
                    </a:lnTo>
                    <a:lnTo>
                      <a:pt x="316" y="1458"/>
                    </a:lnTo>
                    <a:lnTo>
                      <a:pt x="314" y="1452"/>
                    </a:lnTo>
                    <a:lnTo>
                      <a:pt x="314" y="1443"/>
                    </a:lnTo>
                    <a:lnTo>
                      <a:pt x="310" y="1443"/>
                    </a:lnTo>
                    <a:lnTo>
                      <a:pt x="306" y="1435"/>
                    </a:lnTo>
                    <a:lnTo>
                      <a:pt x="303" y="1435"/>
                    </a:lnTo>
                    <a:lnTo>
                      <a:pt x="301" y="1433"/>
                    </a:lnTo>
                    <a:lnTo>
                      <a:pt x="297" y="1428"/>
                    </a:lnTo>
                    <a:lnTo>
                      <a:pt x="295" y="1430"/>
                    </a:lnTo>
                    <a:lnTo>
                      <a:pt x="295" y="1428"/>
                    </a:lnTo>
                    <a:lnTo>
                      <a:pt x="289" y="1428"/>
                    </a:lnTo>
                    <a:lnTo>
                      <a:pt x="286" y="1424"/>
                    </a:lnTo>
                    <a:lnTo>
                      <a:pt x="286" y="1424"/>
                    </a:lnTo>
                    <a:lnTo>
                      <a:pt x="282" y="1422"/>
                    </a:lnTo>
                    <a:lnTo>
                      <a:pt x="280" y="1418"/>
                    </a:lnTo>
                    <a:lnTo>
                      <a:pt x="276" y="1418"/>
                    </a:lnTo>
                    <a:lnTo>
                      <a:pt x="274" y="1418"/>
                    </a:lnTo>
                    <a:lnTo>
                      <a:pt x="273" y="1415"/>
                    </a:lnTo>
                    <a:lnTo>
                      <a:pt x="269" y="1413"/>
                    </a:lnTo>
                    <a:lnTo>
                      <a:pt x="267" y="1409"/>
                    </a:lnTo>
                    <a:lnTo>
                      <a:pt x="256" y="1401"/>
                    </a:lnTo>
                    <a:lnTo>
                      <a:pt x="250" y="1399"/>
                    </a:lnTo>
                    <a:lnTo>
                      <a:pt x="242" y="1394"/>
                    </a:lnTo>
                    <a:lnTo>
                      <a:pt x="237" y="1396"/>
                    </a:lnTo>
                    <a:lnTo>
                      <a:pt x="231" y="1390"/>
                    </a:lnTo>
                    <a:lnTo>
                      <a:pt x="231" y="1388"/>
                    </a:lnTo>
                    <a:lnTo>
                      <a:pt x="227" y="1384"/>
                    </a:lnTo>
                    <a:lnTo>
                      <a:pt x="225" y="1384"/>
                    </a:lnTo>
                    <a:lnTo>
                      <a:pt x="222" y="1384"/>
                    </a:lnTo>
                    <a:lnTo>
                      <a:pt x="224" y="1383"/>
                    </a:lnTo>
                    <a:lnTo>
                      <a:pt x="227" y="1379"/>
                    </a:lnTo>
                    <a:lnTo>
                      <a:pt x="225" y="1379"/>
                    </a:lnTo>
                    <a:lnTo>
                      <a:pt x="225" y="1377"/>
                    </a:lnTo>
                    <a:lnTo>
                      <a:pt x="227" y="1377"/>
                    </a:lnTo>
                    <a:lnTo>
                      <a:pt x="231" y="1379"/>
                    </a:lnTo>
                    <a:lnTo>
                      <a:pt x="231" y="1379"/>
                    </a:lnTo>
                    <a:lnTo>
                      <a:pt x="237" y="1379"/>
                    </a:lnTo>
                    <a:lnTo>
                      <a:pt x="237" y="1375"/>
                    </a:lnTo>
                    <a:lnTo>
                      <a:pt x="237" y="1373"/>
                    </a:lnTo>
                    <a:lnTo>
                      <a:pt x="237" y="1369"/>
                    </a:lnTo>
                    <a:lnTo>
                      <a:pt x="239" y="1366"/>
                    </a:lnTo>
                    <a:lnTo>
                      <a:pt x="239" y="1364"/>
                    </a:lnTo>
                    <a:lnTo>
                      <a:pt x="241" y="1362"/>
                    </a:lnTo>
                    <a:lnTo>
                      <a:pt x="242" y="1362"/>
                    </a:lnTo>
                    <a:lnTo>
                      <a:pt x="244" y="1360"/>
                    </a:lnTo>
                    <a:lnTo>
                      <a:pt x="248" y="1360"/>
                    </a:lnTo>
                    <a:lnTo>
                      <a:pt x="248" y="1358"/>
                    </a:lnTo>
                    <a:lnTo>
                      <a:pt x="242" y="1358"/>
                    </a:lnTo>
                    <a:lnTo>
                      <a:pt x="242" y="1354"/>
                    </a:lnTo>
                    <a:lnTo>
                      <a:pt x="241" y="1358"/>
                    </a:lnTo>
                    <a:lnTo>
                      <a:pt x="237" y="1354"/>
                    </a:lnTo>
                    <a:lnTo>
                      <a:pt x="237" y="1349"/>
                    </a:lnTo>
                    <a:lnTo>
                      <a:pt x="241" y="1349"/>
                    </a:lnTo>
                    <a:lnTo>
                      <a:pt x="246" y="1349"/>
                    </a:lnTo>
                    <a:lnTo>
                      <a:pt x="248" y="1345"/>
                    </a:lnTo>
                    <a:lnTo>
                      <a:pt x="246" y="1345"/>
                    </a:lnTo>
                    <a:lnTo>
                      <a:pt x="244" y="1345"/>
                    </a:lnTo>
                    <a:lnTo>
                      <a:pt x="248" y="1341"/>
                    </a:lnTo>
                    <a:lnTo>
                      <a:pt x="257" y="1335"/>
                    </a:lnTo>
                    <a:lnTo>
                      <a:pt x="257" y="1334"/>
                    </a:lnTo>
                    <a:lnTo>
                      <a:pt x="257" y="1334"/>
                    </a:lnTo>
                    <a:lnTo>
                      <a:pt x="252" y="1334"/>
                    </a:lnTo>
                    <a:lnTo>
                      <a:pt x="248" y="1335"/>
                    </a:lnTo>
                    <a:lnTo>
                      <a:pt x="244" y="1334"/>
                    </a:lnTo>
                    <a:lnTo>
                      <a:pt x="244" y="1334"/>
                    </a:lnTo>
                    <a:lnTo>
                      <a:pt x="244" y="1334"/>
                    </a:lnTo>
                    <a:lnTo>
                      <a:pt x="244" y="1326"/>
                    </a:lnTo>
                    <a:lnTo>
                      <a:pt x="248" y="1324"/>
                    </a:lnTo>
                    <a:lnTo>
                      <a:pt x="252" y="1318"/>
                    </a:lnTo>
                    <a:lnTo>
                      <a:pt x="261" y="1318"/>
                    </a:lnTo>
                    <a:lnTo>
                      <a:pt x="265" y="1317"/>
                    </a:lnTo>
                    <a:lnTo>
                      <a:pt x="265" y="1311"/>
                    </a:lnTo>
                    <a:lnTo>
                      <a:pt x="265" y="1303"/>
                    </a:lnTo>
                    <a:lnTo>
                      <a:pt x="265" y="1300"/>
                    </a:lnTo>
                    <a:lnTo>
                      <a:pt x="257" y="1294"/>
                    </a:lnTo>
                    <a:lnTo>
                      <a:pt x="261" y="1286"/>
                    </a:lnTo>
                    <a:lnTo>
                      <a:pt x="265" y="1286"/>
                    </a:lnTo>
                    <a:lnTo>
                      <a:pt x="267" y="1283"/>
                    </a:lnTo>
                    <a:lnTo>
                      <a:pt x="267" y="1277"/>
                    </a:lnTo>
                    <a:lnTo>
                      <a:pt x="265" y="1275"/>
                    </a:lnTo>
                    <a:lnTo>
                      <a:pt x="265" y="1271"/>
                    </a:lnTo>
                    <a:lnTo>
                      <a:pt x="261" y="1273"/>
                    </a:lnTo>
                    <a:lnTo>
                      <a:pt x="256" y="1273"/>
                    </a:lnTo>
                    <a:lnTo>
                      <a:pt x="250" y="1270"/>
                    </a:lnTo>
                    <a:lnTo>
                      <a:pt x="246" y="1270"/>
                    </a:lnTo>
                    <a:lnTo>
                      <a:pt x="242" y="1270"/>
                    </a:lnTo>
                    <a:lnTo>
                      <a:pt x="237" y="1270"/>
                    </a:lnTo>
                    <a:lnTo>
                      <a:pt x="231" y="1266"/>
                    </a:lnTo>
                    <a:lnTo>
                      <a:pt x="227" y="1270"/>
                    </a:lnTo>
                    <a:lnTo>
                      <a:pt x="227" y="1266"/>
                    </a:lnTo>
                    <a:lnTo>
                      <a:pt x="222" y="1264"/>
                    </a:lnTo>
                    <a:lnTo>
                      <a:pt x="216" y="1253"/>
                    </a:lnTo>
                    <a:lnTo>
                      <a:pt x="214" y="1254"/>
                    </a:lnTo>
                    <a:lnTo>
                      <a:pt x="207" y="1258"/>
                    </a:lnTo>
                    <a:lnTo>
                      <a:pt x="203" y="1258"/>
                    </a:lnTo>
                    <a:lnTo>
                      <a:pt x="201" y="1260"/>
                    </a:lnTo>
                    <a:lnTo>
                      <a:pt x="195" y="1256"/>
                    </a:lnTo>
                    <a:lnTo>
                      <a:pt x="192" y="1260"/>
                    </a:lnTo>
                    <a:lnTo>
                      <a:pt x="182" y="1253"/>
                    </a:lnTo>
                    <a:lnTo>
                      <a:pt x="182" y="1245"/>
                    </a:lnTo>
                    <a:lnTo>
                      <a:pt x="182" y="1239"/>
                    </a:lnTo>
                    <a:lnTo>
                      <a:pt x="178" y="1239"/>
                    </a:lnTo>
                    <a:lnTo>
                      <a:pt x="178" y="1236"/>
                    </a:lnTo>
                    <a:lnTo>
                      <a:pt x="173" y="1232"/>
                    </a:lnTo>
                    <a:lnTo>
                      <a:pt x="163" y="1236"/>
                    </a:lnTo>
                    <a:lnTo>
                      <a:pt x="158" y="1226"/>
                    </a:lnTo>
                    <a:lnTo>
                      <a:pt x="160" y="1224"/>
                    </a:lnTo>
                    <a:lnTo>
                      <a:pt x="156" y="1221"/>
                    </a:lnTo>
                    <a:lnTo>
                      <a:pt x="152" y="1211"/>
                    </a:lnTo>
                    <a:lnTo>
                      <a:pt x="148" y="1211"/>
                    </a:lnTo>
                    <a:lnTo>
                      <a:pt x="145" y="1213"/>
                    </a:lnTo>
                    <a:lnTo>
                      <a:pt x="135" y="1213"/>
                    </a:lnTo>
                    <a:lnTo>
                      <a:pt x="128" y="1211"/>
                    </a:lnTo>
                    <a:lnTo>
                      <a:pt x="124" y="1213"/>
                    </a:lnTo>
                    <a:lnTo>
                      <a:pt x="124" y="1217"/>
                    </a:lnTo>
                    <a:lnTo>
                      <a:pt x="118" y="1219"/>
                    </a:lnTo>
                    <a:lnTo>
                      <a:pt x="114" y="1217"/>
                    </a:lnTo>
                    <a:lnTo>
                      <a:pt x="114" y="1213"/>
                    </a:lnTo>
                    <a:lnTo>
                      <a:pt x="113" y="1207"/>
                    </a:lnTo>
                    <a:lnTo>
                      <a:pt x="113" y="1202"/>
                    </a:lnTo>
                    <a:lnTo>
                      <a:pt x="109" y="1196"/>
                    </a:lnTo>
                    <a:lnTo>
                      <a:pt x="109" y="1192"/>
                    </a:lnTo>
                    <a:lnTo>
                      <a:pt x="111" y="1190"/>
                    </a:lnTo>
                    <a:lnTo>
                      <a:pt x="114" y="1194"/>
                    </a:lnTo>
                    <a:lnTo>
                      <a:pt x="124" y="1192"/>
                    </a:lnTo>
                    <a:lnTo>
                      <a:pt x="128" y="1185"/>
                    </a:lnTo>
                    <a:lnTo>
                      <a:pt x="129" y="1183"/>
                    </a:lnTo>
                    <a:lnTo>
                      <a:pt x="124" y="1181"/>
                    </a:lnTo>
                    <a:lnTo>
                      <a:pt x="124" y="1177"/>
                    </a:lnTo>
                    <a:lnTo>
                      <a:pt x="118" y="1172"/>
                    </a:lnTo>
                    <a:lnTo>
                      <a:pt x="111" y="1170"/>
                    </a:lnTo>
                    <a:lnTo>
                      <a:pt x="109" y="1162"/>
                    </a:lnTo>
                    <a:lnTo>
                      <a:pt x="105" y="1160"/>
                    </a:lnTo>
                    <a:lnTo>
                      <a:pt x="103" y="1153"/>
                    </a:lnTo>
                    <a:lnTo>
                      <a:pt x="97" y="1151"/>
                    </a:lnTo>
                    <a:lnTo>
                      <a:pt x="94" y="1145"/>
                    </a:lnTo>
                    <a:lnTo>
                      <a:pt x="94" y="1138"/>
                    </a:lnTo>
                    <a:lnTo>
                      <a:pt x="90" y="1136"/>
                    </a:lnTo>
                    <a:lnTo>
                      <a:pt x="94" y="1130"/>
                    </a:lnTo>
                    <a:lnTo>
                      <a:pt x="90" y="1126"/>
                    </a:lnTo>
                    <a:lnTo>
                      <a:pt x="84" y="1123"/>
                    </a:lnTo>
                    <a:lnTo>
                      <a:pt x="81" y="1123"/>
                    </a:lnTo>
                    <a:lnTo>
                      <a:pt x="79" y="1121"/>
                    </a:lnTo>
                    <a:lnTo>
                      <a:pt x="73" y="1121"/>
                    </a:lnTo>
                    <a:lnTo>
                      <a:pt x="69" y="1124"/>
                    </a:lnTo>
                    <a:lnTo>
                      <a:pt x="65" y="1121"/>
                    </a:lnTo>
                    <a:lnTo>
                      <a:pt x="60" y="1121"/>
                    </a:lnTo>
                    <a:lnTo>
                      <a:pt x="56" y="1121"/>
                    </a:lnTo>
                    <a:lnTo>
                      <a:pt x="52" y="1117"/>
                    </a:lnTo>
                    <a:lnTo>
                      <a:pt x="49" y="1117"/>
                    </a:lnTo>
                    <a:lnTo>
                      <a:pt x="45" y="1117"/>
                    </a:lnTo>
                    <a:lnTo>
                      <a:pt x="43" y="1117"/>
                    </a:lnTo>
                    <a:lnTo>
                      <a:pt x="43" y="1111"/>
                    </a:lnTo>
                    <a:lnTo>
                      <a:pt x="41" y="1108"/>
                    </a:lnTo>
                    <a:lnTo>
                      <a:pt x="39" y="1102"/>
                    </a:lnTo>
                    <a:lnTo>
                      <a:pt x="39" y="1100"/>
                    </a:lnTo>
                    <a:lnTo>
                      <a:pt x="35" y="1094"/>
                    </a:lnTo>
                    <a:lnTo>
                      <a:pt x="35" y="1092"/>
                    </a:lnTo>
                    <a:lnTo>
                      <a:pt x="35" y="1089"/>
                    </a:lnTo>
                    <a:lnTo>
                      <a:pt x="33" y="1089"/>
                    </a:lnTo>
                    <a:lnTo>
                      <a:pt x="35" y="1087"/>
                    </a:lnTo>
                    <a:lnTo>
                      <a:pt x="33" y="1083"/>
                    </a:lnTo>
                    <a:lnTo>
                      <a:pt x="30" y="1083"/>
                    </a:lnTo>
                    <a:lnTo>
                      <a:pt x="33" y="1077"/>
                    </a:lnTo>
                    <a:lnTo>
                      <a:pt x="33" y="1076"/>
                    </a:lnTo>
                    <a:lnTo>
                      <a:pt x="35" y="1074"/>
                    </a:lnTo>
                    <a:lnTo>
                      <a:pt x="35" y="1070"/>
                    </a:lnTo>
                    <a:lnTo>
                      <a:pt x="26" y="1053"/>
                    </a:lnTo>
                    <a:lnTo>
                      <a:pt x="28" y="1040"/>
                    </a:lnTo>
                    <a:lnTo>
                      <a:pt x="30" y="1038"/>
                    </a:lnTo>
                    <a:lnTo>
                      <a:pt x="32" y="1032"/>
                    </a:lnTo>
                    <a:lnTo>
                      <a:pt x="35" y="1028"/>
                    </a:lnTo>
                    <a:lnTo>
                      <a:pt x="35" y="1027"/>
                    </a:lnTo>
                    <a:lnTo>
                      <a:pt x="35" y="1027"/>
                    </a:lnTo>
                    <a:lnTo>
                      <a:pt x="33" y="1023"/>
                    </a:lnTo>
                    <a:lnTo>
                      <a:pt x="33" y="1023"/>
                    </a:lnTo>
                    <a:lnTo>
                      <a:pt x="35" y="1019"/>
                    </a:lnTo>
                    <a:lnTo>
                      <a:pt x="33" y="1017"/>
                    </a:lnTo>
                    <a:lnTo>
                      <a:pt x="33" y="1015"/>
                    </a:lnTo>
                    <a:lnTo>
                      <a:pt x="35" y="1015"/>
                    </a:lnTo>
                    <a:lnTo>
                      <a:pt x="35" y="1019"/>
                    </a:lnTo>
                    <a:lnTo>
                      <a:pt x="39" y="1017"/>
                    </a:lnTo>
                    <a:lnTo>
                      <a:pt x="39" y="1013"/>
                    </a:lnTo>
                    <a:lnTo>
                      <a:pt x="39" y="1011"/>
                    </a:lnTo>
                    <a:lnTo>
                      <a:pt x="43" y="1013"/>
                    </a:lnTo>
                    <a:lnTo>
                      <a:pt x="49" y="1010"/>
                    </a:lnTo>
                    <a:lnTo>
                      <a:pt x="50" y="1008"/>
                    </a:lnTo>
                    <a:lnTo>
                      <a:pt x="52" y="1006"/>
                    </a:lnTo>
                    <a:lnTo>
                      <a:pt x="58" y="1008"/>
                    </a:lnTo>
                    <a:lnTo>
                      <a:pt x="60" y="1004"/>
                    </a:lnTo>
                    <a:lnTo>
                      <a:pt x="56" y="1002"/>
                    </a:lnTo>
                    <a:lnTo>
                      <a:pt x="54" y="1002"/>
                    </a:lnTo>
                    <a:lnTo>
                      <a:pt x="52" y="1002"/>
                    </a:lnTo>
                    <a:lnTo>
                      <a:pt x="47" y="1002"/>
                    </a:lnTo>
                    <a:lnTo>
                      <a:pt x="45" y="998"/>
                    </a:lnTo>
                    <a:lnTo>
                      <a:pt x="41" y="998"/>
                    </a:lnTo>
                    <a:lnTo>
                      <a:pt x="35" y="993"/>
                    </a:lnTo>
                    <a:lnTo>
                      <a:pt x="35" y="989"/>
                    </a:lnTo>
                    <a:lnTo>
                      <a:pt x="41" y="993"/>
                    </a:lnTo>
                    <a:lnTo>
                      <a:pt x="41" y="989"/>
                    </a:lnTo>
                    <a:lnTo>
                      <a:pt x="39" y="989"/>
                    </a:lnTo>
                    <a:lnTo>
                      <a:pt x="43" y="987"/>
                    </a:lnTo>
                    <a:lnTo>
                      <a:pt x="39" y="987"/>
                    </a:lnTo>
                    <a:lnTo>
                      <a:pt x="39" y="987"/>
                    </a:lnTo>
                    <a:lnTo>
                      <a:pt x="33" y="989"/>
                    </a:lnTo>
                    <a:lnTo>
                      <a:pt x="33" y="989"/>
                    </a:lnTo>
                    <a:lnTo>
                      <a:pt x="33" y="989"/>
                    </a:lnTo>
                    <a:lnTo>
                      <a:pt x="33" y="989"/>
                    </a:lnTo>
                    <a:lnTo>
                      <a:pt x="32" y="985"/>
                    </a:lnTo>
                    <a:lnTo>
                      <a:pt x="39" y="978"/>
                    </a:lnTo>
                    <a:lnTo>
                      <a:pt x="45" y="974"/>
                    </a:lnTo>
                    <a:lnTo>
                      <a:pt x="50" y="964"/>
                    </a:lnTo>
                    <a:lnTo>
                      <a:pt x="54" y="959"/>
                    </a:lnTo>
                    <a:lnTo>
                      <a:pt x="60" y="949"/>
                    </a:lnTo>
                    <a:lnTo>
                      <a:pt x="65" y="938"/>
                    </a:lnTo>
                    <a:lnTo>
                      <a:pt x="71" y="923"/>
                    </a:lnTo>
                    <a:lnTo>
                      <a:pt x="69" y="917"/>
                    </a:lnTo>
                    <a:lnTo>
                      <a:pt x="64" y="908"/>
                    </a:lnTo>
                    <a:lnTo>
                      <a:pt x="58" y="908"/>
                    </a:lnTo>
                    <a:lnTo>
                      <a:pt x="49" y="895"/>
                    </a:lnTo>
                    <a:lnTo>
                      <a:pt x="50" y="889"/>
                    </a:lnTo>
                    <a:lnTo>
                      <a:pt x="54" y="883"/>
                    </a:lnTo>
                    <a:lnTo>
                      <a:pt x="54" y="878"/>
                    </a:lnTo>
                    <a:lnTo>
                      <a:pt x="49" y="874"/>
                    </a:lnTo>
                    <a:lnTo>
                      <a:pt x="45" y="870"/>
                    </a:lnTo>
                    <a:lnTo>
                      <a:pt x="45" y="865"/>
                    </a:lnTo>
                    <a:lnTo>
                      <a:pt x="47" y="863"/>
                    </a:lnTo>
                    <a:lnTo>
                      <a:pt x="45" y="859"/>
                    </a:lnTo>
                    <a:lnTo>
                      <a:pt x="41" y="857"/>
                    </a:lnTo>
                    <a:lnTo>
                      <a:pt x="39" y="855"/>
                    </a:lnTo>
                    <a:lnTo>
                      <a:pt x="39" y="849"/>
                    </a:lnTo>
                    <a:lnTo>
                      <a:pt x="41" y="844"/>
                    </a:lnTo>
                    <a:lnTo>
                      <a:pt x="39" y="844"/>
                    </a:lnTo>
                    <a:lnTo>
                      <a:pt x="39" y="840"/>
                    </a:lnTo>
                    <a:lnTo>
                      <a:pt x="39" y="829"/>
                    </a:lnTo>
                    <a:lnTo>
                      <a:pt x="41" y="829"/>
                    </a:lnTo>
                    <a:lnTo>
                      <a:pt x="33" y="810"/>
                    </a:lnTo>
                    <a:lnTo>
                      <a:pt x="26" y="795"/>
                    </a:lnTo>
                    <a:lnTo>
                      <a:pt x="24" y="789"/>
                    </a:lnTo>
                    <a:lnTo>
                      <a:pt x="20" y="785"/>
                    </a:lnTo>
                    <a:lnTo>
                      <a:pt x="22" y="776"/>
                    </a:lnTo>
                    <a:lnTo>
                      <a:pt x="26" y="770"/>
                    </a:lnTo>
                    <a:lnTo>
                      <a:pt x="28" y="765"/>
                    </a:lnTo>
                    <a:lnTo>
                      <a:pt x="26" y="763"/>
                    </a:lnTo>
                    <a:lnTo>
                      <a:pt x="17" y="757"/>
                    </a:lnTo>
                    <a:lnTo>
                      <a:pt x="17" y="755"/>
                    </a:lnTo>
                    <a:lnTo>
                      <a:pt x="15" y="750"/>
                    </a:lnTo>
                    <a:lnTo>
                      <a:pt x="9" y="748"/>
                    </a:lnTo>
                    <a:lnTo>
                      <a:pt x="7" y="746"/>
                    </a:lnTo>
                    <a:lnTo>
                      <a:pt x="1" y="738"/>
                    </a:lnTo>
                    <a:lnTo>
                      <a:pt x="0" y="735"/>
                    </a:lnTo>
                    <a:lnTo>
                      <a:pt x="1" y="727"/>
                    </a:lnTo>
                    <a:lnTo>
                      <a:pt x="1" y="725"/>
                    </a:lnTo>
                    <a:lnTo>
                      <a:pt x="0" y="721"/>
                    </a:lnTo>
                    <a:lnTo>
                      <a:pt x="1" y="721"/>
                    </a:lnTo>
                    <a:lnTo>
                      <a:pt x="7" y="718"/>
                    </a:lnTo>
                    <a:lnTo>
                      <a:pt x="7" y="718"/>
                    </a:lnTo>
                    <a:lnTo>
                      <a:pt x="11" y="718"/>
                    </a:lnTo>
                    <a:lnTo>
                      <a:pt x="11" y="712"/>
                    </a:lnTo>
                    <a:lnTo>
                      <a:pt x="15" y="706"/>
                    </a:lnTo>
                    <a:lnTo>
                      <a:pt x="18" y="706"/>
                    </a:lnTo>
                    <a:lnTo>
                      <a:pt x="22" y="703"/>
                    </a:lnTo>
                    <a:lnTo>
                      <a:pt x="20" y="697"/>
                    </a:lnTo>
                    <a:lnTo>
                      <a:pt x="24" y="697"/>
                    </a:lnTo>
                    <a:lnTo>
                      <a:pt x="28" y="697"/>
                    </a:lnTo>
                    <a:lnTo>
                      <a:pt x="32" y="697"/>
                    </a:lnTo>
                    <a:lnTo>
                      <a:pt x="30" y="691"/>
                    </a:lnTo>
                    <a:lnTo>
                      <a:pt x="32" y="691"/>
                    </a:lnTo>
                    <a:lnTo>
                      <a:pt x="35" y="691"/>
                    </a:lnTo>
                    <a:lnTo>
                      <a:pt x="35" y="693"/>
                    </a:lnTo>
                    <a:lnTo>
                      <a:pt x="35" y="697"/>
                    </a:lnTo>
                    <a:lnTo>
                      <a:pt x="39" y="701"/>
                    </a:lnTo>
                    <a:lnTo>
                      <a:pt x="39" y="693"/>
                    </a:lnTo>
                    <a:lnTo>
                      <a:pt x="39" y="691"/>
                    </a:lnTo>
                    <a:lnTo>
                      <a:pt x="41" y="691"/>
                    </a:lnTo>
                    <a:lnTo>
                      <a:pt x="43" y="691"/>
                    </a:lnTo>
                    <a:lnTo>
                      <a:pt x="39" y="687"/>
                    </a:lnTo>
                    <a:lnTo>
                      <a:pt x="39" y="687"/>
                    </a:lnTo>
                    <a:lnTo>
                      <a:pt x="41" y="687"/>
                    </a:lnTo>
                    <a:lnTo>
                      <a:pt x="45" y="687"/>
                    </a:lnTo>
                    <a:lnTo>
                      <a:pt x="45" y="687"/>
                    </a:lnTo>
                    <a:lnTo>
                      <a:pt x="43" y="687"/>
                    </a:lnTo>
                    <a:lnTo>
                      <a:pt x="41" y="684"/>
                    </a:lnTo>
                    <a:lnTo>
                      <a:pt x="43" y="684"/>
                    </a:lnTo>
                    <a:lnTo>
                      <a:pt x="47" y="684"/>
                    </a:lnTo>
                    <a:lnTo>
                      <a:pt x="50" y="686"/>
                    </a:lnTo>
                    <a:lnTo>
                      <a:pt x="52" y="687"/>
                    </a:lnTo>
                    <a:lnTo>
                      <a:pt x="54" y="687"/>
                    </a:lnTo>
                    <a:lnTo>
                      <a:pt x="56" y="687"/>
                    </a:lnTo>
                    <a:lnTo>
                      <a:pt x="58" y="687"/>
                    </a:lnTo>
                    <a:lnTo>
                      <a:pt x="60" y="691"/>
                    </a:lnTo>
                    <a:lnTo>
                      <a:pt x="60" y="691"/>
                    </a:lnTo>
                    <a:lnTo>
                      <a:pt x="60" y="693"/>
                    </a:lnTo>
                    <a:lnTo>
                      <a:pt x="60" y="697"/>
                    </a:lnTo>
                    <a:lnTo>
                      <a:pt x="56" y="697"/>
                    </a:lnTo>
                    <a:lnTo>
                      <a:pt x="52" y="697"/>
                    </a:lnTo>
                    <a:lnTo>
                      <a:pt x="49" y="691"/>
                    </a:lnTo>
                    <a:lnTo>
                      <a:pt x="49" y="691"/>
                    </a:lnTo>
                    <a:lnTo>
                      <a:pt x="47" y="691"/>
                    </a:lnTo>
                    <a:lnTo>
                      <a:pt x="47" y="697"/>
                    </a:lnTo>
                    <a:lnTo>
                      <a:pt x="47" y="701"/>
                    </a:lnTo>
                    <a:lnTo>
                      <a:pt x="50" y="697"/>
                    </a:lnTo>
                    <a:lnTo>
                      <a:pt x="52" y="701"/>
                    </a:lnTo>
                    <a:lnTo>
                      <a:pt x="52" y="703"/>
                    </a:lnTo>
                    <a:lnTo>
                      <a:pt x="56" y="701"/>
                    </a:lnTo>
                    <a:lnTo>
                      <a:pt x="58" y="701"/>
                    </a:lnTo>
                    <a:lnTo>
                      <a:pt x="60" y="703"/>
                    </a:lnTo>
                    <a:lnTo>
                      <a:pt x="60" y="703"/>
                    </a:lnTo>
                    <a:lnTo>
                      <a:pt x="60" y="701"/>
                    </a:lnTo>
                    <a:lnTo>
                      <a:pt x="64" y="703"/>
                    </a:lnTo>
                    <a:lnTo>
                      <a:pt x="60" y="703"/>
                    </a:lnTo>
                    <a:lnTo>
                      <a:pt x="60" y="706"/>
                    </a:lnTo>
                    <a:lnTo>
                      <a:pt x="65" y="701"/>
                    </a:lnTo>
                    <a:lnTo>
                      <a:pt x="65" y="701"/>
                    </a:lnTo>
                    <a:lnTo>
                      <a:pt x="69" y="701"/>
                    </a:lnTo>
                    <a:lnTo>
                      <a:pt x="65" y="703"/>
                    </a:lnTo>
                    <a:lnTo>
                      <a:pt x="65" y="704"/>
                    </a:lnTo>
                    <a:lnTo>
                      <a:pt x="69" y="704"/>
                    </a:lnTo>
                    <a:lnTo>
                      <a:pt x="69" y="706"/>
                    </a:lnTo>
                    <a:lnTo>
                      <a:pt x="69" y="708"/>
                    </a:lnTo>
                    <a:lnTo>
                      <a:pt x="65" y="712"/>
                    </a:lnTo>
                    <a:lnTo>
                      <a:pt x="69" y="710"/>
                    </a:lnTo>
                    <a:lnTo>
                      <a:pt x="71" y="706"/>
                    </a:lnTo>
                    <a:lnTo>
                      <a:pt x="71" y="704"/>
                    </a:lnTo>
                    <a:lnTo>
                      <a:pt x="73" y="703"/>
                    </a:lnTo>
                    <a:lnTo>
                      <a:pt x="77" y="701"/>
                    </a:lnTo>
                    <a:lnTo>
                      <a:pt x="79" y="704"/>
                    </a:lnTo>
                    <a:lnTo>
                      <a:pt x="81" y="703"/>
                    </a:lnTo>
                    <a:lnTo>
                      <a:pt x="79" y="701"/>
                    </a:lnTo>
                    <a:lnTo>
                      <a:pt x="79" y="701"/>
                    </a:lnTo>
                    <a:lnTo>
                      <a:pt x="82" y="701"/>
                    </a:lnTo>
                    <a:lnTo>
                      <a:pt x="84" y="703"/>
                    </a:lnTo>
                    <a:lnTo>
                      <a:pt x="90" y="703"/>
                    </a:lnTo>
                    <a:lnTo>
                      <a:pt x="94" y="704"/>
                    </a:lnTo>
                    <a:lnTo>
                      <a:pt x="96" y="703"/>
                    </a:lnTo>
                    <a:lnTo>
                      <a:pt x="94" y="701"/>
                    </a:lnTo>
                    <a:lnTo>
                      <a:pt x="99" y="703"/>
                    </a:lnTo>
                    <a:lnTo>
                      <a:pt x="103" y="704"/>
                    </a:lnTo>
                    <a:lnTo>
                      <a:pt x="103" y="703"/>
                    </a:lnTo>
                    <a:lnTo>
                      <a:pt x="109" y="704"/>
                    </a:lnTo>
                    <a:lnTo>
                      <a:pt x="128" y="716"/>
                    </a:lnTo>
                    <a:lnTo>
                      <a:pt x="141" y="725"/>
                    </a:lnTo>
                    <a:lnTo>
                      <a:pt x="143" y="727"/>
                    </a:lnTo>
                    <a:lnTo>
                      <a:pt x="145" y="727"/>
                    </a:lnTo>
                    <a:lnTo>
                      <a:pt x="152" y="735"/>
                    </a:lnTo>
                    <a:lnTo>
                      <a:pt x="152" y="735"/>
                    </a:lnTo>
                    <a:lnTo>
                      <a:pt x="152" y="733"/>
                    </a:lnTo>
                    <a:lnTo>
                      <a:pt x="152" y="731"/>
                    </a:lnTo>
                    <a:lnTo>
                      <a:pt x="154" y="731"/>
                    </a:lnTo>
                    <a:lnTo>
                      <a:pt x="160" y="736"/>
                    </a:lnTo>
                    <a:lnTo>
                      <a:pt x="163" y="736"/>
                    </a:lnTo>
                    <a:lnTo>
                      <a:pt x="167" y="740"/>
                    </a:lnTo>
                    <a:lnTo>
                      <a:pt x="169" y="740"/>
                    </a:lnTo>
                    <a:lnTo>
                      <a:pt x="167" y="735"/>
                    </a:lnTo>
                    <a:lnTo>
                      <a:pt x="167" y="733"/>
                    </a:lnTo>
                    <a:lnTo>
                      <a:pt x="169" y="733"/>
                    </a:lnTo>
                    <a:lnTo>
                      <a:pt x="173" y="738"/>
                    </a:lnTo>
                    <a:lnTo>
                      <a:pt x="173" y="740"/>
                    </a:lnTo>
                    <a:lnTo>
                      <a:pt x="178" y="746"/>
                    </a:lnTo>
                    <a:lnTo>
                      <a:pt x="178" y="750"/>
                    </a:lnTo>
                    <a:lnTo>
                      <a:pt x="182" y="752"/>
                    </a:lnTo>
                    <a:lnTo>
                      <a:pt x="184" y="750"/>
                    </a:lnTo>
                    <a:lnTo>
                      <a:pt x="186" y="750"/>
                    </a:lnTo>
                    <a:lnTo>
                      <a:pt x="192" y="755"/>
                    </a:lnTo>
                    <a:lnTo>
                      <a:pt x="192" y="757"/>
                    </a:lnTo>
                    <a:lnTo>
                      <a:pt x="195" y="759"/>
                    </a:lnTo>
                    <a:lnTo>
                      <a:pt x="197" y="765"/>
                    </a:lnTo>
                    <a:lnTo>
                      <a:pt x="199" y="763"/>
                    </a:lnTo>
                    <a:lnTo>
                      <a:pt x="201" y="765"/>
                    </a:lnTo>
                    <a:lnTo>
                      <a:pt x="201" y="770"/>
                    </a:lnTo>
                    <a:lnTo>
                      <a:pt x="201" y="774"/>
                    </a:lnTo>
                    <a:lnTo>
                      <a:pt x="199" y="780"/>
                    </a:lnTo>
                    <a:lnTo>
                      <a:pt x="199" y="782"/>
                    </a:lnTo>
                    <a:lnTo>
                      <a:pt x="199" y="785"/>
                    </a:lnTo>
                    <a:lnTo>
                      <a:pt x="193" y="789"/>
                    </a:lnTo>
                    <a:lnTo>
                      <a:pt x="193" y="793"/>
                    </a:lnTo>
                    <a:lnTo>
                      <a:pt x="186" y="802"/>
                    </a:lnTo>
                    <a:lnTo>
                      <a:pt x="182" y="806"/>
                    </a:lnTo>
                    <a:lnTo>
                      <a:pt x="177" y="806"/>
                    </a:lnTo>
                    <a:lnTo>
                      <a:pt x="173" y="806"/>
                    </a:lnTo>
                    <a:lnTo>
                      <a:pt x="167" y="806"/>
                    </a:lnTo>
                    <a:lnTo>
                      <a:pt x="167" y="810"/>
                    </a:lnTo>
                    <a:lnTo>
                      <a:pt x="158" y="810"/>
                    </a:lnTo>
                    <a:lnTo>
                      <a:pt x="148" y="810"/>
                    </a:lnTo>
                    <a:lnTo>
                      <a:pt x="141" y="810"/>
                    </a:lnTo>
                    <a:lnTo>
                      <a:pt x="137" y="806"/>
                    </a:lnTo>
                    <a:lnTo>
                      <a:pt x="133" y="806"/>
                    </a:lnTo>
                    <a:lnTo>
                      <a:pt x="131" y="806"/>
                    </a:lnTo>
                    <a:lnTo>
                      <a:pt x="128" y="806"/>
                    </a:lnTo>
                    <a:lnTo>
                      <a:pt x="124" y="804"/>
                    </a:lnTo>
                    <a:lnTo>
                      <a:pt x="124" y="804"/>
                    </a:lnTo>
                    <a:lnTo>
                      <a:pt x="118" y="806"/>
                    </a:lnTo>
                    <a:lnTo>
                      <a:pt x="114" y="800"/>
                    </a:lnTo>
                    <a:lnTo>
                      <a:pt x="114" y="799"/>
                    </a:lnTo>
                    <a:lnTo>
                      <a:pt x="111" y="799"/>
                    </a:lnTo>
                    <a:lnTo>
                      <a:pt x="109" y="799"/>
                    </a:lnTo>
                    <a:lnTo>
                      <a:pt x="109" y="799"/>
                    </a:lnTo>
                    <a:lnTo>
                      <a:pt x="103" y="799"/>
                    </a:lnTo>
                    <a:lnTo>
                      <a:pt x="103" y="800"/>
                    </a:lnTo>
                    <a:lnTo>
                      <a:pt x="97" y="800"/>
                    </a:lnTo>
                    <a:lnTo>
                      <a:pt x="97" y="797"/>
                    </a:lnTo>
                    <a:lnTo>
                      <a:pt x="96" y="797"/>
                    </a:lnTo>
                    <a:lnTo>
                      <a:pt x="99" y="795"/>
                    </a:lnTo>
                    <a:lnTo>
                      <a:pt x="96" y="791"/>
                    </a:lnTo>
                    <a:lnTo>
                      <a:pt x="96" y="793"/>
                    </a:lnTo>
                    <a:lnTo>
                      <a:pt x="90" y="793"/>
                    </a:lnTo>
                    <a:lnTo>
                      <a:pt x="86" y="791"/>
                    </a:lnTo>
                    <a:lnTo>
                      <a:pt x="86" y="791"/>
                    </a:lnTo>
                    <a:lnTo>
                      <a:pt x="84" y="791"/>
                    </a:lnTo>
                    <a:lnTo>
                      <a:pt x="75" y="785"/>
                    </a:lnTo>
                    <a:lnTo>
                      <a:pt x="75" y="782"/>
                    </a:lnTo>
                    <a:lnTo>
                      <a:pt x="69" y="782"/>
                    </a:lnTo>
                    <a:lnTo>
                      <a:pt x="69" y="782"/>
                    </a:lnTo>
                    <a:lnTo>
                      <a:pt x="65" y="782"/>
                    </a:lnTo>
                    <a:lnTo>
                      <a:pt x="65" y="782"/>
                    </a:lnTo>
                    <a:lnTo>
                      <a:pt x="69" y="785"/>
                    </a:lnTo>
                    <a:lnTo>
                      <a:pt x="69" y="789"/>
                    </a:lnTo>
                    <a:lnTo>
                      <a:pt x="73" y="791"/>
                    </a:lnTo>
                    <a:lnTo>
                      <a:pt x="75" y="795"/>
                    </a:lnTo>
                    <a:lnTo>
                      <a:pt x="81" y="797"/>
                    </a:lnTo>
                    <a:lnTo>
                      <a:pt x="81" y="797"/>
                    </a:lnTo>
                    <a:lnTo>
                      <a:pt x="77" y="800"/>
                    </a:lnTo>
                    <a:lnTo>
                      <a:pt x="75" y="802"/>
                    </a:lnTo>
                    <a:lnTo>
                      <a:pt x="77" y="802"/>
                    </a:lnTo>
                    <a:lnTo>
                      <a:pt x="82" y="800"/>
                    </a:lnTo>
                    <a:lnTo>
                      <a:pt x="86" y="800"/>
                    </a:lnTo>
                    <a:lnTo>
                      <a:pt x="88" y="802"/>
                    </a:lnTo>
                    <a:lnTo>
                      <a:pt x="86" y="802"/>
                    </a:lnTo>
                    <a:lnTo>
                      <a:pt x="86" y="804"/>
                    </a:lnTo>
                    <a:lnTo>
                      <a:pt x="90" y="804"/>
                    </a:lnTo>
                    <a:lnTo>
                      <a:pt x="88" y="806"/>
                    </a:lnTo>
                    <a:lnTo>
                      <a:pt x="84" y="806"/>
                    </a:lnTo>
                    <a:lnTo>
                      <a:pt x="82" y="810"/>
                    </a:lnTo>
                    <a:lnTo>
                      <a:pt x="88" y="810"/>
                    </a:lnTo>
                    <a:lnTo>
                      <a:pt x="90" y="810"/>
                    </a:lnTo>
                    <a:lnTo>
                      <a:pt x="90" y="810"/>
                    </a:lnTo>
                    <a:lnTo>
                      <a:pt x="94" y="810"/>
                    </a:lnTo>
                    <a:lnTo>
                      <a:pt x="96" y="810"/>
                    </a:lnTo>
                    <a:lnTo>
                      <a:pt x="103" y="812"/>
                    </a:lnTo>
                    <a:lnTo>
                      <a:pt x="109" y="819"/>
                    </a:lnTo>
                    <a:lnTo>
                      <a:pt x="111" y="819"/>
                    </a:lnTo>
                    <a:lnTo>
                      <a:pt x="109" y="821"/>
                    </a:lnTo>
                    <a:lnTo>
                      <a:pt x="109" y="823"/>
                    </a:lnTo>
                    <a:lnTo>
                      <a:pt x="111" y="823"/>
                    </a:lnTo>
                    <a:lnTo>
                      <a:pt x="111" y="827"/>
                    </a:lnTo>
                    <a:lnTo>
                      <a:pt x="111" y="834"/>
                    </a:lnTo>
                    <a:lnTo>
                      <a:pt x="107" y="834"/>
                    </a:lnTo>
                    <a:lnTo>
                      <a:pt x="107" y="838"/>
                    </a:lnTo>
                    <a:lnTo>
                      <a:pt x="109" y="840"/>
                    </a:lnTo>
                    <a:lnTo>
                      <a:pt x="109" y="844"/>
                    </a:lnTo>
                    <a:lnTo>
                      <a:pt x="114" y="849"/>
                    </a:lnTo>
                    <a:lnTo>
                      <a:pt x="114" y="849"/>
                    </a:lnTo>
                    <a:lnTo>
                      <a:pt x="118" y="853"/>
                    </a:lnTo>
                    <a:lnTo>
                      <a:pt x="118" y="857"/>
                    </a:lnTo>
                    <a:lnTo>
                      <a:pt x="118" y="861"/>
                    </a:lnTo>
                    <a:lnTo>
                      <a:pt x="118" y="865"/>
                    </a:lnTo>
                    <a:lnTo>
                      <a:pt x="118" y="866"/>
                    </a:lnTo>
                    <a:lnTo>
                      <a:pt x="120" y="870"/>
                    </a:lnTo>
                    <a:lnTo>
                      <a:pt x="128" y="870"/>
                    </a:lnTo>
                    <a:lnTo>
                      <a:pt x="131" y="870"/>
                    </a:lnTo>
                    <a:lnTo>
                      <a:pt x="133" y="870"/>
                    </a:lnTo>
                    <a:lnTo>
                      <a:pt x="135" y="874"/>
                    </a:lnTo>
                    <a:lnTo>
                      <a:pt x="139" y="874"/>
                    </a:lnTo>
                    <a:lnTo>
                      <a:pt x="139" y="880"/>
                    </a:lnTo>
                    <a:lnTo>
                      <a:pt x="141" y="880"/>
                    </a:lnTo>
                    <a:lnTo>
                      <a:pt x="145" y="880"/>
                    </a:lnTo>
                    <a:lnTo>
                      <a:pt x="148" y="881"/>
                    </a:lnTo>
                    <a:lnTo>
                      <a:pt x="154" y="883"/>
                    </a:lnTo>
                    <a:lnTo>
                      <a:pt x="158" y="885"/>
                    </a:lnTo>
                    <a:lnTo>
                      <a:pt x="160" y="885"/>
                    </a:lnTo>
                    <a:lnTo>
                      <a:pt x="163" y="881"/>
                    </a:lnTo>
                    <a:lnTo>
                      <a:pt x="167" y="881"/>
                    </a:lnTo>
                    <a:lnTo>
                      <a:pt x="169" y="880"/>
                    </a:lnTo>
                    <a:lnTo>
                      <a:pt x="169" y="874"/>
                    </a:lnTo>
                    <a:lnTo>
                      <a:pt x="167" y="874"/>
                    </a:lnTo>
                    <a:lnTo>
                      <a:pt x="167" y="870"/>
                    </a:lnTo>
                    <a:lnTo>
                      <a:pt x="167" y="870"/>
                    </a:lnTo>
                    <a:lnTo>
                      <a:pt x="163" y="868"/>
                    </a:lnTo>
                    <a:lnTo>
                      <a:pt x="163" y="865"/>
                    </a:lnTo>
                    <a:lnTo>
                      <a:pt x="160" y="866"/>
                    </a:lnTo>
                    <a:lnTo>
                      <a:pt x="158" y="866"/>
                    </a:lnTo>
                    <a:lnTo>
                      <a:pt x="154" y="868"/>
                    </a:lnTo>
                    <a:lnTo>
                      <a:pt x="148" y="866"/>
                    </a:lnTo>
                    <a:lnTo>
                      <a:pt x="145" y="861"/>
                    </a:lnTo>
                    <a:lnTo>
                      <a:pt x="143" y="859"/>
                    </a:lnTo>
                    <a:lnTo>
                      <a:pt x="141" y="855"/>
                    </a:lnTo>
                    <a:lnTo>
                      <a:pt x="137" y="849"/>
                    </a:lnTo>
                    <a:lnTo>
                      <a:pt x="143" y="849"/>
                    </a:lnTo>
                    <a:lnTo>
                      <a:pt x="145" y="849"/>
                    </a:lnTo>
                    <a:lnTo>
                      <a:pt x="143" y="846"/>
                    </a:lnTo>
                    <a:lnTo>
                      <a:pt x="145" y="844"/>
                    </a:lnTo>
                    <a:lnTo>
                      <a:pt x="143" y="840"/>
                    </a:lnTo>
                    <a:lnTo>
                      <a:pt x="143" y="840"/>
                    </a:lnTo>
                    <a:lnTo>
                      <a:pt x="148" y="840"/>
                    </a:lnTo>
                    <a:lnTo>
                      <a:pt x="152" y="840"/>
                    </a:lnTo>
                    <a:lnTo>
                      <a:pt x="156" y="844"/>
                    </a:lnTo>
                    <a:lnTo>
                      <a:pt x="160" y="846"/>
                    </a:lnTo>
                    <a:lnTo>
                      <a:pt x="161" y="849"/>
                    </a:lnTo>
                    <a:lnTo>
                      <a:pt x="169" y="849"/>
                    </a:lnTo>
                    <a:lnTo>
                      <a:pt x="169" y="851"/>
                    </a:lnTo>
                    <a:lnTo>
                      <a:pt x="173" y="851"/>
                    </a:lnTo>
                    <a:lnTo>
                      <a:pt x="186" y="859"/>
                    </a:lnTo>
                    <a:lnTo>
                      <a:pt x="192" y="863"/>
                    </a:lnTo>
                    <a:lnTo>
                      <a:pt x="193" y="859"/>
                    </a:lnTo>
                    <a:lnTo>
                      <a:pt x="195" y="857"/>
                    </a:lnTo>
                    <a:lnTo>
                      <a:pt x="195" y="853"/>
                    </a:lnTo>
                    <a:lnTo>
                      <a:pt x="199" y="853"/>
                    </a:lnTo>
                    <a:lnTo>
                      <a:pt x="203" y="849"/>
                    </a:lnTo>
                    <a:lnTo>
                      <a:pt x="197" y="844"/>
                    </a:lnTo>
                    <a:lnTo>
                      <a:pt x="188" y="834"/>
                    </a:lnTo>
                    <a:lnTo>
                      <a:pt x="186" y="829"/>
                    </a:lnTo>
                    <a:lnTo>
                      <a:pt x="186" y="825"/>
                    </a:lnTo>
                    <a:lnTo>
                      <a:pt x="192" y="821"/>
                    </a:lnTo>
                    <a:lnTo>
                      <a:pt x="195" y="816"/>
                    </a:lnTo>
                    <a:lnTo>
                      <a:pt x="197" y="810"/>
                    </a:lnTo>
                    <a:lnTo>
                      <a:pt x="201" y="806"/>
                    </a:lnTo>
                    <a:lnTo>
                      <a:pt x="203" y="806"/>
                    </a:lnTo>
                    <a:lnTo>
                      <a:pt x="210" y="802"/>
                    </a:lnTo>
                    <a:lnTo>
                      <a:pt x="214" y="793"/>
                    </a:lnTo>
                    <a:lnTo>
                      <a:pt x="218" y="791"/>
                    </a:lnTo>
                    <a:lnTo>
                      <a:pt x="222" y="791"/>
                    </a:lnTo>
                    <a:lnTo>
                      <a:pt x="225" y="795"/>
                    </a:lnTo>
                    <a:lnTo>
                      <a:pt x="231" y="795"/>
                    </a:lnTo>
                    <a:lnTo>
                      <a:pt x="237" y="795"/>
                    </a:lnTo>
                    <a:lnTo>
                      <a:pt x="239" y="797"/>
                    </a:lnTo>
                    <a:lnTo>
                      <a:pt x="237" y="802"/>
                    </a:lnTo>
                    <a:lnTo>
                      <a:pt x="242" y="797"/>
                    </a:lnTo>
                    <a:lnTo>
                      <a:pt x="246" y="800"/>
                    </a:lnTo>
                    <a:lnTo>
                      <a:pt x="248" y="806"/>
                    </a:lnTo>
                    <a:lnTo>
                      <a:pt x="252" y="806"/>
                    </a:lnTo>
                    <a:lnTo>
                      <a:pt x="250" y="800"/>
                    </a:lnTo>
                    <a:lnTo>
                      <a:pt x="248" y="795"/>
                    </a:lnTo>
                    <a:lnTo>
                      <a:pt x="250" y="793"/>
                    </a:lnTo>
                    <a:lnTo>
                      <a:pt x="250" y="785"/>
                    </a:lnTo>
                    <a:lnTo>
                      <a:pt x="250" y="782"/>
                    </a:lnTo>
                    <a:lnTo>
                      <a:pt x="248" y="782"/>
                    </a:lnTo>
                    <a:lnTo>
                      <a:pt x="248" y="780"/>
                    </a:lnTo>
                    <a:lnTo>
                      <a:pt x="250" y="776"/>
                    </a:lnTo>
                    <a:lnTo>
                      <a:pt x="248" y="776"/>
                    </a:lnTo>
                    <a:lnTo>
                      <a:pt x="250" y="774"/>
                    </a:lnTo>
                    <a:lnTo>
                      <a:pt x="246" y="770"/>
                    </a:lnTo>
                    <a:lnTo>
                      <a:pt x="242" y="768"/>
                    </a:lnTo>
                    <a:lnTo>
                      <a:pt x="237" y="768"/>
                    </a:lnTo>
                    <a:lnTo>
                      <a:pt x="237" y="763"/>
                    </a:lnTo>
                    <a:lnTo>
                      <a:pt x="237" y="757"/>
                    </a:lnTo>
                    <a:lnTo>
                      <a:pt x="237" y="752"/>
                    </a:lnTo>
                    <a:lnTo>
                      <a:pt x="237" y="750"/>
                    </a:lnTo>
                    <a:lnTo>
                      <a:pt x="237" y="748"/>
                    </a:lnTo>
                    <a:lnTo>
                      <a:pt x="237" y="744"/>
                    </a:lnTo>
                    <a:lnTo>
                      <a:pt x="239" y="742"/>
                    </a:lnTo>
                    <a:lnTo>
                      <a:pt x="237" y="738"/>
                    </a:lnTo>
                    <a:lnTo>
                      <a:pt x="237" y="735"/>
                    </a:lnTo>
                    <a:lnTo>
                      <a:pt x="233" y="727"/>
                    </a:lnTo>
                    <a:lnTo>
                      <a:pt x="227" y="721"/>
                    </a:lnTo>
                    <a:lnTo>
                      <a:pt x="220" y="716"/>
                    </a:lnTo>
                    <a:lnTo>
                      <a:pt x="220" y="714"/>
                    </a:lnTo>
                    <a:lnTo>
                      <a:pt x="224" y="714"/>
                    </a:lnTo>
                    <a:lnTo>
                      <a:pt x="231" y="718"/>
                    </a:lnTo>
                    <a:lnTo>
                      <a:pt x="237" y="718"/>
                    </a:lnTo>
                    <a:lnTo>
                      <a:pt x="239" y="718"/>
                    </a:lnTo>
                    <a:lnTo>
                      <a:pt x="246" y="718"/>
                    </a:lnTo>
                    <a:lnTo>
                      <a:pt x="256" y="718"/>
                    </a:lnTo>
                    <a:lnTo>
                      <a:pt x="261" y="721"/>
                    </a:lnTo>
                    <a:lnTo>
                      <a:pt x="261" y="725"/>
                    </a:lnTo>
                    <a:lnTo>
                      <a:pt x="265" y="727"/>
                    </a:lnTo>
                    <a:lnTo>
                      <a:pt x="267" y="731"/>
                    </a:lnTo>
                    <a:lnTo>
                      <a:pt x="269" y="731"/>
                    </a:lnTo>
                    <a:lnTo>
                      <a:pt x="274" y="738"/>
                    </a:lnTo>
                    <a:lnTo>
                      <a:pt x="273" y="742"/>
                    </a:lnTo>
                    <a:lnTo>
                      <a:pt x="267" y="742"/>
                    </a:lnTo>
                    <a:lnTo>
                      <a:pt x="265" y="744"/>
                    </a:lnTo>
                    <a:lnTo>
                      <a:pt x="257" y="744"/>
                    </a:lnTo>
                    <a:lnTo>
                      <a:pt x="257" y="746"/>
                    </a:lnTo>
                    <a:lnTo>
                      <a:pt x="257" y="748"/>
                    </a:lnTo>
                    <a:lnTo>
                      <a:pt x="257" y="752"/>
                    </a:lnTo>
                    <a:lnTo>
                      <a:pt x="256" y="750"/>
                    </a:lnTo>
                    <a:lnTo>
                      <a:pt x="252" y="752"/>
                    </a:lnTo>
                    <a:lnTo>
                      <a:pt x="252" y="757"/>
                    </a:lnTo>
                    <a:lnTo>
                      <a:pt x="257" y="757"/>
                    </a:lnTo>
                    <a:lnTo>
                      <a:pt x="265" y="765"/>
                    </a:lnTo>
                    <a:lnTo>
                      <a:pt x="271" y="776"/>
                    </a:lnTo>
                    <a:lnTo>
                      <a:pt x="274" y="776"/>
                    </a:lnTo>
                    <a:lnTo>
                      <a:pt x="280" y="772"/>
                    </a:lnTo>
                    <a:lnTo>
                      <a:pt x="282" y="776"/>
                    </a:lnTo>
                    <a:lnTo>
                      <a:pt x="282" y="774"/>
                    </a:lnTo>
                    <a:lnTo>
                      <a:pt x="286" y="774"/>
                    </a:lnTo>
                    <a:lnTo>
                      <a:pt x="289" y="770"/>
                    </a:lnTo>
                    <a:lnTo>
                      <a:pt x="295" y="768"/>
                    </a:lnTo>
                    <a:lnTo>
                      <a:pt x="295" y="765"/>
                    </a:lnTo>
                    <a:lnTo>
                      <a:pt x="295" y="757"/>
                    </a:lnTo>
                    <a:lnTo>
                      <a:pt x="297" y="755"/>
                    </a:lnTo>
                    <a:lnTo>
                      <a:pt x="297" y="752"/>
                    </a:lnTo>
                    <a:lnTo>
                      <a:pt x="295" y="748"/>
                    </a:lnTo>
                    <a:lnTo>
                      <a:pt x="295" y="746"/>
                    </a:lnTo>
                    <a:lnTo>
                      <a:pt x="306" y="746"/>
                    </a:lnTo>
                    <a:lnTo>
                      <a:pt x="306" y="742"/>
                    </a:lnTo>
                    <a:lnTo>
                      <a:pt x="314" y="746"/>
                    </a:lnTo>
                    <a:lnTo>
                      <a:pt x="314" y="742"/>
                    </a:lnTo>
                    <a:lnTo>
                      <a:pt x="306" y="738"/>
                    </a:lnTo>
                    <a:lnTo>
                      <a:pt x="306" y="735"/>
                    </a:lnTo>
                    <a:lnTo>
                      <a:pt x="306" y="735"/>
                    </a:lnTo>
                    <a:lnTo>
                      <a:pt x="310" y="738"/>
                    </a:lnTo>
                    <a:lnTo>
                      <a:pt x="314" y="736"/>
                    </a:lnTo>
                    <a:lnTo>
                      <a:pt x="320" y="727"/>
                    </a:lnTo>
                    <a:lnTo>
                      <a:pt x="321" y="727"/>
                    </a:lnTo>
                    <a:lnTo>
                      <a:pt x="331" y="718"/>
                    </a:lnTo>
                    <a:lnTo>
                      <a:pt x="331" y="716"/>
                    </a:lnTo>
                    <a:lnTo>
                      <a:pt x="333" y="714"/>
                    </a:lnTo>
                    <a:lnTo>
                      <a:pt x="337" y="716"/>
                    </a:lnTo>
                    <a:lnTo>
                      <a:pt x="340" y="714"/>
                    </a:lnTo>
                    <a:lnTo>
                      <a:pt x="340" y="710"/>
                    </a:lnTo>
                    <a:lnTo>
                      <a:pt x="350" y="708"/>
                    </a:lnTo>
                    <a:lnTo>
                      <a:pt x="350" y="712"/>
                    </a:lnTo>
                    <a:lnTo>
                      <a:pt x="352" y="712"/>
                    </a:lnTo>
                    <a:lnTo>
                      <a:pt x="352" y="714"/>
                    </a:lnTo>
                    <a:lnTo>
                      <a:pt x="350" y="716"/>
                    </a:lnTo>
                    <a:lnTo>
                      <a:pt x="352" y="718"/>
                    </a:lnTo>
                    <a:lnTo>
                      <a:pt x="357" y="714"/>
                    </a:lnTo>
                    <a:lnTo>
                      <a:pt x="357" y="710"/>
                    </a:lnTo>
                    <a:lnTo>
                      <a:pt x="355" y="710"/>
                    </a:lnTo>
                    <a:lnTo>
                      <a:pt x="352" y="706"/>
                    </a:lnTo>
                    <a:lnTo>
                      <a:pt x="352" y="704"/>
                    </a:lnTo>
                    <a:lnTo>
                      <a:pt x="359" y="697"/>
                    </a:lnTo>
                    <a:lnTo>
                      <a:pt x="361" y="697"/>
                    </a:lnTo>
                    <a:lnTo>
                      <a:pt x="361" y="701"/>
                    </a:lnTo>
                    <a:lnTo>
                      <a:pt x="359" y="701"/>
                    </a:lnTo>
                    <a:lnTo>
                      <a:pt x="357" y="703"/>
                    </a:lnTo>
                    <a:lnTo>
                      <a:pt x="361" y="706"/>
                    </a:lnTo>
                    <a:lnTo>
                      <a:pt x="365" y="706"/>
                    </a:lnTo>
                    <a:lnTo>
                      <a:pt x="365" y="703"/>
                    </a:lnTo>
                    <a:lnTo>
                      <a:pt x="365" y="701"/>
                    </a:lnTo>
                    <a:lnTo>
                      <a:pt x="363" y="697"/>
                    </a:lnTo>
                    <a:lnTo>
                      <a:pt x="363" y="697"/>
                    </a:lnTo>
                    <a:lnTo>
                      <a:pt x="365" y="693"/>
                    </a:lnTo>
                    <a:lnTo>
                      <a:pt x="374" y="691"/>
                    </a:lnTo>
                    <a:lnTo>
                      <a:pt x="382" y="687"/>
                    </a:lnTo>
                    <a:lnTo>
                      <a:pt x="382" y="691"/>
                    </a:lnTo>
                    <a:lnTo>
                      <a:pt x="378" y="691"/>
                    </a:lnTo>
                    <a:lnTo>
                      <a:pt x="374" y="691"/>
                    </a:lnTo>
                    <a:lnTo>
                      <a:pt x="369" y="697"/>
                    </a:lnTo>
                    <a:lnTo>
                      <a:pt x="370" y="697"/>
                    </a:lnTo>
                    <a:lnTo>
                      <a:pt x="374" y="697"/>
                    </a:lnTo>
                    <a:lnTo>
                      <a:pt x="374" y="697"/>
                    </a:lnTo>
                    <a:lnTo>
                      <a:pt x="378" y="701"/>
                    </a:lnTo>
                    <a:lnTo>
                      <a:pt x="376" y="701"/>
                    </a:lnTo>
                    <a:lnTo>
                      <a:pt x="374" y="703"/>
                    </a:lnTo>
                    <a:lnTo>
                      <a:pt x="378" y="706"/>
                    </a:lnTo>
                    <a:lnTo>
                      <a:pt x="376" y="710"/>
                    </a:lnTo>
                    <a:lnTo>
                      <a:pt x="374" y="710"/>
                    </a:lnTo>
                    <a:lnTo>
                      <a:pt x="370" y="714"/>
                    </a:lnTo>
                    <a:lnTo>
                      <a:pt x="370" y="718"/>
                    </a:lnTo>
                    <a:lnTo>
                      <a:pt x="374" y="718"/>
                    </a:lnTo>
                    <a:lnTo>
                      <a:pt x="374" y="718"/>
                    </a:lnTo>
                    <a:lnTo>
                      <a:pt x="378" y="718"/>
                    </a:lnTo>
                    <a:lnTo>
                      <a:pt x="380" y="716"/>
                    </a:lnTo>
                    <a:lnTo>
                      <a:pt x="384" y="718"/>
                    </a:lnTo>
                    <a:lnTo>
                      <a:pt x="384" y="721"/>
                    </a:lnTo>
                    <a:lnTo>
                      <a:pt x="385" y="718"/>
                    </a:lnTo>
                    <a:lnTo>
                      <a:pt x="389" y="712"/>
                    </a:lnTo>
                    <a:lnTo>
                      <a:pt x="391" y="712"/>
                    </a:lnTo>
                    <a:lnTo>
                      <a:pt x="393" y="714"/>
                    </a:lnTo>
                    <a:lnTo>
                      <a:pt x="395" y="718"/>
                    </a:lnTo>
                    <a:lnTo>
                      <a:pt x="399" y="716"/>
                    </a:lnTo>
                    <a:lnTo>
                      <a:pt x="395" y="714"/>
                    </a:lnTo>
                    <a:lnTo>
                      <a:pt x="399" y="710"/>
                    </a:lnTo>
                    <a:lnTo>
                      <a:pt x="395" y="708"/>
                    </a:lnTo>
                    <a:lnTo>
                      <a:pt x="395" y="706"/>
                    </a:lnTo>
                    <a:lnTo>
                      <a:pt x="399" y="703"/>
                    </a:lnTo>
                    <a:lnTo>
                      <a:pt x="401" y="703"/>
                    </a:lnTo>
                    <a:lnTo>
                      <a:pt x="402" y="701"/>
                    </a:lnTo>
                    <a:lnTo>
                      <a:pt x="408" y="697"/>
                    </a:lnTo>
                    <a:lnTo>
                      <a:pt x="410" y="701"/>
                    </a:lnTo>
                    <a:lnTo>
                      <a:pt x="412" y="701"/>
                    </a:lnTo>
                    <a:lnTo>
                      <a:pt x="414" y="701"/>
                    </a:lnTo>
                    <a:lnTo>
                      <a:pt x="417" y="701"/>
                    </a:lnTo>
                    <a:lnTo>
                      <a:pt x="425" y="701"/>
                    </a:lnTo>
                    <a:lnTo>
                      <a:pt x="429" y="697"/>
                    </a:lnTo>
                    <a:lnTo>
                      <a:pt x="429" y="697"/>
                    </a:lnTo>
                    <a:lnTo>
                      <a:pt x="429" y="691"/>
                    </a:lnTo>
                    <a:lnTo>
                      <a:pt x="433" y="691"/>
                    </a:lnTo>
                    <a:lnTo>
                      <a:pt x="434" y="691"/>
                    </a:lnTo>
                    <a:lnTo>
                      <a:pt x="438" y="687"/>
                    </a:lnTo>
                    <a:lnTo>
                      <a:pt x="440" y="687"/>
                    </a:lnTo>
                    <a:lnTo>
                      <a:pt x="446" y="682"/>
                    </a:lnTo>
                    <a:lnTo>
                      <a:pt x="448" y="682"/>
                    </a:lnTo>
                    <a:lnTo>
                      <a:pt x="451" y="680"/>
                    </a:lnTo>
                    <a:lnTo>
                      <a:pt x="451" y="682"/>
                    </a:lnTo>
                    <a:lnTo>
                      <a:pt x="448" y="686"/>
                    </a:lnTo>
                    <a:lnTo>
                      <a:pt x="451" y="686"/>
                    </a:lnTo>
                    <a:lnTo>
                      <a:pt x="453" y="691"/>
                    </a:lnTo>
                    <a:lnTo>
                      <a:pt x="453" y="691"/>
                    </a:lnTo>
                    <a:lnTo>
                      <a:pt x="453" y="693"/>
                    </a:lnTo>
                    <a:lnTo>
                      <a:pt x="453" y="697"/>
                    </a:lnTo>
                    <a:lnTo>
                      <a:pt x="453" y="701"/>
                    </a:lnTo>
                    <a:lnTo>
                      <a:pt x="453" y="704"/>
                    </a:lnTo>
                    <a:lnTo>
                      <a:pt x="465" y="704"/>
                    </a:lnTo>
                    <a:lnTo>
                      <a:pt x="466" y="703"/>
                    </a:lnTo>
                    <a:lnTo>
                      <a:pt x="466" y="701"/>
                    </a:lnTo>
                    <a:lnTo>
                      <a:pt x="465" y="701"/>
                    </a:lnTo>
                    <a:lnTo>
                      <a:pt x="461" y="693"/>
                    </a:lnTo>
                    <a:lnTo>
                      <a:pt x="461" y="691"/>
                    </a:lnTo>
                    <a:lnTo>
                      <a:pt x="463" y="691"/>
                    </a:lnTo>
                    <a:lnTo>
                      <a:pt x="468" y="691"/>
                    </a:lnTo>
                    <a:lnTo>
                      <a:pt x="472" y="687"/>
                    </a:lnTo>
                    <a:lnTo>
                      <a:pt x="474" y="684"/>
                    </a:lnTo>
                    <a:lnTo>
                      <a:pt x="478" y="684"/>
                    </a:lnTo>
                    <a:lnTo>
                      <a:pt x="478" y="686"/>
                    </a:lnTo>
                    <a:lnTo>
                      <a:pt x="483" y="686"/>
                    </a:lnTo>
                    <a:lnTo>
                      <a:pt x="478" y="680"/>
                    </a:lnTo>
                    <a:lnTo>
                      <a:pt x="474" y="678"/>
                    </a:lnTo>
                    <a:lnTo>
                      <a:pt x="474" y="676"/>
                    </a:lnTo>
                    <a:lnTo>
                      <a:pt x="470" y="669"/>
                    </a:lnTo>
                    <a:lnTo>
                      <a:pt x="468" y="669"/>
                    </a:lnTo>
                    <a:lnTo>
                      <a:pt x="468" y="672"/>
                    </a:lnTo>
                    <a:lnTo>
                      <a:pt x="465" y="669"/>
                    </a:lnTo>
                    <a:lnTo>
                      <a:pt x="463" y="663"/>
                    </a:lnTo>
                    <a:lnTo>
                      <a:pt x="461" y="661"/>
                    </a:lnTo>
                    <a:lnTo>
                      <a:pt x="457" y="657"/>
                    </a:lnTo>
                    <a:lnTo>
                      <a:pt x="457" y="655"/>
                    </a:lnTo>
                    <a:lnTo>
                      <a:pt x="463" y="654"/>
                    </a:lnTo>
                    <a:lnTo>
                      <a:pt x="463" y="652"/>
                    </a:lnTo>
                    <a:lnTo>
                      <a:pt x="461" y="646"/>
                    </a:lnTo>
                    <a:lnTo>
                      <a:pt x="463" y="644"/>
                    </a:lnTo>
                    <a:lnTo>
                      <a:pt x="466" y="646"/>
                    </a:lnTo>
                    <a:lnTo>
                      <a:pt x="468" y="644"/>
                    </a:lnTo>
                    <a:lnTo>
                      <a:pt x="470" y="646"/>
                    </a:lnTo>
                    <a:lnTo>
                      <a:pt x="474" y="646"/>
                    </a:lnTo>
                    <a:lnTo>
                      <a:pt x="478" y="648"/>
                    </a:lnTo>
                    <a:lnTo>
                      <a:pt x="491" y="646"/>
                    </a:lnTo>
                    <a:lnTo>
                      <a:pt x="508" y="646"/>
                    </a:lnTo>
                    <a:lnTo>
                      <a:pt x="513" y="650"/>
                    </a:lnTo>
                    <a:lnTo>
                      <a:pt x="527" y="655"/>
                    </a:lnTo>
                    <a:lnTo>
                      <a:pt x="527" y="657"/>
                    </a:lnTo>
                    <a:lnTo>
                      <a:pt x="527" y="657"/>
                    </a:lnTo>
                    <a:lnTo>
                      <a:pt x="529" y="663"/>
                    </a:lnTo>
                    <a:lnTo>
                      <a:pt x="532" y="661"/>
                    </a:lnTo>
                    <a:lnTo>
                      <a:pt x="536" y="657"/>
                    </a:lnTo>
                    <a:lnTo>
                      <a:pt x="542" y="661"/>
                    </a:lnTo>
                    <a:lnTo>
                      <a:pt x="542" y="661"/>
                    </a:lnTo>
                    <a:lnTo>
                      <a:pt x="545" y="663"/>
                    </a:lnTo>
                    <a:lnTo>
                      <a:pt x="549" y="667"/>
                    </a:lnTo>
                    <a:lnTo>
                      <a:pt x="561" y="671"/>
                    </a:lnTo>
                    <a:lnTo>
                      <a:pt x="570" y="672"/>
                    </a:lnTo>
                    <a:lnTo>
                      <a:pt x="574" y="674"/>
                    </a:lnTo>
                    <a:lnTo>
                      <a:pt x="576" y="680"/>
                    </a:lnTo>
                    <a:lnTo>
                      <a:pt x="581" y="682"/>
                    </a:lnTo>
                    <a:lnTo>
                      <a:pt x="587" y="686"/>
                    </a:lnTo>
                    <a:lnTo>
                      <a:pt x="591" y="693"/>
                    </a:lnTo>
                    <a:lnTo>
                      <a:pt x="596" y="693"/>
                    </a:lnTo>
                    <a:lnTo>
                      <a:pt x="596" y="691"/>
                    </a:lnTo>
                    <a:lnTo>
                      <a:pt x="594" y="687"/>
                    </a:lnTo>
                    <a:lnTo>
                      <a:pt x="596" y="687"/>
                    </a:lnTo>
                    <a:lnTo>
                      <a:pt x="596" y="686"/>
                    </a:lnTo>
                    <a:lnTo>
                      <a:pt x="596" y="682"/>
                    </a:lnTo>
                    <a:lnTo>
                      <a:pt x="596" y="678"/>
                    </a:lnTo>
                    <a:lnTo>
                      <a:pt x="596" y="669"/>
                    </a:lnTo>
                    <a:lnTo>
                      <a:pt x="600" y="667"/>
                    </a:lnTo>
                    <a:lnTo>
                      <a:pt x="596" y="667"/>
                    </a:lnTo>
                    <a:lnTo>
                      <a:pt x="596" y="663"/>
                    </a:lnTo>
                    <a:lnTo>
                      <a:pt x="591" y="663"/>
                    </a:lnTo>
                    <a:lnTo>
                      <a:pt x="587" y="667"/>
                    </a:lnTo>
                    <a:lnTo>
                      <a:pt x="585" y="667"/>
                    </a:lnTo>
                    <a:lnTo>
                      <a:pt x="577" y="657"/>
                    </a:lnTo>
                    <a:lnTo>
                      <a:pt x="576" y="655"/>
                    </a:lnTo>
                    <a:lnTo>
                      <a:pt x="572" y="652"/>
                    </a:lnTo>
                    <a:lnTo>
                      <a:pt x="572" y="646"/>
                    </a:lnTo>
                    <a:lnTo>
                      <a:pt x="570" y="644"/>
                    </a:lnTo>
                    <a:lnTo>
                      <a:pt x="566" y="648"/>
                    </a:lnTo>
                    <a:lnTo>
                      <a:pt x="562" y="646"/>
                    </a:lnTo>
                    <a:lnTo>
                      <a:pt x="559" y="646"/>
                    </a:lnTo>
                    <a:lnTo>
                      <a:pt x="555" y="644"/>
                    </a:lnTo>
                    <a:lnTo>
                      <a:pt x="553" y="646"/>
                    </a:lnTo>
                    <a:lnTo>
                      <a:pt x="553" y="640"/>
                    </a:lnTo>
                    <a:lnTo>
                      <a:pt x="549" y="637"/>
                    </a:lnTo>
                    <a:lnTo>
                      <a:pt x="545" y="631"/>
                    </a:lnTo>
                    <a:lnTo>
                      <a:pt x="545" y="627"/>
                    </a:lnTo>
                    <a:lnTo>
                      <a:pt x="549" y="629"/>
                    </a:lnTo>
                    <a:lnTo>
                      <a:pt x="551" y="627"/>
                    </a:lnTo>
                    <a:lnTo>
                      <a:pt x="551" y="622"/>
                    </a:lnTo>
                    <a:lnTo>
                      <a:pt x="545" y="618"/>
                    </a:lnTo>
                    <a:lnTo>
                      <a:pt x="545" y="614"/>
                    </a:lnTo>
                    <a:lnTo>
                      <a:pt x="549" y="612"/>
                    </a:lnTo>
                    <a:lnTo>
                      <a:pt x="551" y="612"/>
                    </a:lnTo>
                    <a:lnTo>
                      <a:pt x="547" y="606"/>
                    </a:lnTo>
                    <a:lnTo>
                      <a:pt x="545" y="606"/>
                    </a:lnTo>
                    <a:lnTo>
                      <a:pt x="542" y="599"/>
                    </a:lnTo>
                    <a:lnTo>
                      <a:pt x="538" y="599"/>
                    </a:lnTo>
                    <a:lnTo>
                      <a:pt x="536" y="599"/>
                    </a:lnTo>
                    <a:lnTo>
                      <a:pt x="532" y="595"/>
                    </a:lnTo>
                    <a:lnTo>
                      <a:pt x="532" y="590"/>
                    </a:lnTo>
                    <a:lnTo>
                      <a:pt x="532" y="586"/>
                    </a:lnTo>
                    <a:lnTo>
                      <a:pt x="532" y="582"/>
                    </a:lnTo>
                    <a:lnTo>
                      <a:pt x="532" y="578"/>
                    </a:lnTo>
                    <a:lnTo>
                      <a:pt x="532" y="576"/>
                    </a:lnTo>
                    <a:lnTo>
                      <a:pt x="542" y="569"/>
                    </a:lnTo>
                    <a:lnTo>
                      <a:pt x="545" y="565"/>
                    </a:lnTo>
                    <a:lnTo>
                      <a:pt x="545" y="563"/>
                    </a:lnTo>
                    <a:lnTo>
                      <a:pt x="545" y="558"/>
                    </a:lnTo>
                    <a:lnTo>
                      <a:pt x="545" y="554"/>
                    </a:lnTo>
                    <a:lnTo>
                      <a:pt x="545" y="550"/>
                    </a:lnTo>
                    <a:lnTo>
                      <a:pt x="542" y="544"/>
                    </a:lnTo>
                    <a:lnTo>
                      <a:pt x="542" y="539"/>
                    </a:lnTo>
                    <a:lnTo>
                      <a:pt x="545" y="537"/>
                    </a:lnTo>
                    <a:lnTo>
                      <a:pt x="542" y="535"/>
                    </a:lnTo>
                    <a:lnTo>
                      <a:pt x="542" y="529"/>
                    </a:lnTo>
                    <a:lnTo>
                      <a:pt x="542" y="527"/>
                    </a:lnTo>
                    <a:lnTo>
                      <a:pt x="542" y="520"/>
                    </a:lnTo>
                    <a:lnTo>
                      <a:pt x="545" y="518"/>
                    </a:lnTo>
                    <a:lnTo>
                      <a:pt x="542" y="514"/>
                    </a:lnTo>
                    <a:lnTo>
                      <a:pt x="542" y="509"/>
                    </a:lnTo>
                    <a:lnTo>
                      <a:pt x="542" y="501"/>
                    </a:lnTo>
                    <a:lnTo>
                      <a:pt x="545" y="501"/>
                    </a:lnTo>
                    <a:lnTo>
                      <a:pt x="547" y="501"/>
                    </a:lnTo>
                    <a:lnTo>
                      <a:pt x="545" y="503"/>
                    </a:lnTo>
                    <a:lnTo>
                      <a:pt x="547" y="505"/>
                    </a:lnTo>
                    <a:lnTo>
                      <a:pt x="551" y="503"/>
                    </a:lnTo>
                    <a:lnTo>
                      <a:pt x="557" y="503"/>
                    </a:lnTo>
                    <a:lnTo>
                      <a:pt x="562" y="501"/>
                    </a:lnTo>
                    <a:lnTo>
                      <a:pt x="562" y="501"/>
                    </a:lnTo>
                    <a:lnTo>
                      <a:pt x="566" y="503"/>
                    </a:lnTo>
                    <a:lnTo>
                      <a:pt x="570" y="501"/>
                    </a:lnTo>
                    <a:lnTo>
                      <a:pt x="574" y="501"/>
                    </a:lnTo>
                    <a:lnTo>
                      <a:pt x="585" y="505"/>
                    </a:lnTo>
                    <a:lnTo>
                      <a:pt x="591" y="505"/>
                    </a:lnTo>
                    <a:lnTo>
                      <a:pt x="594" y="505"/>
                    </a:lnTo>
                    <a:lnTo>
                      <a:pt x="596" y="509"/>
                    </a:lnTo>
                    <a:lnTo>
                      <a:pt x="591" y="512"/>
                    </a:lnTo>
                    <a:lnTo>
                      <a:pt x="596" y="514"/>
                    </a:lnTo>
                    <a:lnTo>
                      <a:pt x="596" y="518"/>
                    </a:lnTo>
                    <a:lnTo>
                      <a:pt x="596" y="522"/>
                    </a:lnTo>
                    <a:lnTo>
                      <a:pt x="596" y="527"/>
                    </a:lnTo>
                    <a:lnTo>
                      <a:pt x="600" y="535"/>
                    </a:lnTo>
                    <a:lnTo>
                      <a:pt x="596" y="542"/>
                    </a:lnTo>
                    <a:lnTo>
                      <a:pt x="600" y="548"/>
                    </a:lnTo>
                    <a:lnTo>
                      <a:pt x="600" y="548"/>
                    </a:lnTo>
                    <a:lnTo>
                      <a:pt x="600" y="552"/>
                    </a:lnTo>
                    <a:lnTo>
                      <a:pt x="600" y="556"/>
                    </a:lnTo>
                    <a:lnTo>
                      <a:pt x="596" y="558"/>
                    </a:lnTo>
                    <a:lnTo>
                      <a:pt x="600" y="561"/>
                    </a:lnTo>
                    <a:lnTo>
                      <a:pt x="602" y="565"/>
                    </a:lnTo>
                    <a:lnTo>
                      <a:pt x="604" y="569"/>
                    </a:lnTo>
                    <a:lnTo>
                      <a:pt x="609" y="573"/>
                    </a:lnTo>
                    <a:lnTo>
                      <a:pt x="609" y="573"/>
                    </a:lnTo>
                    <a:lnTo>
                      <a:pt x="611" y="573"/>
                    </a:lnTo>
                    <a:lnTo>
                      <a:pt x="615" y="573"/>
                    </a:lnTo>
                    <a:lnTo>
                      <a:pt x="615" y="578"/>
                    </a:lnTo>
                    <a:lnTo>
                      <a:pt x="621" y="582"/>
                    </a:lnTo>
                    <a:lnTo>
                      <a:pt x="621" y="586"/>
                    </a:lnTo>
                    <a:lnTo>
                      <a:pt x="625" y="599"/>
                    </a:lnTo>
                    <a:lnTo>
                      <a:pt x="626" y="603"/>
                    </a:lnTo>
                    <a:lnTo>
                      <a:pt x="626" y="603"/>
                    </a:lnTo>
                    <a:lnTo>
                      <a:pt x="625" y="606"/>
                    </a:lnTo>
                    <a:lnTo>
                      <a:pt x="628" y="612"/>
                    </a:lnTo>
                    <a:lnTo>
                      <a:pt x="628" y="616"/>
                    </a:lnTo>
                    <a:lnTo>
                      <a:pt x="636" y="623"/>
                    </a:lnTo>
                    <a:lnTo>
                      <a:pt x="634" y="631"/>
                    </a:lnTo>
                    <a:lnTo>
                      <a:pt x="636" y="633"/>
                    </a:lnTo>
                    <a:lnTo>
                      <a:pt x="640" y="637"/>
                    </a:lnTo>
                    <a:lnTo>
                      <a:pt x="638" y="639"/>
                    </a:lnTo>
                    <a:lnTo>
                      <a:pt x="640" y="640"/>
                    </a:lnTo>
                    <a:lnTo>
                      <a:pt x="641" y="650"/>
                    </a:lnTo>
                    <a:lnTo>
                      <a:pt x="649" y="657"/>
                    </a:lnTo>
                    <a:lnTo>
                      <a:pt x="655" y="661"/>
                    </a:lnTo>
                    <a:lnTo>
                      <a:pt x="657" y="663"/>
                    </a:lnTo>
                    <a:lnTo>
                      <a:pt x="660" y="663"/>
                    </a:lnTo>
                    <a:lnTo>
                      <a:pt x="666" y="669"/>
                    </a:lnTo>
                    <a:lnTo>
                      <a:pt x="666" y="672"/>
                    </a:lnTo>
                    <a:lnTo>
                      <a:pt x="664" y="672"/>
                    </a:lnTo>
                    <a:lnTo>
                      <a:pt x="664" y="676"/>
                    </a:lnTo>
                    <a:lnTo>
                      <a:pt x="662" y="682"/>
                    </a:lnTo>
                    <a:lnTo>
                      <a:pt x="666" y="687"/>
                    </a:lnTo>
                    <a:lnTo>
                      <a:pt x="670" y="691"/>
                    </a:lnTo>
                    <a:lnTo>
                      <a:pt x="670" y="697"/>
                    </a:lnTo>
                    <a:lnTo>
                      <a:pt x="666" y="701"/>
                    </a:lnTo>
                    <a:lnTo>
                      <a:pt x="666" y="703"/>
                    </a:lnTo>
                    <a:lnTo>
                      <a:pt x="664" y="706"/>
                    </a:lnTo>
                    <a:lnTo>
                      <a:pt x="666" y="708"/>
                    </a:lnTo>
                    <a:lnTo>
                      <a:pt x="666" y="716"/>
                    </a:lnTo>
                    <a:lnTo>
                      <a:pt x="662" y="718"/>
                    </a:lnTo>
                    <a:lnTo>
                      <a:pt x="662" y="718"/>
                    </a:lnTo>
                    <a:lnTo>
                      <a:pt x="666" y="718"/>
                    </a:lnTo>
                    <a:lnTo>
                      <a:pt x="666" y="721"/>
                    </a:lnTo>
                    <a:lnTo>
                      <a:pt x="660" y="725"/>
                    </a:lnTo>
                    <a:lnTo>
                      <a:pt x="660" y="731"/>
                    </a:lnTo>
                    <a:lnTo>
                      <a:pt x="658" y="733"/>
                    </a:lnTo>
                    <a:lnTo>
                      <a:pt x="655" y="731"/>
                    </a:lnTo>
                    <a:lnTo>
                      <a:pt x="655" y="735"/>
                    </a:lnTo>
                    <a:lnTo>
                      <a:pt x="658" y="738"/>
                    </a:lnTo>
                    <a:lnTo>
                      <a:pt x="658" y="740"/>
                    </a:lnTo>
                    <a:lnTo>
                      <a:pt x="655" y="744"/>
                    </a:lnTo>
                    <a:lnTo>
                      <a:pt x="651" y="748"/>
                    </a:lnTo>
                    <a:lnTo>
                      <a:pt x="645" y="748"/>
                    </a:lnTo>
                    <a:lnTo>
                      <a:pt x="641" y="744"/>
                    </a:lnTo>
                    <a:lnTo>
                      <a:pt x="649" y="740"/>
                    </a:lnTo>
                    <a:lnTo>
                      <a:pt x="649" y="738"/>
                    </a:lnTo>
                    <a:lnTo>
                      <a:pt x="645" y="738"/>
                    </a:lnTo>
                    <a:lnTo>
                      <a:pt x="643" y="740"/>
                    </a:lnTo>
                    <a:lnTo>
                      <a:pt x="640" y="740"/>
                    </a:lnTo>
                    <a:lnTo>
                      <a:pt x="632" y="736"/>
                    </a:lnTo>
                    <a:lnTo>
                      <a:pt x="630" y="738"/>
                    </a:lnTo>
                    <a:lnTo>
                      <a:pt x="621" y="740"/>
                    </a:lnTo>
                    <a:lnTo>
                      <a:pt x="615" y="740"/>
                    </a:lnTo>
                    <a:lnTo>
                      <a:pt x="611" y="746"/>
                    </a:lnTo>
                    <a:lnTo>
                      <a:pt x="615" y="746"/>
                    </a:lnTo>
                    <a:lnTo>
                      <a:pt x="615" y="748"/>
                    </a:lnTo>
                    <a:lnTo>
                      <a:pt x="617" y="744"/>
                    </a:lnTo>
                    <a:lnTo>
                      <a:pt x="625" y="742"/>
                    </a:lnTo>
                    <a:lnTo>
                      <a:pt x="625" y="746"/>
                    </a:lnTo>
                    <a:lnTo>
                      <a:pt x="628" y="752"/>
                    </a:lnTo>
                    <a:lnTo>
                      <a:pt x="643" y="752"/>
                    </a:lnTo>
                    <a:lnTo>
                      <a:pt x="649" y="755"/>
                    </a:lnTo>
                    <a:lnTo>
                      <a:pt x="655" y="752"/>
                    </a:lnTo>
                    <a:lnTo>
                      <a:pt x="662" y="752"/>
                    </a:lnTo>
                    <a:lnTo>
                      <a:pt x="664" y="755"/>
                    </a:lnTo>
                    <a:lnTo>
                      <a:pt x="670" y="755"/>
                    </a:lnTo>
                    <a:lnTo>
                      <a:pt x="675" y="755"/>
                    </a:lnTo>
                    <a:lnTo>
                      <a:pt x="675" y="750"/>
                    </a:lnTo>
                    <a:lnTo>
                      <a:pt x="675" y="748"/>
                    </a:lnTo>
                    <a:lnTo>
                      <a:pt x="675" y="742"/>
                    </a:lnTo>
                    <a:lnTo>
                      <a:pt x="675" y="740"/>
                    </a:lnTo>
                    <a:lnTo>
                      <a:pt x="679" y="738"/>
                    </a:lnTo>
                    <a:lnTo>
                      <a:pt x="679" y="735"/>
                    </a:lnTo>
                    <a:lnTo>
                      <a:pt x="685" y="731"/>
                    </a:lnTo>
                    <a:lnTo>
                      <a:pt x="685" y="725"/>
                    </a:lnTo>
                    <a:lnTo>
                      <a:pt x="689" y="718"/>
                    </a:lnTo>
                    <a:lnTo>
                      <a:pt x="685" y="712"/>
                    </a:lnTo>
                    <a:lnTo>
                      <a:pt x="687" y="706"/>
                    </a:lnTo>
                    <a:lnTo>
                      <a:pt x="692" y="697"/>
                    </a:lnTo>
                    <a:lnTo>
                      <a:pt x="692" y="691"/>
                    </a:lnTo>
                    <a:lnTo>
                      <a:pt x="687" y="680"/>
                    </a:lnTo>
                    <a:lnTo>
                      <a:pt x="679" y="674"/>
                    </a:lnTo>
                    <a:lnTo>
                      <a:pt x="679" y="671"/>
                    </a:lnTo>
                    <a:lnTo>
                      <a:pt x="675" y="661"/>
                    </a:lnTo>
                    <a:lnTo>
                      <a:pt x="683" y="657"/>
                    </a:lnTo>
                    <a:lnTo>
                      <a:pt x="685" y="652"/>
                    </a:lnTo>
                    <a:lnTo>
                      <a:pt x="690" y="652"/>
                    </a:lnTo>
                    <a:lnTo>
                      <a:pt x="698" y="644"/>
                    </a:lnTo>
                    <a:lnTo>
                      <a:pt x="704" y="642"/>
                    </a:lnTo>
                    <a:lnTo>
                      <a:pt x="707" y="650"/>
                    </a:lnTo>
                    <a:lnTo>
                      <a:pt x="707" y="655"/>
                    </a:lnTo>
                    <a:lnTo>
                      <a:pt x="715" y="657"/>
                    </a:lnTo>
                    <a:lnTo>
                      <a:pt x="717" y="661"/>
                    </a:lnTo>
                    <a:lnTo>
                      <a:pt x="719" y="661"/>
                    </a:lnTo>
                    <a:lnTo>
                      <a:pt x="722" y="667"/>
                    </a:lnTo>
                    <a:lnTo>
                      <a:pt x="722" y="671"/>
                    </a:lnTo>
                    <a:lnTo>
                      <a:pt x="724" y="672"/>
                    </a:lnTo>
                    <a:lnTo>
                      <a:pt x="724" y="676"/>
                    </a:lnTo>
                    <a:lnTo>
                      <a:pt x="730" y="682"/>
                    </a:lnTo>
                    <a:lnTo>
                      <a:pt x="732" y="686"/>
                    </a:lnTo>
                    <a:lnTo>
                      <a:pt x="730" y="687"/>
                    </a:lnTo>
                    <a:lnTo>
                      <a:pt x="732" y="691"/>
                    </a:lnTo>
                    <a:lnTo>
                      <a:pt x="737" y="691"/>
                    </a:lnTo>
                    <a:lnTo>
                      <a:pt x="739" y="697"/>
                    </a:lnTo>
                    <a:lnTo>
                      <a:pt x="745" y="693"/>
                    </a:lnTo>
                    <a:lnTo>
                      <a:pt x="749" y="693"/>
                    </a:lnTo>
                    <a:lnTo>
                      <a:pt x="754" y="691"/>
                    </a:lnTo>
                    <a:lnTo>
                      <a:pt x="756" y="691"/>
                    </a:lnTo>
                    <a:lnTo>
                      <a:pt x="758" y="687"/>
                    </a:lnTo>
                    <a:lnTo>
                      <a:pt x="756" y="687"/>
                    </a:lnTo>
                    <a:lnTo>
                      <a:pt x="753" y="687"/>
                    </a:lnTo>
                    <a:lnTo>
                      <a:pt x="751" y="687"/>
                    </a:lnTo>
                    <a:lnTo>
                      <a:pt x="747" y="691"/>
                    </a:lnTo>
                    <a:lnTo>
                      <a:pt x="741" y="691"/>
                    </a:lnTo>
                    <a:lnTo>
                      <a:pt x="739" y="687"/>
                    </a:lnTo>
                    <a:lnTo>
                      <a:pt x="737" y="687"/>
                    </a:lnTo>
                    <a:lnTo>
                      <a:pt x="734" y="686"/>
                    </a:lnTo>
                    <a:lnTo>
                      <a:pt x="734" y="682"/>
                    </a:lnTo>
                    <a:lnTo>
                      <a:pt x="734" y="680"/>
                    </a:lnTo>
                    <a:lnTo>
                      <a:pt x="730" y="674"/>
                    </a:lnTo>
                    <a:lnTo>
                      <a:pt x="732" y="669"/>
                    </a:lnTo>
                    <a:lnTo>
                      <a:pt x="734" y="667"/>
                    </a:lnTo>
                    <a:lnTo>
                      <a:pt x="737" y="667"/>
                    </a:lnTo>
                    <a:lnTo>
                      <a:pt x="734" y="663"/>
                    </a:lnTo>
                    <a:lnTo>
                      <a:pt x="734" y="661"/>
                    </a:lnTo>
                    <a:lnTo>
                      <a:pt x="734" y="657"/>
                    </a:lnTo>
                    <a:lnTo>
                      <a:pt x="732" y="657"/>
                    </a:lnTo>
                    <a:lnTo>
                      <a:pt x="724" y="654"/>
                    </a:lnTo>
                    <a:lnTo>
                      <a:pt x="724" y="650"/>
                    </a:lnTo>
                    <a:lnTo>
                      <a:pt x="721" y="644"/>
                    </a:lnTo>
                    <a:lnTo>
                      <a:pt x="715" y="644"/>
                    </a:lnTo>
                    <a:lnTo>
                      <a:pt x="707" y="640"/>
                    </a:lnTo>
                    <a:lnTo>
                      <a:pt x="704" y="637"/>
                    </a:lnTo>
                    <a:lnTo>
                      <a:pt x="700" y="639"/>
                    </a:lnTo>
                    <a:lnTo>
                      <a:pt x="692" y="633"/>
                    </a:lnTo>
                    <a:lnTo>
                      <a:pt x="690" y="637"/>
                    </a:lnTo>
                    <a:lnTo>
                      <a:pt x="685" y="633"/>
                    </a:lnTo>
                    <a:lnTo>
                      <a:pt x="679" y="639"/>
                    </a:lnTo>
                    <a:lnTo>
                      <a:pt x="679" y="644"/>
                    </a:lnTo>
                    <a:lnTo>
                      <a:pt x="675" y="646"/>
                    </a:lnTo>
                    <a:lnTo>
                      <a:pt x="670" y="644"/>
                    </a:lnTo>
                    <a:lnTo>
                      <a:pt x="664" y="648"/>
                    </a:lnTo>
                    <a:lnTo>
                      <a:pt x="660" y="646"/>
                    </a:lnTo>
                    <a:lnTo>
                      <a:pt x="657" y="642"/>
                    </a:lnTo>
                    <a:lnTo>
                      <a:pt x="658" y="639"/>
                    </a:lnTo>
                    <a:lnTo>
                      <a:pt x="657" y="633"/>
                    </a:lnTo>
                    <a:lnTo>
                      <a:pt x="649" y="627"/>
                    </a:lnTo>
                    <a:lnTo>
                      <a:pt x="649" y="623"/>
                    </a:lnTo>
                    <a:lnTo>
                      <a:pt x="649" y="614"/>
                    </a:lnTo>
                    <a:lnTo>
                      <a:pt x="645" y="606"/>
                    </a:lnTo>
                    <a:lnTo>
                      <a:pt x="645" y="603"/>
                    </a:lnTo>
                    <a:lnTo>
                      <a:pt x="645" y="591"/>
                    </a:lnTo>
                    <a:lnTo>
                      <a:pt x="645" y="584"/>
                    </a:lnTo>
                    <a:lnTo>
                      <a:pt x="640" y="578"/>
                    </a:lnTo>
                    <a:lnTo>
                      <a:pt x="636" y="578"/>
                    </a:lnTo>
                    <a:lnTo>
                      <a:pt x="632" y="573"/>
                    </a:lnTo>
                    <a:lnTo>
                      <a:pt x="625" y="567"/>
                    </a:lnTo>
                    <a:lnTo>
                      <a:pt x="619" y="563"/>
                    </a:lnTo>
                    <a:lnTo>
                      <a:pt x="619" y="558"/>
                    </a:lnTo>
                    <a:lnTo>
                      <a:pt x="621" y="550"/>
                    </a:lnTo>
                    <a:lnTo>
                      <a:pt x="619" y="544"/>
                    </a:lnTo>
                    <a:lnTo>
                      <a:pt x="617" y="542"/>
                    </a:lnTo>
                    <a:lnTo>
                      <a:pt x="617" y="539"/>
                    </a:lnTo>
                    <a:lnTo>
                      <a:pt x="621" y="537"/>
                    </a:lnTo>
                    <a:lnTo>
                      <a:pt x="625" y="529"/>
                    </a:lnTo>
                    <a:lnTo>
                      <a:pt x="628" y="522"/>
                    </a:lnTo>
                    <a:lnTo>
                      <a:pt x="625" y="512"/>
                    </a:lnTo>
                    <a:lnTo>
                      <a:pt x="619" y="495"/>
                    </a:lnTo>
                    <a:lnTo>
                      <a:pt x="621" y="495"/>
                    </a:lnTo>
                    <a:lnTo>
                      <a:pt x="625" y="499"/>
                    </a:lnTo>
                    <a:lnTo>
                      <a:pt x="626" y="505"/>
                    </a:lnTo>
                    <a:lnTo>
                      <a:pt x="628" y="505"/>
                    </a:lnTo>
                    <a:lnTo>
                      <a:pt x="630" y="505"/>
                    </a:lnTo>
                    <a:lnTo>
                      <a:pt x="630" y="512"/>
                    </a:lnTo>
                    <a:lnTo>
                      <a:pt x="636" y="518"/>
                    </a:lnTo>
                    <a:lnTo>
                      <a:pt x="634" y="524"/>
                    </a:lnTo>
                    <a:lnTo>
                      <a:pt x="638" y="529"/>
                    </a:lnTo>
                    <a:lnTo>
                      <a:pt x="636" y="535"/>
                    </a:lnTo>
                    <a:lnTo>
                      <a:pt x="638" y="539"/>
                    </a:lnTo>
                    <a:lnTo>
                      <a:pt x="643" y="542"/>
                    </a:lnTo>
                    <a:lnTo>
                      <a:pt x="643" y="544"/>
                    </a:lnTo>
                    <a:lnTo>
                      <a:pt x="645" y="548"/>
                    </a:lnTo>
                    <a:lnTo>
                      <a:pt x="645" y="550"/>
                    </a:lnTo>
                    <a:lnTo>
                      <a:pt x="643" y="554"/>
                    </a:lnTo>
                    <a:lnTo>
                      <a:pt x="645" y="556"/>
                    </a:lnTo>
                    <a:lnTo>
                      <a:pt x="649" y="556"/>
                    </a:lnTo>
                    <a:lnTo>
                      <a:pt x="655" y="559"/>
                    </a:lnTo>
                    <a:lnTo>
                      <a:pt x="662" y="559"/>
                    </a:lnTo>
                    <a:lnTo>
                      <a:pt x="666" y="558"/>
                    </a:lnTo>
                    <a:lnTo>
                      <a:pt x="668" y="559"/>
                    </a:lnTo>
                    <a:lnTo>
                      <a:pt x="670" y="563"/>
                    </a:lnTo>
                    <a:lnTo>
                      <a:pt x="673" y="559"/>
                    </a:lnTo>
                    <a:lnTo>
                      <a:pt x="675" y="558"/>
                    </a:lnTo>
                    <a:lnTo>
                      <a:pt x="679" y="556"/>
                    </a:lnTo>
                    <a:lnTo>
                      <a:pt x="683" y="558"/>
                    </a:lnTo>
                    <a:lnTo>
                      <a:pt x="689" y="563"/>
                    </a:lnTo>
                    <a:lnTo>
                      <a:pt x="692" y="563"/>
                    </a:lnTo>
                    <a:lnTo>
                      <a:pt x="698" y="567"/>
                    </a:lnTo>
                    <a:lnTo>
                      <a:pt x="704" y="565"/>
                    </a:lnTo>
                    <a:lnTo>
                      <a:pt x="707" y="561"/>
                    </a:lnTo>
                    <a:lnTo>
                      <a:pt x="704" y="563"/>
                    </a:lnTo>
                    <a:lnTo>
                      <a:pt x="698" y="563"/>
                    </a:lnTo>
                    <a:lnTo>
                      <a:pt x="696" y="559"/>
                    </a:lnTo>
                    <a:lnTo>
                      <a:pt x="694" y="558"/>
                    </a:lnTo>
                    <a:lnTo>
                      <a:pt x="692" y="552"/>
                    </a:lnTo>
                    <a:lnTo>
                      <a:pt x="685" y="552"/>
                    </a:lnTo>
                    <a:lnTo>
                      <a:pt x="685" y="550"/>
                    </a:lnTo>
                    <a:lnTo>
                      <a:pt x="683" y="550"/>
                    </a:lnTo>
                    <a:lnTo>
                      <a:pt x="679" y="552"/>
                    </a:lnTo>
                    <a:lnTo>
                      <a:pt x="670" y="552"/>
                    </a:lnTo>
                    <a:lnTo>
                      <a:pt x="668" y="548"/>
                    </a:lnTo>
                    <a:lnTo>
                      <a:pt x="662" y="548"/>
                    </a:lnTo>
                    <a:lnTo>
                      <a:pt x="655" y="542"/>
                    </a:lnTo>
                    <a:lnTo>
                      <a:pt x="655" y="539"/>
                    </a:lnTo>
                    <a:lnTo>
                      <a:pt x="651" y="539"/>
                    </a:lnTo>
                    <a:lnTo>
                      <a:pt x="645" y="529"/>
                    </a:lnTo>
                    <a:lnTo>
                      <a:pt x="649" y="527"/>
                    </a:lnTo>
                    <a:lnTo>
                      <a:pt x="649" y="525"/>
                    </a:lnTo>
                    <a:lnTo>
                      <a:pt x="655" y="522"/>
                    </a:lnTo>
                    <a:lnTo>
                      <a:pt x="658" y="522"/>
                    </a:lnTo>
                    <a:lnTo>
                      <a:pt x="664" y="527"/>
                    </a:lnTo>
                    <a:lnTo>
                      <a:pt x="670" y="531"/>
                    </a:lnTo>
                    <a:lnTo>
                      <a:pt x="675" y="531"/>
                    </a:lnTo>
                    <a:lnTo>
                      <a:pt x="681" y="524"/>
                    </a:lnTo>
                    <a:lnTo>
                      <a:pt x="679" y="518"/>
                    </a:lnTo>
                    <a:lnTo>
                      <a:pt x="670" y="514"/>
                    </a:lnTo>
                    <a:lnTo>
                      <a:pt x="664" y="518"/>
                    </a:lnTo>
                    <a:lnTo>
                      <a:pt x="662" y="518"/>
                    </a:lnTo>
                    <a:lnTo>
                      <a:pt x="664" y="514"/>
                    </a:lnTo>
                    <a:lnTo>
                      <a:pt x="666" y="514"/>
                    </a:lnTo>
                    <a:lnTo>
                      <a:pt x="668" y="514"/>
                    </a:lnTo>
                    <a:lnTo>
                      <a:pt x="668" y="509"/>
                    </a:lnTo>
                    <a:lnTo>
                      <a:pt x="673" y="503"/>
                    </a:lnTo>
                    <a:lnTo>
                      <a:pt x="675" y="499"/>
                    </a:lnTo>
                    <a:lnTo>
                      <a:pt x="679" y="501"/>
                    </a:lnTo>
                    <a:lnTo>
                      <a:pt x="692" y="501"/>
                    </a:lnTo>
                    <a:lnTo>
                      <a:pt x="698" y="505"/>
                    </a:lnTo>
                    <a:lnTo>
                      <a:pt x="700" y="509"/>
                    </a:lnTo>
                    <a:lnTo>
                      <a:pt x="713" y="509"/>
                    </a:lnTo>
                    <a:lnTo>
                      <a:pt x="713" y="514"/>
                    </a:lnTo>
                    <a:lnTo>
                      <a:pt x="717" y="518"/>
                    </a:lnTo>
                    <a:lnTo>
                      <a:pt x="724" y="524"/>
                    </a:lnTo>
                    <a:lnTo>
                      <a:pt x="732" y="524"/>
                    </a:lnTo>
                    <a:lnTo>
                      <a:pt x="739" y="524"/>
                    </a:lnTo>
                    <a:lnTo>
                      <a:pt x="749" y="518"/>
                    </a:lnTo>
                    <a:lnTo>
                      <a:pt x="751" y="520"/>
                    </a:lnTo>
                    <a:lnTo>
                      <a:pt x="753" y="520"/>
                    </a:lnTo>
                    <a:lnTo>
                      <a:pt x="758" y="520"/>
                    </a:lnTo>
                    <a:lnTo>
                      <a:pt x="756" y="527"/>
                    </a:lnTo>
                    <a:lnTo>
                      <a:pt x="756" y="531"/>
                    </a:lnTo>
                    <a:lnTo>
                      <a:pt x="756" y="535"/>
                    </a:lnTo>
                    <a:lnTo>
                      <a:pt x="751" y="539"/>
                    </a:lnTo>
                    <a:lnTo>
                      <a:pt x="751" y="542"/>
                    </a:lnTo>
                    <a:lnTo>
                      <a:pt x="754" y="548"/>
                    </a:lnTo>
                    <a:lnTo>
                      <a:pt x="754" y="552"/>
                    </a:lnTo>
                    <a:lnTo>
                      <a:pt x="758" y="558"/>
                    </a:lnTo>
                    <a:lnTo>
                      <a:pt x="758" y="561"/>
                    </a:lnTo>
                    <a:lnTo>
                      <a:pt x="758" y="565"/>
                    </a:lnTo>
                    <a:lnTo>
                      <a:pt x="758" y="576"/>
                    </a:lnTo>
                    <a:lnTo>
                      <a:pt x="762" y="576"/>
                    </a:lnTo>
                    <a:lnTo>
                      <a:pt x="762" y="573"/>
                    </a:lnTo>
                    <a:lnTo>
                      <a:pt x="762" y="569"/>
                    </a:lnTo>
                    <a:lnTo>
                      <a:pt x="762" y="567"/>
                    </a:lnTo>
                    <a:lnTo>
                      <a:pt x="762" y="563"/>
                    </a:lnTo>
                    <a:lnTo>
                      <a:pt x="768" y="561"/>
                    </a:lnTo>
                    <a:lnTo>
                      <a:pt x="768" y="556"/>
                    </a:lnTo>
                    <a:lnTo>
                      <a:pt x="771" y="558"/>
                    </a:lnTo>
                    <a:lnTo>
                      <a:pt x="773" y="565"/>
                    </a:lnTo>
                    <a:lnTo>
                      <a:pt x="773" y="573"/>
                    </a:lnTo>
                    <a:lnTo>
                      <a:pt x="775" y="574"/>
                    </a:lnTo>
                    <a:lnTo>
                      <a:pt x="771" y="576"/>
                    </a:lnTo>
                    <a:lnTo>
                      <a:pt x="771" y="582"/>
                    </a:lnTo>
                    <a:lnTo>
                      <a:pt x="769" y="582"/>
                    </a:lnTo>
                    <a:lnTo>
                      <a:pt x="777" y="588"/>
                    </a:lnTo>
                    <a:lnTo>
                      <a:pt x="783" y="588"/>
                    </a:lnTo>
                    <a:lnTo>
                      <a:pt x="788" y="590"/>
                    </a:lnTo>
                    <a:lnTo>
                      <a:pt x="792" y="593"/>
                    </a:lnTo>
                    <a:lnTo>
                      <a:pt x="792" y="597"/>
                    </a:lnTo>
                    <a:lnTo>
                      <a:pt x="796" y="599"/>
                    </a:lnTo>
                    <a:lnTo>
                      <a:pt x="803" y="599"/>
                    </a:lnTo>
                    <a:lnTo>
                      <a:pt x="811" y="608"/>
                    </a:lnTo>
                    <a:lnTo>
                      <a:pt x="811" y="606"/>
                    </a:lnTo>
                    <a:lnTo>
                      <a:pt x="811" y="599"/>
                    </a:lnTo>
                    <a:lnTo>
                      <a:pt x="817" y="595"/>
                    </a:lnTo>
                    <a:lnTo>
                      <a:pt x="818" y="595"/>
                    </a:lnTo>
                    <a:lnTo>
                      <a:pt x="828" y="599"/>
                    </a:lnTo>
                    <a:lnTo>
                      <a:pt x="833" y="599"/>
                    </a:lnTo>
                    <a:lnTo>
                      <a:pt x="837" y="603"/>
                    </a:lnTo>
                    <a:lnTo>
                      <a:pt x="837" y="612"/>
                    </a:lnTo>
                    <a:lnTo>
                      <a:pt x="837" y="603"/>
                    </a:lnTo>
                    <a:lnTo>
                      <a:pt x="835" y="599"/>
                    </a:lnTo>
                    <a:lnTo>
                      <a:pt x="832" y="599"/>
                    </a:lnTo>
                    <a:lnTo>
                      <a:pt x="826" y="597"/>
                    </a:lnTo>
                    <a:lnTo>
                      <a:pt x="818" y="593"/>
                    </a:lnTo>
                    <a:lnTo>
                      <a:pt x="813" y="593"/>
                    </a:lnTo>
                    <a:lnTo>
                      <a:pt x="809" y="599"/>
                    </a:lnTo>
                    <a:lnTo>
                      <a:pt x="805" y="597"/>
                    </a:lnTo>
                    <a:lnTo>
                      <a:pt x="805" y="599"/>
                    </a:lnTo>
                    <a:lnTo>
                      <a:pt x="798" y="595"/>
                    </a:lnTo>
                    <a:lnTo>
                      <a:pt x="792" y="588"/>
                    </a:lnTo>
                    <a:lnTo>
                      <a:pt x="788" y="586"/>
                    </a:lnTo>
                    <a:lnTo>
                      <a:pt x="781" y="584"/>
                    </a:lnTo>
                    <a:lnTo>
                      <a:pt x="777" y="578"/>
                    </a:lnTo>
                    <a:lnTo>
                      <a:pt x="781" y="582"/>
                    </a:lnTo>
                    <a:lnTo>
                      <a:pt x="783" y="582"/>
                    </a:lnTo>
                    <a:lnTo>
                      <a:pt x="788" y="573"/>
                    </a:lnTo>
                    <a:lnTo>
                      <a:pt x="786" y="569"/>
                    </a:lnTo>
                    <a:lnTo>
                      <a:pt x="781" y="563"/>
                    </a:lnTo>
                    <a:lnTo>
                      <a:pt x="779" y="556"/>
                    </a:lnTo>
                    <a:lnTo>
                      <a:pt x="773" y="548"/>
                    </a:lnTo>
                    <a:lnTo>
                      <a:pt x="768" y="542"/>
                    </a:lnTo>
                    <a:lnTo>
                      <a:pt x="764" y="539"/>
                    </a:lnTo>
                    <a:lnTo>
                      <a:pt x="768" y="535"/>
                    </a:lnTo>
                    <a:lnTo>
                      <a:pt x="764" y="531"/>
                    </a:lnTo>
                    <a:lnTo>
                      <a:pt x="762" y="522"/>
                    </a:lnTo>
                    <a:lnTo>
                      <a:pt x="758" y="518"/>
                    </a:lnTo>
                    <a:lnTo>
                      <a:pt x="758" y="518"/>
                    </a:lnTo>
                    <a:lnTo>
                      <a:pt x="751" y="514"/>
                    </a:lnTo>
                    <a:lnTo>
                      <a:pt x="741" y="512"/>
                    </a:lnTo>
                    <a:lnTo>
                      <a:pt x="737" y="509"/>
                    </a:lnTo>
                    <a:lnTo>
                      <a:pt x="734" y="505"/>
                    </a:lnTo>
                    <a:lnTo>
                      <a:pt x="734" y="499"/>
                    </a:lnTo>
                    <a:lnTo>
                      <a:pt x="732" y="495"/>
                    </a:lnTo>
                    <a:lnTo>
                      <a:pt x="732" y="493"/>
                    </a:lnTo>
                    <a:lnTo>
                      <a:pt x="728" y="495"/>
                    </a:lnTo>
                    <a:lnTo>
                      <a:pt x="713" y="495"/>
                    </a:lnTo>
                    <a:lnTo>
                      <a:pt x="709" y="495"/>
                    </a:lnTo>
                    <a:lnTo>
                      <a:pt x="704" y="492"/>
                    </a:lnTo>
                    <a:lnTo>
                      <a:pt x="704" y="488"/>
                    </a:lnTo>
                    <a:lnTo>
                      <a:pt x="704" y="488"/>
                    </a:lnTo>
                    <a:lnTo>
                      <a:pt x="700" y="484"/>
                    </a:lnTo>
                    <a:lnTo>
                      <a:pt x="700" y="478"/>
                    </a:lnTo>
                    <a:lnTo>
                      <a:pt x="696" y="469"/>
                    </a:lnTo>
                    <a:lnTo>
                      <a:pt x="689" y="465"/>
                    </a:lnTo>
                    <a:lnTo>
                      <a:pt x="690" y="463"/>
                    </a:lnTo>
                    <a:lnTo>
                      <a:pt x="690" y="460"/>
                    </a:lnTo>
                    <a:lnTo>
                      <a:pt x="687" y="460"/>
                    </a:lnTo>
                    <a:lnTo>
                      <a:pt x="685" y="458"/>
                    </a:lnTo>
                    <a:lnTo>
                      <a:pt x="685" y="454"/>
                    </a:lnTo>
                    <a:lnTo>
                      <a:pt x="687" y="450"/>
                    </a:lnTo>
                    <a:lnTo>
                      <a:pt x="681" y="446"/>
                    </a:lnTo>
                    <a:lnTo>
                      <a:pt x="685" y="444"/>
                    </a:lnTo>
                    <a:lnTo>
                      <a:pt x="690" y="444"/>
                    </a:lnTo>
                    <a:lnTo>
                      <a:pt x="694" y="441"/>
                    </a:lnTo>
                    <a:lnTo>
                      <a:pt x="700" y="441"/>
                    </a:lnTo>
                    <a:lnTo>
                      <a:pt x="707" y="437"/>
                    </a:lnTo>
                    <a:lnTo>
                      <a:pt x="722" y="431"/>
                    </a:lnTo>
                    <a:lnTo>
                      <a:pt x="728" y="429"/>
                    </a:lnTo>
                    <a:lnTo>
                      <a:pt x="734" y="426"/>
                    </a:lnTo>
                    <a:lnTo>
                      <a:pt x="737" y="429"/>
                    </a:lnTo>
                    <a:lnTo>
                      <a:pt x="741" y="426"/>
                    </a:lnTo>
                    <a:lnTo>
                      <a:pt x="743" y="420"/>
                    </a:lnTo>
                    <a:lnTo>
                      <a:pt x="751" y="420"/>
                    </a:lnTo>
                    <a:lnTo>
                      <a:pt x="762" y="414"/>
                    </a:lnTo>
                    <a:lnTo>
                      <a:pt x="764" y="416"/>
                    </a:lnTo>
                    <a:lnTo>
                      <a:pt x="762" y="420"/>
                    </a:lnTo>
                    <a:lnTo>
                      <a:pt x="762" y="424"/>
                    </a:lnTo>
                    <a:lnTo>
                      <a:pt x="758" y="424"/>
                    </a:lnTo>
                    <a:lnTo>
                      <a:pt x="756" y="431"/>
                    </a:lnTo>
                    <a:lnTo>
                      <a:pt x="756" y="435"/>
                    </a:lnTo>
                    <a:lnTo>
                      <a:pt x="762" y="443"/>
                    </a:lnTo>
                    <a:lnTo>
                      <a:pt x="769" y="443"/>
                    </a:lnTo>
                    <a:lnTo>
                      <a:pt x="768" y="441"/>
                    </a:lnTo>
                    <a:lnTo>
                      <a:pt x="758" y="433"/>
                    </a:lnTo>
                    <a:lnTo>
                      <a:pt x="758" y="431"/>
                    </a:lnTo>
                    <a:lnTo>
                      <a:pt x="762" y="426"/>
                    </a:lnTo>
                    <a:lnTo>
                      <a:pt x="769" y="424"/>
                    </a:lnTo>
                    <a:lnTo>
                      <a:pt x="773" y="416"/>
                    </a:lnTo>
                    <a:lnTo>
                      <a:pt x="769" y="411"/>
                    </a:lnTo>
                    <a:lnTo>
                      <a:pt x="768" y="411"/>
                    </a:lnTo>
                    <a:lnTo>
                      <a:pt x="762" y="407"/>
                    </a:lnTo>
                    <a:lnTo>
                      <a:pt x="762" y="403"/>
                    </a:lnTo>
                    <a:lnTo>
                      <a:pt x="756" y="403"/>
                    </a:lnTo>
                    <a:lnTo>
                      <a:pt x="754" y="405"/>
                    </a:lnTo>
                    <a:lnTo>
                      <a:pt x="753" y="403"/>
                    </a:lnTo>
                    <a:lnTo>
                      <a:pt x="751" y="399"/>
                    </a:lnTo>
                    <a:lnTo>
                      <a:pt x="743" y="399"/>
                    </a:lnTo>
                    <a:lnTo>
                      <a:pt x="741" y="399"/>
                    </a:lnTo>
                    <a:lnTo>
                      <a:pt x="737" y="396"/>
                    </a:lnTo>
                    <a:lnTo>
                      <a:pt x="737" y="394"/>
                    </a:lnTo>
                    <a:lnTo>
                      <a:pt x="737" y="390"/>
                    </a:lnTo>
                    <a:lnTo>
                      <a:pt x="741" y="390"/>
                    </a:lnTo>
                    <a:lnTo>
                      <a:pt x="745" y="394"/>
                    </a:lnTo>
                    <a:lnTo>
                      <a:pt x="749" y="394"/>
                    </a:lnTo>
                    <a:lnTo>
                      <a:pt x="753" y="390"/>
                    </a:lnTo>
                    <a:lnTo>
                      <a:pt x="751" y="390"/>
                    </a:lnTo>
                    <a:lnTo>
                      <a:pt x="749" y="390"/>
                    </a:lnTo>
                    <a:lnTo>
                      <a:pt x="745" y="390"/>
                    </a:lnTo>
                    <a:lnTo>
                      <a:pt x="741" y="386"/>
                    </a:lnTo>
                    <a:lnTo>
                      <a:pt x="741" y="384"/>
                    </a:lnTo>
                    <a:lnTo>
                      <a:pt x="737" y="384"/>
                    </a:lnTo>
                    <a:lnTo>
                      <a:pt x="732" y="382"/>
                    </a:lnTo>
                    <a:lnTo>
                      <a:pt x="728" y="384"/>
                    </a:lnTo>
                    <a:lnTo>
                      <a:pt x="724" y="380"/>
                    </a:lnTo>
                    <a:lnTo>
                      <a:pt x="728" y="377"/>
                    </a:lnTo>
                    <a:lnTo>
                      <a:pt x="728" y="373"/>
                    </a:lnTo>
                    <a:lnTo>
                      <a:pt x="724" y="371"/>
                    </a:lnTo>
                    <a:lnTo>
                      <a:pt x="724" y="369"/>
                    </a:lnTo>
                    <a:lnTo>
                      <a:pt x="728" y="371"/>
                    </a:lnTo>
                    <a:lnTo>
                      <a:pt x="734" y="377"/>
                    </a:lnTo>
                    <a:lnTo>
                      <a:pt x="737" y="375"/>
                    </a:lnTo>
                    <a:lnTo>
                      <a:pt x="739" y="380"/>
                    </a:lnTo>
                    <a:lnTo>
                      <a:pt x="739" y="377"/>
                    </a:lnTo>
                    <a:lnTo>
                      <a:pt x="739" y="375"/>
                    </a:lnTo>
                    <a:lnTo>
                      <a:pt x="743" y="373"/>
                    </a:lnTo>
                    <a:lnTo>
                      <a:pt x="743" y="365"/>
                    </a:lnTo>
                    <a:lnTo>
                      <a:pt x="741" y="362"/>
                    </a:lnTo>
                    <a:lnTo>
                      <a:pt x="741" y="362"/>
                    </a:lnTo>
                    <a:lnTo>
                      <a:pt x="745" y="362"/>
                    </a:lnTo>
                    <a:lnTo>
                      <a:pt x="747" y="360"/>
                    </a:lnTo>
                    <a:lnTo>
                      <a:pt x="737" y="356"/>
                    </a:lnTo>
                    <a:lnTo>
                      <a:pt x="737" y="360"/>
                    </a:lnTo>
                    <a:lnTo>
                      <a:pt x="734" y="360"/>
                    </a:lnTo>
                    <a:lnTo>
                      <a:pt x="734" y="356"/>
                    </a:lnTo>
                    <a:lnTo>
                      <a:pt x="737" y="354"/>
                    </a:lnTo>
                    <a:lnTo>
                      <a:pt x="743" y="352"/>
                    </a:lnTo>
                    <a:lnTo>
                      <a:pt x="749" y="352"/>
                    </a:lnTo>
                    <a:lnTo>
                      <a:pt x="749" y="348"/>
                    </a:lnTo>
                    <a:lnTo>
                      <a:pt x="753" y="343"/>
                    </a:lnTo>
                    <a:lnTo>
                      <a:pt x="753" y="339"/>
                    </a:lnTo>
                    <a:lnTo>
                      <a:pt x="753" y="339"/>
                    </a:lnTo>
                    <a:lnTo>
                      <a:pt x="753" y="337"/>
                    </a:lnTo>
                    <a:lnTo>
                      <a:pt x="756" y="331"/>
                    </a:lnTo>
                    <a:lnTo>
                      <a:pt x="758" y="331"/>
                    </a:lnTo>
                    <a:lnTo>
                      <a:pt x="758" y="335"/>
                    </a:lnTo>
                    <a:lnTo>
                      <a:pt x="762" y="335"/>
                    </a:lnTo>
                    <a:lnTo>
                      <a:pt x="762" y="331"/>
                    </a:lnTo>
                    <a:lnTo>
                      <a:pt x="762" y="331"/>
                    </a:lnTo>
                    <a:lnTo>
                      <a:pt x="762" y="328"/>
                    </a:lnTo>
                    <a:lnTo>
                      <a:pt x="762" y="326"/>
                    </a:lnTo>
                    <a:lnTo>
                      <a:pt x="768" y="324"/>
                    </a:lnTo>
                    <a:lnTo>
                      <a:pt x="769" y="322"/>
                    </a:lnTo>
                    <a:lnTo>
                      <a:pt x="769" y="318"/>
                    </a:lnTo>
                    <a:lnTo>
                      <a:pt x="773" y="318"/>
                    </a:lnTo>
                    <a:lnTo>
                      <a:pt x="775" y="320"/>
                    </a:lnTo>
                    <a:lnTo>
                      <a:pt x="783" y="318"/>
                    </a:lnTo>
                    <a:lnTo>
                      <a:pt x="781" y="316"/>
                    </a:lnTo>
                    <a:lnTo>
                      <a:pt x="781" y="313"/>
                    </a:lnTo>
                    <a:lnTo>
                      <a:pt x="788" y="311"/>
                    </a:lnTo>
                    <a:lnTo>
                      <a:pt x="794" y="311"/>
                    </a:lnTo>
                    <a:lnTo>
                      <a:pt x="796" y="305"/>
                    </a:lnTo>
                    <a:lnTo>
                      <a:pt x="807" y="301"/>
                    </a:lnTo>
                    <a:lnTo>
                      <a:pt x="807" y="298"/>
                    </a:lnTo>
                    <a:lnTo>
                      <a:pt x="805" y="298"/>
                    </a:lnTo>
                    <a:lnTo>
                      <a:pt x="798" y="301"/>
                    </a:lnTo>
                    <a:lnTo>
                      <a:pt x="796" y="299"/>
                    </a:lnTo>
                    <a:lnTo>
                      <a:pt x="792" y="301"/>
                    </a:lnTo>
                    <a:lnTo>
                      <a:pt x="788" y="301"/>
                    </a:lnTo>
                    <a:lnTo>
                      <a:pt x="788" y="292"/>
                    </a:lnTo>
                    <a:lnTo>
                      <a:pt x="792" y="292"/>
                    </a:lnTo>
                    <a:lnTo>
                      <a:pt x="792" y="288"/>
                    </a:lnTo>
                    <a:lnTo>
                      <a:pt x="794" y="288"/>
                    </a:lnTo>
                    <a:lnTo>
                      <a:pt x="796" y="290"/>
                    </a:lnTo>
                    <a:lnTo>
                      <a:pt x="796" y="290"/>
                    </a:lnTo>
                    <a:lnTo>
                      <a:pt x="800" y="288"/>
                    </a:lnTo>
                    <a:lnTo>
                      <a:pt x="794" y="284"/>
                    </a:lnTo>
                    <a:lnTo>
                      <a:pt x="800" y="282"/>
                    </a:lnTo>
                    <a:lnTo>
                      <a:pt x="803" y="284"/>
                    </a:lnTo>
                    <a:lnTo>
                      <a:pt x="807" y="286"/>
                    </a:lnTo>
                    <a:lnTo>
                      <a:pt x="813" y="282"/>
                    </a:lnTo>
                    <a:lnTo>
                      <a:pt x="817" y="282"/>
                    </a:lnTo>
                    <a:lnTo>
                      <a:pt x="826" y="281"/>
                    </a:lnTo>
                    <a:lnTo>
                      <a:pt x="830" y="281"/>
                    </a:lnTo>
                    <a:lnTo>
                      <a:pt x="832" y="282"/>
                    </a:lnTo>
                    <a:lnTo>
                      <a:pt x="826" y="292"/>
                    </a:lnTo>
                    <a:lnTo>
                      <a:pt x="826" y="296"/>
                    </a:lnTo>
                    <a:lnTo>
                      <a:pt x="832" y="298"/>
                    </a:lnTo>
                    <a:lnTo>
                      <a:pt x="832" y="292"/>
                    </a:lnTo>
                    <a:lnTo>
                      <a:pt x="835" y="286"/>
                    </a:lnTo>
                    <a:lnTo>
                      <a:pt x="835" y="282"/>
                    </a:lnTo>
                    <a:lnTo>
                      <a:pt x="835" y="281"/>
                    </a:lnTo>
                    <a:lnTo>
                      <a:pt x="837" y="284"/>
                    </a:lnTo>
                    <a:lnTo>
                      <a:pt x="837" y="290"/>
                    </a:lnTo>
                    <a:lnTo>
                      <a:pt x="841" y="290"/>
                    </a:lnTo>
                    <a:lnTo>
                      <a:pt x="843" y="286"/>
                    </a:lnTo>
                    <a:lnTo>
                      <a:pt x="841" y="282"/>
                    </a:lnTo>
                    <a:lnTo>
                      <a:pt x="847" y="281"/>
                    </a:lnTo>
                    <a:lnTo>
                      <a:pt x="847" y="281"/>
                    </a:lnTo>
                    <a:lnTo>
                      <a:pt x="847" y="284"/>
                    </a:lnTo>
                    <a:lnTo>
                      <a:pt x="852" y="281"/>
                    </a:lnTo>
                    <a:lnTo>
                      <a:pt x="852" y="277"/>
                    </a:lnTo>
                    <a:lnTo>
                      <a:pt x="850" y="277"/>
                    </a:lnTo>
                    <a:lnTo>
                      <a:pt x="854" y="277"/>
                    </a:lnTo>
                    <a:lnTo>
                      <a:pt x="856" y="273"/>
                    </a:lnTo>
                    <a:lnTo>
                      <a:pt x="852" y="271"/>
                    </a:lnTo>
                    <a:lnTo>
                      <a:pt x="858" y="267"/>
                    </a:lnTo>
                    <a:lnTo>
                      <a:pt x="862" y="267"/>
                    </a:lnTo>
                    <a:lnTo>
                      <a:pt x="865" y="266"/>
                    </a:lnTo>
                    <a:lnTo>
                      <a:pt x="867" y="267"/>
                    </a:lnTo>
                    <a:lnTo>
                      <a:pt x="867" y="267"/>
                    </a:lnTo>
                    <a:lnTo>
                      <a:pt x="867" y="271"/>
                    </a:lnTo>
                    <a:lnTo>
                      <a:pt x="875" y="271"/>
                    </a:lnTo>
                    <a:lnTo>
                      <a:pt x="875" y="277"/>
                    </a:lnTo>
                    <a:lnTo>
                      <a:pt x="877" y="277"/>
                    </a:lnTo>
                    <a:lnTo>
                      <a:pt x="875" y="286"/>
                    </a:lnTo>
                    <a:lnTo>
                      <a:pt x="879" y="282"/>
                    </a:lnTo>
                    <a:lnTo>
                      <a:pt x="882" y="277"/>
                    </a:lnTo>
                    <a:lnTo>
                      <a:pt x="879" y="267"/>
                    </a:lnTo>
                    <a:lnTo>
                      <a:pt x="875" y="266"/>
                    </a:lnTo>
                    <a:lnTo>
                      <a:pt x="871" y="260"/>
                    </a:lnTo>
                    <a:lnTo>
                      <a:pt x="867" y="264"/>
                    </a:lnTo>
                    <a:lnTo>
                      <a:pt x="865" y="262"/>
                    </a:lnTo>
                    <a:lnTo>
                      <a:pt x="860" y="262"/>
                    </a:lnTo>
                    <a:lnTo>
                      <a:pt x="860" y="260"/>
                    </a:lnTo>
                    <a:lnTo>
                      <a:pt x="854" y="258"/>
                    </a:lnTo>
                    <a:lnTo>
                      <a:pt x="854" y="256"/>
                    </a:lnTo>
                    <a:lnTo>
                      <a:pt x="858" y="252"/>
                    </a:lnTo>
                    <a:lnTo>
                      <a:pt x="865" y="252"/>
                    </a:lnTo>
                    <a:lnTo>
                      <a:pt x="867" y="250"/>
                    </a:lnTo>
                    <a:lnTo>
                      <a:pt x="871" y="250"/>
                    </a:lnTo>
                    <a:lnTo>
                      <a:pt x="875" y="250"/>
                    </a:lnTo>
                    <a:lnTo>
                      <a:pt x="877" y="250"/>
                    </a:lnTo>
                    <a:lnTo>
                      <a:pt x="881" y="250"/>
                    </a:lnTo>
                    <a:lnTo>
                      <a:pt x="888" y="247"/>
                    </a:lnTo>
                    <a:lnTo>
                      <a:pt x="894" y="250"/>
                    </a:lnTo>
                    <a:lnTo>
                      <a:pt x="896" y="250"/>
                    </a:lnTo>
                    <a:lnTo>
                      <a:pt x="899" y="250"/>
                    </a:lnTo>
                    <a:lnTo>
                      <a:pt x="901" y="249"/>
                    </a:lnTo>
                    <a:lnTo>
                      <a:pt x="901" y="247"/>
                    </a:lnTo>
                    <a:lnTo>
                      <a:pt x="896" y="247"/>
                    </a:lnTo>
                    <a:lnTo>
                      <a:pt x="890" y="243"/>
                    </a:lnTo>
                    <a:lnTo>
                      <a:pt x="884" y="247"/>
                    </a:lnTo>
                    <a:lnTo>
                      <a:pt x="877" y="243"/>
                    </a:lnTo>
                    <a:lnTo>
                      <a:pt x="877" y="241"/>
                    </a:lnTo>
                    <a:lnTo>
                      <a:pt x="875" y="237"/>
                    </a:lnTo>
                    <a:lnTo>
                      <a:pt x="881" y="234"/>
                    </a:lnTo>
                    <a:lnTo>
                      <a:pt x="877" y="234"/>
                    </a:lnTo>
                    <a:lnTo>
                      <a:pt x="871" y="228"/>
                    </a:lnTo>
                    <a:lnTo>
                      <a:pt x="867" y="228"/>
                    </a:lnTo>
                    <a:lnTo>
                      <a:pt x="865" y="222"/>
                    </a:lnTo>
                    <a:lnTo>
                      <a:pt x="865" y="218"/>
                    </a:lnTo>
                    <a:lnTo>
                      <a:pt x="867" y="218"/>
                    </a:lnTo>
                    <a:lnTo>
                      <a:pt x="867" y="213"/>
                    </a:lnTo>
                    <a:lnTo>
                      <a:pt x="864" y="211"/>
                    </a:lnTo>
                    <a:lnTo>
                      <a:pt x="865" y="192"/>
                    </a:lnTo>
                    <a:lnTo>
                      <a:pt x="867" y="188"/>
                    </a:lnTo>
                    <a:lnTo>
                      <a:pt x="867" y="183"/>
                    </a:lnTo>
                    <a:lnTo>
                      <a:pt x="867" y="179"/>
                    </a:lnTo>
                    <a:lnTo>
                      <a:pt x="871" y="173"/>
                    </a:lnTo>
                    <a:lnTo>
                      <a:pt x="867" y="171"/>
                    </a:lnTo>
                    <a:lnTo>
                      <a:pt x="871" y="169"/>
                    </a:lnTo>
                    <a:lnTo>
                      <a:pt x="871" y="166"/>
                    </a:lnTo>
                    <a:lnTo>
                      <a:pt x="877" y="162"/>
                    </a:lnTo>
                    <a:lnTo>
                      <a:pt x="881" y="162"/>
                    </a:lnTo>
                    <a:lnTo>
                      <a:pt x="884" y="168"/>
                    </a:lnTo>
                    <a:lnTo>
                      <a:pt x="888" y="164"/>
                    </a:lnTo>
                    <a:lnTo>
                      <a:pt x="892" y="164"/>
                    </a:lnTo>
                    <a:lnTo>
                      <a:pt x="894" y="169"/>
                    </a:lnTo>
                    <a:lnTo>
                      <a:pt x="899" y="169"/>
                    </a:lnTo>
                    <a:lnTo>
                      <a:pt x="905" y="166"/>
                    </a:lnTo>
                    <a:lnTo>
                      <a:pt x="905" y="166"/>
                    </a:lnTo>
                    <a:lnTo>
                      <a:pt x="905" y="171"/>
                    </a:lnTo>
                    <a:lnTo>
                      <a:pt x="907" y="173"/>
                    </a:lnTo>
                    <a:lnTo>
                      <a:pt x="913" y="173"/>
                    </a:lnTo>
                    <a:lnTo>
                      <a:pt x="913" y="177"/>
                    </a:lnTo>
                    <a:lnTo>
                      <a:pt x="909" y="179"/>
                    </a:lnTo>
                    <a:lnTo>
                      <a:pt x="909" y="179"/>
                    </a:lnTo>
                    <a:lnTo>
                      <a:pt x="907" y="183"/>
                    </a:lnTo>
                    <a:lnTo>
                      <a:pt x="909" y="186"/>
                    </a:lnTo>
                    <a:lnTo>
                      <a:pt x="905" y="192"/>
                    </a:lnTo>
                    <a:lnTo>
                      <a:pt x="901" y="194"/>
                    </a:lnTo>
                    <a:lnTo>
                      <a:pt x="899" y="200"/>
                    </a:lnTo>
                    <a:lnTo>
                      <a:pt x="901" y="200"/>
                    </a:lnTo>
                    <a:lnTo>
                      <a:pt x="909" y="196"/>
                    </a:lnTo>
                    <a:lnTo>
                      <a:pt x="914" y="186"/>
                    </a:lnTo>
                    <a:lnTo>
                      <a:pt x="918" y="188"/>
                    </a:lnTo>
                    <a:lnTo>
                      <a:pt x="918" y="190"/>
                    </a:lnTo>
                    <a:lnTo>
                      <a:pt x="914" y="194"/>
                    </a:lnTo>
                    <a:lnTo>
                      <a:pt x="916" y="198"/>
                    </a:lnTo>
                    <a:lnTo>
                      <a:pt x="920" y="198"/>
                    </a:lnTo>
                    <a:lnTo>
                      <a:pt x="922" y="192"/>
                    </a:lnTo>
                    <a:lnTo>
                      <a:pt x="926" y="190"/>
                    </a:lnTo>
                    <a:lnTo>
                      <a:pt x="929" y="192"/>
                    </a:lnTo>
                    <a:lnTo>
                      <a:pt x="931" y="190"/>
                    </a:lnTo>
                    <a:lnTo>
                      <a:pt x="933" y="186"/>
                    </a:lnTo>
                    <a:lnTo>
                      <a:pt x="935" y="186"/>
                    </a:lnTo>
                    <a:lnTo>
                      <a:pt x="937" y="188"/>
                    </a:lnTo>
                    <a:lnTo>
                      <a:pt x="941" y="186"/>
                    </a:lnTo>
                    <a:lnTo>
                      <a:pt x="946" y="192"/>
                    </a:lnTo>
                    <a:lnTo>
                      <a:pt x="946" y="196"/>
                    </a:lnTo>
                    <a:lnTo>
                      <a:pt x="948" y="201"/>
                    </a:lnTo>
                    <a:lnTo>
                      <a:pt x="946" y="203"/>
                    </a:lnTo>
                    <a:lnTo>
                      <a:pt x="946" y="207"/>
                    </a:lnTo>
                    <a:lnTo>
                      <a:pt x="945" y="213"/>
                    </a:lnTo>
                    <a:lnTo>
                      <a:pt x="948" y="218"/>
                    </a:lnTo>
                    <a:lnTo>
                      <a:pt x="948" y="224"/>
                    </a:lnTo>
                    <a:lnTo>
                      <a:pt x="945" y="224"/>
                    </a:lnTo>
                    <a:lnTo>
                      <a:pt x="943" y="228"/>
                    </a:lnTo>
                    <a:lnTo>
                      <a:pt x="945" y="228"/>
                    </a:lnTo>
                    <a:lnTo>
                      <a:pt x="950" y="226"/>
                    </a:lnTo>
                    <a:lnTo>
                      <a:pt x="954" y="222"/>
                    </a:lnTo>
                    <a:lnTo>
                      <a:pt x="963" y="222"/>
                    </a:lnTo>
                    <a:lnTo>
                      <a:pt x="963" y="217"/>
                    </a:lnTo>
                    <a:lnTo>
                      <a:pt x="963" y="211"/>
                    </a:lnTo>
                    <a:lnTo>
                      <a:pt x="963" y="205"/>
                    </a:lnTo>
                    <a:lnTo>
                      <a:pt x="960" y="205"/>
                    </a:lnTo>
                    <a:lnTo>
                      <a:pt x="956" y="205"/>
                    </a:lnTo>
                    <a:lnTo>
                      <a:pt x="956" y="201"/>
                    </a:lnTo>
                    <a:lnTo>
                      <a:pt x="960" y="200"/>
                    </a:lnTo>
                    <a:lnTo>
                      <a:pt x="960" y="200"/>
                    </a:lnTo>
                    <a:lnTo>
                      <a:pt x="963" y="201"/>
                    </a:lnTo>
                    <a:lnTo>
                      <a:pt x="965" y="200"/>
                    </a:lnTo>
                    <a:lnTo>
                      <a:pt x="971" y="198"/>
                    </a:lnTo>
                    <a:lnTo>
                      <a:pt x="977" y="192"/>
                    </a:lnTo>
                    <a:lnTo>
                      <a:pt x="978" y="194"/>
                    </a:lnTo>
                    <a:lnTo>
                      <a:pt x="984" y="194"/>
                    </a:lnTo>
                    <a:lnTo>
                      <a:pt x="984" y="190"/>
                    </a:lnTo>
                    <a:lnTo>
                      <a:pt x="988" y="186"/>
                    </a:lnTo>
                    <a:lnTo>
                      <a:pt x="990" y="186"/>
                    </a:lnTo>
                    <a:lnTo>
                      <a:pt x="992" y="186"/>
                    </a:lnTo>
                    <a:lnTo>
                      <a:pt x="995" y="183"/>
                    </a:lnTo>
                    <a:lnTo>
                      <a:pt x="997" y="186"/>
                    </a:lnTo>
                    <a:lnTo>
                      <a:pt x="1001" y="186"/>
                    </a:lnTo>
                    <a:lnTo>
                      <a:pt x="1003" y="186"/>
                    </a:lnTo>
                    <a:lnTo>
                      <a:pt x="1001" y="188"/>
                    </a:lnTo>
                    <a:lnTo>
                      <a:pt x="1001" y="192"/>
                    </a:lnTo>
                    <a:lnTo>
                      <a:pt x="1009" y="190"/>
                    </a:lnTo>
                    <a:lnTo>
                      <a:pt x="1012" y="192"/>
                    </a:lnTo>
                    <a:lnTo>
                      <a:pt x="1014" y="194"/>
                    </a:lnTo>
                    <a:lnTo>
                      <a:pt x="1027" y="201"/>
                    </a:lnTo>
                    <a:lnTo>
                      <a:pt x="1029" y="203"/>
                    </a:lnTo>
                    <a:lnTo>
                      <a:pt x="1033" y="207"/>
                    </a:lnTo>
                    <a:lnTo>
                      <a:pt x="1033" y="207"/>
                    </a:lnTo>
                    <a:lnTo>
                      <a:pt x="1039" y="217"/>
                    </a:lnTo>
                    <a:lnTo>
                      <a:pt x="1042" y="217"/>
                    </a:lnTo>
                    <a:lnTo>
                      <a:pt x="1042" y="213"/>
                    </a:lnTo>
                    <a:lnTo>
                      <a:pt x="1042" y="213"/>
                    </a:lnTo>
                    <a:lnTo>
                      <a:pt x="1042" y="211"/>
                    </a:lnTo>
                    <a:lnTo>
                      <a:pt x="1042" y="207"/>
                    </a:lnTo>
                    <a:lnTo>
                      <a:pt x="1039" y="207"/>
                    </a:lnTo>
                    <a:lnTo>
                      <a:pt x="1039" y="205"/>
                    </a:lnTo>
                    <a:lnTo>
                      <a:pt x="1042" y="203"/>
                    </a:lnTo>
                    <a:lnTo>
                      <a:pt x="1042" y="203"/>
                    </a:lnTo>
                    <a:lnTo>
                      <a:pt x="1044" y="205"/>
                    </a:lnTo>
                    <a:lnTo>
                      <a:pt x="1048" y="207"/>
                    </a:lnTo>
                    <a:lnTo>
                      <a:pt x="1048" y="211"/>
                    </a:lnTo>
                    <a:lnTo>
                      <a:pt x="1054" y="217"/>
                    </a:lnTo>
                    <a:lnTo>
                      <a:pt x="1054" y="218"/>
                    </a:lnTo>
                    <a:lnTo>
                      <a:pt x="1057" y="220"/>
                    </a:lnTo>
                    <a:lnTo>
                      <a:pt x="1059" y="218"/>
                    </a:lnTo>
                    <a:lnTo>
                      <a:pt x="1061" y="218"/>
                    </a:lnTo>
                    <a:lnTo>
                      <a:pt x="1063" y="220"/>
                    </a:lnTo>
                    <a:lnTo>
                      <a:pt x="1063" y="224"/>
                    </a:lnTo>
                    <a:lnTo>
                      <a:pt x="1067" y="228"/>
                    </a:lnTo>
                    <a:lnTo>
                      <a:pt x="1067" y="232"/>
                    </a:lnTo>
                    <a:lnTo>
                      <a:pt x="1067" y="235"/>
                    </a:lnTo>
                    <a:lnTo>
                      <a:pt x="1067" y="235"/>
                    </a:lnTo>
                    <a:lnTo>
                      <a:pt x="1067" y="234"/>
                    </a:lnTo>
                    <a:lnTo>
                      <a:pt x="1063" y="230"/>
                    </a:lnTo>
                    <a:lnTo>
                      <a:pt x="1063" y="230"/>
                    </a:lnTo>
                    <a:lnTo>
                      <a:pt x="1063" y="232"/>
                    </a:lnTo>
                    <a:lnTo>
                      <a:pt x="1059" y="230"/>
                    </a:lnTo>
                    <a:lnTo>
                      <a:pt x="1052" y="226"/>
                    </a:lnTo>
                    <a:lnTo>
                      <a:pt x="1046" y="228"/>
                    </a:lnTo>
                    <a:lnTo>
                      <a:pt x="1046" y="228"/>
                    </a:lnTo>
                    <a:lnTo>
                      <a:pt x="1048" y="232"/>
                    </a:lnTo>
                    <a:lnTo>
                      <a:pt x="1054" y="232"/>
                    </a:lnTo>
                    <a:lnTo>
                      <a:pt x="1056" y="234"/>
                    </a:lnTo>
                    <a:lnTo>
                      <a:pt x="1056" y="235"/>
                    </a:lnTo>
                    <a:lnTo>
                      <a:pt x="1057" y="237"/>
                    </a:lnTo>
                    <a:lnTo>
                      <a:pt x="1059" y="241"/>
                    </a:lnTo>
                    <a:lnTo>
                      <a:pt x="1061" y="237"/>
                    </a:lnTo>
                    <a:lnTo>
                      <a:pt x="1063" y="235"/>
                    </a:lnTo>
                    <a:lnTo>
                      <a:pt x="1063" y="235"/>
                    </a:lnTo>
                    <a:lnTo>
                      <a:pt x="1067" y="237"/>
                    </a:lnTo>
                    <a:lnTo>
                      <a:pt x="1067" y="237"/>
                    </a:lnTo>
                    <a:lnTo>
                      <a:pt x="1069" y="237"/>
                    </a:lnTo>
                    <a:lnTo>
                      <a:pt x="1073" y="237"/>
                    </a:lnTo>
                    <a:lnTo>
                      <a:pt x="1073" y="241"/>
                    </a:lnTo>
                    <a:lnTo>
                      <a:pt x="1073" y="243"/>
                    </a:lnTo>
                    <a:lnTo>
                      <a:pt x="1074" y="249"/>
                    </a:lnTo>
                    <a:lnTo>
                      <a:pt x="1076" y="256"/>
                    </a:lnTo>
                    <a:lnTo>
                      <a:pt x="1076" y="264"/>
                    </a:lnTo>
                    <a:lnTo>
                      <a:pt x="1073" y="267"/>
                    </a:lnTo>
                    <a:lnTo>
                      <a:pt x="1073" y="267"/>
                    </a:lnTo>
                    <a:lnTo>
                      <a:pt x="1073" y="271"/>
                    </a:lnTo>
                    <a:lnTo>
                      <a:pt x="1073" y="277"/>
                    </a:lnTo>
                    <a:lnTo>
                      <a:pt x="1069" y="281"/>
                    </a:lnTo>
                    <a:lnTo>
                      <a:pt x="1069" y="282"/>
                    </a:lnTo>
                    <a:lnTo>
                      <a:pt x="1073" y="284"/>
                    </a:lnTo>
                    <a:lnTo>
                      <a:pt x="1073" y="288"/>
                    </a:lnTo>
                    <a:lnTo>
                      <a:pt x="1067" y="290"/>
                    </a:lnTo>
                    <a:lnTo>
                      <a:pt x="1067" y="294"/>
                    </a:lnTo>
                    <a:lnTo>
                      <a:pt x="1067" y="296"/>
                    </a:lnTo>
                    <a:lnTo>
                      <a:pt x="1063" y="301"/>
                    </a:lnTo>
                    <a:lnTo>
                      <a:pt x="1063" y="305"/>
                    </a:lnTo>
                    <a:lnTo>
                      <a:pt x="1063" y="305"/>
                    </a:lnTo>
                    <a:lnTo>
                      <a:pt x="1061" y="311"/>
                    </a:lnTo>
                    <a:lnTo>
                      <a:pt x="1057" y="311"/>
                    </a:lnTo>
                    <a:lnTo>
                      <a:pt x="1054" y="315"/>
                    </a:lnTo>
                    <a:lnTo>
                      <a:pt x="1048" y="315"/>
                    </a:lnTo>
                    <a:lnTo>
                      <a:pt x="1054" y="316"/>
                    </a:lnTo>
                    <a:lnTo>
                      <a:pt x="1056" y="316"/>
                    </a:lnTo>
                    <a:lnTo>
                      <a:pt x="1059" y="313"/>
                    </a:lnTo>
                    <a:lnTo>
                      <a:pt x="1059" y="313"/>
                    </a:lnTo>
                    <a:lnTo>
                      <a:pt x="1061" y="318"/>
                    </a:lnTo>
                    <a:lnTo>
                      <a:pt x="1059" y="326"/>
                    </a:lnTo>
                    <a:lnTo>
                      <a:pt x="1056" y="330"/>
                    </a:lnTo>
                    <a:lnTo>
                      <a:pt x="1054" y="337"/>
                    </a:lnTo>
                    <a:lnTo>
                      <a:pt x="1056" y="341"/>
                    </a:lnTo>
                    <a:lnTo>
                      <a:pt x="1056" y="345"/>
                    </a:lnTo>
                    <a:lnTo>
                      <a:pt x="1054" y="354"/>
                    </a:lnTo>
                    <a:lnTo>
                      <a:pt x="1048" y="356"/>
                    </a:lnTo>
                    <a:lnTo>
                      <a:pt x="1046" y="354"/>
                    </a:lnTo>
                    <a:lnTo>
                      <a:pt x="1044" y="356"/>
                    </a:lnTo>
                    <a:lnTo>
                      <a:pt x="1042" y="356"/>
                    </a:lnTo>
                    <a:lnTo>
                      <a:pt x="1042" y="360"/>
                    </a:lnTo>
                    <a:lnTo>
                      <a:pt x="1046" y="365"/>
                    </a:lnTo>
                    <a:lnTo>
                      <a:pt x="1044" y="369"/>
                    </a:lnTo>
                    <a:lnTo>
                      <a:pt x="1042" y="371"/>
                    </a:lnTo>
                    <a:lnTo>
                      <a:pt x="1039" y="377"/>
                    </a:lnTo>
                    <a:lnTo>
                      <a:pt x="1042" y="382"/>
                    </a:lnTo>
                    <a:lnTo>
                      <a:pt x="1042" y="386"/>
                    </a:lnTo>
                    <a:lnTo>
                      <a:pt x="1039" y="390"/>
                    </a:lnTo>
                    <a:lnTo>
                      <a:pt x="1039" y="390"/>
                    </a:lnTo>
                    <a:lnTo>
                      <a:pt x="1042" y="394"/>
                    </a:lnTo>
                    <a:lnTo>
                      <a:pt x="1039" y="403"/>
                    </a:lnTo>
                    <a:lnTo>
                      <a:pt x="1039" y="405"/>
                    </a:lnTo>
                    <a:lnTo>
                      <a:pt x="1037" y="409"/>
                    </a:lnTo>
                    <a:lnTo>
                      <a:pt x="1039" y="407"/>
                    </a:lnTo>
                    <a:lnTo>
                      <a:pt x="1042" y="407"/>
                    </a:lnTo>
                    <a:lnTo>
                      <a:pt x="1044" y="403"/>
                    </a:lnTo>
                    <a:lnTo>
                      <a:pt x="1046" y="399"/>
                    </a:lnTo>
                    <a:lnTo>
                      <a:pt x="1044" y="399"/>
                    </a:lnTo>
                    <a:lnTo>
                      <a:pt x="1046" y="396"/>
                    </a:lnTo>
                    <a:lnTo>
                      <a:pt x="1052" y="396"/>
                    </a:lnTo>
                    <a:lnTo>
                      <a:pt x="1054" y="396"/>
                    </a:lnTo>
                    <a:lnTo>
                      <a:pt x="1052" y="396"/>
                    </a:lnTo>
                    <a:lnTo>
                      <a:pt x="1044" y="386"/>
                    </a:lnTo>
                    <a:lnTo>
                      <a:pt x="1042" y="382"/>
                    </a:lnTo>
                    <a:lnTo>
                      <a:pt x="1044" y="379"/>
                    </a:lnTo>
                    <a:lnTo>
                      <a:pt x="1052" y="377"/>
                    </a:lnTo>
                    <a:lnTo>
                      <a:pt x="1059" y="377"/>
                    </a:lnTo>
                    <a:lnTo>
                      <a:pt x="1063" y="371"/>
                    </a:lnTo>
                    <a:lnTo>
                      <a:pt x="1067" y="371"/>
                    </a:lnTo>
                    <a:lnTo>
                      <a:pt x="1067" y="369"/>
                    </a:lnTo>
                    <a:lnTo>
                      <a:pt x="1067" y="365"/>
                    </a:lnTo>
                    <a:lnTo>
                      <a:pt x="1073" y="362"/>
                    </a:lnTo>
                    <a:lnTo>
                      <a:pt x="1074" y="360"/>
                    </a:lnTo>
                    <a:lnTo>
                      <a:pt x="1073" y="354"/>
                    </a:lnTo>
                    <a:lnTo>
                      <a:pt x="1073" y="354"/>
                    </a:lnTo>
                    <a:lnTo>
                      <a:pt x="1076" y="356"/>
                    </a:lnTo>
                    <a:lnTo>
                      <a:pt x="1080" y="354"/>
                    </a:lnTo>
                    <a:lnTo>
                      <a:pt x="1084" y="350"/>
                    </a:lnTo>
                    <a:lnTo>
                      <a:pt x="1082" y="347"/>
                    </a:lnTo>
                    <a:lnTo>
                      <a:pt x="1088" y="341"/>
                    </a:lnTo>
                    <a:lnTo>
                      <a:pt x="1088" y="337"/>
                    </a:lnTo>
                    <a:lnTo>
                      <a:pt x="1088" y="335"/>
                    </a:lnTo>
                    <a:lnTo>
                      <a:pt x="1080" y="339"/>
                    </a:lnTo>
                    <a:lnTo>
                      <a:pt x="1080" y="341"/>
                    </a:lnTo>
                    <a:lnTo>
                      <a:pt x="1074" y="345"/>
                    </a:lnTo>
                    <a:lnTo>
                      <a:pt x="1069" y="343"/>
                    </a:lnTo>
                    <a:lnTo>
                      <a:pt x="1067" y="337"/>
                    </a:lnTo>
                    <a:lnTo>
                      <a:pt x="1073" y="335"/>
                    </a:lnTo>
                    <a:lnTo>
                      <a:pt x="1069" y="330"/>
                    </a:lnTo>
                    <a:lnTo>
                      <a:pt x="1073" y="326"/>
                    </a:lnTo>
                    <a:lnTo>
                      <a:pt x="1078" y="326"/>
                    </a:lnTo>
                    <a:lnTo>
                      <a:pt x="1086" y="330"/>
                    </a:lnTo>
                    <a:lnTo>
                      <a:pt x="1088" y="326"/>
                    </a:lnTo>
                    <a:lnTo>
                      <a:pt x="1088" y="322"/>
                    </a:lnTo>
                    <a:lnTo>
                      <a:pt x="1093" y="320"/>
                    </a:lnTo>
                    <a:lnTo>
                      <a:pt x="1093" y="324"/>
                    </a:lnTo>
                    <a:lnTo>
                      <a:pt x="1091" y="326"/>
                    </a:lnTo>
                    <a:lnTo>
                      <a:pt x="1091" y="330"/>
                    </a:lnTo>
                    <a:lnTo>
                      <a:pt x="1101" y="337"/>
                    </a:lnTo>
                    <a:lnTo>
                      <a:pt x="1106" y="337"/>
                    </a:lnTo>
                    <a:lnTo>
                      <a:pt x="1108" y="335"/>
                    </a:lnTo>
                    <a:lnTo>
                      <a:pt x="1116" y="335"/>
                    </a:lnTo>
                    <a:lnTo>
                      <a:pt x="1118" y="331"/>
                    </a:lnTo>
                    <a:lnTo>
                      <a:pt x="1118" y="328"/>
                    </a:lnTo>
                    <a:lnTo>
                      <a:pt x="1112" y="320"/>
                    </a:lnTo>
                    <a:lnTo>
                      <a:pt x="1112" y="318"/>
                    </a:lnTo>
                    <a:lnTo>
                      <a:pt x="1114" y="318"/>
                    </a:lnTo>
                    <a:lnTo>
                      <a:pt x="1121" y="326"/>
                    </a:lnTo>
                    <a:lnTo>
                      <a:pt x="1123" y="326"/>
                    </a:lnTo>
                    <a:lnTo>
                      <a:pt x="1127" y="330"/>
                    </a:lnTo>
                    <a:lnTo>
                      <a:pt x="1125" y="331"/>
                    </a:lnTo>
                    <a:lnTo>
                      <a:pt x="1127" y="335"/>
                    </a:lnTo>
                    <a:lnTo>
                      <a:pt x="1133" y="339"/>
                    </a:lnTo>
                    <a:lnTo>
                      <a:pt x="1133" y="347"/>
                    </a:lnTo>
                    <a:lnTo>
                      <a:pt x="1135" y="347"/>
                    </a:lnTo>
                    <a:lnTo>
                      <a:pt x="1135" y="345"/>
                    </a:lnTo>
                    <a:lnTo>
                      <a:pt x="1138" y="341"/>
                    </a:lnTo>
                    <a:lnTo>
                      <a:pt x="1140" y="341"/>
                    </a:lnTo>
                    <a:lnTo>
                      <a:pt x="1142" y="337"/>
                    </a:lnTo>
                    <a:lnTo>
                      <a:pt x="1140" y="337"/>
                    </a:lnTo>
                    <a:lnTo>
                      <a:pt x="1137" y="339"/>
                    </a:lnTo>
                    <a:lnTo>
                      <a:pt x="1135" y="337"/>
                    </a:lnTo>
                    <a:lnTo>
                      <a:pt x="1131" y="335"/>
                    </a:lnTo>
                    <a:lnTo>
                      <a:pt x="1137" y="330"/>
                    </a:lnTo>
                    <a:lnTo>
                      <a:pt x="1140" y="328"/>
                    </a:lnTo>
                    <a:lnTo>
                      <a:pt x="1142" y="324"/>
                    </a:lnTo>
                    <a:lnTo>
                      <a:pt x="1146" y="324"/>
                    </a:lnTo>
                    <a:lnTo>
                      <a:pt x="1146" y="322"/>
                    </a:lnTo>
                    <a:lnTo>
                      <a:pt x="1155" y="320"/>
                    </a:lnTo>
                    <a:lnTo>
                      <a:pt x="1167" y="316"/>
                    </a:lnTo>
                    <a:lnTo>
                      <a:pt x="1180" y="316"/>
                    </a:lnTo>
                    <a:lnTo>
                      <a:pt x="1191" y="311"/>
                    </a:lnTo>
                    <a:lnTo>
                      <a:pt x="1199" y="311"/>
                    </a:lnTo>
                    <a:lnTo>
                      <a:pt x="1201" y="313"/>
                    </a:lnTo>
                    <a:lnTo>
                      <a:pt x="1201" y="316"/>
                    </a:lnTo>
                    <a:lnTo>
                      <a:pt x="1201" y="316"/>
                    </a:lnTo>
                    <a:lnTo>
                      <a:pt x="1199" y="322"/>
                    </a:lnTo>
                    <a:lnTo>
                      <a:pt x="1201" y="330"/>
                    </a:lnTo>
                    <a:lnTo>
                      <a:pt x="1206" y="331"/>
                    </a:lnTo>
                    <a:lnTo>
                      <a:pt x="1221" y="331"/>
                    </a:lnTo>
                    <a:lnTo>
                      <a:pt x="1225" y="335"/>
                    </a:lnTo>
                    <a:lnTo>
                      <a:pt x="1227" y="331"/>
                    </a:lnTo>
                    <a:lnTo>
                      <a:pt x="1231" y="331"/>
                    </a:lnTo>
                    <a:lnTo>
                      <a:pt x="1236" y="335"/>
                    </a:lnTo>
                    <a:lnTo>
                      <a:pt x="1248" y="331"/>
                    </a:lnTo>
                    <a:lnTo>
                      <a:pt x="1255" y="330"/>
                    </a:lnTo>
                    <a:lnTo>
                      <a:pt x="1259" y="330"/>
                    </a:lnTo>
                    <a:lnTo>
                      <a:pt x="1265" y="330"/>
                    </a:lnTo>
                    <a:lnTo>
                      <a:pt x="1265" y="326"/>
                    </a:lnTo>
                    <a:lnTo>
                      <a:pt x="1265" y="324"/>
                    </a:lnTo>
                    <a:lnTo>
                      <a:pt x="1268" y="322"/>
                    </a:lnTo>
                    <a:lnTo>
                      <a:pt x="1270" y="324"/>
                    </a:lnTo>
                    <a:lnTo>
                      <a:pt x="1276" y="322"/>
                    </a:lnTo>
                    <a:lnTo>
                      <a:pt x="1276" y="324"/>
                    </a:lnTo>
                    <a:lnTo>
                      <a:pt x="1278" y="326"/>
                    </a:lnTo>
                    <a:lnTo>
                      <a:pt x="1281" y="322"/>
                    </a:lnTo>
                    <a:lnTo>
                      <a:pt x="1280" y="318"/>
                    </a:lnTo>
                    <a:lnTo>
                      <a:pt x="1276" y="315"/>
                    </a:lnTo>
                    <a:lnTo>
                      <a:pt x="1278" y="311"/>
                    </a:lnTo>
                    <a:lnTo>
                      <a:pt x="1276" y="311"/>
                    </a:lnTo>
                    <a:lnTo>
                      <a:pt x="1270" y="307"/>
                    </a:lnTo>
                    <a:lnTo>
                      <a:pt x="1270" y="305"/>
                    </a:lnTo>
                    <a:lnTo>
                      <a:pt x="1268" y="301"/>
                    </a:lnTo>
                    <a:lnTo>
                      <a:pt x="1268" y="299"/>
                    </a:lnTo>
                    <a:lnTo>
                      <a:pt x="1265" y="296"/>
                    </a:lnTo>
                    <a:lnTo>
                      <a:pt x="1265" y="292"/>
                    </a:lnTo>
                    <a:lnTo>
                      <a:pt x="1268" y="288"/>
                    </a:lnTo>
                    <a:lnTo>
                      <a:pt x="1268" y="290"/>
                    </a:lnTo>
                    <a:lnTo>
                      <a:pt x="1268" y="292"/>
                    </a:lnTo>
                    <a:lnTo>
                      <a:pt x="1272" y="288"/>
                    </a:lnTo>
                    <a:lnTo>
                      <a:pt x="1272" y="286"/>
                    </a:lnTo>
                    <a:lnTo>
                      <a:pt x="1270" y="282"/>
                    </a:lnTo>
                    <a:lnTo>
                      <a:pt x="1274" y="282"/>
                    </a:lnTo>
                    <a:lnTo>
                      <a:pt x="1278" y="286"/>
                    </a:lnTo>
                    <a:lnTo>
                      <a:pt x="1281" y="284"/>
                    </a:lnTo>
                    <a:lnTo>
                      <a:pt x="1281" y="281"/>
                    </a:lnTo>
                    <a:lnTo>
                      <a:pt x="1283" y="282"/>
                    </a:lnTo>
                    <a:lnTo>
                      <a:pt x="1289" y="282"/>
                    </a:lnTo>
                    <a:lnTo>
                      <a:pt x="1289" y="282"/>
                    </a:lnTo>
                    <a:lnTo>
                      <a:pt x="1293" y="281"/>
                    </a:lnTo>
                    <a:lnTo>
                      <a:pt x="1295" y="284"/>
                    </a:lnTo>
                    <a:lnTo>
                      <a:pt x="1298" y="284"/>
                    </a:lnTo>
                    <a:lnTo>
                      <a:pt x="1300" y="288"/>
                    </a:lnTo>
                    <a:lnTo>
                      <a:pt x="1302" y="286"/>
                    </a:lnTo>
                    <a:lnTo>
                      <a:pt x="1302" y="282"/>
                    </a:lnTo>
                    <a:lnTo>
                      <a:pt x="1306" y="282"/>
                    </a:lnTo>
                    <a:lnTo>
                      <a:pt x="1308" y="286"/>
                    </a:lnTo>
                    <a:lnTo>
                      <a:pt x="1306" y="290"/>
                    </a:lnTo>
                    <a:lnTo>
                      <a:pt x="1304" y="292"/>
                    </a:lnTo>
                    <a:lnTo>
                      <a:pt x="1306" y="294"/>
                    </a:lnTo>
                    <a:lnTo>
                      <a:pt x="1310" y="292"/>
                    </a:lnTo>
                    <a:lnTo>
                      <a:pt x="1312" y="294"/>
                    </a:lnTo>
                    <a:lnTo>
                      <a:pt x="1312" y="290"/>
                    </a:lnTo>
                    <a:lnTo>
                      <a:pt x="1313" y="290"/>
                    </a:lnTo>
                    <a:lnTo>
                      <a:pt x="1313" y="290"/>
                    </a:lnTo>
                    <a:lnTo>
                      <a:pt x="1313" y="286"/>
                    </a:lnTo>
                    <a:lnTo>
                      <a:pt x="1312" y="284"/>
                    </a:lnTo>
                    <a:lnTo>
                      <a:pt x="1313" y="282"/>
                    </a:lnTo>
                    <a:lnTo>
                      <a:pt x="1313" y="282"/>
                    </a:lnTo>
                    <a:lnTo>
                      <a:pt x="1323" y="281"/>
                    </a:lnTo>
                    <a:lnTo>
                      <a:pt x="1323" y="282"/>
                    </a:lnTo>
                    <a:lnTo>
                      <a:pt x="1325" y="281"/>
                    </a:lnTo>
                    <a:lnTo>
                      <a:pt x="1330" y="281"/>
                    </a:lnTo>
                    <a:lnTo>
                      <a:pt x="1330" y="284"/>
                    </a:lnTo>
                    <a:lnTo>
                      <a:pt x="1330" y="290"/>
                    </a:lnTo>
                    <a:lnTo>
                      <a:pt x="1332" y="286"/>
                    </a:lnTo>
                    <a:lnTo>
                      <a:pt x="1334" y="286"/>
                    </a:lnTo>
                    <a:lnTo>
                      <a:pt x="1338" y="282"/>
                    </a:lnTo>
                    <a:lnTo>
                      <a:pt x="1338" y="288"/>
                    </a:lnTo>
                    <a:lnTo>
                      <a:pt x="1342" y="288"/>
                    </a:lnTo>
                    <a:lnTo>
                      <a:pt x="1344" y="286"/>
                    </a:lnTo>
                    <a:lnTo>
                      <a:pt x="1347" y="290"/>
                    </a:lnTo>
                    <a:lnTo>
                      <a:pt x="1347" y="298"/>
                    </a:lnTo>
                    <a:lnTo>
                      <a:pt x="1351" y="292"/>
                    </a:lnTo>
                    <a:lnTo>
                      <a:pt x="1353" y="290"/>
                    </a:lnTo>
                    <a:lnTo>
                      <a:pt x="1355" y="292"/>
                    </a:lnTo>
                    <a:lnTo>
                      <a:pt x="1353" y="298"/>
                    </a:lnTo>
                    <a:lnTo>
                      <a:pt x="1355" y="299"/>
                    </a:lnTo>
                    <a:lnTo>
                      <a:pt x="1357" y="301"/>
                    </a:lnTo>
                    <a:lnTo>
                      <a:pt x="1361" y="301"/>
                    </a:lnTo>
                    <a:lnTo>
                      <a:pt x="1361" y="305"/>
                    </a:lnTo>
                    <a:lnTo>
                      <a:pt x="1362" y="301"/>
                    </a:lnTo>
                    <a:lnTo>
                      <a:pt x="1364" y="301"/>
                    </a:lnTo>
                    <a:lnTo>
                      <a:pt x="1366" y="305"/>
                    </a:lnTo>
                    <a:lnTo>
                      <a:pt x="1362" y="311"/>
                    </a:lnTo>
                    <a:lnTo>
                      <a:pt x="1362" y="313"/>
                    </a:lnTo>
                    <a:lnTo>
                      <a:pt x="1368" y="311"/>
                    </a:lnTo>
                    <a:lnTo>
                      <a:pt x="1372" y="311"/>
                    </a:lnTo>
                    <a:lnTo>
                      <a:pt x="1372" y="311"/>
                    </a:lnTo>
                    <a:lnTo>
                      <a:pt x="1364" y="318"/>
                    </a:lnTo>
                    <a:lnTo>
                      <a:pt x="1366" y="324"/>
                    </a:lnTo>
                    <a:lnTo>
                      <a:pt x="1372" y="324"/>
                    </a:lnTo>
                    <a:lnTo>
                      <a:pt x="1372" y="322"/>
                    </a:lnTo>
                    <a:lnTo>
                      <a:pt x="1374" y="320"/>
                    </a:lnTo>
                    <a:lnTo>
                      <a:pt x="1377" y="322"/>
                    </a:lnTo>
                    <a:lnTo>
                      <a:pt x="1377" y="324"/>
                    </a:lnTo>
                    <a:lnTo>
                      <a:pt x="1381" y="324"/>
                    </a:lnTo>
                    <a:lnTo>
                      <a:pt x="1385" y="328"/>
                    </a:lnTo>
                    <a:lnTo>
                      <a:pt x="1383" y="331"/>
                    </a:lnTo>
                    <a:lnTo>
                      <a:pt x="1387" y="331"/>
                    </a:lnTo>
                    <a:lnTo>
                      <a:pt x="1389" y="335"/>
                    </a:lnTo>
                    <a:lnTo>
                      <a:pt x="1391" y="335"/>
                    </a:lnTo>
                    <a:lnTo>
                      <a:pt x="1393" y="335"/>
                    </a:lnTo>
                    <a:lnTo>
                      <a:pt x="1389" y="343"/>
                    </a:lnTo>
                    <a:lnTo>
                      <a:pt x="1383" y="345"/>
                    </a:lnTo>
                    <a:lnTo>
                      <a:pt x="1379" y="341"/>
                    </a:lnTo>
                    <a:lnTo>
                      <a:pt x="1372" y="339"/>
                    </a:lnTo>
                    <a:lnTo>
                      <a:pt x="1366" y="339"/>
                    </a:lnTo>
                    <a:lnTo>
                      <a:pt x="1368" y="341"/>
                    </a:lnTo>
                    <a:lnTo>
                      <a:pt x="1368" y="345"/>
                    </a:lnTo>
                    <a:lnTo>
                      <a:pt x="1377" y="347"/>
                    </a:lnTo>
                    <a:lnTo>
                      <a:pt x="1377" y="350"/>
                    </a:lnTo>
                    <a:lnTo>
                      <a:pt x="1385" y="354"/>
                    </a:lnTo>
                    <a:lnTo>
                      <a:pt x="1393" y="356"/>
                    </a:lnTo>
                    <a:lnTo>
                      <a:pt x="1398" y="354"/>
                    </a:lnTo>
                    <a:lnTo>
                      <a:pt x="1398" y="350"/>
                    </a:lnTo>
                    <a:lnTo>
                      <a:pt x="1394" y="347"/>
                    </a:lnTo>
                    <a:lnTo>
                      <a:pt x="1393" y="343"/>
                    </a:lnTo>
                    <a:lnTo>
                      <a:pt x="1394" y="343"/>
                    </a:lnTo>
                    <a:lnTo>
                      <a:pt x="1398" y="348"/>
                    </a:lnTo>
                    <a:lnTo>
                      <a:pt x="1402" y="350"/>
                    </a:lnTo>
                    <a:lnTo>
                      <a:pt x="1406" y="352"/>
                    </a:lnTo>
                    <a:lnTo>
                      <a:pt x="1402" y="352"/>
                    </a:lnTo>
                    <a:lnTo>
                      <a:pt x="1394" y="360"/>
                    </a:lnTo>
                    <a:lnTo>
                      <a:pt x="1396" y="362"/>
                    </a:lnTo>
                    <a:lnTo>
                      <a:pt x="1398" y="362"/>
                    </a:lnTo>
                    <a:lnTo>
                      <a:pt x="1402" y="360"/>
                    </a:lnTo>
                    <a:lnTo>
                      <a:pt x="1402" y="360"/>
                    </a:lnTo>
                    <a:lnTo>
                      <a:pt x="1415" y="369"/>
                    </a:lnTo>
                    <a:lnTo>
                      <a:pt x="1419" y="371"/>
                    </a:lnTo>
                    <a:lnTo>
                      <a:pt x="1423" y="377"/>
                    </a:lnTo>
                    <a:lnTo>
                      <a:pt x="1430" y="377"/>
                    </a:lnTo>
                    <a:lnTo>
                      <a:pt x="1436" y="384"/>
                    </a:lnTo>
                    <a:lnTo>
                      <a:pt x="1441" y="386"/>
                    </a:lnTo>
                    <a:lnTo>
                      <a:pt x="1443" y="382"/>
                    </a:lnTo>
                    <a:lnTo>
                      <a:pt x="1441" y="380"/>
                    </a:lnTo>
                    <a:lnTo>
                      <a:pt x="1443" y="379"/>
                    </a:lnTo>
                    <a:lnTo>
                      <a:pt x="1447" y="382"/>
                    </a:lnTo>
                    <a:lnTo>
                      <a:pt x="1447" y="386"/>
                    </a:lnTo>
                    <a:lnTo>
                      <a:pt x="1451" y="386"/>
                    </a:lnTo>
                    <a:lnTo>
                      <a:pt x="1453" y="386"/>
                    </a:lnTo>
                    <a:lnTo>
                      <a:pt x="1455" y="384"/>
                    </a:lnTo>
                    <a:lnTo>
                      <a:pt x="1451" y="365"/>
                    </a:lnTo>
                    <a:lnTo>
                      <a:pt x="1445" y="356"/>
                    </a:lnTo>
                    <a:lnTo>
                      <a:pt x="1440" y="345"/>
                    </a:lnTo>
                    <a:lnTo>
                      <a:pt x="1440" y="335"/>
                    </a:lnTo>
                    <a:lnTo>
                      <a:pt x="1436" y="330"/>
                    </a:lnTo>
                    <a:lnTo>
                      <a:pt x="1436" y="326"/>
                    </a:lnTo>
                    <a:lnTo>
                      <a:pt x="1440" y="328"/>
                    </a:lnTo>
                    <a:lnTo>
                      <a:pt x="1441" y="331"/>
                    </a:lnTo>
                    <a:lnTo>
                      <a:pt x="1445" y="335"/>
                    </a:lnTo>
                    <a:lnTo>
                      <a:pt x="1451" y="337"/>
                    </a:lnTo>
                    <a:lnTo>
                      <a:pt x="1455" y="341"/>
                    </a:lnTo>
                    <a:lnTo>
                      <a:pt x="1460" y="343"/>
                    </a:lnTo>
                    <a:lnTo>
                      <a:pt x="1475" y="341"/>
                    </a:lnTo>
                    <a:lnTo>
                      <a:pt x="1479" y="341"/>
                    </a:lnTo>
                    <a:lnTo>
                      <a:pt x="1481" y="341"/>
                    </a:lnTo>
                    <a:lnTo>
                      <a:pt x="1485" y="343"/>
                    </a:lnTo>
                    <a:lnTo>
                      <a:pt x="1485" y="343"/>
                    </a:lnTo>
                    <a:lnTo>
                      <a:pt x="1485" y="337"/>
                    </a:lnTo>
                    <a:lnTo>
                      <a:pt x="1485" y="335"/>
                    </a:lnTo>
                    <a:lnTo>
                      <a:pt x="1481" y="335"/>
                    </a:lnTo>
                    <a:lnTo>
                      <a:pt x="1481" y="331"/>
                    </a:lnTo>
                    <a:lnTo>
                      <a:pt x="1485" y="330"/>
                    </a:lnTo>
                    <a:lnTo>
                      <a:pt x="1496" y="324"/>
                    </a:lnTo>
                    <a:lnTo>
                      <a:pt x="1498" y="324"/>
                    </a:lnTo>
                    <a:lnTo>
                      <a:pt x="1500" y="324"/>
                    </a:lnTo>
                    <a:lnTo>
                      <a:pt x="1505" y="326"/>
                    </a:lnTo>
                    <a:lnTo>
                      <a:pt x="1511" y="326"/>
                    </a:lnTo>
                    <a:lnTo>
                      <a:pt x="1515" y="331"/>
                    </a:lnTo>
                    <a:lnTo>
                      <a:pt x="1519" y="331"/>
                    </a:lnTo>
                    <a:lnTo>
                      <a:pt x="1521" y="335"/>
                    </a:lnTo>
                    <a:lnTo>
                      <a:pt x="1528" y="335"/>
                    </a:lnTo>
                    <a:lnTo>
                      <a:pt x="1530" y="339"/>
                    </a:lnTo>
                    <a:lnTo>
                      <a:pt x="1536" y="339"/>
                    </a:lnTo>
                    <a:lnTo>
                      <a:pt x="1534" y="335"/>
                    </a:lnTo>
                    <a:lnTo>
                      <a:pt x="1532" y="335"/>
                    </a:lnTo>
                    <a:lnTo>
                      <a:pt x="1536" y="335"/>
                    </a:lnTo>
                    <a:lnTo>
                      <a:pt x="1539" y="331"/>
                    </a:lnTo>
                    <a:lnTo>
                      <a:pt x="1536" y="331"/>
                    </a:lnTo>
                    <a:lnTo>
                      <a:pt x="1539" y="330"/>
                    </a:lnTo>
                    <a:lnTo>
                      <a:pt x="1536" y="326"/>
                    </a:lnTo>
                    <a:lnTo>
                      <a:pt x="1532" y="328"/>
                    </a:lnTo>
                    <a:lnTo>
                      <a:pt x="1528" y="328"/>
                    </a:lnTo>
                    <a:lnTo>
                      <a:pt x="1526" y="320"/>
                    </a:lnTo>
                    <a:lnTo>
                      <a:pt x="1524" y="316"/>
                    </a:lnTo>
                    <a:lnTo>
                      <a:pt x="1528" y="315"/>
                    </a:lnTo>
                    <a:lnTo>
                      <a:pt x="1530" y="316"/>
                    </a:lnTo>
                    <a:lnTo>
                      <a:pt x="1534" y="315"/>
                    </a:lnTo>
                    <a:lnTo>
                      <a:pt x="1532" y="311"/>
                    </a:lnTo>
                    <a:lnTo>
                      <a:pt x="1534" y="311"/>
                    </a:lnTo>
                    <a:lnTo>
                      <a:pt x="1539" y="315"/>
                    </a:lnTo>
                    <a:lnTo>
                      <a:pt x="1539" y="318"/>
                    </a:lnTo>
                    <a:lnTo>
                      <a:pt x="1543" y="318"/>
                    </a:lnTo>
                    <a:lnTo>
                      <a:pt x="1545" y="320"/>
                    </a:lnTo>
                    <a:lnTo>
                      <a:pt x="1549" y="318"/>
                    </a:lnTo>
                    <a:lnTo>
                      <a:pt x="1545" y="315"/>
                    </a:lnTo>
                    <a:lnTo>
                      <a:pt x="1551" y="313"/>
                    </a:lnTo>
                    <a:lnTo>
                      <a:pt x="1553" y="315"/>
                    </a:lnTo>
                    <a:lnTo>
                      <a:pt x="1554" y="311"/>
                    </a:lnTo>
                    <a:lnTo>
                      <a:pt x="1549" y="305"/>
                    </a:lnTo>
                    <a:lnTo>
                      <a:pt x="1543" y="305"/>
                    </a:lnTo>
                    <a:lnTo>
                      <a:pt x="1539" y="299"/>
                    </a:lnTo>
                    <a:lnTo>
                      <a:pt x="1539" y="296"/>
                    </a:lnTo>
                    <a:lnTo>
                      <a:pt x="1539" y="292"/>
                    </a:lnTo>
                    <a:lnTo>
                      <a:pt x="1536" y="294"/>
                    </a:lnTo>
                    <a:lnTo>
                      <a:pt x="1530" y="294"/>
                    </a:lnTo>
                    <a:lnTo>
                      <a:pt x="1536" y="290"/>
                    </a:lnTo>
                    <a:lnTo>
                      <a:pt x="1534" y="286"/>
                    </a:lnTo>
                    <a:lnTo>
                      <a:pt x="1536" y="286"/>
                    </a:lnTo>
                    <a:lnTo>
                      <a:pt x="1532" y="281"/>
                    </a:lnTo>
                    <a:lnTo>
                      <a:pt x="1536" y="281"/>
                    </a:lnTo>
                    <a:lnTo>
                      <a:pt x="1539" y="273"/>
                    </a:lnTo>
                    <a:lnTo>
                      <a:pt x="1532" y="277"/>
                    </a:lnTo>
                    <a:lnTo>
                      <a:pt x="1528" y="281"/>
                    </a:lnTo>
                    <a:lnTo>
                      <a:pt x="1528" y="284"/>
                    </a:lnTo>
                    <a:lnTo>
                      <a:pt x="1521" y="282"/>
                    </a:lnTo>
                    <a:lnTo>
                      <a:pt x="1517" y="277"/>
                    </a:lnTo>
                    <a:lnTo>
                      <a:pt x="1519" y="271"/>
                    </a:lnTo>
                    <a:lnTo>
                      <a:pt x="1519" y="267"/>
                    </a:lnTo>
                    <a:lnTo>
                      <a:pt x="1526" y="266"/>
                    </a:lnTo>
                    <a:lnTo>
                      <a:pt x="1530" y="266"/>
                    </a:lnTo>
                    <a:lnTo>
                      <a:pt x="1536" y="260"/>
                    </a:lnTo>
                    <a:lnTo>
                      <a:pt x="1536" y="256"/>
                    </a:lnTo>
                    <a:lnTo>
                      <a:pt x="1534" y="252"/>
                    </a:lnTo>
                    <a:lnTo>
                      <a:pt x="1530" y="252"/>
                    </a:lnTo>
                    <a:lnTo>
                      <a:pt x="1526" y="250"/>
                    </a:lnTo>
                    <a:lnTo>
                      <a:pt x="1519" y="250"/>
                    </a:lnTo>
                    <a:lnTo>
                      <a:pt x="1515" y="247"/>
                    </a:lnTo>
                    <a:lnTo>
                      <a:pt x="1521" y="243"/>
                    </a:lnTo>
                    <a:lnTo>
                      <a:pt x="1528" y="243"/>
                    </a:lnTo>
                    <a:lnTo>
                      <a:pt x="1536" y="247"/>
                    </a:lnTo>
                    <a:lnTo>
                      <a:pt x="1543" y="247"/>
                    </a:lnTo>
                    <a:lnTo>
                      <a:pt x="1556" y="247"/>
                    </a:lnTo>
                    <a:lnTo>
                      <a:pt x="1577" y="243"/>
                    </a:lnTo>
                    <a:lnTo>
                      <a:pt x="1581" y="241"/>
                    </a:lnTo>
                    <a:lnTo>
                      <a:pt x="1598" y="241"/>
                    </a:lnTo>
                    <a:lnTo>
                      <a:pt x="1603" y="241"/>
                    </a:lnTo>
                    <a:lnTo>
                      <a:pt x="1609" y="241"/>
                    </a:lnTo>
                    <a:lnTo>
                      <a:pt x="1618" y="241"/>
                    </a:lnTo>
                    <a:lnTo>
                      <a:pt x="1615" y="241"/>
                    </a:lnTo>
                    <a:lnTo>
                      <a:pt x="1601" y="247"/>
                    </a:lnTo>
                    <a:lnTo>
                      <a:pt x="1598" y="247"/>
                    </a:lnTo>
                    <a:lnTo>
                      <a:pt x="1594" y="247"/>
                    </a:lnTo>
                    <a:lnTo>
                      <a:pt x="1592" y="247"/>
                    </a:lnTo>
                    <a:lnTo>
                      <a:pt x="1590" y="252"/>
                    </a:lnTo>
                    <a:lnTo>
                      <a:pt x="1594" y="258"/>
                    </a:lnTo>
                    <a:lnTo>
                      <a:pt x="1590" y="258"/>
                    </a:lnTo>
                    <a:lnTo>
                      <a:pt x="1590" y="262"/>
                    </a:lnTo>
                    <a:lnTo>
                      <a:pt x="1594" y="264"/>
                    </a:lnTo>
                    <a:lnTo>
                      <a:pt x="1598" y="260"/>
                    </a:lnTo>
                    <a:lnTo>
                      <a:pt x="1598" y="256"/>
                    </a:lnTo>
                    <a:lnTo>
                      <a:pt x="1607" y="249"/>
                    </a:lnTo>
                    <a:lnTo>
                      <a:pt x="1622" y="243"/>
                    </a:lnTo>
                    <a:lnTo>
                      <a:pt x="1624" y="250"/>
                    </a:lnTo>
                    <a:lnTo>
                      <a:pt x="1624" y="260"/>
                    </a:lnTo>
                    <a:lnTo>
                      <a:pt x="1622" y="264"/>
                    </a:lnTo>
                    <a:lnTo>
                      <a:pt x="1618" y="256"/>
                    </a:lnTo>
                    <a:lnTo>
                      <a:pt x="1617" y="252"/>
                    </a:lnTo>
                    <a:lnTo>
                      <a:pt x="1617" y="249"/>
                    </a:lnTo>
                    <a:lnTo>
                      <a:pt x="1613" y="252"/>
                    </a:lnTo>
                    <a:lnTo>
                      <a:pt x="1609" y="250"/>
                    </a:lnTo>
                    <a:lnTo>
                      <a:pt x="1613" y="258"/>
                    </a:lnTo>
                    <a:lnTo>
                      <a:pt x="1617" y="260"/>
                    </a:lnTo>
                    <a:lnTo>
                      <a:pt x="1618" y="267"/>
                    </a:lnTo>
                    <a:lnTo>
                      <a:pt x="1615" y="271"/>
                    </a:lnTo>
                    <a:lnTo>
                      <a:pt x="1613" y="271"/>
                    </a:lnTo>
                    <a:lnTo>
                      <a:pt x="1609" y="273"/>
                    </a:lnTo>
                    <a:lnTo>
                      <a:pt x="1615" y="277"/>
                    </a:lnTo>
                    <a:lnTo>
                      <a:pt x="1613" y="281"/>
                    </a:lnTo>
                    <a:lnTo>
                      <a:pt x="1615" y="281"/>
                    </a:lnTo>
                    <a:lnTo>
                      <a:pt x="1618" y="281"/>
                    </a:lnTo>
                    <a:lnTo>
                      <a:pt x="1624" y="277"/>
                    </a:lnTo>
                    <a:lnTo>
                      <a:pt x="1624" y="271"/>
                    </a:lnTo>
                    <a:lnTo>
                      <a:pt x="1628" y="267"/>
                    </a:lnTo>
                    <a:lnTo>
                      <a:pt x="1624" y="264"/>
                    </a:lnTo>
                    <a:lnTo>
                      <a:pt x="1624" y="258"/>
                    </a:lnTo>
                    <a:lnTo>
                      <a:pt x="1624" y="241"/>
                    </a:lnTo>
                    <a:lnTo>
                      <a:pt x="1630" y="235"/>
                    </a:lnTo>
                    <a:lnTo>
                      <a:pt x="1641" y="234"/>
                    </a:lnTo>
                    <a:lnTo>
                      <a:pt x="1652" y="230"/>
                    </a:lnTo>
                    <a:lnTo>
                      <a:pt x="1662" y="232"/>
                    </a:lnTo>
                    <a:lnTo>
                      <a:pt x="1673" y="235"/>
                    </a:lnTo>
                    <a:lnTo>
                      <a:pt x="1679" y="243"/>
                    </a:lnTo>
                    <a:lnTo>
                      <a:pt x="1679" y="247"/>
                    </a:lnTo>
                    <a:lnTo>
                      <a:pt x="1677" y="250"/>
                    </a:lnTo>
                    <a:lnTo>
                      <a:pt x="1669" y="247"/>
                    </a:lnTo>
                    <a:lnTo>
                      <a:pt x="1669" y="247"/>
                    </a:lnTo>
                    <a:lnTo>
                      <a:pt x="1669" y="249"/>
                    </a:lnTo>
                    <a:lnTo>
                      <a:pt x="1669" y="252"/>
                    </a:lnTo>
                    <a:lnTo>
                      <a:pt x="1671" y="256"/>
                    </a:lnTo>
                    <a:lnTo>
                      <a:pt x="1667" y="260"/>
                    </a:lnTo>
                    <a:lnTo>
                      <a:pt x="1669" y="262"/>
                    </a:lnTo>
                    <a:lnTo>
                      <a:pt x="1673" y="258"/>
                    </a:lnTo>
                    <a:lnTo>
                      <a:pt x="1679" y="258"/>
                    </a:lnTo>
                    <a:lnTo>
                      <a:pt x="1682" y="254"/>
                    </a:lnTo>
                    <a:lnTo>
                      <a:pt x="1686" y="260"/>
                    </a:lnTo>
                    <a:lnTo>
                      <a:pt x="1686" y="264"/>
                    </a:lnTo>
                    <a:lnTo>
                      <a:pt x="1688" y="267"/>
                    </a:lnTo>
                    <a:lnTo>
                      <a:pt x="1690" y="271"/>
                    </a:lnTo>
                    <a:lnTo>
                      <a:pt x="1692" y="267"/>
                    </a:lnTo>
                    <a:lnTo>
                      <a:pt x="1692" y="264"/>
                    </a:lnTo>
                    <a:lnTo>
                      <a:pt x="1696" y="260"/>
                    </a:lnTo>
                    <a:lnTo>
                      <a:pt x="1701" y="262"/>
                    </a:lnTo>
                    <a:lnTo>
                      <a:pt x="1703" y="267"/>
                    </a:lnTo>
                    <a:lnTo>
                      <a:pt x="1701" y="267"/>
                    </a:lnTo>
                    <a:lnTo>
                      <a:pt x="1699" y="273"/>
                    </a:lnTo>
                    <a:lnTo>
                      <a:pt x="1701" y="277"/>
                    </a:lnTo>
                    <a:lnTo>
                      <a:pt x="1703" y="273"/>
                    </a:lnTo>
                    <a:lnTo>
                      <a:pt x="1703" y="271"/>
                    </a:lnTo>
                    <a:lnTo>
                      <a:pt x="1707" y="267"/>
                    </a:lnTo>
                    <a:lnTo>
                      <a:pt x="1707" y="271"/>
                    </a:lnTo>
                    <a:lnTo>
                      <a:pt x="1707" y="267"/>
                    </a:lnTo>
                    <a:lnTo>
                      <a:pt x="1711" y="260"/>
                    </a:lnTo>
                    <a:lnTo>
                      <a:pt x="1713" y="258"/>
                    </a:lnTo>
                    <a:lnTo>
                      <a:pt x="1716" y="260"/>
                    </a:lnTo>
                    <a:lnTo>
                      <a:pt x="1726" y="267"/>
                    </a:lnTo>
                    <a:lnTo>
                      <a:pt x="1735" y="267"/>
                    </a:lnTo>
                    <a:lnTo>
                      <a:pt x="1741" y="273"/>
                    </a:lnTo>
                    <a:lnTo>
                      <a:pt x="1741" y="277"/>
                    </a:lnTo>
                    <a:lnTo>
                      <a:pt x="1731" y="281"/>
                    </a:lnTo>
                    <a:lnTo>
                      <a:pt x="1728" y="286"/>
                    </a:lnTo>
                    <a:lnTo>
                      <a:pt x="1735" y="282"/>
                    </a:lnTo>
                    <a:lnTo>
                      <a:pt x="1741" y="281"/>
                    </a:lnTo>
                    <a:lnTo>
                      <a:pt x="1746" y="282"/>
                    </a:lnTo>
                    <a:lnTo>
                      <a:pt x="1754" y="281"/>
                    </a:lnTo>
                    <a:lnTo>
                      <a:pt x="1758" y="277"/>
                    </a:lnTo>
                    <a:lnTo>
                      <a:pt x="1761" y="277"/>
                    </a:lnTo>
                    <a:lnTo>
                      <a:pt x="1769" y="267"/>
                    </a:lnTo>
                    <a:lnTo>
                      <a:pt x="1773" y="267"/>
                    </a:lnTo>
                    <a:lnTo>
                      <a:pt x="1778" y="262"/>
                    </a:lnTo>
                    <a:lnTo>
                      <a:pt x="1784" y="262"/>
                    </a:lnTo>
                    <a:lnTo>
                      <a:pt x="1797" y="254"/>
                    </a:lnTo>
                    <a:lnTo>
                      <a:pt x="1805" y="250"/>
                    </a:lnTo>
                    <a:lnTo>
                      <a:pt x="1809" y="252"/>
                    </a:lnTo>
                    <a:lnTo>
                      <a:pt x="1809" y="250"/>
                    </a:lnTo>
                    <a:lnTo>
                      <a:pt x="1816" y="247"/>
                    </a:lnTo>
                    <a:lnTo>
                      <a:pt x="1820" y="243"/>
                    </a:lnTo>
                    <a:lnTo>
                      <a:pt x="1831" y="247"/>
                    </a:lnTo>
                    <a:lnTo>
                      <a:pt x="1848" y="250"/>
                    </a:lnTo>
                    <a:lnTo>
                      <a:pt x="1856" y="260"/>
                    </a:lnTo>
                    <a:lnTo>
                      <a:pt x="1865" y="264"/>
                    </a:lnTo>
                    <a:lnTo>
                      <a:pt x="1871" y="271"/>
                    </a:lnTo>
                    <a:lnTo>
                      <a:pt x="1874" y="277"/>
                    </a:lnTo>
                    <a:lnTo>
                      <a:pt x="1874" y="281"/>
                    </a:lnTo>
                    <a:lnTo>
                      <a:pt x="1878" y="282"/>
                    </a:lnTo>
                    <a:lnTo>
                      <a:pt x="1874" y="288"/>
                    </a:lnTo>
                    <a:lnTo>
                      <a:pt x="1880" y="296"/>
                    </a:lnTo>
                    <a:lnTo>
                      <a:pt x="1880" y="299"/>
                    </a:lnTo>
                    <a:lnTo>
                      <a:pt x="1878" y="301"/>
                    </a:lnTo>
                    <a:lnTo>
                      <a:pt x="1882" y="301"/>
                    </a:lnTo>
                    <a:lnTo>
                      <a:pt x="1886" y="298"/>
                    </a:lnTo>
                    <a:lnTo>
                      <a:pt x="1891" y="298"/>
                    </a:lnTo>
                    <a:lnTo>
                      <a:pt x="1893" y="299"/>
                    </a:lnTo>
                    <a:lnTo>
                      <a:pt x="1895" y="298"/>
                    </a:lnTo>
                    <a:lnTo>
                      <a:pt x="1899" y="296"/>
                    </a:lnTo>
                    <a:lnTo>
                      <a:pt x="1903" y="299"/>
                    </a:lnTo>
                    <a:lnTo>
                      <a:pt x="1905" y="301"/>
                    </a:lnTo>
                    <a:lnTo>
                      <a:pt x="1905" y="299"/>
                    </a:lnTo>
                    <a:lnTo>
                      <a:pt x="1903" y="294"/>
                    </a:lnTo>
                    <a:lnTo>
                      <a:pt x="1908" y="294"/>
                    </a:lnTo>
                    <a:lnTo>
                      <a:pt x="1910" y="298"/>
                    </a:lnTo>
                    <a:lnTo>
                      <a:pt x="1916" y="305"/>
                    </a:lnTo>
                    <a:lnTo>
                      <a:pt x="1918" y="311"/>
                    </a:lnTo>
                    <a:lnTo>
                      <a:pt x="1921" y="311"/>
                    </a:lnTo>
                    <a:lnTo>
                      <a:pt x="1927" y="316"/>
                    </a:lnTo>
                    <a:lnTo>
                      <a:pt x="1927" y="315"/>
                    </a:lnTo>
                    <a:lnTo>
                      <a:pt x="1923" y="311"/>
                    </a:lnTo>
                    <a:lnTo>
                      <a:pt x="1921" y="307"/>
                    </a:lnTo>
                    <a:lnTo>
                      <a:pt x="1920" y="305"/>
                    </a:lnTo>
                    <a:lnTo>
                      <a:pt x="1923" y="305"/>
                    </a:lnTo>
                    <a:lnTo>
                      <a:pt x="1927" y="305"/>
                    </a:lnTo>
                    <a:lnTo>
                      <a:pt x="1929" y="311"/>
                    </a:lnTo>
                    <a:lnTo>
                      <a:pt x="1935" y="316"/>
                    </a:lnTo>
                    <a:lnTo>
                      <a:pt x="1935" y="311"/>
                    </a:lnTo>
                    <a:lnTo>
                      <a:pt x="1929" y="301"/>
                    </a:lnTo>
                    <a:lnTo>
                      <a:pt x="1929" y="294"/>
                    </a:lnTo>
                    <a:lnTo>
                      <a:pt x="1929" y="286"/>
                    </a:lnTo>
                    <a:lnTo>
                      <a:pt x="1933" y="281"/>
                    </a:lnTo>
                    <a:lnTo>
                      <a:pt x="1938" y="281"/>
                    </a:lnTo>
                    <a:lnTo>
                      <a:pt x="1942" y="277"/>
                    </a:lnTo>
                    <a:lnTo>
                      <a:pt x="1950" y="273"/>
                    </a:lnTo>
                    <a:lnTo>
                      <a:pt x="1950" y="271"/>
                    </a:lnTo>
                    <a:lnTo>
                      <a:pt x="1950" y="271"/>
                    </a:lnTo>
                    <a:lnTo>
                      <a:pt x="1953" y="271"/>
                    </a:lnTo>
                    <a:lnTo>
                      <a:pt x="1957" y="273"/>
                    </a:lnTo>
                    <a:lnTo>
                      <a:pt x="1959" y="277"/>
                    </a:lnTo>
                    <a:lnTo>
                      <a:pt x="1967" y="273"/>
                    </a:lnTo>
                    <a:lnTo>
                      <a:pt x="1970" y="271"/>
                    </a:lnTo>
                    <a:lnTo>
                      <a:pt x="1972" y="271"/>
                    </a:lnTo>
                    <a:lnTo>
                      <a:pt x="1978" y="267"/>
                    </a:lnTo>
                    <a:lnTo>
                      <a:pt x="1987" y="267"/>
                    </a:lnTo>
                    <a:lnTo>
                      <a:pt x="1991" y="267"/>
                    </a:lnTo>
                    <a:lnTo>
                      <a:pt x="1991" y="267"/>
                    </a:lnTo>
                    <a:lnTo>
                      <a:pt x="1991" y="267"/>
                    </a:lnTo>
                    <a:lnTo>
                      <a:pt x="1995" y="271"/>
                    </a:lnTo>
                    <a:lnTo>
                      <a:pt x="1997" y="267"/>
                    </a:lnTo>
                    <a:lnTo>
                      <a:pt x="2001" y="262"/>
                    </a:lnTo>
                    <a:lnTo>
                      <a:pt x="2001" y="258"/>
                    </a:lnTo>
                    <a:lnTo>
                      <a:pt x="2001" y="254"/>
                    </a:lnTo>
                    <a:lnTo>
                      <a:pt x="2001" y="249"/>
                    </a:lnTo>
                    <a:lnTo>
                      <a:pt x="2002" y="247"/>
                    </a:lnTo>
                    <a:lnTo>
                      <a:pt x="2008" y="249"/>
                    </a:lnTo>
                    <a:lnTo>
                      <a:pt x="2012" y="252"/>
                    </a:lnTo>
                    <a:lnTo>
                      <a:pt x="2012" y="256"/>
                    </a:lnTo>
                    <a:lnTo>
                      <a:pt x="2016" y="256"/>
                    </a:lnTo>
                    <a:lnTo>
                      <a:pt x="2019" y="258"/>
                    </a:lnTo>
                    <a:lnTo>
                      <a:pt x="2019" y="264"/>
                    </a:lnTo>
                    <a:lnTo>
                      <a:pt x="2025" y="267"/>
                    </a:lnTo>
                    <a:lnTo>
                      <a:pt x="2027" y="271"/>
                    </a:lnTo>
                    <a:lnTo>
                      <a:pt x="2033" y="271"/>
                    </a:lnTo>
                    <a:lnTo>
                      <a:pt x="2042" y="271"/>
                    </a:lnTo>
                    <a:lnTo>
                      <a:pt x="2042" y="271"/>
                    </a:lnTo>
                    <a:lnTo>
                      <a:pt x="2046" y="271"/>
                    </a:lnTo>
                    <a:lnTo>
                      <a:pt x="2051" y="281"/>
                    </a:lnTo>
                    <a:lnTo>
                      <a:pt x="2051" y="284"/>
                    </a:lnTo>
                    <a:lnTo>
                      <a:pt x="2053" y="286"/>
                    </a:lnTo>
                    <a:lnTo>
                      <a:pt x="2061" y="286"/>
                    </a:lnTo>
                    <a:lnTo>
                      <a:pt x="2063" y="284"/>
                    </a:lnTo>
                    <a:lnTo>
                      <a:pt x="2066" y="284"/>
                    </a:lnTo>
                    <a:lnTo>
                      <a:pt x="2066" y="281"/>
                    </a:lnTo>
                    <a:lnTo>
                      <a:pt x="2070" y="281"/>
                    </a:lnTo>
                    <a:lnTo>
                      <a:pt x="2074" y="281"/>
                    </a:lnTo>
                    <a:lnTo>
                      <a:pt x="2074" y="277"/>
                    </a:lnTo>
                    <a:lnTo>
                      <a:pt x="2072" y="273"/>
                    </a:lnTo>
                    <a:lnTo>
                      <a:pt x="2074" y="271"/>
                    </a:lnTo>
                    <a:lnTo>
                      <a:pt x="2072" y="271"/>
                    </a:lnTo>
                    <a:lnTo>
                      <a:pt x="2074" y="267"/>
                    </a:lnTo>
                    <a:lnTo>
                      <a:pt x="2070" y="264"/>
                    </a:lnTo>
                    <a:lnTo>
                      <a:pt x="2065" y="262"/>
                    </a:lnTo>
                    <a:lnTo>
                      <a:pt x="2065" y="256"/>
                    </a:lnTo>
                    <a:lnTo>
                      <a:pt x="2057" y="249"/>
                    </a:lnTo>
                    <a:lnTo>
                      <a:pt x="2053" y="249"/>
                    </a:lnTo>
                    <a:lnTo>
                      <a:pt x="2053" y="247"/>
                    </a:lnTo>
                    <a:lnTo>
                      <a:pt x="2046" y="241"/>
                    </a:lnTo>
                    <a:lnTo>
                      <a:pt x="2042" y="247"/>
                    </a:lnTo>
                    <a:lnTo>
                      <a:pt x="2042" y="247"/>
                    </a:lnTo>
                    <a:lnTo>
                      <a:pt x="2042" y="241"/>
                    </a:lnTo>
                    <a:lnTo>
                      <a:pt x="2042" y="237"/>
                    </a:lnTo>
                    <a:lnTo>
                      <a:pt x="2040" y="234"/>
                    </a:lnTo>
                    <a:lnTo>
                      <a:pt x="2036" y="230"/>
                    </a:lnTo>
                    <a:lnTo>
                      <a:pt x="2036" y="228"/>
                    </a:lnTo>
                    <a:lnTo>
                      <a:pt x="2034" y="220"/>
                    </a:lnTo>
                    <a:lnTo>
                      <a:pt x="2029" y="217"/>
                    </a:lnTo>
                    <a:lnTo>
                      <a:pt x="2029" y="217"/>
                    </a:lnTo>
                    <a:lnTo>
                      <a:pt x="2036" y="217"/>
                    </a:lnTo>
                    <a:lnTo>
                      <a:pt x="2040" y="217"/>
                    </a:lnTo>
                    <a:lnTo>
                      <a:pt x="2049" y="217"/>
                    </a:lnTo>
                    <a:lnTo>
                      <a:pt x="2059" y="217"/>
                    </a:lnTo>
                    <a:lnTo>
                      <a:pt x="2059" y="213"/>
                    </a:lnTo>
                    <a:lnTo>
                      <a:pt x="2063" y="213"/>
                    </a:lnTo>
                    <a:lnTo>
                      <a:pt x="2066" y="217"/>
                    </a:lnTo>
                    <a:lnTo>
                      <a:pt x="2070" y="213"/>
                    </a:lnTo>
                    <a:lnTo>
                      <a:pt x="2072" y="213"/>
                    </a:lnTo>
                    <a:lnTo>
                      <a:pt x="2072" y="211"/>
                    </a:lnTo>
                    <a:lnTo>
                      <a:pt x="2078" y="211"/>
                    </a:lnTo>
                    <a:lnTo>
                      <a:pt x="2080" y="213"/>
                    </a:lnTo>
                    <a:lnTo>
                      <a:pt x="2081" y="213"/>
                    </a:lnTo>
                    <a:lnTo>
                      <a:pt x="2083" y="207"/>
                    </a:lnTo>
                    <a:lnTo>
                      <a:pt x="2087" y="207"/>
                    </a:lnTo>
                    <a:lnTo>
                      <a:pt x="2087" y="205"/>
                    </a:lnTo>
                    <a:lnTo>
                      <a:pt x="2100" y="201"/>
                    </a:lnTo>
                    <a:lnTo>
                      <a:pt x="2104" y="205"/>
                    </a:lnTo>
                    <a:lnTo>
                      <a:pt x="2104" y="201"/>
                    </a:lnTo>
                    <a:lnTo>
                      <a:pt x="2106" y="200"/>
                    </a:lnTo>
                    <a:lnTo>
                      <a:pt x="2108" y="200"/>
                    </a:lnTo>
                    <a:lnTo>
                      <a:pt x="2113" y="200"/>
                    </a:lnTo>
                    <a:lnTo>
                      <a:pt x="2115" y="200"/>
                    </a:lnTo>
                    <a:lnTo>
                      <a:pt x="2119" y="201"/>
                    </a:lnTo>
                    <a:lnTo>
                      <a:pt x="2125" y="201"/>
                    </a:lnTo>
                    <a:lnTo>
                      <a:pt x="2129" y="200"/>
                    </a:lnTo>
                    <a:lnTo>
                      <a:pt x="2130" y="203"/>
                    </a:lnTo>
                    <a:lnTo>
                      <a:pt x="2134" y="203"/>
                    </a:lnTo>
                    <a:lnTo>
                      <a:pt x="2136" y="201"/>
                    </a:lnTo>
                    <a:lnTo>
                      <a:pt x="2142" y="200"/>
                    </a:lnTo>
                    <a:lnTo>
                      <a:pt x="2155" y="205"/>
                    </a:lnTo>
                    <a:lnTo>
                      <a:pt x="2159" y="207"/>
                    </a:lnTo>
                    <a:lnTo>
                      <a:pt x="2161" y="205"/>
                    </a:lnTo>
                    <a:lnTo>
                      <a:pt x="2159" y="205"/>
                    </a:lnTo>
                    <a:lnTo>
                      <a:pt x="2162" y="203"/>
                    </a:lnTo>
                    <a:lnTo>
                      <a:pt x="2166" y="205"/>
                    </a:lnTo>
                    <a:lnTo>
                      <a:pt x="2164" y="207"/>
                    </a:lnTo>
                    <a:lnTo>
                      <a:pt x="2166" y="207"/>
                    </a:lnTo>
                    <a:lnTo>
                      <a:pt x="2170" y="207"/>
                    </a:lnTo>
                    <a:lnTo>
                      <a:pt x="2183" y="207"/>
                    </a:lnTo>
                    <a:lnTo>
                      <a:pt x="2194" y="217"/>
                    </a:lnTo>
                    <a:lnTo>
                      <a:pt x="2194" y="217"/>
                    </a:lnTo>
                    <a:lnTo>
                      <a:pt x="2191" y="217"/>
                    </a:lnTo>
                    <a:lnTo>
                      <a:pt x="2183" y="213"/>
                    </a:lnTo>
                    <a:lnTo>
                      <a:pt x="2183" y="217"/>
                    </a:lnTo>
                    <a:lnTo>
                      <a:pt x="2194" y="218"/>
                    </a:lnTo>
                    <a:lnTo>
                      <a:pt x="2200" y="218"/>
                    </a:lnTo>
                    <a:lnTo>
                      <a:pt x="2202" y="217"/>
                    </a:lnTo>
                    <a:lnTo>
                      <a:pt x="2208" y="217"/>
                    </a:lnTo>
                    <a:lnTo>
                      <a:pt x="2213" y="217"/>
                    </a:lnTo>
                    <a:lnTo>
                      <a:pt x="2209" y="213"/>
                    </a:lnTo>
                    <a:lnTo>
                      <a:pt x="2213" y="213"/>
                    </a:lnTo>
                    <a:lnTo>
                      <a:pt x="2215" y="213"/>
                    </a:lnTo>
                    <a:lnTo>
                      <a:pt x="2219" y="217"/>
                    </a:lnTo>
                    <a:lnTo>
                      <a:pt x="2221" y="217"/>
                    </a:lnTo>
                    <a:lnTo>
                      <a:pt x="2223" y="217"/>
                    </a:lnTo>
                    <a:lnTo>
                      <a:pt x="2223" y="213"/>
                    </a:lnTo>
                    <a:lnTo>
                      <a:pt x="2228" y="217"/>
                    </a:lnTo>
                    <a:lnTo>
                      <a:pt x="2228" y="217"/>
                    </a:lnTo>
                    <a:lnTo>
                      <a:pt x="2234" y="218"/>
                    </a:lnTo>
                    <a:lnTo>
                      <a:pt x="2238" y="217"/>
                    </a:lnTo>
                    <a:lnTo>
                      <a:pt x="2255" y="220"/>
                    </a:lnTo>
                    <a:lnTo>
                      <a:pt x="2253" y="217"/>
                    </a:lnTo>
                    <a:lnTo>
                      <a:pt x="2258" y="217"/>
                    </a:lnTo>
                    <a:lnTo>
                      <a:pt x="2258" y="220"/>
                    </a:lnTo>
                    <a:lnTo>
                      <a:pt x="2262" y="222"/>
                    </a:lnTo>
                    <a:lnTo>
                      <a:pt x="2262" y="218"/>
                    </a:lnTo>
                    <a:lnTo>
                      <a:pt x="2262" y="217"/>
                    </a:lnTo>
                    <a:lnTo>
                      <a:pt x="2268" y="218"/>
                    </a:lnTo>
                    <a:lnTo>
                      <a:pt x="2268" y="220"/>
                    </a:lnTo>
                    <a:lnTo>
                      <a:pt x="2272" y="224"/>
                    </a:lnTo>
                    <a:lnTo>
                      <a:pt x="2275" y="222"/>
                    </a:lnTo>
                    <a:lnTo>
                      <a:pt x="2275" y="220"/>
                    </a:lnTo>
                    <a:lnTo>
                      <a:pt x="2273" y="220"/>
                    </a:lnTo>
                    <a:lnTo>
                      <a:pt x="2279" y="220"/>
                    </a:lnTo>
                    <a:lnTo>
                      <a:pt x="2283" y="220"/>
                    </a:lnTo>
                    <a:lnTo>
                      <a:pt x="2281" y="224"/>
                    </a:lnTo>
                    <a:lnTo>
                      <a:pt x="2283" y="228"/>
                    </a:lnTo>
                    <a:lnTo>
                      <a:pt x="2292" y="230"/>
                    </a:lnTo>
                    <a:lnTo>
                      <a:pt x="2296" y="228"/>
                    </a:lnTo>
                    <a:lnTo>
                      <a:pt x="2289" y="226"/>
                    </a:lnTo>
                    <a:lnTo>
                      <a:pt x="2287" y="224"/>
                    </a:lnTo>
                    <a:lnTo>
                      <a:pt x="2283" y="220"/>
                    </a:lnTo>
                    <a:lnTo>
                      <a:pt x="2289" y="220"/>
                    </a:lnTo>
                    <a:lnTo>
                      <a:pt x="2292" y="220"/>
                    </a:lnTo>
                    <a:lnTo>
                      <a:pt x="2300" y="224"/>
                    </a:lnTo>
                    <a:lnTo>
                      <a:pt x="2302" y="230"/>
                    </a:lnTo>
                    <a:lnTo>
                      <a:pt x="2304" y="230"/>
                    </a:lnTo>
                    <a:lnTo>
                      <a:pt x="2304" y="228"/>
                    </a:lnTo>
                    <a:lnTo>
                      <a:pt x="2304" y="226"/>
                    </a:lnTo>
                    <a:lnTo>
                      <a:pt x="2307" y="226"/>
                    </a:lnTo>
                    <a:lnTo>
                      <a:pt x="2309" y="228"/>
                    </a:lnTo>
                    <a:lnTo>
                      <a:pt x="2309" y="230"/>
                    </a:lnTo>
                    <a:lnTo>
                      <a:pt x="2313" y="235"/>
                    </a:lnTo>
                    <a:lnTo>
                      <a:pt x="2317" y="247"/>
                    </a:lnTo>
                    <a:lnTo>
                      <a:pt x="2326" y="247"/>
                    </a:lnTo>
                    <a:lnTo>
                      <a:pt x="2326" y="250"/>
                    </a:lnTo>
                    <a:lnTo>
                      <a:pt x="2328" y="254"/>
                    </a:lnTo>
                    <a:lnTo>
                      <a:pt x="2330" y="258"/>
                    </a:lnTo>
                    <a:lnTo>
                      <a:pt x="2328" y="260"/>
                    </a:lnTo>
                    <a:lnTo>
                      <a:pt x="2330" y="264"/>
                    </a:lnTo>
                    <a:lnTo>
                      <a:pt x="2334" y="266"/>
                    </a:lnTo>
                    <a:lnTo>
                      <a:pt x="2337" y="262"/>
                    </a:lnTo>
                    <a:lnTo>
                      <a:pt x="2341" y="264"/>
                    </a:lnTo>
                    <a:lnTo>
                      <a:pt x="2345" y="267"/>
                    </a:lnTo>
                    <a:lnTo>
                      <a:pt x="2347" y="267"/>
                    </a:lnTo>
                    <a:lnTo>
                      <a:pt x="2347" y="267"/>
                    </a:lnTo>
                    <a:lnTo>
                      <a:pt x="2347" y="267"/>
                    </a:lnTo>
                    <a:lnTo>
                      <a:pt x="2347" y="264"/>
                    </a:lnTo>
                    <a:lnTo>
                      <a:pt x="2347" y="260"/>
                    </a:lnTo>
                    <a:lnTo>
                      <a:pt x="2351" y="262"/>
                    </a:lnTo>
                    <a:lnTo>
                      <a:pt x="2353" y="266"/>
                    </a:lnTo>
                    <a:lnTo>
                      <a:pt x="2354" y="267"/>
                    </a:lnTo>
                    <a:lnTo>
                      <a:pt x="2354" y="267"/>
                    </a:lnTo>
                    <a:lnTo>
                      <a:pt x="2353" y="262"/>
                    </a:lnTo>
                    <a:lnTo>
                      <a:pt x="2353" y="258"/>
                    </a:lnTo>
                    <a:lnTo>
                      <a:pt x="2351" y="254"/>
                    </a:lnTo>
                    <a:lnTo>
                      <a:pt x="2347" y="258"/>
                    </a:lnTo>
                    <a:lnTo>
                      <a:pt x="2341" y="258"/>
                    </a:lnTo>
                    <a:lnTo>
                      <a:pt x="2339" y="254"/>
                    </a:lnTo>
                    <a:lnTo>
                      <a:pt x="2341" y="252"/>
                    </a:lnTo>
                    <a:lnTo>
                      <a:pt x="2341" y="247"/>
                    </a:lnTo>
                    <a:lnTo>
                      <a:pt x="2334" y="243"/>
                    </a:lnTo>
                    <a:lnTo>
                      <a:pt x="2332" y="241"/>
                    </a:lnTo>
                    <a:lnTo>
                      <a:pt x="2330" y="237"/>
                    </a:lnTo>
                    <a:lnTo>
                      <a:pt x="2326" y="237"/>
                    </a:lnTo>
                    <a:lnTo>
                      <a:pt x="2321" y="241"/>
                    </a:lnTo>
                    <a:lnTo>
                      <a:pt x="2321" y="237"/>
                    </a:lnTo>
                    <a:lnTo>
                      <a:pt x="2326" y="235"/>
                    </a:lnTo>
                    <a:lnTo>
                      <a:pt x="2328" y="230"/>
                    </a:lnTo>
                    <a:lnTo>
                      <a:pt x="2334" y="222"/>
                    </a:lnTo>
                    <a:lnTo>
                      <a:pt x="2336" y="222"/>
                    </a:lnTo>
                    <a:lnTo>
                      <a:pt x="2336" y="224"/>
                    </a:lnTo>
                    <a:lnTo>
                      <a:pt x="2337" y="232"/>
                    </a:lnTo>
                    <a:lnTo>
                      <a:pt x="2341" y="234"/>
                    </a:lnTo>
                    <a:lnTo>
                      <a:pt x="2341" y="232"/>
                    </a:lnTo>
                    <a:lnTo>
                      <a:pt x="2339" y="228"/>
                    </a:lnTo>
                    <a:lnTo>
                      <a:pt x="2337" y="224"/>
                    </a:lnTo>
                    <a:lnTo>
                      <a:pt x="2339" y="224"/>
                    </a:lnTo>
                    <a:lnTo>
                      <a:pt x="2345" y="222"/>
                    </a:lnTo>
                    <a:lnTo>
                      <a:pt x="2347" y="218"/>
                    </a:lnTo>
                    <a:lnTo>
                      <a:pt x="2341" y="218"/>
                    </a:lnTo>
                    <a:lnTo>
                      <a:pt x="2341" y="217"/>
                    </a:lnTo>
                    <a:lnTo>
                      <a:pt x="2345" y="217"/>
                    </a:lnTo>
                    <a:lnTo>
                      <a:pt x="2347" y="217"/>
                    </a:lnTo>
                    <a:lnTo>
                      <a:pt x="2351" y="211"/>
                    </a:lnTo>
                    <a:lnTo>
                      <a:pt x="2354" y="211"/>
                    </a:lnTo>
                    <a:lnTo>
                      <a:pt x="2356" y="213"/>
                    </a:lnTo>
                    <a:lnTo>
                      <a:pt x="2358" y="213"/>
                    </a:lnTo>
                    <a:lnTo>
                      <a:pt x="2360" y="213"/>
                    </a:lnTo>
                    <a:lnTo>
                      <a:pt x="2362" y="217"/>
                    </a:lnTo>
                    <a:lnTo>
                      <a:pt x="2366" y="217"/>
                    </a:lnTo>
                    <a:lnTo>
                      <a:pt x="2371" y="218"/>
                    </a:lnTo>
                    <a:lnTo>
                      <a:pt x="2371" y="217"/>
                    </a:lnTo>
                    <a:lnTo>
                      <a:pt x="2385" y="218"/>
                    </a:lnTo>
                    <a:lnTo>
                      <a:pt x="2385" y="224"/>
                    </a:lnTo>
                    <a:lnTo>
                      <a:pt x="2385" y="226"/>
                    </a:lnTo>
                    <a:lnTo>
                      <a:pt x="2386" y="224"/>
                    </a:lnTo>
                    <a:lnTo>
                      <a:pt x="2386" y="222"/>
                    </a:lnTo>
                    <a:lnTo>
                      <a:pt x="2390" y="222"/>
                    </a:lnTo>
                    <a:lnTo>
                      <a:pt x="2390" y="226"/>
                    </a:lnTo>
                    <a:lnTo>
                      <a:pt x="2394" y="224"/>
                    </a:lnTo>
                    <a:lnTo>
                      <a:pt x="2396" y="220"/>
                    </a:lnTo>
                    <a:lnTo>
                      <a:pt x="2400" y="220"/>
                    </a:lnTo>
                    <a:lnTo>
                      <a:pt x="2400" y="224"/>
                    </a:lnTo>
                    <a:lnTo>
                      <a:pt x="2396" y="228"/>
                    </a:lnTo>
                    <a:lnTo>
                      <a:pt x="2396" y="230"/>
                    </a:lnTo>
                    <a:lnTo>
                      <a:pt x="2400" y="237"/>
                    </a:lnTo>
                    <a:lnTo>
                      <a:pt x="2400" y="243"/>
                    </a:lnTo>
                    <a:lnTo>
                      <a:pt x="2400" y="247"/>
                    </a:lnTo>
                    <a:lnTo>
                      <a:pt x="2401" y="247"/>
                    </a:lnTo>
                    <a:lnTo>
                      <a:pt x="2405" y="249"/>
                    </a:lnTo>
                    <a:lnTo>
                      <a:pt x="2409" y="250"/>
                    </a:lnTo>
                    <a:lnTo>
                      <a:pt x="2411" y="254"/>
                    </a:lnTo>
                    <a:lnTo>
                      <a:pt x="2409" y="258"/>
                    </a:lnTo>
                    <a:lnTo>
                      <a:pt x="2401" y="258"/>
                    </a:lnTo>
                    <a:lnTo>
                      <a:pt x="2396" y="258"/>
                    </a:lnTo>
                    <a:lnTo>
                      <a:pt x="2405" y="260"/>
                    </a:lnTo>
                    <a:lnTo>
                      <a:pt x="2409" y="264"/>
                    </a:lnTo>
                    <a:lnTo>
                      <a:pt x="2405" y="267"/>
                    </a:lnTo>
                    <a:lnTo>
                      <a:pt x="2401" y="267"/>
                    </a:lnTo>
                    <a:lnTo>
                      <a:pt x="2400" y="273"/>
                    </a:lnTo>
                    <a:lnTo>
                      <a:pt x="2396" y="271"/>
                    </a:lnTo>
                    <a:lnTo>
                      <a:pt x="2392" y="277"/>
                    </a:lnTo>
                    <a:lnTo>
                      <a:pt x="2388" y="277"/>
                    </a:lnTo>
                    <a:lnTo>
                      <a:pt x="2385" y="281"/>
                    </a:lnTo>
                    <a:lnTo>
                      <a:pt x="2388" y="277"/>
                    </a:lnTo>
                    <a:lnTo>
                      <a:pt x="2392" y="281"/>
                    </a:lnTo>
                    <a:lnTo>
                      <a:pt x="2394" y="282"/>
                    </a:lnTo>
                    <a:lnTo>
                      <a:pt x="2396" y="281"/>
                    </a:lnTo>
                    <a:lnTo>
                      <a:pt x="2400" y="281"/>
                    </a:lnTo>
                    <a:lnTo>
                      <a:pt x="2400" y="282"/>
                    </a:lnTo>
                    <a:lnTo>
                      <a:pt x="2401" y="288"/>
                    </a:lnTo>
                    <a:lnTo>
                      <a:pt x="2400" y="290"/>
                    </a:lnTo>
                    <a:lnTo>
                      <a:pt x="2400" y="296"/>
                    </a:lnTo>
                    <a:lnTo>
                      <a:pt x="2401" y="290"/>
                    </a:lnTo>
                    <a:lnTo>
                      <a:pt x="2409" y="290"/>
                    </a:lnTo>
                    <a:lnTo>
                      <a:pt x="2413" y="294"/>
                    </a:lnTo>
                    <a:lnTo>
                      <a:pt x="2411" y="298"/>
                    </a:lnTo>
                    <a:lnTo>
                      <a:pt x="2415" y="301"/>
                    </a:lnTo>
                    <a:lnTo>
                      <a:pt x="2409" y="305"/>
                    </a:lnTo>
                    <a:lnTo>
                      <a:pt x="2413" y="305"/>
                    </a:lnTo>
                    <a:lnTo>
                      <a:pt x="2413" y="311"/>
                    </a:lnTo>
                    <a:lnTo>
                      <a:pt x="2409" y="313"/>
                    </a:lnTo>
                    <a:lnTo>
                      <a:pt x="2409" y="316"/>
                    </a:lnTo>
                    <a:lnTo>
                      <a:pt x="2411" y="318"/>
                    </a:lnTo>
                    <a:lnTo>
                      <a:pt x="2411" y="315"/>
                    </a:lnTo>
                    <a:lnTo>
                      <a:pt x="2415" y="315"/>
                    </a:lnTo>
                    <a:lnTo>
                      <a:pt x="2417" y="316"/>
                    </a:lnTo>
                    <a:lnTo>
                      <a:pt x="2415" y="322"/>
                    </a:lnTo>
                    <a:lnTo>
                      <a:pt x="2420" y="320"/>
                    </a:lnTo>
                    <a:lnTo>
                      <a:pt x="2422" y="324"/>
                    </a:lnTo>
                    <a:lnTo>
                      <a:pt x="2422" y="320"/>
                    </a:lnTo>
                    <a:lnTo>
                      <a:pt x="2424" y="318"/>
                    </a:lnTo>
                    <a:lnTo>
                      <a:pt x="2426" y="320"/>
                    </a:lnTo>
                    <a:lnTo>
                      <a:pt x="2430" y="320"/>
                    </a:lnTo>
                    <a:lnTo>
                      <a:pt x="2430" y="326"/>
                    </a:lnTo>
                    <a:lnTo>
                      <a:pt x="2426" y="328"/>
                    </a:lnTo>
                    <a:lnTo>
                      <a:pt x="2424" y="324"/>
                    </a:lnTo>
                    <a:lnTo>
                      <a:pt x="2422" y="328"/>
                    </a:lnTo>
                    <a:lnTo>
                      <a:pt x="2426" y="331"/>
                    </a:lnTo>
                    <a:lnTo>
                      <a:pt x="2430" y="330"/>
                    </a:lnTo>
                    <a:lnTo>
                      <a:pt x="2430" y="335"/>
                    </a:lnTo>
                    <a:lnTo>
                      <a:pt x="2430" y="337"/>
                    </a:lnTo>
                    <a:lnTo>
                      <a:pt x="2426" y="339"/>
                    </a:lnTo>
                    <a:lnTo>
                      <a:pt x="2422" y="335"/>
                    </a:lnTo>
                    <a:lnTo>
                      <a:pt x="2420" y="331"/>
                    </a:lnTo>
                    <a:lnTo>
                      <a:pt x="2422" y="339"/>
                    </a:lnTo>
                    <a:lnTo>
                      <a:pt x="2420" y="341"/>
                    </a:lnTo>
                    <a:lnTo>
                      <a:pt x="2418" y="341"/>
                    </a:lnTo>
                    <a:lnTo>
                      <a:pt x="2417" y="339"/>
                    </a:lnTo>
                    <a:lnTo>
                      <a:pt x="2415" y="341"/>
                    </a:lnTo>
                    <a:lnTo>
                      <a:pt x="2411" y="339"/>
                    </a:lnTo>
                    <a:lnTo>
                      <a:pt x="2401" y="337"/>
                    </a:lnTo>
                    <a:lnTo>
                      <a:pt x="2400" y="339"/>
                    </a:lnTo>
                    <a:lnTo>
                      <a:pt x="2396" y="339"/>
                    </a:lnTo>
                    <a:lnTo>
                      <a:pt x="2396" y="337"/>
                    </a:lnTo>
                    <a:lnTo>
                      <a:pt x="2396" y="335"/>
                    </a:lnTo>
                    <a:lnTo>
                      <a:pt x="2394" y="335"/>
                    </a:lnTo>
                    <a:lnTo>
                      <a:pt x="2394" y="339"/>
                    </a:lnTo>
                    <a:lnTo>
                      <a:pt x="2392" y="339"/>
                    </a:lnTo>
                    <a:lnTo>
                      <a:pt x="2392" y="339"/>
                    </a:lnTo>
                    <a:lnTo>
                      <a:pt x="2394" y="343"/>
                    </a:lnTo>
                    <a:lnTo>
                      <a:pt x="2390" y="347"/>
                    </a:lnTo>
                    <a:lnTo>
                      <a:pt x="2388" y="347"/>
                    </a:lnTo>
                    <a:lnTo>
                      <a:pt x="2388" y="345"/>
                    </a:lnTo>
                    <a:lnTo>
                      <a:pt x="2386" y="345"/>
                    </a:lnTo>
                    <a:lnTo>
                      <a:pt x="2379" y="347"/>
                    </a:lnTo>
                    <a:lnTo>
                      <a:pt x="2377" y="345"/>
                    </a:lnTo>
                    <a:lnTo>
                      <a:pt x="2377" y="343"/>
                    </a:lnTo>
                    <a:lnTo>
                      <a:pt x="2375" y="337"/>
                    </a:lnTo>
                    <a:lnTo>
                      <a:pt x="2375" y="337"/>
                    </a:lnTo>
                    <a:lnTo>
                      <a:pt x="2366" y="331"/>
                    </a:lnTo>
                    <a:lnTo>
                      <a:pt x="2366" y="330"/>
                    </a:lnTo>
                    <a:lnTo>
                      <a:pt x="2366" y="328"/>
                    </a:lnTo>
                    <a:lnTo>
                      <a:pt x="2360" y="326"/>
                    </a:lnTo>
                    <a:lnTo>
                      <a:pt x="2358" y="330"/>
                    </a:lnTo>
                    <a:lnTo>
                      <a:pt x="2353" y="331"/>
                    </a:lnTo>
                    <a:lnTo>
                      <a:pt x="2351" y="335"/>
                    </a:lnTo>
                    <a:lnTo>
                      <a:pt x="2347" y="335"/>
                    </a:lnTo>
                    <a:lnTo>
                      <a:pt x="2347" y="331"/>
                    </a:lnTo>
                    <a:lnTo>
                      <a:pt x="2345" y="328"/>
                    </a:lnTo>
                    <a:lnTo>
                      <a:pt x="2347" y="331"/>
                    </a:lnTo>
                    <a:lnTo>
                      <a:pt x="2347" y="337"/>
                    </a:lnTo>
                    <a:lnTo>
                      <a:pt x="2347" y="341"/>
                    </a:lnTo>
                    <a:lnTo>
                      <a:pt x="2347" y="347"/>
                    </a:lnTo>
                    <a:lnTo>
                      <a:pt x="2339" y="356"/>
                    </a:lnTo>
                    <a:lnTo>
                      <a:pt x="2336" y="356"/>
                    </a:lnTo>
                    <a:lnTo>
                      <a:pt x="2336" y="348"/>
                    </a:lnTo>
                    <a:lnTo>
                      <a:pt x="2332" y="347"/>
                    </a:lnTo>
                    <a:lnTo>
                      <a:pt x="2328" y="350"/>
                    </a:lnTo>
                    <a:lnTo>
                      <a:pt x="2321" y="343"/>
                    </a:lnTo>
                    <a:lnTo>
                      <a:pt x="2321" y="339"/>
                    </a:lnTo>
                    <a:lnTo>
                      <a:pt x="2317" y="331"/>
                    </a:lnTo>
                    <a:lnTo>
                      <a:pt x="2315" y="330"/>
                    </a:lnTo>
                    <a:lnTo>
                      <a:pt x="2313" y="328"/>
                    </a:lnTo>
                    <a:lnTo>
                      <a:pt x="2311" y="326"/>
                    </a:lnTo>
                    <a:lnTo>
                      <a:pt x="2309" y="328"/>
                    </a:lnTo>
                    <a:lnTo>
                      <a:pt x="2311" y="330"/>
                    </a:lnTo>
                    <a:lnTo>
                      <a:pt x="2311" y="331"/>
                    </a:lnTo>
                    <a:lnTo>
                      <a:pt x="2313" y="335"/>
                    </a:lnTo>
                    <a:lnTo>
                      <a:pt x="2313" y="337"/>
                    </a:lnTo>
                    <a:lnTo>
                      <a:pt x="2305" y="335"/>
                    </a:lnTo>
                    <a:lnTo>
                      <a:pt x="2302" y="330"/>
                    </a:lnTo>
                    <a:lnTo>
                      <a:pt x="2300" y="330"/>
                    </a:lnTo>
                    <a:lnTo>
                      <a:pt x="2304" y="335"/>
                    </a:lnTo>
                    <a:lnTo>
                      <a:pt x="2300" y="335"/>
                    </a:lnTo>
                    <a:lnTo>
                      <a:pt x="2302" y="337"/>
                    </a:lnTo>
                    <a:lnTo>
                      <a:pt x="2307" y="337"/>
                    </a:lnTo>
                    <a:lnTo>
                      <a:pt x="2309" y="341"/>
                    </a:lnTo>
                    <a:lnTo>
                      <a:pt x="2307" y="345"/>
                    </a:lnTo>
                    <a:lnTo>
                      <a:pt x="2302" y="345"/>
                    </a:lnTo>
                    <a:lnTo>
                      <a:pt x="2302" y="347"/>
                    </a:lnTo>
                    <a:lnTo>
                      <a:pt x="2304" y="348"/>
                    </a:lnTo>
                    <a:lnTo>
                      <a:pt x="2315" y="362"/>
                    </a:lnTo>
                    <a:lnTo>
                      <a:pt x="2321" y="362"/>
                    </a:lnTo>
                    <a:lnTo>
                      <a:pt x="2326" y="362"/>
                    </a:lnTo>
                    <a:lnTo>
                      <a:pt x="2330" y="365"/>
                    </a:lnTo>
                    <a:lnTo>
                      <a:pt x="2332" y="367"/>
                    </a:lnTo>
                    <a:lnTo>
                      <a:pt x="2332" y="367"/>
                    </a:lnTo>
                    <a:lnTo>
                      <a:pt x="2328" y="365"/>
                    </a:lnTo>
                    <a:lnTo>
                      <a:pt x="2326" y="365"/>
                    </a:lnTo>
                    <a:lnTo>
                      <a:pt x="2328" y="369"/>
                    </a:lnTo>
                    <a:lnTo>
                      <a:pt x="2334" y="373"/>
                    </a:lnTo>
                    <a:lnTo>
                      <a:pt x="2336" y="379"/>
                    </a:lnTo>
                    <a:lnTo>
                      <a:pt x="2339" y="382"/>
                    </a:lnTo>
                    <a:lnTo>
                      <a:pt x="2339" y="390"/>
                    </a:lnTo>
                    <a:lnTo>
                      <a:pt x="2336" y="403"/>
                    </a:lnTo>
                    <a:lnTo>
                      <a:pt x="2337" y="411"/>
                    </a:lnTo>
                    <a:lnTo>
                      <a:pt x="2337" y="414"/>
                    </a:lnTo>
                    <a:lnTo>
                      <a:pt x="2339" y="418"/>
                    </a:lnTo>
                    <a:lnTo>
                      <a:pt x="2334" y="424"/>
                    </a:lnTo>
                    <a:lnTo>
                      <a:pt x="2334" y="429"/>
                    </a:lnTo>
                    <a:lnTo>
                      <a:pt x="2330" y="431"/>
                    </a:lnTo>
                    <a:lnTo>
                      <a:pt x="2332" y="429"/>
                    </a:lnTo>
                    <a:lnTo>
                      <a:pt x="2330" y="426"/>
                    </a:lnTo>
                    <a:lnTo>
                      <a:pt x="2322" y="433"/>
                    </a:lnTo>
                    <a:lnTo>
                      <a:pt x="2321" y="429"/>
                    </a:lnTo>
                    <a:lnTo>
                      <a:pt x="2317" y="433"/>
                    </a:lnTo>
                    <a:lnTo>
                      <a:pt x="2315" y="431"/>
                    </a:lnTo>
                    <a:lnTo>
                      <a:pt x="2313" y="429"/>
                    </a:lnTo>
                    <a:lnTo>
                      <a:pt x="2307" y="429"/>
                    </a:lnTo>
                    <a:lnTo>
                      <a:pt x="2302" y="424"/>
                    </a:lnTo>
                    <a:lnTo>
                      <a:pt x="2298" y="420"/>
                    </a:lnTo>
                    <a:lnTo>
                      <a:pt x="2292" y="420"/>
                    </a:lnTo>
                    <a:lnTo>
                      <a:pt x="2290" y="418"/>
                    </a:lnTo>
                    <a:lnTo>
                      <a:pt x="2289" y="418"/>
                    </a:lnTo>
                    <a:lnTo>
                      <a:pt x="2283" y="424"/>
                    </a:lnTo>
                    <a:lnTo>
                      <a:pt x="2279" y="424"/>
                    </a:lnTo>
                    <a:lnTo>
                      <a:pt x="2283" y="424"/>
                    </a:lnTo>
                    <a:lnTo>
                      <a:pt x="2290" y="424"/>
                    </a:lnTo>
                    <a:lnTo>
                      <a:pt x="2292" y="420"/>
                    </a:lnTo>
                    <a:lnTo>
                      <a:pt x="2302" y="424"/>
                    </a:lnTo>
                    <a:lnTo>
                      <a:pt x="2304" y="429"/>
                    </a:lnTo>
                    <a:lnTo>
                      <a:pt x="2298" y="431"/>
                    </a:lnTo>
                    <a:lnTo>
                      <a:pt x="2296" y="429"/>
                    </a:lnTo>
                    <a:lnTo>
                      <a:pt x="2292" y="429"/>
                    </a:lnTo>
                    <a:lnTo>
                      <a:pt x="2292" y="433"/>
                    </a:lnTo>
                    <a:lnTo>
                      <a:pt x="2289" y="429"/>
                    </a:lnTo>
                    <a:lnTo>
                      <a:pt x="2283" y="429"/>
                    </a:lnTo>
                    <a:lnTo>
                      <a:pt x="2287" y="429"/>
                    </a:lnTo>
                    <a:lnTo>
                      <a:pt x="2289" y="435"/>
                    </a:lnTo>
                    <a:lnTo>
                      <a:pt x="2292" y="437"/>
                    </a:lnTo>
                    <a:lnTo>
                      <a:pt x="2292" y="443"/>
                    </a:lnTo>
                    <a:lnTo>
                      <a:pt x="2292" y="450"/>
                    </a:lnTo>
                    <a:lnTo>
                      <a:pt x="2296" y="450"/>
                    </a:lnTo>
                    <a:lnTo>
                      <a:pt x="2296" y="450"/>
                    </a:lnTo>
                    <a:lnTo>
                      <a:pt x="2296" y="443"/>
                    </a:lnTo>
                    <a:lnTo>
                      <a:pt x="2298" y="441"/>
                    </a:lnTo>
                    <a:lnTo>
                      <a:pt x="2302" y="441"/>
                    </a:lnTo>
                    <a:lnTo>
                      <a:pt x="2302" y="439"/>
                    </a:lnTo>
                    <a:lnTo>
                      <a:pt x="2307" y="433"/>
                    </a:lnTo>
                    <a:lnTo>
                      <a:pt x="2311" y="433"/>
                    </a:lnTo>
                    <a:lnTo>
                      <a:pt x="2313" y="435"/>
                    </a:lnTo>
                    <a:lnTo>
                      <a:pt x="2313" y="437"/>
                    </a:lnTo>
                    <a:lnTo>
                      <a:pt x="2317" y="444"/>
                    </a:lnTo>
                    <a:lnTo>
                      <a:pt x="2321" y="446"/>
                    </a:lnTo>
                    <a:lnTo>
                      <a:pt x="2326" y="450"/>
                    </a:lnTo>
                    <a:lnTo>
                      <a:pt x="2332" y="450"/>
                    </a:lnTo>
                    <a:lnTo>
                      <a:pt x="2332" y="446"/>
                    </a:lnTo>
                    <a:lnTo>
                      <a:pt x="2332" y="444"/>
                    </a:lnTo>
                    <a:lnTo>
                      <a:pt x="2334" y="444"/>
                    </a:lnTo>
                    <a:lnTo>
                      <a:pt x="2341" y="450"/>
                    </a:lnTo>
                    <a:lnTo>
                      <a:pt x="2345" y="454"/>
                    </a:lnTo>
                    <a:lnTo>
                      <a:pt x="2341" y="454"/>
                    </a:lnTo>
                    <a:lnTo>
                      <a:pt x="2341" y="458"/>
                    </a:lnTo>
                    <a:lnTo>
                      <a:pt x="2347" y="463"/>
                    </a:lnTo>
                    <a:lnTo>
                      <a:pt x="2351" y="463"/>
                    </a:lnTo>
                    <a:lnTo>
                      <a:pt x="2351" y="461"/>
                    </a:lnTo>
                    <a:lnTo>
                      <a:pt x="2351" y="456"/>
                    </a:lnTo>
                    <a:lnTo>
                      <a:pt x="2354" y="461"/>
                    </a:lnTo>
                    <a:lnTo>
                      <a:pt x="2362" y="473"/>
                    </a:lnTo>
                    <a:lnTo>
                      <a:pt x="2360" y="471"/>
                    </a:lnTo>
                    <a:lnTo>
                      <a:pt x="2358" y="471"/>
                    </a:lnTo>
                    <a:lnTo>
                      <a:pt x="2356" y="471"/>
                    </a:lnTo>
                    <a:lnTo>
                      <a:pt x="2360" y="475"/>
                    </a:lnTo>
                    <a:lnTo>
                      <a:pt x="2356" y="478"/>
                    </a:lnTo>
                    <a:lnTo>
                      <a:pt x="2354" y="480"/>
                    </a:lnTo>
                    <a:lnTo>
                      <a:pt x="2356" y="484"/>
                    </a:lnTo>
                    <a:lnTo>
                      <a:pt x="2360" y="484"/>
                    </a:lnTo>
                    <a:lnTo>
                      <a:pt x="2362" y="480"/>
                    </a:lnTo>
                    <a:lnTo>
                      <a:pt x="2362" y="478"/>
                    </a:lnTo>
                    <a:lnTo>
                      <a:pt x="2366" y="480"/>
                    </a:lnTo>
                    <a:lnTo>
                      <a:pt x="2366" y="475"/>
                    </a:lnTo>
                    <a:lnTo>
                      <a:pt x="2369" y="480"/>
                    </a:lnTo>
                    <a:lnTo>
                      <a:pt x="2377" y="488"/>
                    </a:lnTo>
                    <a:lnTo>
                      <a:pt x="2386" y="488"/>
                    </a:lnTo>
                    <a:lnTo>
                      <a:pt x="2390" y="492"/>
                    </a:lnTo>
                    <a:lnTo>
                      <a:pt x="2388" y="495"/>
                    </a:lnTo>
                    <a:lnTo>
                      <a:pt x="2394" y="503"/>
                    </a:lnTo>
                    <a:lnTo>
                      <a:pt x="2396" y="503"/>
                    </a:lnTo>
                    <a:lnTo>
                      <a:pt x="2401" y="512"/>
                    </a:lnTo>
                    <a:lnTo>
                      <a:pt x="2401" y="522"/>
                    </a:lnTo>
                    <a:lnTo>
                      <a:pt x="2400" y="522"/>
                    </a:lnTo>
                    <a:lnTo>
                      <a:pt x="2400" y="524"/>
                    </a:lnTo>
                    <a:lnTo>
                      <a:pt x="2405" y="527"/>
                    </a:lnTo>
                    <a:lnTo>
                      <a:pt x="2405" y="531"/>
                    </a:lnTo>
                    <a:lnTo>
                      <a:pt x="2405" y="533"/>
                    </a:lnTo>
                    <a:lnTo>
                      <a:pt x="2400" y="529"/>
                    </a:lnTo>
                    <a:lnTo>
                      <a:pt x="2388" y="529"/>
                    </a:lnTo>
                    <a:lnTo>
                      <a:pt x="2385" y="527"/>
                    </a:lnTo>
                    <a:lnTo>
                      <a:pt x="2381" y="529"/>
                    </a:lnTo>
                    <a:lnTo>
                      <a:pt x="2377" y="527"/>
                    </a:lnTo>
                    <a:lnTo>
                      <a:pt x="2375" y="525"/>
                    </a:lnTo>
                    <a:lnTo>
                      <a:pt x="2375" y="524"/>
                    </a:lnTo>
                    <a:lnTo>
                      <a:pt x="2375" y="525"/>
                    </a:lnTo>
                    <a:lnTo>
                      <a:pt x="2375" y="527"/>
                    </a:lnTo>
                    <a:lnTo>
                      <a:pt x="2369" y="531"/>
                    </a:lnTo>
                    <a:lnTo>
                      <a:pt x="2366" y="531"/>
                    </a:lnTo>
                    <a:lnTo>
                      <a:pt x="2364" y="533"/>
                    </a:lnTo>
                    <a:lnTo>
                      <a:pt x="2366" y="535"/>
                    </a:lnTo>
                    <a:lnTo>
                      <a:pt x="2360" y="539"/>
                    </a:lnTo>
                    <a:lnTo>
                      <a:pt x="2356" y="539"/>
                    </a:lnTo>
                    <a:lnTo>
                      <a:pt x="2356" y="542"/>
                    </a:lnTo>
                    <a:lnTo>
                      <a:pt x="2358" y="544"/>
                    </a:lnTo>
                    <a:lnTo>
                      <a:pt x="2353" y="552"/>
                    </a:lnTo>
                    <a:lnTo>
                      <a:pt x="2351" y="554"/>
                    </a:lnTo>
                    <a:lnTo>
                      <a:pt x="2351" y="552"/>
                    </a:lnTo>
                    <a:lnTo>
                      <a:pt x="2347" y="552"/>
                    </a:lnTo>
                    <a:lnTo>
                      <a:pt x="2347" y="558"/>
                    </a:lnTo>
                    <a:lnTo>
                      <a:pt x="2351" y="563"/>
                    </a:lnTo>
                    <a:lnTo>
                      <a:pt x="2347" y="567"/>
                    </a:lnTo>
                    <a:lnTo>
                      <a:pt x="2345" y="565"/>
                    </a:lnTo>
                    <a:lnTo>
                      <a:pt x="2341" y="569"/>
                    </a:lnTo>
                    <a:lnTo>
                      <a:pt x="2345" y="573"/>
                    </a:lnTo>
                    <a:lnTo>
                      <a:pt x="2341" y="574"/>
                    </a:lnTo>
                    <a:lnTo>
                      <a:pt x="2337" y="576"/>
                    </a:lnTo>
                    <a:lnTo>
                      <a:pt x="2339" y="578"/>
                    </a:lnTo>
                    <a:lnTo>
                      <a:pt x="2339" y="582"/>
                    </a:lnTo>
                    <a:lnTo>
                      <a:pt x="2337" y="584"/>
                    </a:lnTo>
                    <a:lnTo>
                      <a:pt x="2336" y="582"/>
                    </a:lnTo>
                    <a:lnTo>
                      <a:pt x="2332" y="584"/>
                    </a:lnTo>
                    <a:lnTo>
                      <a:pt x="2334" y="586"/>
                    </a:lnTo>
                    <a:lnTo>
                      <a:pt x="2336" y="590"/>
                    </a:lnTo>
                    <a:lnTo>
                      <a:pt x="2332" y="593"/>
                    </a:lnTo>
                    <a:lnTo>
                      <a:pt x="2334" y="595"/>
                    </a:lnTo>
                    <a:lnTo>
                      <a:pt x="2332" y="599"/>
                    </a:lnTo>
                    <a:lnTo>
                      <a:pt x="2330" y="599"/>
                    </a:lnTo>
                    <a:lnTo>
                      <a:pt x="2328" y="597"/>
                    </a:lnTo>
                    <a:lnTo>
                      <a:pt x="2326" y="599"/>
                    </a:lnTo>
                    <a:lnTo>
                      <a:pt x="2326" y="599"/>
                    </a:lnTo>
                    <a:lnTo>
                      <a:pt x="2332" y="603"/>
                    </a:lnTo>
                    <a:lnTo>
                      <a:pt x="2330" y="606"/>
                    </a:lnTo>
                    <a:lnTo>
                      <a:pt x="2326" y="606"/>
                    </a:lnTo>
                    <a:lnTo>
                      <a:pt x="2326" y="608"/>
                    </a:lnTo>
                    <a:lnTo>
                      <a:pt x="2328" y="612"/>
                    </a:lnTo>
                    <a:lnTo>
                      <a:pt x="2330" y="616"/>
                    </a:lnTo>
                    <a:lnTo>
                      <a:pt x="2328" y="620"/>
                    </a:lnTo>
                    <a:lnTo>
                      <a:pt x="2330" y="622"/>
                    </a:lnTo>
                    <a:lnTo>
                      <a:pt x="2326" y="627"/>
                    </a:lnTo>
                    <a:lnTo>
                      <a:pt x="2326" y="631"/>
                    </a:lnTo>
                    <a:lnTo>
                      <a:pt x="2326" y="637"/>
                    </a:lnTo>
                    <a:lnTo>
                      <a:pt x="2322" y="644"/>
                    </a:lnTo>
                    <a:lnTo>
                      <a:pt x="2321" y="648"/>
                    </a:lnTo>
                    <a:lnTo>
                      <a:pt x="2321" y="652"/>
                    </a:lnTo>
                    <a:lnTo>
                      <a:pt x="2322" y="654"/>
                    </a:lnTo>
                    <a:lnTo>
                      <a:pt x="2326" y="655"/>
                    </a:lnTo>
                    <a:lnTo>
                      <a:pt x="2322" y="657"/>
                    </a:lnTo>
                    <a:lnTo>
                      <a:pt x="2328" y="663"/>
                    </a:lnTo>
                    <a:lnTo>
                      <a:pt x="2328" y="667"/>
                    </a:lnTo>
                    <a:lnTo>
                      <a:pt x="2326" y="667"/>
                    </a:lnTo>
                    <a:lnTo>
                      <a:pt x="2321" y="667"/>
                    </a:lnTo>
                    <a:lnTo>
                      <a:pt x="2317" y="663"/>
                    </a:lnTo>
                    <a:lnTo>
                      <a:pt x="2317" y="667"/>
                    </a:lnTo>
                    <a:lnTo>
                      <a:pt x="2311" y="657"/>
                    </a:lnTo>
                    <a:lnTo>
                      <a:pt x="2313" y="657"/>
                    </a:lnTo>
                    <a:lnTo>
                      <a:pt x="2311" y="657"/>
                    </a:lnTo>
                    <a:lnTo>
                      <a:pt x="2307" y="657"/>
                    </a:lnTo>
                    <a:lnTo>
                      <a:pt x="2304" y="657"/>
                    </a:lnTo>
                    <a:lnTo>
                      <a:pt x="2304" y="655"/>
                    </a:lnTo>
                    <a:lnTo>
                      <a:pt x="2292" y="648"/>
                    </a:lnTo>
                    <a:lnTo>
                      <a:pt x="2290" y="648"/>
                    </a:lnTo>
                    <a:lnTo>
                      <a:pt x="2283" y="652"/>
                    </a:lnTo>
                    <a:lnTo>
                      <a:pt x="2281" y="650"/>
                    </a:lnTo>
                    <a:lnTo>
                      <a:pt x="2277" y="652"/>
                    </a:lnTo>
                    <a:lnTo>
                      <a:pt x="2273" y="657"/>
                    </a:lnTo>
                    <a:lnTo>
                      <a:pt x="2268" y="657"/>
                    </a:lnTo>
                    <a:lnTo>
                      <a:pt x="2266" y="663"/>
                    </a:lnTo>
                    <a:lnTo>
                      <a:pt x="2264" y="667"/>
                    </a:lnTo>
                    <a:lnTo>
                      <a:pt x="2262" y="663"/>
                    </a:lnTo>
                    <a:lnTo>
                      <a:pt x="2264" y="669"/>
                    </a:lnTo>
                    <a:lnTo>
                      <a:pt x="2262" y="671"/>
                    </a:lnTo>
                    <a:lnTo>
                      <a:pt x="2262" y="676"/>
                    </a:lnTo>
                    <a:lnTo>
                      <a:pt x="2262" y="680"/>
                    </a:lnTo>
                    <a:lnTo>
                      <a:pt x="2258" y="687"/>
                    </a:lnTo>
                    <a:lnTo>
                      <a:pt x="2258" y="691"/>
                    </a:lnTo>
                    <a:lnTo>
                      <a:pt x="2257" y="687"/>
                    </a:lnTo>
                    <a:lnTo>
                      <a:pt x="2251" y="676"/>
                    </a:lnTo>
                    <a:lnTo>
                      <a:pt x="2251" y="671"/>
                    </a:lnTo>
                    <a:lnTo>
                      <a:pt x="2247" y="669"/>
                    </a:lnTo>
                    <a:lnTo>
                      <a:pt x="2245" y="667"/>
                    </a:lnTo>
                    <a:lnTo>
                      <a:pt x="2245" y="671"/>
                    </a:lnTo>
                    <a:lnTo>
                      <a:pt x="2240" y="678"/>
                    </a:lnTo>
                    <a:lnTo>
                      <a:pt x="2238" y="680"/>
                    </a:lnTo>
                    <a:lnTo>
                      <a:pt x="2238" y="684"/>
                    </a:lnTo>
                    <a:lnTo>
                      <a:pt x="2240" y="686"/>
                    </a:lnTo>
                    <a:lnTo>
                      <a:pt x="2238" y="693"/>
                    </a:lnTo>
                    <a:lnTo>
                      <a:pt x="2234" y="687"/>
                    </a:lnTo>
                    <a:lnTo>
                      <a:pt x="2232" y="687"/>
                    </a:lnTo>
                    <a:lnTo>
                      <a:pt x="2228" y="687"/>
                    </a:lnTo>
                    <a:lnTo>
                      <a:pt x="2228" y="687"/>
                    </a:lnTo>
                    <a:lnTo>
                      <a:pt x="2226" y="691"/>
                    </a:lnTo>
                    <a:lnTo>
                      <a:pt x="2225" y="691"/>
                    </a:lnTo>
                    <a:lnTo>
                      <a:pt x="2221" y="691"/>
                    </a:lnTo>
                    <a:lnTo>
                      <a:pt x="2217" y="691"/>
                    </a:lnTo>
                    <a:lnTo>
                      <a:pt x="2217" y="693"/>
                    </a:lnTo>
                    <a:lnTo>
                      <a:pt x="2219" y="697"/>
                    </a:lnTo>
                    <a:lnTo>
                      <a:pt x="2217" y="697"/>
                    </a:lnTo>
                    <a:lnTo>
                      <a:pt x="2215" y="701"/>
                    </a:lnTo>
                    <a:lnTo>
                      <a:pt x="2215" y="704"/>
                    </a:lnTo>
                    <a:lnTo>
                      <a:pt x="2219" y="708"/>
                    </a:lnTo>
                    <a:lnTo>
                      <a:pt x="2221" y="714"/>
                    </a:lnTo>
                    <a:lnTo>
                      <a:pt x="2219" y="714"/>
                    </a:lnTo>
                    <a:lnTo>
                      <a:pt x="2219" y="716"/>
                    </a:lnTo>
                    <a:lnTo>
                      <a:pt x="2223" y="718"/>
                    </a:lnTo>
                    <a:lnTo>
                      <a:pt x="2226" y="721"/>
                    </a:lnTo>
                    <a:lnTo>
                      <a:pt x="2226" y="721"/>
                    </a:lnTo>
                    <a:lnTo>
                      <a:pt x="2225" y="721"/>
                    </a:lnTo>
                    <a:lnTo>
                      <a:pt x="2225" y="725"/>
                    </a:lnTo>
                    <a:lnTo>
                      <a:pt x="2226" y="727"/>
                    </a:lnTo>
                    <a:lnTo>
                      <a:pt x="2228" y="731"/>
                    </a:lnTo>
                    <a:lnTo>
                      <a:pt x="2228" y="731"/>
                    </a:lnTo>
                    <a:lnTo>
                      <a:pt x="2226" y="731"/>
                    </a:lnTo>
                    <a:lnTo>
                      <a:pt x="2223" y="731"/>
                    </a:lnTo>
                    <a:lnTo>
                      <a:pt x="2223" y="731"/>
                    </a:lnTo>
                    <a:lnTo>
                      <a:pt x="2226" y="736"/>
                    </a:lnTo>
                    <a:lnTo>
                      <a:pt x="2228" y="735"/>
                    </a:lnTo>
                    <a:lnTo>
                      <a:pt x="2228" y="738"/>
                    </a:lnTo>
                    <a:lnTo>
                      <a:pt x="2228" y="742"/>
                    </a:lnTo>
                    <a:lnTo>
                      <a:pt x="2228" y="746"/>
                    </a:lnTo>
                    <a:lnTo>
                      <a:pt x="2226" y="750"/>
                    </a:lnTo>
                    <a:lnTo>
                      <a:pt x="2228" y="755"/>
                    </a:lnTo>
                    <a:lnTo>
                      <a:pt x="2226" y="757"/>
                    </a:lnTo>
                    <a:lnTo>
                      <a:pt x="2228" y="761"/>
                    </a:lnTo>
                    <a:lnTo>
                      <a:pt x="2228" y="763"/>
                    </a:lnTo>
                    <a:lnTo>
                      <a:pt x="2228" y="767"/>
                    </a:lnTo>
                    <a:lnTo>
                      <a:pt x="2232" y="774"/>
                    </a:lnTo>
                    <a:lnTo>
                      <a:pt x="2228" y="776"/>
                    </a:lnTo>
                    <a:lnTo>
                      <a:pt x="2234" y="776"/>
                    </a:lnTo>
                    <a:lnTo>
                      <a:pt x="2234" y="782"/>
                    </a:lnTo>
                    <a:lnTo>
                      <a:pt x="2240" y="787"/>
                    </a:lnTo>
                    <a:lnTo>
                      <a:pt x="2245" y="789"/>
                    </a:lnTo>
                    <a:lnTo>
                      <a:pt x="2247" y="787"/>
                    </a:lnTo>
                    <a:lnTo>
                      <a:pt x="2247" y="785"/>
                    </a:lnTo>
                    <a:lnTo>
                      <a:pt x="2241" y="780"/>
                    </a:lnTo>
                    <a:lnTo>
                      <a:pt x="2241" y="776"/>
                    </a:lnTo>
                    <a:lnTo>
                      <a:pt x="2245" y="776"/>
                    </a:lnTo>
                    <a:lnTo>
                      <a:pt x="2249" y="776"/>
                    </a:lnTo>
                    <a:lnTo>
                      <a:pt x="2255" y="780"/>
                    </a:lnTo>
                    <a:lnTo>
                      <a:pt x="2258" y="780"/>
                    </a:lnTo>
                    <a:lnTo>
                      <a:pt x="2262" y="782"/>
                    </a:lnTo>
                    <a:lnTo>
                      <a:pt x="2262" y="785"/>
                    </a:lnTo>
                    <a:lnTo>
                      <a:pt x="2258" y="785"/>
                    </a:lnTo>
                    <a:lnTo>
                      <a:pt x="2262" y="789"/>
                    </a:lnTo>
                    <a:lnTo>
                      <a:pt x="2258" y="791"/>
                    </a:lnTo>
                    <a:lnTo>
                      <a:pt x="2262" y="795"/>
                    </a:lnTo>
                    <a:lnTo>
                      <a:pt x="2258" y="797"/>
                    </a:lnTo>
                    <a:lnTo>
                      <a:pt x="2258" y="800"/>
                    </a:lnTo>
                    <a:lnTo>
                      <a:pt x="2262" y="806"/>
                    </a:lnTo>
                    <a:lnTo>
                      <a:pt x="2262" y="810"/>
                    </a:lnTo>
                    <a:lnTo>
                      <a:pt x="2262" y="819"/>
                    </a:lnTo>
                    <a:lnTo>
                      <a:pt x="2266" y="819"/>
                    </a:lnTo>
                    <a:lnTo>
                      <a:pt x="2268" y="819"/>
                    </a:lnTo>
                    <a:lnTo>
                      <a:pt x="2268" y="816"/>
                    </a:lnTo>
                    <a:lnTo>
                      <a:pt x="2272" y="816"/>
                    </a:lnTo>
                    <a:lnTo>
                      <a:pt x="2272" y="812"/>
                    </a:lnTo>
                    <a:lnTo>
                      <a:pt x="2273" y="816"/>
                    </a:lnTo>
                    <a:lnTo>
                      <a:pt x="2277" y="816"/>
                    </a:lnTo>
                    <a:lnTo>
                      <a:pt x="2277" y="825"/>
                    </a:lnTo>
                    <a:lnTo>
                      <a:pt x="2287" y="833"/>
                    </a:lnTo>
                    <a:lnTo>
                      <a:pt x="2289" y="838"/>
                    </a:lnTo>
                    <a:lnTo>
                      <a:pt x="2287" y="840"/>
                    </a:lnTo>
                    <a:lnTo>
                      <a:pt x="2287" y="844"/>
                    </a:lnTo>
                    <a:lnTo>
                      <a:pt x="2283" y="846"/>
                    </a:lnTo>
                    <a:lnTo>
                      <a:pt x="2279" y="844"/>
                    </a:lnTo>
                    <a:lnTo>
                      <a:pt x="2273" y="840"/>
                    </a:lnTo>
                    <a:lnTo>
                      <a:pt x="2273" y="836"/>
                    </a:lnTo>
                    <a:lnTo>
                      <a:pt x="2275" y="831"/>
                    </a:lnTo>
                    <a:lnTo>
                      <a:pt x="2275" y="827"/>
                    </a:lnTo>
                    <a:lnTo>
                      <a:pt x="2273" y="823"/>
                    </a:lnTo>
                    <a:lnTo>
                      <a:pt x="2272" y="825"/>
                    </a:lnTo>
                    <a:lnTo>
                      <a:pt x="2273" y="827"/>
                    </a:lnTo>
                    <a:lnTo>
                      <a:pt x="2273" y="831"/>
                    </a:lnTo>
                    <a:lnTo>
                      <a:pt x="2272" y="831"/>
                    </a:lnTo>
                    <a:lnTo>
                      <a:pt x="2266" y="836"/>
                    </a:lnTo>
                    <a:lnTo>
                      <a:pt x="2266" y="838"/>
                    </a:lnTo>
                    <a:lnTo>
                      <a:pt x="2272" y="838"/>
                    </a:lnTo>
                    <a:lnTo>
                      <a:pt x="2272" y="840"/>
                    </a:lnTo>
                    <a:lnTo>
                      <a:pt x="2268" y="844"/>
                    </a:lnTo>
                    <a:lnTo>
                      <a:pt x="2272" y="849"/>
                    </a:lnTo>
                    <a:lnTo>
                      <a:pt x="2272" y="851"/>
                    </a:lnTo>
                    <a:lnTo>
                      <a:pt x="2272" y="866"/>
                    </a:lnTo>
                    <a:lnTo>
                      <a:pt x="2272" y="868"/>
                    </a:lnTo>
                    <a:lnTo>
                      <a:pt x="2272" y="870"/>
                    </a:lnTo>
                    <a:lnTo>
                      <a:pt x="2283" y="885"/>
                    </a:lnTo>
                    <a:lnTo>
                      <a:pt x="2283" y="885"/>
                    </a:lnTo>
                    <a:lnTo>
                      <a:pt x="2292" y="895"/>
                    </a:lnTo>
                    <a:lnTo>
                      <a:pt x="2296" y="895"/>
                    </a:lnTo>
                    <a:lnTo>
                      <a:pt x="2292" y="900"/>
                    </a:lnTo>
                    <a:lnTo>
                      <a:pt x="2292" y="904"/>
                    </a:lnTo>
                    <a:lnTo>
                      <a:pt x="2283" y="908"/>
                    </a:lnTo>
                    <a:lnTo>
                      <a:pt x="2281" y="908"/>
                    </a:lnTo>
                    <a:lnTo>
                      <a:pt x="2275" y="910"/>
                    </a:lnTo>
                    <a:lnTo>
                      <a:pt x="2272" y="910"/>
                    </a:lnTo>
                    <a:lnTo>
                      <a:pt x="2273" y="912"/>
                    </a:lnTo>
                    <a:lnTo>
                      <a:pt x="2272" y="919"/>
                    </a:lnTo>
                    <a:lnTo>
                      <a:pt x="2272" y="923"/>
                    </a:lnTo>
                    <a:lnTo>
                      <a:pt x="2268" y="925"/>
                    </a:lnTo>
                    <a:lnTo>
                      <a:pt x="2272" y="930"/>
                    </a:lnTo>
                    <a:lnTo>
                      <a:pt x="2268" y="938"/>
                    </a:lnTo>
                    <a:lnTo>
                      <a:pt x="2272" y="949"/>
                    </a:lnTo>
                    <a:lnTo>
                      <a:pt x="2277" y="951"/>
                    </a:lnTo>
                    <a:lnTo>
                      <a:pt x="2277" y="957"/>
                    </a:lnTo>
                    <a:lnTo>
                      <a:pt x="2283" y="959"/>
                    </a:lnTo>
                    <a:lnTo>
                      <a:pt x="2283" y="964"/>
                    </a:lnTo>
                    <a:lnTo>
                      <a:pt x="2281" y="962"/>
                    </a:lnTo>
                    <a:lnTo>
                      <a:pt x="2279" y="962"/>
                    </a:lnTo>
                    <a:lnTo>
                      <a:pt x="2275" y="964"/>
                    </a:lnTo>
                    <a:lnTo>
                      <a:pt x="2272" y="968"/>
                    </a:lnTo>
                    <a:lnTo>
                      <a:pt x="2272" y="964"/>
                    </a:lnTo>
                    <a:lnTo>
                      <a:pt x="2264" y="970"/>
                    </a:lnTo>
                    <a:lnTo>
                      <a:pt x="2262" y="968"/>
                    </a:lnTo>
                    <a:lnTo>
                      <a:pt x="2258" y="972"/>
                    </a:lnTo>
                    <a:lnTo>
                      <a:pt x="2262" y="974"/>
                    </a:lnTo>
                    <a:lnTo>
                      <a:pt x="2264" y="972"/>
                    </a:lnTo>
                    <a:lnTo>
                      <a:pt x="2264" y="978"/>
                    </a:lnTo>
                    <a:lnTo>
                      <a:pt x="2262" y="979"/>
                    </a:lnTo>
                    <a:lnTo>
                      <a:pt x="2266" y="983"/>
                    </a:lnTo>
                    <a:lnTo>
                      <a:pt x="2264" y="985"/>
                    </a:lnTo>
                    <a:lnTo>
                      <a:pt x="2262" y="985"/>
                    </a:lnTo>
                    <a:lnTo>
                      <a:pt x="2266" y="989"/>
                    </a:lnTo>
                    <a:lnTo>
                      <a:pt x="2264" y="993"/>
                    </a:lnTo>
                    <a:lnTo>
                      <a:pt x="2266" y="993"/>
                    </a:lnTo>
                    <a:lnTo>
                      <a:pt x="2268" y="993"/>
                    </a:lnTo>
                    <a:lnTo>
                      <a:pt x="2272" y="995"/>
                    </a:lnTo>
                    <a:lnTo>
                      <a:pt x="2272" y="998"/>
                    </a:lnTo>
                    <a:lnTo>
                      <a:pt x="2268" y="1004"/>
                    </a:lnTo>
                    <a:lnTo>
                      <a:pt x="2272" y="1008"/>
                    </a:lnTo>
                    <a:lnTo>
                      <a:pt x="2272" y="1015"/>
                    </a:lnTo>
                    <a:lnTo>
                      <a:pt x="2268" y="1019"/>
                    </a:lnTo>
                    <a:lnTo>
                      <a:pt x="2268" y="1019"/>
                    </a:lnTo>
                    <a:lnTo>
                      <a:pt x="2268" y="1023"/>
                    </a:lnTo>
                    <a:lnTo>
                      <a:pt x="2262" y="1027"/>
                    </a:lnTo>
                    <a:lnTo>
                      <a:pt x="2262" y="1032"/>
                    </a:lnTo>
                    <a:lnTo>
                      <a:pt x="2262" y="1032"/>
                    </a:lnTo>
                    <a:lnTo>
                      <a:pt x="2258" y="1040"/>
                    </a:lnTo>
                    <a:lnTo>
                      <a:pt x="2257" y="1049"/>
                    </a:lnTo>
                    <a:lnTo>
                      <a:pt x="2258" y="1043"/>
                    </a:lnTo>
                    <a:lnTo>
                      <a:pt x="2257" y="1042"/>
                    </a:lnTo>
                    <a:lnTo>
                      <a:pt x="2257" y="1038"/>
                    </a:lnTo>
                    <a:lnTo>
                      <a:pt x="2255" y="1036"/>
                    </a:lnTo>
                    <a:lnTo>
                      <a:pt x="2247" y="1034"/>
                    </a:lnTo>
                    <a:lnTo>
                      <a:pt x="2243" y="1028"/>
                    </a:lnTo>
                    <a:lnTo>
                      <a:pt x="2243" y="1023"/>
                    </a:lnTo>
                    <a:lnTo>
                      <a:pt x="2238" y="1006"/>
                    </a:lnTo>
                    <a:lnTo>
                      <a:pt x="2232" y="998"/>
                    </a:lnTo>
                    <a:lnTo>
                      <a:pt x="2234" y="998"/>
                    </a:lnTo>
                    <a:lnTo>
                      <a:pt x="2238" y="998"/>
                    </a:lnTo>
                    <a:lnTo>
                      <a:pt x="2238" y="993"/>
                    </a:lnTo>
                    <a:lnTo>
                      <a:pt x="2234" y="995"/>
                    </a:lnTo>
                    <a:lnTo>
                      <a:pt x="2232" y="995"/>
                    </a:lnTo>
                    <a:lnTo>
                      <a:pt x="2225" y="993"/>
                    </a:lnTo>
                    <a:lnTo>
                      <a:pt x="2209" y="968"/>
                    </a:lnTo>
                    <a:lnTo>
                      <a:pt x="2196" y="951"/>
                    </a:lnTo>
                    <a:lnTo>
                      <a:pt x="2196" y="946"/>
                    </a:lnTo>
                    <a:lnTo>
                      <a:pt x="2193" y="940"/>
                    </a:lnTo>
                    <a:lnTo>
                      <a:pt x="2183" y="925"/>
                    </a:lnTo>
                    <a:lnTo>
                      <a:pt x="2170" y="904"/>
                    </a:lnTo>
                    <a:lnTo>
                      <a:pt x="2164" y="885"/>
                    </a:lnTo>
                    <a:lnTo>
                      <a:pt x="2164" y="878"/>
                    </a:lnTo>
                    <a:lnTo>
                      <a:pt x="2159" y="870"/>
                    </a:lnTo>
                    <a:lnTo>
                      <a:pt x="2159" y="859"/>
                    </a:lnTo>
                    <a:lnTo>
                      <a:pt x="2155" y="851"/>
                    </a:lnTo>
                    <a:lnTo>
                      <a:pt x="2155" y="844"/>
                    </a:lnTo>
                    <a:lnTo>
                      <a:pt x="2159" y="840"/>
                    </a:lnTo>
                    <a:lnTo>
                      <a:pt x="2159" y="833"/>
                    </a:lnTo>
                    <a:lnTo>
                      <a:pt x="2162" y="833"/>
                    </a:lnTo>
                    <a:lnTo>
                      <a:pt x="2161" y="829"/>
                    </a:lnTo>
                    <a:lnTo>
                      <a:pt x="2162" y="827"/>
                    </a:lnTo>
                    <a:lnTo>
                      <a:pt x="2162" y="819"/>
                    </a:lnTo>
                    <a:lnTo>
                      <a:pt x="2155" y="806"/>
                    </a:lnTo>
                    <a:lnTo>
                      <a:pt x="2149" y="806"/>
                    </a:lnTo>
                    <a:lnTo>
                      <a:pt x="2149" y="806"/>
                    </a:lnTo>
                    <a:lnTo>
                      <a:pt x="2155" y="802"/>
                    </a:lnTo>
                    <a:lnTo>
                      <a:pt x="2161" y="806"/>
                    </a:lnTo>
                    <a:lnTo>
                      <a:pt x="2166" y="800"/>
                    </a:lnTo>
                    <a:lnTo>
                      <a:pt x="2164" y="799"/>
                    </a:lnTo>
                    <a:lnTo>
                      <a:pt x="2164" y="791"/>
                    </a:lnTo>
                    <a:lnTo>
                      <a:pt x="2170" y="789"/>
                    </a:lnTo>
                    <a:lnTo>
                      <a:pt x="2176" y="791"/>
                    </a:lnTo>
                    <a:lnTo>
                      <a:pt x="2170" y="785"/>
                    </a:lnTo>
                    <a:lnTo>
                      <a:pt x="2177" y="776"/>
                    </a:lnTo>
                    <a:lnTo>
                      <a:pt x="2176" y="768"/>
                    </a:lnTo>
                    <a:lnTo>
                      <a:pt x="2176" y="761"/>
                    </a:lnTo>
                    <a:lnTo>
                      <a:pt x="2174" y="757"/>
                    </a:lnTo>
                    <a:lnTo>
                      <a:pt x="2176" y="755"/>
                    </a:lnTo>
                    <a:lnTo>
                      <a:pt x="2176" y="750"/>
                    </a:lnTo>
                    <a:lnTo>
                      <a:pt x="2176" y="748"/>
                    </a:lnTo>
                    <a:lnTo>
                      <a:pt x="2176" y="742"/>
                    </a:lnTo>
                    <a:lnTo>
                      <a:pt x="2179" y="742"/>
                    </a:lnTo>
                    <a:lnTo>
                      <a:pt x="2176" y="738"/>
                    </a:lnTo>
                    <a:lnTo>
                      <a:pt x="2176" y="735"/>
                    </a:lnTo>
                    <a:lnTo>
                      <a:pt x="2176" y="733"/>
                    </a:lnTo>
                    <a:lnTo>
                      <a:pt x="2177" y="725"/>
                    </a:lnTo>
                    <a:lnTo>
                      <a:pt x="2176" y="725"/>
                    </a:lnTo>
                    <a:lnTo>
                      <a:pt x="2176" y="721"/>
                    </a:lnTo>
                    <a:lnTo>
                      <a:pt x="2179" y="718"/>
                    </a:lnTo>
                    <a:lnTo>
                      <a:pt x="2183" y="718"/>
                    </a:lnTo>
                    <a:lnTo>
                      <a:pt x="2179" y="710"/>
                    </a:lnTo>
                    <a:lnTo>
                      <a:pt x="2183" y="703"/>
                    </a:lnTo>
                    <a:lnTo>
                      <a:pt x="2179" y="701"/>
                    </a:lnTo>
                    <a:lnTo>
                      <a:pt x="2179" y="701"/>
                    </a:lnTo>
                    <a:lnTo>
                      <a:pt x="2183" y="693"/>
                    </a:lnTo>
                    <a:lnTo>
                      <a:pt x="2183" y="687"/>
                    </a:lnTo>
                    <a:lnTo>
                      <a:pt x="2179" y="687"/>
                    </a:lnTo>
                    <a:lnTo>
                      <a:pt x="2179" y="686"/>
                    </a:lnTo>
                    <a:lnTo>
                      <a:pt x="2179" y="682"/>
                    </a:lnTo>
                    <a:lnTo>
                      <a:pt x="2179" y="678"/>
                    </a:lnTo>
                    <a:lnTo>
                      <a:pt x="2183" y="676"/>
                    </a:lnTo>
                    <a:lnTo>
                      <a:pt x="2183" y="674"/>
                    </a:lnTo>
                    <a:lnTo>
                      <a:pt x="2187" y="672"/>
                    </a:lnTo>
                    <a:lnTo>
                      <a:pt x="2189" y="669"/>
                    </a:lnTo>
                    <a:lnTo>
                      <a:pt x="2193" y="663"/>
                    </a:lnTo>
                    <a:lnTo>
                      <a:pt x="2194" y="663"/>
                    </a:lnTo>
                    <a:lnTo>
                      <a:pt x="2198" y="663"/>
                    </a:lnTo>
                    <a:lnTo>
                      <a:pt x="2200" y="663"/>
                    </a:lnTo>
                    <a:lnTo>
                      <a:pt x="2202" y="661"/>
                    </a:lnTo>
                    <a:lnTo>
                      <a:pt x="2200" y="657"/>
                    </a:lnTo>
                    <a:lnTo>
                      <a:pt x="2196" y="657"/>
                    </a:lnTo>
                    <a:lnTo>
                      <a:pt x="2194" y="657"/>
                    </a:lnTo>
                    <a:lnTo>
                      <a:pt x="2191" y="657"/>
                    </a:lnTo>
                    <a:lnTo>
                      <a:pt x="2191" y="650"/>
                    </a:lnTo>
                    <a:lnTo>
                      <a:pt x="2193" y="644"/>
                    </a:lnTo>
                    <a:lnTo>
                      <a:pt x="2193" y="642"/>
                    </a:lnTo>
                    <a:lnTo>
                      <a:pt x="2191" y="639"/>
                    </a:lnTo>
                    <a:lnTo>
                      <a:pt x="2189" y="637"/>
                    </a:lnTo>
                    <a:lnTo>
                      <a:pt x="2187" y="640"/>
                    </a:lnTo>
                    <a:lnTo>
                      <a:pt x="2185" y="640"/>
                    </a:lnTo>
                    <a:lnTo>
                      <a:pt x="2185" y="633"/>
                    </a:lnTo>
                    <a:lnTo>
                      <a:pt x="2187" y="631"/>
                    </a:lnTo>
                    <a:lnTo>
                      <a:pt x="2187" y="627"/>
                    </a:lnTo>
                    <a:lnTo>
                      <a:pt x="2185" y="623"/>
                    </a:lnTo>
                    <a:lnTo>
                      <a:pt x="2183" y="622"/>
                    </a:lnTo>
                    <a:lnTo>
                      <a:pt x="2183" y="620"/>
                    </a:lnTo>
                    <a:lnTo>
                      <a:pt x="2183" y="620"/>
                    </a:lnTo>
                    <a:lnTo>
                      <a:pt x="2183" y="618"/>
                    </a:lnTo>
                    <a:lnTo>
                      <a:pt x="2179" y="612"/>
                    </a:lnTo>
                    <a:lnTo>
                      <a:pt x="2177" y="608"/>
                    </a:lnTo>
                    <a:lnTo>
                      <a:pt x="2176" y="606"/>
                    </a:lnTo>
                    <a:lnTo>
                      <a:pt x="2176" y="603"/>
                    </a:lnTo>
                    <a:lnTo>
                      <a:pt x="2174" y="599"/>
                    </a:lnTo>
                    <a:lnTo>
                      <a:pt x="2174" y="597"/>
                    </a:lnTo>
                    <a:lnTo>
                      <a:pt x="2179" y="591"/>
                    </a:lnTo>
                    <a:lnTo>
                      <a:pt x="2183" y="593"/>
                    </a:lnTo>
                    <a:lnTo>
                      <a:pt x="2185" y="591"/>
                    </a:lnTo>
                    <a:lnTo>
                      <a:pt x="2183" y="590"/>
                    </a:lnTo>
                    <a:lnTo>
                      <a:pt x="2189" y="586"/>
                    </a:lnTo>
                    <a:lnTo>
                      <a:pt x="2187" y="588"/>
                    </a:lnTo>
                    <a:lnTo>
                      <a:pt x="2183" y="586"/>
                    </a:lnTo>
                    <a:lnTo>
                      <a:pt x="2179" y="586"/>
                    </a:lnTo>
                    <a:lnTo>
                      <a:pt x="2176" y="586"/>
                    </a:lnTo>
                    <a:lnTo>
                      <a:pt x="2170" y="582"/>
                    </a:lnTo>
                    <a:lnTo>
                      <a:pt x="2168" y="582"/>
                    </a:lnTo>
                    <a:lnTo>
                      <a:pt x="2164" y="582"/>
                    </a:lnTo>
                    <a:lnTo>
                      <a:pt x="2161" y="586"/>
                    </a:lnTo>
                    <a:lnTo>
                      <a:pt x="2159" y="586"/>
                    </a:lnTo>
                    <a:lnTo>
                      <a:pt x="2153" y="591"/>
                    </a:lnTo>
                    <a:lnTo>
                      <a:pt x="2155" y="593"/>
                    </a:lnTo>
                    <a:lnTo>
                      <a:pt x="2155" y="597"/>
                    </a:lnTo>
                    <a:lnTo>
                      <a:pt x="2159" y="599"/>
                    </a:lnTo>
                    <a:lnTo>
                      <a:pt x="2159" y="603"/>
                    </a:lnTo>
                    <a:lnTo>
                      <a:pt x="2159" y="606"/>
                    </a:lnTo>
                    <a:lnTo>
                      <a:pt x="2159" y="612"/>
                    </a:lnTo>
                    <a:lnTo>
                      <a:pt x="2161" y="612"/>
                    </a:lnTo>
                    <a:lnTo>
                      <a:pt x="2161" y="614"/>
                    </a:lnTo>
                    <a:lnTo>
                      <a:pt x="2164" y="616"/>
                    </a:lnTo>
                    <a:lnTo>
                      <a:pt x="2166" y="623"/>
                    </a:lnTo>
                    <a:lnTo>
                      <a:pt x="2170" y="627"/>
                    </a:lnTo>
                    <a:lnTo>
                      <a:pt x="2170" y="631"/>
                    </a:lnTo>
                    <a:lnTo>
                      <a:pt x="2174" y="633"/>
                    </a:lnTo>
                    <a:lnTo>
                      <a:pt x="2170" y="637"/>
                    </a:lnTo>
                    <a:lnTo>
                      <a:pt x="2170" y="633"/>
                    </a:lnTo>
                    <a:lnTo>
                      <a:pt x="2168" y="631"/>
                    </a:lnTo>
                    <a:lnTo>
                      <a:pt x="2162" y="633"/>
                    </a:lnTo>
                    <a:lnTo>
                      <a:pt x="2159" y="633"/>
                    </a:lnTo>
                    <a:lnTo>
                      <a:pt x="2159" y="639"/>
                    </a:lnTo>
                    <a:lnTo>
                      <a:pt x="2159" y="640"/>
                    </a:lnTo>
                    <a:lnTo>
                      <a:pt x="2159" y="646"/>
                    </a:lnTo>
                    <a:lnTo>
                      <a:pt x="2159" y="648"/>
                    </a:lnTo>
                    <a:lnTo>
                      <a:pt x="2159" y="650"/>
                    </a:lnTo>
                    <a:lnTo>
                      <a:pt x="2159" y="650"/>
                    </a:lnTo>
                    <a:lnTo>
                      <a:pt x="2159" y="654"/>
                    </a:lnTo>
                    <a:lnTo>
                      <a:pt x="2155" y="657"/>
                    </a:lnTo>
                    <a:lnTo>
                      <a:pt x="2159" y="657"/>
                    </a:lnTo>
                    <a:lnTo>
                      <a:pt x="2155" y="661"/>
                    </a:lnTo>
                    <a:lnTo>
                      <a:pt x="2155" y="671"/>
                    </a:lnTo>
                    <a:lnTo>
                      <a:pt x="2155" y="672"/>
                    </a:lnTo>
                    <a:lnTo>
                      <a:pt x="2155" y="674"/>
                    </a:lnTo>
                    <a:lnTo>
                      <a:pt x="2153" y="676"/>
                    </a:lnTo>
                    <a:lnTo>
                      <a:pt x="2149" y="682"/>
                    </a:lnTo>
                    <a:lnTo>
                      <a:pt x="2149" y="678"/>
                    </a:lnTo>
                    <a:lnTo>
                      <a:pt x="2145" y="674"/>
                    </a:lnTo>
                    <a:lnTo>
                      <a:pt x="2149" y="669"/>
                    </a:lnTo>
                    <a:lnTo>
                      <a:pt x="2145" y="667"/>
                    </a:lnTo>
                    <a:lnTo>
                      <a:pt x="2144" y="667"/>
                    </a:lnTo>
                    <a:lnTo>
                      <a:pt x="2140" y="671"/>
                    </a:lnTo>
                    <a:lnTo>
                      <a:pt x="2140" y="672"/>
                    </a:lnTo>
                    <a:lnTo>
                      <a:pt x="2138" y="674"/>
                    </a:lnTo>
                    <a:lnTo>
                      <a:pt x="2138" y="667"/>
                    </a:lnTo>
                    <a:lnTo>
                      <a:pt x="2134" y="667"/>
                    </a:lnTo>
                    <a:lnTo>
                      <a:pt x="2132" y="663"/>
                    </a:lnTo>
                    <a:lnTo>
                      <a:pt x="2129" y="667"/>
                    </a:lnTo>
                    <a:lnTo>
                      <a:pt x="2129" y="667"/>
                    </a:lnTo>
                    <a:lnTo>
                      <a:pt x="2129" y="663"/>
                    </a:lnTo>
                    <a:lnTo>
                      <a:pt x="2130" y="663"/>
                    </a:lnTo>
                    <a:lnTo>
                      <a:pt x="2129" y="661"/>
                    </a:lnTo>
                    <a:lnTo>
                      <a:pt x="2129" y="657"/>
                    </a:lnTo>
                    <a:lnTo>
                      <a:pt x="2130" y="657"/>
                    </a:lnTo>
                    <a:lnTo>
                      <a:pt x="2129" y="654"/>
                    </a:lnTo>
                    <a:lnTo>
                      <a:pt x="2129" y="652"/>
                    </a:lnTo>
                    <a:lnTo>
                      <a:pt x="2130" y="650"/>
                    </a:lnTo>
                    <a:lnTo>
                      <a:pt x="2129" y="646"/>
                    </a:lnTo>
                    <a:lnTo>
                      <a:pt x="2129" y="644"/>
                    </a:lnTo>
                    <a:lnTo>
                      <a:pt x="2129" y="642"/>
                    </a:lnTo>
                    <a:lnTo>
                      <a:pt x="2129" y="637"/>
                    </a:lnTo>
                    <a:lnTo>
                      <a:pt x="2125" y="637"/>
                    </a:lnTo>
                    <a:lnTo>
                      <a:pt x="2125" y="633"/>
                    </a:lnTo>
                    <a:lnTo>
                      <a:pt x="2121" y="633"/>
                    </a:lnTo>
                    <a:lnTo>
                      <a:pt x="2121" y="637"/>
                    </a:lnTo>
                    <a:lnTo>
                      <a:pt x="2119" y="637"/>
                    </a:lnTo>
                    <a:lnTo>
                      <a:pt x="2119" y="642"/>
                    </a:lnTo>
                    <a:lnTo>
                      <a:pt x="2117" y="646"/>
                    </a:lnTo>
                    <a:lnTo>
                      <a:pt x="2115" y="646"/>
                    </a:lnTo>
                    <a:lnTo>
                      <a:pt x="2113" y="640"/>
                    </a:lnTo>
                    <a:lnTo>
                      <a:pt x="2112" y="640"/>
                    </a:lnTo>
                    <a:lnTo>
                      <a:pt x="2110" y="642"/>
                    </a:lnTo>
                    <a:lnTo>
                      <a:pt x="2110" y="639"/>
                    </a:lnTo>
                    <a:lnTo>
                      <a:pt x="2104" y="639"/>
                    </a:lnTo>
                    <a:lnTo>
                      <a:pt x="2104" y="640"/>
                    </a:lnTo>
                    <a:lnTo>
                      <a:pt x="2100" y="640"/>
                    </a:lnTo>
                    <a:lnTo>
                      <a:pt x="2100" y="644"/>
                    </a:lnTo>
                    <a:lnTo>
                      <a:pt x="2097" y="644"/>
                    </a:lnTo>
                    <a:lnTo>
                      <a:pt x="2097" y="646"/>
                    </a:lnTo>
                    <a:lnTo>
                      <a:pt x="2091" y="646"/>
                    </a:lnTo>
                    <a:lnTo>
                      <a:pt x="2089" y="650"/>
                    </a:lnTo>
                    <a:lnTo>
                      <a:pt x="2087" y="648"/>
                    </a:lnTo>
                    <a:lnTo>
                      <a:pt x="2085" y="650"/>
                    </a:lnTo>
                    <a:lnTo>
                      <a:pt x="2080" y="650"/>
                    </a:lnTo>
                    <a:lnTo>
                      <a:pt x="2076" y="657"/>
                    </a:lnTo>
                    <a:lnTo>
                      <a:pt x="2072" y="657"/>
                    </a:lnTo>
                    <a:lnTo>
                      <a:pt x="2074" y="663"/>
                    </a:lnTo>
                    <a:lnTo>
                      <a:pt x="2070" y="667"/>
                    </a:lnTo>
                    <a:lnTo>
                      <a:pt x="2070" y="667"/>
                    </a:lnTo>
                    <a:lnTo>
                      <a:pt x="2072" y="669"/>
                    </a:lnTo>
                    <a:lnTo>
                      <a:pt x="2074" y="672"/>
                    </a:lnTo>
                    <a:lnTo>
                      <a:pt x="2078" y="678"/>
                    </a:lnTo>
                    <a:lnTo>
                      <a:pt x="2074" y="682"/>
                    </a:lnTo>
                    <a:lnTo>
                      <a:pt x="2072" y="693"/>
                    </a:lnTo>
                    <a:lnTo>
                      <a:pt x="2078" y="701"/>
                    </a:lnTo>
                    <a:lnTo>
                      <a:pt x="2072" y="701"/>
                    </a:lnTo>
                    <a:lnTo>
                      <a:pt x="2074" y="701"/>
                    </a:lnTo>
                    <a:lnTo>
                      <a:pt x="2074" y="706"/>
                    </a:lnTo>
                    <a:lnTo>
                      <a:pt x="2070" y="710"/>
                    </a:lnTo>
                    <a:lnTo>
                      <a:pt x="2070" y="716"/>
                    </a:lnTo>
                    <a:lnTo>
                      <a:pt x="2066" y="718"/>
                    </a:lnTo>
                    <a:lnTo>
                      <a:pt x="2066" y="721"/>
                    </a:lnTo>
                    <a:lnTo>
                      <a:pt x="2066" y="731"/>
                    </a:lnTo>
                    <a:lnTo>
                      <a:pt x="2070" y="735"/>
                    </a:lnTo>
                    <a:lnTo>
                      <a:pt x="2066" y="736"/>
                    </a:lnTo>
                    <a:lnTo>
                      <a:pt x="2070" y="744"/>
                    </a:lnTo>
                    <a:lnTo>
                      <a:pt x="2070" y="744"/>
                    </a:lnTo>
                    <a:lnTo>
                      <a:pt x="2070" y="748"/>
                    </a:lnTo>
                    <a:lnTo>
                      <a:pt x="2070" y="750"/>
                    </a:lnTo>
                    <a:lnTo>
                      <a:pt x="2072" y="748"/>
                    </a:lnTo>
                    <a:lnTo>
                      <a:pt x="2076" y="748"/>
                    </a:lnTo>
                    <a:lnTo>
                      <a:pt x="2076" y="746"/>
                    </a:lnTo>
                    <a:lnTo>
                      <a:pt x="2078" y="746"/>
                    </a:lnTo>
                    <a:lnTo>
                      <a:pt x="2080" y="748"/>
                    </a:lnTo>
                    <a:lnTo>
                      <a:pt x="2083" y="748"/>
                    </a:lnTo>
                    <a:lnTo>
                      <a:pt x="2081" y="746"/>
                    </a:lnTo>
                    <a:lnTo>
                      <a:pt x="2083" y="744"/>
                    </a:lnTo>
                    <a:lnTo>
                      <a:pt x="2085" y="746"/>
                    </a:lnTo>
                    <a:lnTo>
                      <a:pt x="2089" y="748"/>
                    </a:lnTo>
                    <a:lnTo>
                      <a:pt x="2089" y="750"/>
                    </a:lnTo>
                    <a:lnTo>
                      <a:pt x="2089" y="752"/>
                    </a:lnTo>
                    <a:lnTo>
                      <a:pt x="2091" y="755"/>
                    </a:lnTo>
                    <a:lnTo>
                      <a:pt x="2091" y="755"/>
                    </a:lnTo>
                    <a:lnTo>
                      <a:pt x="2089" y="755"/>
                    </a:lnTo>
                    <a:lnTo>
                      <a:pt x="2087" y="757"/>
                    </a:lnTo>
                    <a:lnTo>
                      <a:pt x="2083" y="755"/>
                    </a:lnTo>
                    <a:lnTo>
                      <a:pt x="2080" y="757"/>
                    </a:lnTo>
                    <a:lnTo>
                      <a:pt x="2080" y="759"/>
                    </a:lnTo>
                    <a:lnTo>
                      <a:pt x="2081" y="761"/>
                    </a:lnTo>
                    <a:lnTo>
                      <a:pt x="2078" y="767"/>
                    </a:lnTo>
                    <a:lnTo>
                      <a:pt x="2074" y="765"/>
                    </a:lnTo>
                    <a:lnTo>
                      <a:pt x="2074" y="761"/>
                    </a:lnTo>
                    <a:lnTo>
                      <a:pt x="2072" y="759"/>
                    </a:lnTo>
                    <a:lnTo>
                      <a:pt x="2070" y="761"/>
                    </a:lnTo>
                    <a:lnTo>
                      <a:pt x="2066" y="759"/>
                    </a:lnTo>
                    <a:lnTo>
                      <a:pt x="2066" y="761"/>
                    </a:lnTo>
                    <a:lnTo>
                      <a:pt x="2066" y="763"/>
                    </a:lnTo>
                    <a:lnTo>
                      <a:pt x="2066" y="767"/>
                    </a:lnTo>
                    <a:lnTo>
                      <a:pt x="2065" y="767"/>
                    </a:lnTo>
                    <a:lnTo>
                      <a:pt x="2063" y="768"/>
                    </a:lnTo>
                    <a:lnTo>
                      <a:pt x="2061" y="770"/>
                    </a:lnTo>
                    <a:lnTo>
                      <a:pt x="2063" y="772"/>
                    </a:lnTo>
                    <a:lnTo>
                      <a:pt x="2061" y="776"/>
                    </a:lnTo>
                    <a:lnTo>
                      <a:pt x="2059" y="774"/>
                    </a:lnTo>
                    <a:lnTo>
                      <a:pt x="2053" y="770"/>
                    </a:lnTo>
                    <a:lnTo>
                      <a:pt x="2051" y="770"/>
                    </a:lnTo>
                    <a:lnTo>
                      <a:pt x="2053" y="774"/>
                    </a:lnTo>
                    <a:lnTo>
                      <a:pt x="2049" y="776"/>
                    </a:lnTo>
                    <a:lnTo>
                      <a:pt x="2051" y="776"/>
                    </a:lnTo>
                    <a:lnTo>
                      <a:pt x="2048" y="780"/>
                    </a:lnTo>
                    <a:lnTo>
                      <a:pt x="2042" y="782"/>
                    </a:lnTo>
                    <a:lnTo>
                      <a:pt x="2042" y="782"/>
                    </a:lnTo>
                    <a:lnTo>
                      <a:pt x="2036" y="776"/>
                    </a:lnTo>
                    <a:lnTo>
                      <a:pt x="2034" y="776"/>
                    </a:lnTo>
                    <a:lnTo>
                      <a:pt x="2033" y="776"/>
                    </a:lnTo>
                    <a:lnTo>
                      <a:pt x="2033" y="774"/>
                    </a:lnTo>
                    <a:lnTo>
                      <a:pt x="2036" y="774"/>
                    </a:lnTo>
                    <a:lnTo>
                      <a:pt x="2036" y="770"/>
                    </a:lnTo>
                    <a:lnTo>
                      <a:pt x="2036" y="768"/>
                    </a:lnTo>
                    <a:lnTo>
                      <a:pt x="2042" y="768"/>
                    </a:lnTo>
                    <a:lnTo>
                      <a:pt x="2049" y="763"/>
                    </a:lnTo>
                    <a:lnTo>
                      <a:pt x="2048" y="761"/>
                    </a:lnTo>
                    <a:lnTo>
                      <a:pt x="2046" y="761"/>
                    </a:lnTo>
                    <a:lnTo>
                      <a:pt x="2042" y="763"/>
                    </a:lnTo>
                    <a:lnTo>
                      <a:pt x="2036" y="763"/>
                    </a:lnTo>
                    <a:lnTo>
                      <a:pt x="2036" y="761"/>
                    </a:lnTo>
                    <a:lnTo>
                      <a:pt x="2034" y="757"/>
                    </a:lnTo>
                    <a:lnTo>
                      <a:pt x="2031" y="757"/>
                    </a:lnTo>
                    <a:lnTo>
                      <a:pt x="2025" y="757"/>
                    </a:lnTo>
                    <a:lnTo>
                      <a:pt x="2019" y="757"/>
                    </a:lnTo>
                    <a:lnTo>
                      <a:pt x="2021" y="759"/>
                    </a:lnTo>
                    <a:lnTo>
                      <a:pt x="2017" y="761"/>
                    </a:lnTo>
                    <a:lnTo>
                      <a:pt x="2016" y="759"/>
                    </a:lnTo>
                    <a:lnTo>
                      <a:pt x="2016" y="757"/>
                    </a:lnTo>
                    <a:lnTo>
                      <a:pt x="2012" y="757"/>
                    </a:lnTo>
                    <a:lnTo>
                      <a:pt x="2006" y="755"/>
                    </a:lnTo>
                    <a:lnTo>
                      <a:pt x="2002" y="757"/>
                    </a:lnTo>
                    <a:lnTo>
                      <a:pt x="1999" y="755"/>
                    </a:lnTo>
                    <a:lnTo>
                      <a:pt x="1993" y="755"/>
                    </a:lnTo>
                    <a:lnTo>
                      <a:pt x="1991" y="761"/>
                    </a:lnTo>
                    <a:lnTo>
                      <a:pt x="1987" y="761"/>
                    </a:lnTo>
                    <a:lnTo>
                      <a:pt x="1987" y="763"/>
                    </a:lnTo>
                    <a:lnTo>
                      <a:pt x="1991" y="767"/>
                    </a:lnTo>
                    <a:lnTo>
                      <a:pt x="1987" y="768"/>
                    </a:lnTo>
                    <a:lnTo>
                      <a:pt x="1987" y="767"/>
                    </a:lnTo>
                    <a:lnTo>
                      <a:pt x="1984" y="770"/>
                    </a:lnTo>
                    <a:lnTo>
                      <a:pt x="1987" y="772"/>
                    </a:lnTo>
                    <a:lnTo>
                      <a:pt x="1987" y="772"/>
                    </a:lnTo>
                    <a:lnTo>
                      <a:pt x="1991" y="772"/>
                    </a:lnTo>
                    <a:lnTo>
                      <a:pt x="1991" y="776"/>
                    </a:lnTo>
                    <a:lnTo>
                      <a:pt x="1984" y="780"/>
                    </a:lnTo>
                    <a:lnTo>
                      <a:pt x="1982" y="776"/>
                    </a:lnTo>
                    <a:lnTo>
                      <a:pt x="1976" y="776"/>
                    </a:lnTo>
                    <a:lnTo>
                      <a:pt x="1974" y="776"/>
                    </a:lnTo>
                    <a:lnTo>
                      <a:pt x="1974" y="780"/>
                    </a:lnTo>
                    <a:lnTo>
                      <a:pt x="1972" y="780"/>
                    </a:lnTo>
                    <a:lnTo>
                      <a:pt x="1969" y="782"/>
                    </a:lnTo>
                    <a:lnTo>
                      <a:pt x="1967" y="782"/>
                    </a:lnTo>
                    <a:lnTo>
                      <a:pt x="1967" y="780"/>
                    </a:lnTo>
                    <a:lnTo>
                      <a:pt x="1957" y="780"/>
                    </a:lnTo>
                    <a:lnTo>
                      <a:pt x="1957" y="782"/>
                    </a:lnTo>
                    <a:lnTo>
                      <a:pt x="1950" y="780"/>
                    </a:lnTo>
                    <a:lnTo>
                      <a:pt x="1944" y="782"/>
                    </a:lnTo>
                    <a:lnTo>
                      <a:pt x="1944" y="782"/>
                    </a:lnTo>
                    <a:lnTo>
                      <a:pt x="1950" y="787"/>
                    </a:lnTo>
                    <a:lnTo>
                      <a:pt x="1948" y="789"/>
                    </a:lnTo>
                    <a:lnTo>
                      <a:pt x="1944" y="793"/>
                    </a:lnTo>
                    <a:lnTo>
                      <a:pt x="1942" y="789"/>
                    </a:lnTo>
                    <a:lnTo>
                      <a:pt x="1938" y="789"/>
                    </a:lnTo>
                    <a:lnTo>
                      <a:pt x="1940" y="785"/>
                    </a:lnTo>
                    <a:lnTo>
                      <a:pt x="1937" y="782"/>
                    </a:lnTo>
                    <a:lnTo>
                      <a:pt x="1935" y="785"/>
                    </a:lnTo>
                    <a:lnTo>
                      <a:pt x="1933" y="785"/>
                    </a:lnTo>
                    <a:lnTo>
                      <a:pt x="1929" y="785"/>
                    </a:lnTo>
                    <a:lnTo>
                      <a:pt x="1923" y="789"/>
                    </a:lnTo>
                    <a:lnTo>
                      <a:pt x="1921" y="787"/>
                    </a:lnTo>
                    <a:lnTo>
                      <a:pt x="1916" y="791"/>
                    </a:lnTo>
                    <a:lnTo>
                      <a:pt x="1910" y="793"/>
                    </a:lnTo>
                    <a:lnTo>
                      <a:pt x="1903" y="797"/>
                    </a:lnTo>
                    <a:lnTo>
                      <a:pt x="1899" y="799"/>
                    </a:lnTo>
                    <a:lnTo>
                      <a:pt x="1899" y="795"/>
                    </a:lnTo>
                    <a:lnTo>
                      <a:pt x="1895" y="797"/>
                    </a:lnTo>
                    <a:lnTo>
                      <a:pt x="1895" y="800"/>
                    </a:lnTo>
                    <a:lnTo>
                      <a:pt x="1888" y="804"/>
                    </a:lnTo>
                    <a:lnTo>
                      <a:pt x="1888" y="810"/>
                    </a:lnTo>
                    <a:lnTo>
                      <a:pt x="1884" y="810"/>
                    </a:lnTo>
                    <a:lnTo>
                      <a:pt x="1882" y="816"/>
                    </a:lnTo>
                    <a:lnTo>
                      <a:pt x="1888" y="823"/>
                    </a:lnTo>
                    <a:lnTo>
                      <a:pt x="1886" y="831"/>
                    </a:lnTo>
                    <a:lnTo>
                      <a:pt x="1880" y="838"/>
                    </a:lnTo>
                    <a:lnTo>
                      <a:pt x="1878" y="844"/>
                    </a:lnTo>
                    <a:lnTo>
                      <a:pt x="1878" y="846"/>
                    </a:lnTo>
                    <a:lnTo>
                      <a:pt x="1878" y="855"/>
                    </a:lnTo>
                    <a:lnTo>
                      <a:pt x="1880" y="857"/>
                    </a:lnTo>
                    <a:lnTo>
                      <a:pt x="1880" y="861"/>
                    </a:lnTo>
                    <a:lnTo>
                      <a:pt x="1878" y="861"/>
                    </a:lnTo>
                    <a:lnTo>
                      <a:pt x="1878" y="863"/>
                    </a:lnTo>
                    <a:lnTo>
                      <a:pt x="1878" y="868"/>
                    </a:lnTo>
                    <a:lnTo>
                      <a:pt x="1874" y="868"/>
                    </a:lnTo>
                    <a:lnTo>
                      <a:pt x="1878" y="874"/>
                    </a:lnTo>
                    <a:lnTo>
                      <a:pt x="1874" y="878"/>
                    </a:lnTo>
                    <a:lnTo>
                      <a:pt x="1873" y="881"/>
                    </a:lnTo>
                    <a:lnTo>
                      <a:pt x="1869" y="889"/>
                    </a:lnTo>
                    <a:lnTo>
                      <a:pt x="1869" y="893"/>
                    </a:lnTo>
                    <a:lnTo>
                      <a:pt x="1865" y="895"/>
                    </a:lnTo>
                    <a:lnTo>
                      <a:pt x="1865" y="900"/>
                    </a:lnTo>
                    <a:lnTo>
                      <a:pt x="1863" y="900"/>
                    </a:lnTo>
                    <a:lnTo>
                      <a:pt x="1861" y="910"/>
                    </a:lnTo>
                    <a:lnTo>
                      <a:pt x="1861" y="917"/>
                    </a:lnTo>
                    <a:lnTo>
                      <a:pt x="1859" y="919"/>
                    </a:lnTo>
                    <a:lnTo>
                      <a:pt x="1861" y="923"/>
                    </a:lnTo>
                    <a:lnTo>
                      <a:pt x="1859" y="929"/>
                    </a:lnTo>
                    <a:lnTo>
                      <a:pt x="1857" y="932"/>
                    </a:lnTo>
                    <a:lnTo>
                      <a:pt x="1854" y="938"/>
                    </a:lnTo>
                    <a:lnTo>
                      <a:pt x="1854" y="938"/>
                    </a:lnTo>
                    <a:lnTo>
                      <a:pt x="1854" y="938"/>
                    </a:lnTo>
                    <a:lnTo>
                      <a:pt x="1854" y="944"/>
                    </a:lnTo>
                    <a:lnTo>
                      <a:pt x="1848" y="949"/>
                    </a:lnTo>
                    <a:lnTo>
                      <a:pt x="1848" y="955"/>
                    </a:lnTo>
                    <a:lnTo>
                      <a:pt x="1841" y="959"/>
                    </a:lnTo>
                    <a:lnTo>
                      <a:pt x="1841" y="964"/>
                    </a:lnTo>
                    <a:lnTo>
                      <a:pt x="1839" y="968"/>
                    </a:lnTo>
                    <a:lnTo>
                      <a:pt x="1839" y="972"/>
                    </a:lnTo>
                    <a:lnTo>
                      <a:pt x="1835" y="976"/>
                    </a:lnTo>
                    <a:lnTo>
                      <a:pt x="1839" y="979"/>
                    </a:lnTo>
                    <a:lnTo>
                      <a:pt x="1841" y="981"/>
                    </a:lnTo>
                    <a:lnTo>
                      <a:pt x="1844" y="979"/>
                    </a:lnTo>
                    <a:lnTo>
                      <a:pt x="1848" y="983"/>
                    </a:lnTo>
                    <a:lnTo>
                      <a:pt x="1850" y="983"/>
                    </a:lnTo>
                    <a:lnTo>
                      <a:pt x="1856" y="979"/>
                    </a:lnTo>
                    <a:lnTo>
                      <a:pt x="1859" y="979"/>
                    </a:lnTo>
                    <a:lnTo>
                      <a:pt x="1861" y="976"/>
                    </a:lnTo>
                    <a:lnTo>
                      <a:pt x="1863" y="978"/>
                    </a:lnTo>
                    <a:lnTo>
                      <a:pt x="1869" y="976"/>
                    </a:lnTo>
                    <a:lnTo>
                      <a:pt x="1869" y="985"/>
                    </a:lnTo>
                    <a:lnTo>
                      <a:pt x="1873" y="993"/>
                    </a:lnTo>
                    <a:lnTo>
                      <a:pt x="1874" y="998"/>
                    </a:lnTo>
                    <a:lnTo>
                      <a:pt x="1873" y="1002"/>
                    </a:lnTo>
                    <a:lnTo>
                      <a:pt x="1878" y="1006"/>
                    </a:lnTo>
                    <a:lnTo>
                      <a:pt x="1880" y="1002"/>
                    </a:lnTo>
                    <a:lnTo>
                      <a:pt x="1880" y="1002"/>
                    </a:lnTo>
                    <a:lnTo>
                      <a:pt x="1882" y="1002"/>
                    </a:lnTo>
                    <a:lnTo>
                      <a:pt x="1884" y="998"/>
                    </a:lnTo>
                    <a:lnTo>
                      <a:pt x="1888" y="998"/>
                    </a:lnTo>
                    <a:lnTo>
                      <a:pt x="1888" y="998"/>
                    </a:lnTo>
                    <a:lnTo>
                      <a:pt x="1891" y="998"/>
                    </a:lnTo>
                    <a:lnTo>
                      <a:pt x="1895" y="998"/>
                    </a:lnTo>
                    <a:lnTo>
                      <a:pt x="1893" y="998"/>
                    </a:lnTo>
                    <a:lnTo>
                      <a:pt x="1891" y="1002"/>
                    </a:lnTo>
                    <a:lnTo>
                      <a:pt x="1891" y="1006"/>
                    </a:lnTo>
                    <a:lnTo>
                      <a:pt x="1889" y="1006"/>
                    </a:lnTo>
                    <a:lnTo>
                      <a:pt x="1888" y="1010"/>
                    </a:lnTo>
                    <a:lnTo>
                      <a:pt x="1888" y="1011"/>
                    </a:lnTo>
                    <a:lnTo>
                      <a:pt x="1897" y="1010"/>
                    </a:lnTo>
                    <a:lnTo>
                      <a:pt x="1899" y="1008"/>
                    </a:lnTo>
                    <a:lnTo>
                      <a:pt x="1903" y="1002"/>
                    </a:lnTo>
                    <a:lnTo>
                      <a:pt x="1903" y="998"/>
                    </a:lnTo>
                    <a:lnTo>
                      <a:pt x="1903" y="995"/>
                    </a:lnTo>
                    <a:lnTo>
                      <a:pt x="1905" y="1002"/>
                    </a:lnTo>
                    <a:lnTo>
                      <a:pt x="1903" y="1006"/>
                    </a:lnTo>
                    <a:lnTo>
                      <a:pt x="1905" y="1010"/>
                    </a:lnTo>
                    <a:lnTo>
                      <a:pt x="1908" y="1008"/>
                    </a:lnTo>
                    <a:lnTo>
                      <a:pt x="1908" y="1002"/>
                    </a:lnTo>
                    <a:lnTo>
                      <a:pt x="1908" y="998"/>
                    </a:lnTo>
                    <a:lnTo>
                      <a:pt x="1908" y="993"/>
                    </a:lnTo>
                    <a:lnTo>
                      <a:pt x="1905" y="989"/>
                    </a:lnTo>
                    <a:lnTo>
                      <a:pt x="1903" y="985"/>
                    </a:lnTo>
                    <a:lnTo>
                      <a:pt x="1908" y="985"/>
                    </a:lnTo>
                    <a:lnTo>
                      <a:pt x="1910" y="987"/>
                    </a:lnTo>
                    <a:lnTo>
                      <a:pt x="1910" y="989"/>
                    </a:lnTo>
                    <a:lnTo>
                      <a:pt x="1910" y="989"/>
                    </a:lnTo>
                    <a:lnTo>
                      <a:pt x="1912" y="989"/>
                    </a:lnTo>
                    <a:lnTo>
                      <a:pt x="1914" y="987"/>
                    </a:lnTo>
                    <a:lnTo>
                      <a:pt x="1918" y="987"/>
                    </a:lnTo>
                    <a:lnTo>
                      <a:pt x="1923" y="983"/>
                    </a:lnTo>
                    <a:lnTo>
                      <a:pt x="1927" y="987"/>
                    </a:lnTo>
                    <a:lnTo>
                      <a:pt x="1933" y="987"/>
                    </a:lnTo>
                    <a:lnTo>
                      <a:pt x="1933" y="989"/>
                    </a:lnTo>
                    <a:lnTo>
                      <a:pt x="1935" y="993"/>
                    </a:lnTo>
                    <a:lnTo>
                      <a:pt x="1938" y="995"/>
                    </a:lnTo>
                    <a:lnTo>
                      <a:pt x="1942" y="995"/>
                    </a:lnTo>
                    <a:lnTo>
                      <a:pt x="1944" y="998"/>
                    </a:lnTo>
                    <a:lnTo>
                      <a:pt x="1953" y="1002"/>
                    </a:lnTo>
                    <a:lnTo>
                      <a:pt x="1953" y="1004"/>
                    </a:lnTo>
                    <a:lnTo>
                      <a:pt x="1957" y="1004"/>
                    </a:lnTo>
                    <a:lnTo>
                      <a:pt x="1959" y="1008"/>
                    </a:lnTo>
                    <a:lnTo>
                      <a:pt x="1961" y="1008"/>
                    </a:lnTo>
                    <a:lnTo>
                      <a:pt x="1967" y="1013"/>
                    </a:lnTo>
                    <a:lnTo>
                      <a:pt x="1963" y="1017"/>
                    </a:lnTo>
                    <a:lnTo>
                      <a:pt x="1961" y="1019"/>
                    </a:lnTo>
                    <a:lnTo>
                      <a:pt x="1959" y="1019"/>
                    </a:lnTo>
                    <a:lnTo>
                      <a:pt x="1963" y="1027"/>
                    </a:lnTo>
                    <a:lnTo>
                      <a:pt x="1967" y="1027"/>
                    </a:lnTo>
                    <a:lnTo>
                      <a:pt x="1970" y="1032"/>
                    </a:lnTo>
                    <a:lnTo>
                      <a:pt x="1970" y="1034"/>
                    </a:lnTo>
                    <a:lnTo>
                      <a:pt x="1969" y="1038"/>
                    </a:lnTo>
                    <a:lnTo>
                      <a:pt x="1969" y="1042"/>
                    </a:lnTo>
                    <a:lnTo>
                      <a:pt x="1972" y="1043"/>
                    </a:lnTo>
                    <a:lnTo>
                      <a:pt x="1976" y="1043"/>
                    </a:lnTo>
                    <a:lnTo>
                      <a:pt x="1978" y="1043"/>
                    </a:lnTo>
                    <a:lnTo>
                      <a:pt x="1978" y="1047"/>
                    </a:lnTo>
                    <a:lnTo>
                      <a:pt x="1978" y="1049"/>
                    </a:lnTo>
                    <a:lnTo>
                      <a:pt x="1978" y="1053"/>
                    </a:lnTo>
                    <a:lnTo>
                      <a:pt x="1982" y="1057"/>
                    </a:lnTo>
                    <a:lnTo>
                      <a:pt x="1978" y="1057"/>
                    </a:lnTo>
                    <a:lnTo>
                      <a:pt x="1978" y="1060"/>
                    </a:lnTo>
                    <a:lnTo>
                      <a:pt x="1978" y="1062"/>
                    </a:lnTo>
                    <a:lnTo>
                      <a:pt x="1978" y="1068"/>
                    </a:lnTo>
                    <a:lnTo>
                      <a:pt x="1978" y="1068"/>
                    </a:lnTo>
                    <a:lnTo>
                      <a:pt x="1978" y="1072"/>
                    </a:lnTo>
                    <a:lnTo>
                      <a:pt x="1978" y="1074"/>
                    </a:lnTo>
                    <a:lnTo>
                      <a:pt x="1982" y="1074"/>
                    </a:lnTo>
                    <a:lnTo>
                      <a:pt x="1978" y="1077"/>
                    </a:lnTo>
                    <a:lnTo>
                      <a:pt x="1982" y="1087"/>
                    </a:lnTo>
                    <a:lnTo>
                      <a:pt x="1978" y="1087"/>
                    </a:lnTo>
                    <a:lnTo>
                      <a:pt x="1982" y="1094"/>
                    </a:lnTo>
                    <a:lnTo>
                      <a:pt x="1982" y="1098"/>
                    </a:lnTo>
                    <a:lnTo>
                      <a:pt x="1982" y="1102"/>
                    </a:lnTo>
                    <a:lnTo>
                      <a:pt x="1984" y="1111"/>
                    </a:lnTo>
                    <a:lnTo>
                      <a:pt x="1987" y="1113"/>
                    </a:lnTo>
                    <a:lnTo>
                      <a:pt x="1991" y="1111"/>
                    </a:lnTo>
                    <a:lnTo>
                      <a:pt x="1991" y="1111"/>
                    </a:lnTo>
                    <a:lnTo>
                      <a:pt x="1987" y="1117"/>
                    </a:lnTo>
                    <a:lnTo>
                      <a:pt x="1987" y="1121"/>
                    </a:lnTo>
                    <a:lnTo>
                      <a:pt x="1987" y="1123"/>
                    </a:lnTo>
                    <a:lnTo>
                      <a:pt x="1991" y="1123"/>
                    </a:lnTo>
                    <a:lnTo>
                      <a:pt x="1995" y="1128"/>
                    </a:lnTo>
                    <a:lnTo>
                      <a:pt x="1995" y="1136"/>
                    </a:lnTo>
                    <a:lnTo>
                      <a:pt x="1997" y="1138"/>
                    </a:lnTo>
                    <a:lnTo>
                      <a:pt x="1995" y="1141"/>
                    </a:lnTo>
                    <a:lnTo>
                      <a:pt x="1997" y="1151"/>
                    </a:lnTo>
                    <a:lnTo>
                      <a:pt x="2001" y="1151"/>
                    </a:lnTo>
                    <a:lnTo>
                      <a:pt x="2001" y="1153"/>
                    </a:lnTo>
                    <a:lnTo>
                      <a:pt x="1999" y="1155"/>
                    </a:lnTo>
                    <a:lnTo>
                      <a:pt x="1999" y="1160"/>
                    </a:lnTo>
                    <a:lnTo>
                      <a:pt x="2001" y="1162"/>
                    </a:lnTo>
                    <a:lnTo>
                      <a:pt x="2001" y="1170"/>
                    </a:lnTo>
                    <a:lnTo>
                      <a:pt x="1995" y="1175"/>
                    </a:lnTo>
                    <a:lnTo>
                      <a:pt x="1995" y="1179"/>
                    </a:lnTo>
                    <a:lnTo>
                      <a:pt x="1993" y="1185"/>
                    </a:lnTo>
                    <a:lnTo>
                      <a:pt x="1993" y="1192"/>
                    </a:lnTo>
                    <a:lnTo>
                      <a:pt x="1995" y="1192"/>
                    </a:lnTo>
                    <a:lnTo>
                      <a:pt x="1993" y="1196"/>
                    </a:lnTo>
                    <a:lnTo>
                      <a:pt x="1991" y="1202"/>
                    </a:lnTo>
                    <a:lnTo>
                      <a:pt x="1991" y="1205"/>
                    </a:lnTo>
                    <a:lnTo>
                      <a:pt x="1987" y="1211"/>
                    </a:lnTo>
                    <a:lnTo>
                      <a:pt x="1991" y="1211"/>
                    </a:lnTo>
                    <a:lnTo>
                      <a:pt x="1991" y="1215"/>
                    </a:lnTo>
                    <a:lnTo>
                      <a:pt x="1987" y="1219"/>
                    </a:lnTo>
                    <a:lnTo>
                      <a:pt x="1987" y="1226"/>
                    </a:lnTo>
                    <a:lnTo>
                      <a:pt x="1984" y="1230"/>
                    </a:lnTo>
                    <a:lnTo>
                      <a:pt x="1987" y="1236"/>
                    </a:lnTo>
                    <a:lnTo>
                      <a:pt x="1987" y="1236"/>
                    </a:lnTo>
                    <a:lnTo>
                      <a:pt x="1987" y="1239"/>
                    </a:lnTo>
                    <a:lnTo>
                      <a:pt x="1984" y="1245"/>
                    </a:lnTo>
                    <a:lnTo>
                      <a:pt x="1984" y="1251"/>
                    </a:lnTo>
                    <a:lnTo>
                      <a:pt x="1978" y="1254"/>
                    </a:lnTo>
                    <a:lnTo>
                      <a:pt x="1978" y="1258"/>
                    </a:lnTo>
                    <a:lnTo>
                      <a:pt x="1974" y="1260"/>
                    </a:lnTo>
                    <a:lnTo>
                      <a:pt x="1970" y="1277"/>
                    </a:lnTo>
                    <a:lnTo>
                      <a:pt x="1969" y="1279"/>
                    </a:lnTo>
                    <a:lnTo>
                      <a:pt x="1969" y="1285"/>
                    </a:lnTo>
                    <a:lnTo>
                      <a:pt x="1970" y="1285"/>
                    </a:lnTo>
                    <a:lnTo>
                      <a:pt x="1969" y="1286"/>
                    </a:lnTo>
                    <a:lnTo>
                      <a:pt x="1963" y="1290"/>
                    </a:lnTo>
                    <a:lnTo>
                      <a:pt x="1963" y="1294"/>
                    </a:lnTo>
                    <a:lnTo>
                      <a:pt x="1959" y="1294"/>
                    </a:lnTo>
                    <a:lnTo>
                      <a:pt x="1961" y="1302"/>
                    </a:lnTo>
                    <a:lnTo>
                      <a:pt x="1957" y="1302"/>
                    </a:lnTo>
                    <a:lnTo>
                      <a:pt x="1959" y="1305"/>
                    </a:lnTo>
                    <a:lnTo>
                      <a:pt x="1957" y="1311"/>
                    </a:lnTo>
                    <a:lnTo>
                      <a:pt x="1957" y="1311"/>
                    </a:lnTo>
                    <a:lnTo>
                      <a:pt x="1953" y="1309"/>
                    </a:lnTo>
                    <a:lnTo>
                      <a:pt x="1953" y="1315"/>
                    </a:lnTo>
                    <a:lnTo>
                      <a:pt x="1953" y="1318"/>
                    </a:lnTo>
                    <a:lnTo>
                      <a:pt x="1952" y="1320"/>
                    </a:lnTo>
                    <a:lnTo>
                      <a:pt x="1952" y="1320"/>
                    </a:lnTo>
                    <a:lnTo>
                      <a:pt x="1946" y="1330"/>
                    </a:lnTo>
                    <a:lnTo>
                      <a:pt x="1942" y="1334"/>
                    </a:lnTo>
                    <a:lnTo>
                      <a:pt x="1940" y="1334"/>
                    </a:lnTo>
                    <a:lnTo>
                      <a:pt x="1938" y="1337"/>
                    </a:lnTo>
                    <a:lnTo>
                      <a:pt x="1933" y="1337"/>
                    </a:lnTo>
                    <a:lnTo>
                      <a:pt x="1929" y="1343"/>
                    </a:lnTo>
                    <a:lnTo>
                      <a:pt x="1929" y="1339"/>
                    </a:lnTo>
                    <a:lnTo>
                      <a:pt x="1927" y="1343"/>
                    </a:lnTo>
                    <a:lnTo>
                      <a:pt x="1920" y="1337"/>
                    </a:lnTo>
                    <a:lnTo>
                      <a:pt x="1914" y="1337"/>
                    </a:lnTo>
                    <a:lnTo>
                      <a:pt x="1914" y="1330"/>
                    </a:lnTo>
                    <a:lnTo>
                      <a:pt x="1912" y="1328"/>
                    </a:lnTo>
                    <a:lnTo>
                      <a:pt x="1908" y="1330"/>
                    </a:lnTo>
                    <a:lnTo>
                      <a:pt x="1903" y="1328"/>
                    </a:lnTo>
                    <a:lnTo>
                      <a:pt x="1903" y="1330"/>
                    </a:lnTo>
                    <a:lnTo>
                      <a:pt x="1903" y="1334"/>
                    </a:lnTo>
                    <a:lnTo>
                      <a:pt x="1899" y="1335"/>
                    </a:lnTo>
                    <a:lnTo>
                      <a:pt x="1899" y="1343"/>
                    </a:lnTo>
                    <a:lnTo>
                      <a:pt x="1897" y="1345"/>
                    </a:lnTo>
                    <a:lnTo>
                      <a:pt x="1895" y="1351"/>
                    </a:lnTo>
                    <a:lnTo>
                      <a:pt x="1893" y="1349"/>
                    </a:lnTo>
                    <a:lnTo>
                      <a:pt x="1888" y="1351"/>
                    </a:lnTo>
                    <a:lnTo>
                      <a:pt x="1888" y="1354"/>
                    </a:lnTo>
                    <a:lnTo>
                      <a:pt x="1886" y="1354"/>
                    </a:lnTo>
                    <a:lnTo>
                      <a:pt x="1886" y="1354"/>
                    </a:lnTo>
                    <a:lnTo>
                      <a:pt x="1886" y="1354"/>
                    </a:lnTo>
                    <a:lnTo>
                      <a:pt x="1886" y="1354"/>
                    </a:lnTo>
                    <a:close/>
                    <a:moveTo>
                      <a:pt x="2159" y="1290"/>
                    </a:moveTo>
                    <a:lnTo>
                      <a:pt x="2159" y="1290"/>
                    </a:lnTo>
                    <a:lnTo>
                      <a:pt x="2162" y="1288"/>
                    </a:lnTo>
                    <a:lnTo>
                      <a:pt x="2162" y="1285"/>
                    </a:lnTo>
                    <a:lnTo>
                      <a:pt x="2161" y="1286"/>
                    </a:lnTo>
                    <a:lnTo>
                      <a:pt x="2159" y="1290"/>
                    </a:lnTo>
                    <a:lnTo>
                      <a:pt x="2159" y="1290"/>
                    </a:lnTo>
                    <a:lnTo>
                      <a:pt x="2159" y="1290"/>
                    </a:lnTo>
                    <a:lnTo>
                      <a:pt x="2159" y="1290"/>
                    </a:lnTo>
                    <a:close/>
                    <a:moveTo>
                      <a:pt x="120" y="190"/>
                    </a:moveTo>
                    <a:lnTo>
                      <a:pt x="118" y="186"/>
                    </a:lnTo>
                    <a:lnTo>
                      <a:pt x="118" y="183"/>
                    </a:lnTo>
                    <a:lnTo>
                      <a:pt x="114" y="179"/>
                    </a:lnTo>
                    <a:lnTo>
                      <a:pt x="114" y="179"/>
                    </a:lnTo>
                    <a:lnTo>
                      <a:pt x="113" y="173"/>
                    </a:lnTo>
                    <a:lnTo>
                      <a:pt x="114" y="171"/>
                    </a:lnTo>
                    <a:lnTo>
                      <a:pt x="118" y="168"/>
                    </a:lnTo>
                    <a:lnTo>
                      <a:pt x="124" y="166"/>
                    </a:lnTo>
                    <a:lnTo>
                      <a:pt x="128" y="164"/>
                    </a:lnTo>
                    <a:lnTo>
                      <a:pt x="128" y="166"/>
                    </a:lnTo>
                    <a:lnTo>
                      <a:pt x="131" y="169"/>
                    </a:lnTo>
                    <a:lnTo>
                      <a:pt x="135" y="171"/>
                    </a:lnTo>
                    <a:lnTo>
                      <a:pt x="139" y="171"/>
                    </a:lnTo>
                    <a:lnTo>
                      <a:pt x="141" y="169"/>
                    </a:lnTo>
                    <a:lnTo>
                      <a:pt x="143" y="168"/>
                    </a:lnTo>
                    <a:lnTo>
                      <a:pt x="139" y="166"/>
                    </a:lnTo>
                    <a:lnTo>
                      <a:pt x="135" y="164"/>
                    </a:lnTo>
                    <a:lnTo>
                      <a:pt x="128" y="158"/>
                    </a:lnTo>
                    <a:lnTo>
                      <a:pt x="118" y="156"/>
                    </a:lnTo>
                    <a:lnTo>
                      <a:pt x="113" y="158"/>
                    </a:lnTo>
                    <a:lnTo>
                      <a:pt x="105" y="164"/>
                    </a:lnTo>
                    <a:lnTo>
                      <a:pt x="103" y="169"/>
                    </a:lnTo>
                    <a:lnTo>
                      <a:pt x="97" y="171"/>
                    </a:lnTo>
                    <a:lnTo>
                      <a:pt x="94" y="173"/>
                    </a:lnTo>
                    <a:lnTo>
                      <a:pt x="94" y="183"/>
                    </a:lnTo>
                    <a:lnTo>
                      <a:pt x="97" y="186"/>
                    </a:lnTo>
                    <a:lnTo>
                      <a:pt x="103" y="183"/>
                    </a:lnTo>
                    <a:lnTo>
                      <a:pt x="105" y="186"/>
                    </a:lnTo>
                    <a:lnTo>
                      <a:pt x="107" y="188"/>
                    </a:lnTo>
                    <a:lnTo>
                      <a:pt x="109" y="188"/>
                    </a:lnTo>
                    <a:lnTo>
                      <a:pt x="111" y="186"/>
                    </a:lnTo>
                    <a:lnTo>
                      <a:pt x="111" y="186"/>
                    </a:lnTo>
                    <a:lnTo>
                      <a:pt x="113" y="183"/>
                    </a:lnTo>
                    <a:lnTo>
                      <a:pt x="114" y="186"/>
                    </a:lnTo>
                    <a:lnTo>
                      <a:pt x="118" y="190"/>
                    </a:lnTo>
                    <a:lnTo>
                      <a:pt x="118" y="192"/>
                    </a:lnTo>
                    <a:lnTo>
                      <a:pt x="120" y="190"/>
                    </a:lnTo>
                    <a:lnTo>
                      <a:pt x="120" y="190"/>
                    </a:lnTo>
                    <a:lnTo>
                      <a:pt x="120" y="190"/>
                    </a:lnTo>
                    <a:lnTo>
                      <a:pt x="120" y="190"/>
                    </a:lnTo>
                    <a:close/>
                    <a:moveTo>
                      <a:pt x="148" y="136"/>
                    </a:moveTo>
                    <a:lnTo>
                      <a:pt x="152" y="132"/>
                    </a:lnTo>
                    <a:lnTo>
                      <a:pt x="152" y="128"/>
                    </a:lnTo>
                    <a:lnTo>
                      <a:pt x="154" y="128"/>
                    </a:lnTo>
                    <a:lnTo>
                      <a:pt x="154" y="132"/>
                    </a:lnTo>
                    <a:lnTo>
                      <a:pt x="156" y="134"/>
                    </a:lnTo>
                    <a:lnTo>
                      <a:pt x="156" y="137"/>
                    </a:lnTo>
                    <a:lnTo>
                      <a:pt x="152" y="137"/>
                    </a:lnTo>
                    <a:lnTo>
                      <a:pt x="152" y="137"/>
                    </a:lnTo>
                    <a:lnTo>
                      <a:pt x="148" y="136"/>
                    </a:lnTo>
                    <a:lnTo>
                      <a:pt x="148" y="136"/>
                    </a:lnTo>
                    <a:lnTo>
                      <a:pt x="148" y="136"/>
                    </a:lnTo>
                    <a:lnTo>
                      <a:pt x="148" y="136"/>
                    </a:lnTo>
                    <a:close/>
                    <a:moveTo>
                      <a:pt x="143" y="211"/>
                    </a:moveTo>
                    <a:lnTo>
                      <a:pt x="145" y="211"/>
                    </a:lnTo>
                    <a:lnTo>
                      <a:pt x="145" y="207"/>
                    </a:lnTo>
                    <a:lnTo>
                      <a:pt x="148" y="205"/>
                    </a:lnTo>
                    <a:lnTo>
                      <a:pt x="148" y="203"/>
                    </a:lnTo>
                    <a:lnTo>
                      <a:pt x="148" y="201"/>
                    </a:lnTo>
                    <a:lnTo>
                      <a:pt x="148" y="203"/>
                    </a:lnTo>
                    <a:lnTo>
                      <a:pt x="152" y="201"/>
                    </a:lnTo>
                    <a:lnTo>
                      <a:pt x="152" y="196"/>
                    </a:lnTo>
                    <a:lnTo>
                      <a:pt x="152" y="190"/>
                    </a:lnTo>
                    <a:lnTo>
                      <a:pt x="148" y="188"/>
                    </a:lnTo>
                    <a:lnTo>
                      <a:pt x="148" y="186"/>
                    </a:lnTo>
                    <a:lnTo>
                      <a:pt x="152" y="186"/>
                    </a:lnTo>
                    <a:lnTo>
                      <a:pt x="156" y="186"/>
                    </a:lnTo>
                    <a:lnTo>
                      <a:pt x="161" y="183"/>
                    </a:lnTo>
                    <a:lnTo>
                      <a:pt x="163" y="183"/>
                    </a:lnTo>
                    <a:lnTo>
                      <a:pt x="163" y="183"/>
                    </a:lnTo>
                    <a:lnTo>
                      <a:pt x="161" y="179"/>
                    </a:lnTo>
                    <a:lnTo>
                      <a:pt x="160" y="179"/>
                    </a:lnTo>
                    <a:lnTo>
                      <a:pt x="158" y="179"/>
                    </a:lnTo>
                    <a:lnTo>
                      <a:pt x="158" y="177"/>
                    </a:lnTo>
                    <a:lnTo>
                      <a:pt x="158" y="173"/>
                    </a:lnTo>
                    <a:lnTo>
                      <a:pt x="160" y="171"/>
                    </a:lnTo>
                    <a:lnTo>
                      <a:pt x="161" y="171"/>
                    </a:lnTo>
                    <a:lnTo>
                      <a:pt x="161" y="173"/>
                    </a:lnTo>
                    <a:lnTo>
                      <a:pt x="163" y="173"/>
                    </a:lnTo>
                    <a:lnTo>
                      <a:pt x="165" y="173"/>
                    </a:lnTo>
                    <a:lnTo>
                      <a:pt x="169" y="169"/>
                    </a:lnTo>
                    <a:lnTo>
                      <a:pt x="173" y="168"/>
                    </a:lnTo>
                    <a:lnTo>
                      <a:pt x="173" y="166"/>
                    </a:lnTo>
                    <a:lnTo>
                      <a:pt x="169" y="162"/>
                    </a:lnTo>
                    <a:lnTo>
                      <a:pt x="169" y="162"/>
                    </a:lnTo>
                    <a:lnTo>
                      <a:pt x="167" y="158"/>
                    </a:lnTo>
                    <a:lnTo>
                      <a:pt x="165" y="154"/>
                    </a:lnTo>
                    <a:lnTo>
                      <a:pt x="163" y="154"/>
                    </a:lnTo>
                    <a:lnTo>
                      <a:pt x="160" y="156"/>
                    </a:lnTo>
                    <a:lnTo>
                      <a:pt x="158" y="162"/>
                    </a:lnTo>
                    <a:lnTo>
                      <a:pt x="156" y="162"/>
                    </a:lnTo>
                    <a:lnTo>
                      <a:pt x="154" y="162"/>
                    </a:lnTo>
                    <a:lnTo>
                      <a:pt x="156" y="156"/>
                    </a:lnTo>
                    <a:lnTo>
                      <a:pt x="158" y="153"/>
                    </a:lnTo>
                    <a:lnTo>
                      <a:pt x="160" y="149"/>
                    </a:lnTo>
                    <a:lnTo>
                      <a:pt x="161" y="145"/>
                    </a:lnTo>
                    <a:lnTo>
                      <a:pt x="160" y="143"/>
                    </a:lnTo>
                    <a:lnTo>
                      <a:pt x="156" y="149"/>
                    </a:lnTo>
                    <a:lnTo>
                      <a:pt x="154" y="153"/>
                    </a:lnTo>
                    <a:lnTo>
                      <a:pt x="152" y="153"/>
                    </a:lnTo>
                    <a:lnTo>
                      <a:pt x="152" y="153"/>
                    </a:lnTo>
                    <a:lnTo>
                      <a:pt x="152" y="149"/>
                    </a:lnTo>
                    <a:lnTo>
                      <a:pt x="152" y="147"/>
                    </a:lnTo>
                    <a:lnTo>
                      <a:pt x="152" y="149"/>
                    </a:lnTo>
                    <a:lnTo>
                      <a:pt x="148" y="153"/>
                    </a:lnTo>
                    <a:lnTo>
                      <a:pt x="145" y="153"/>
                    </a:lnTo>
                    <a:lnTo>
                      <a:pt x="145" y="156"/>
                    </a:lnTo>
                    <a:lnTo>
                      <a:pt x="148" y="158"/>
                    </a:lnTo>
                    <a:lnTo>
                      <a:pt x="152" y="156"/>
                    </a:lnTo>
                    <a:lnTo>
                      <a:pt x="152" y="158"/>
                    </a:lnTo>
                    <a:lnTo>
                      <a:pt x="152" y="162"/>
                    </a:lnTo>
                    <a:lnTo>
                      <a:pt x="148" y="162"/>
                    </a:lnTo>
                    <a:lnTo>
                      <a:pt x="145" y="164"/>
                    </a:lnTo>
                    <a:lnTo>
                      <a:pt x="148" y="168"/>
                    </a:lnTo>
                    <a:lnTo>
                      <a:pt x="145" y="171"/>
                    </a:lnTo>
                    <a:lnTo>
                      <a:pt x="145" y="171"/>
                    </a:lnTo>
                    <a:lnTo>
                      <a:pt x="141" y="173"/>
                    </a:lnTo>
                    <a:lnTo>
                      <a:pt x="137" y="177"/>
                    </a:lnTo>
                    <a:lnTo>
                      <a:pt x="133" y="173"/>
                    </a:lnTo>
                    <a:lnTo>
                      <a:pt x="131" y="177"/>
                    </a:lnTo>
                    <a:lnTo>
                      <a:pt x="128" y="173"/>
                    </a:lnTo>
                    <a:lnTo>
                      <a:pt x="124" y="171"/>
                    </a:lnTo>
                    <a:lnTo>
                      <a:pt x="124" y="173"/>
                    </a:lnTo>
                    <a:lnTo>
                      <a:pt x="124" y="177"/>
                    </a:lnTo>
                    <a:lnTo>
                      <a:pt x="124" y="179"/>
                    </a:lnTo>
                    <a:lnTo>
                      <a:pt x="124" y="183"/>
                    </a:lnTo>
                    <a:lnTo>
                      <a:pt x="128" y="183"/>
                    </a:lnTo>
                    <a:lnTo>
                      <a:pt x="128" y="179"/>
                    </a:lnTo>
                    <a:lnTo>
                      <a:pt x="131" y="183"/>
                    </a:lnTo>
                    <a:lnTo>
                      <a:pt x="131" y="186"/>
                    </a:lnTo>
                    <a:lnTo>
                      <a:pt x="135" y="186"/>
                    </a:lnTo>
                    <a:lnTo>
                      <a:pt x="137" y="186"/>
                    </a:lnTo>
                    <a:lnTo>
                      <a:pt x="133" y="188"/>
                    </a:lnTo>
                    <a:lnTo>
                      <a:pt x="129" y="188"/>
                    </a:lnTo>
                    <a:lnTo>
                      <a:pt x="128" y="190"/>
                    </a:lnTo>
                    <a:lnTo>
                      <a:pt x="128" y="200"/>
                    </a:lnTo>
                    <a:lnTo>
                      <a:pt x="129" y="203"/>
                    </a:lnTo>
                    <a:lnTo>
                      <a:pt x="128" y="205"/>
                    </a:lnTo>
                    <a:lnTo>
                      <a:pt x="129" y="207"/>
                    </a:lnTo>
                    <a:lnTo>
                      <a:pt x="131" y="207"/>
                    </a:lnTo>
                    <a:lnTo>
                      <a:pt x="135" y="207"/>
                    </a:lnTo>
                    <a:lnTo>
                      <a:pt x="137" y="203"/>
                    </a:lnTo>
                    <a:lnTo>
                      <a:pt x="137" y="200"/>
                    </a:lnTo>
                    <a:lnTo>
                      <a:pt x="139" y="200"/>
                    </a:lnTo>
                    <a:lnTo>
                      <a:pt x="143" y="203"/>
                    </a:lnTo>
                    <a:lnTo>
                      <a:pt x="143" y="211"/>
                    </a:lnTo>
                    <a:lnTo>
                      <a:pt x="143" y="211"/>
                    </a:lnTo>
                    <a:lnTo>
                      <a:pt x="143" y="211"/>
                    </a:lnTo>
                    <a:lnTo>
                      <a:pt x="143" y="211"/>
                    </a:lnTo>
                    <a:close/>
                    <a:moveTo>
                      <a:pt x="167" y="203"/>
                    </a:moveTo>
                    <a:lnTo>
                      <a:pt x="167" y="200"/>
                    </a:lnTo>
                    <a:lnTo>
                      <a:pt x="169" y="198"/>
                    </a:lnTo>
                    <a:lnTo>
                      <a:pt x="169" y="194"/>
                    </a:lnTo>
                    <a:lnTo>
                      <a:pt x="165" y="192"/>
                    </a:lnTo>
                    <a:lnTo>
                      <a:pt x="161" y="190"/>
                    </a:lnTo>
                    <a:lnTo>
                      <a:pt x="160" y="194"/>
                    </a:lnTo>
                    <a:lnTo>
                      <a:pt x="160" y="198"/>
                    </a:lnTo>
                    <a:lnTo>
                      <a:pt x="161" y="200"/>
                    </a:lnTo>
                    <a:lnTo>
                      <a:pt x="167" y="203"/>
                    </a:lnTo>
                    <a:lnTo>
                      <a:pt x="167" y="203"/>
                    </a:lnTo>
                    <a:lnTo>
                      <a:pt x="167" y="203"/>
                    </a:lnTo>
                    <a:lnTo>
                      <a:pt x="167" y="203"/>
                    </a:lnTo>
                    <a:close/>
                    <a:moveTo>
                      <a:pt x="173" y="213"/>
                    </a:moveTo>
                    <a:lnTo>
                      <a:pt x="173" y="213"/>
                    </a:lnTo>
                    <a:lnTo>
                      <a:pt x="173" y="213"/>
                    </a:lnTo>
                    <a:lnTo>
                      <a:pt x="178" y="211"/>
                    </a:lnTo>
                    <a:lnTo>
                      <a:pt x="182" y="211"/>
                    </a:lnTo>
                    <a:lnTo>
                      <a:pt x="184" y="207"/>
                    </a:lnTo>
                    <a:lnTo>
                      <a:pt x="182" y="207"/>
                    </a:lnTo>
                    <a:lnTo>
                      <a:pt x="178" y="205"/>
                    </a:lnTo>
                    <a:lnTo>
                      <a:pt x="178" y="201"/>
                    </a:lnTo>
                    <a:lnTo>
                      <a:pt x="177" y="196"/>
                    </a:lnTo>
                    <a:lnTo>
                      <a:pt x="173" y="198"/>
                    </a:lnTo>
                    <a:lnTo>
                      <a:pt x="173" y="203"/>
                    </a:lnTo>
                    <a:lnTo>
                      <a:pt x="173" y="207"/>
                    </a:lnTo>
                    <a:lnTo>
                      <a:pt x="169" y="207"/>
                    </a:lnTo>
                    <a:lnTo>
                      <a:pt x="167" y="207"/>
                    </a:lnTo>
                    <a:lnTo>
                      <a:pt x="169" y="211"/>
                    </a:lnTo>
                    <a:lnTo>
                      <a:pt x="173" y="213"/>
                    </a:lnTo>
                    <a:lnTo>
                      <a:pt x="173" y="213"/>
                    </a:lnTo>
                    <a:lnTo>
                      <a:pt x="173" y="213"/>
                    </a:lnTo>
                    <a:lnTo>
                      <a:pt x="173" y="213"/>
                    </a:lnTo>
                    <a:close/>
                    <a:moveTo>
                      <a:pt x="220" y="81"/>
                    </a:moveTo>
                    <a:lnTo>
                      <a:pt x="224" y="79"/>
                    </a:lnTo>
                    <a:lnTo>
                      <a:pt x="227" y="79"/>
                    </a:lnTo>
                    <a:lnTo>
                      <a:pt x="227" y="77"/>
                    </a:lnTo>
                    <a:lnTo>
                      <a:pt x="227" y="75"/>
                    </a:lnTo>
                    <a:lnTo>
                      <a:pt x="227" y="73"/>
                    </a:lnTo>
                    <a:lnTo>
                      <a:pt x="227" y="70"/>
                    </a:lnTo>
                    <a:lnTo>
                      <a:pt x="225" y="68"/>
                    </a:lnTo>
                    <a:lnTo>
                      <a:pt x="222" y="70"/>
                    </a:lnTo>
                    <a:lnTo>
                      <a:pt x="218" y="72"/>
                    </a:lnTo>
                    <a:lnTo>
                      <a:pt x="214" y="73"/>
                    </a:lnTo>
                    <a:lnTo>
                      <a:pt x="214" y="73"/>
                    </a:lnTo>
                    <a:lnTo>
                      <a:pt x="216" y="75"/>
                    </a:lnTo>
                    <a:lnTo>
                      <a:pt x="218" y="79"/>
                    </a:lnTo>
                    <a:lnTo>
                      <a:pt x="218" y="79"/>
                    </a:lnTo>
                    <a:lnTo>
                      <a:pt x="220" y="81"/>
                    </a:lnTo>
                    <a:lnTo>
                      <a:pt x="220" y="81"/>
                    </a:lnTo>
                    <a:lnTo>
                      <a:pt x="220" y="81"/>
                    </a:lnTo>
                    <a:lnTo>
                      <a:pt x="220" y="81"/>
                    </a:lnTo>
                    <a:close/>
                    <a:moveTo>
                      <a:pt x="224" y="88"/>
                    </a:moveTo>
                    <a:lnTo>
                      <a:pt x="224" y="85"/>
                    </a:lnTo>
                    <a:lnTo>
                      <a:pt x="224" y="85"/>
                    </a:lnTo>
                    <a:lnTo>
                      <a:pt x="225" y="85"/>
                    </a:lnTo>
                    <a:lnTo>
                      <a:pt x="224" y="88"/>
                    </a:lnTo>
                    <a:lnTo>
                      <a:pt x="224" y="88"/>
                    </a:lnTo>
                    <a:lnTo>
                      <a:pt x="224" y="88"/>
                    </a:lnTo>
                    <a:lnTo>
                      <a:pt x="224" y="88"/>
                    </a:lnTo>
                    <a:close/>
                    <a:moveTo>
                      <a:pt x="224" y="100"/>
                    </a:moveTo>
                    <a:lnTo>
                      <a:pt x="225" y="98"/>
                    </a:lnTo>
                    <a:lnTo>
                      <a:pt x="227" y="94"/>
                    </a:lnTo>
                    <a:lnTo>
                      <a:pt x="227" y="94"/>
                    </a:lnTo>
                    <a:lnTo>
                      <a:pt x="227" y="92"/>
                    </a:lnTo>
                    <a:lnTo>
                      <a:pt x="225" y="94"/>
                    </a:lnTo>
                    <a:lnTo>
                      <a:pt x="222" y="94"/>
                    </a:lnTo>
                    <a:lnTo>
                      <a:pt x="220" y="92"/>
                    </a:lnTo>
                    <a:lnTo>
                      <a:pt x="216" y="92"/>
                    </a:lnTo>
                    <a:lnTo>
                      <a:pt x="214" y="94"/>
                    </a:lnTo>
                    <a:lnTo>
                      <a:pt x="210" y="94"/>
                    </a:lnTo>
                    <a:lnTo>
                      <a:pt x="209" y="98"/>
                    </a:lnTo>
                    <a:lnTo>
                      <a:pt x="210" y="100"/>
                    </a:lnTo>
                    <a:lnTo>
                      <a:pt x="214" y="102"/>
                    </a:lnTo>
                    <a:lnTo>
                      <a:pt x="218" y="98"/>
                    </a:lnTo>
                    <a:lnTo>
                      <a:pt x="220" y="102"/>
                    </a:lnTo>
                    <a:lnTo>
                      <a:pt x="222" y="102"/>
                    </a:lnTo>
                    <a:lnTo>
                      <a:pt x="224" y="100"/>
                    </a:lnTo>
                    <a:lnTo>
                      <a:pt x="224" y="100"/>
                    </a:lnTo>
                    <a:lnTo>
                      <a:pt x="224" y="100"/>
                    </a:lnTo>
                    <a:lnTo>
                      <a:pt x="224" y="100"/>
                    </a:lnTo>
                    <a:close/>
                    <a:moveTo>
                      <a:pt x="231" y="100"/>
                    </a:moveTo>
                    <a:lnTo>
                      <a:pt x="231" y="98"/>
                    </a:lnTo>
                    <a:lnTo>
                      <a:pt x="233" y="94"/>
                    </a:lnTo>
                    <a:lnTo>
                      <a:pt x="237" y="94"/>
                    </a:lnTo>
                    <a:lnTo>
                      <a:pt x="237" y="94"/>
                    </a:lnTo>
                    <a:lnTo>
                      <a:pt x="239" y="98"/>
                    </a:lnTo>
                    <a:lnTo>
                      <a:pt x="237" y="100"/>
                    </a:lnTo>
                    <a:lnTo>
                      <a:pt x="237" y="102"/>
                    </a:lnTo>
                    <a:lnTo>
                      <a:pt x="231" y="100"/>
                    </a:lnTo>
                    <a:lnTo>
                      <a:pt x="231" y="100"/>
                    </a:lnTo>
                    <a:lnTo>
                      <a:pt x="231" y="100"/>
                    </a:lnTo>
                    <a:lnTo>
                      <a:pt x="231" y="100"/>
                    </a:lnTo>
                    <a:close/>
                    <a:moveTo>
                      <a:pt x="218" y="119"/>
                    </a:moveTo>
                    <a:lnTo>
                      <a:pt x="222" y="115"/>
                    </a:lnTo>
                    <a:lnTo>
                      <a:pt x="224" y="109"/>
                    </a:lnTo>
                    <a:lnTo>
                      <a:pt x="227" y="107"/>
                    </a:lnTo>
                    <a:lnTo>
                      <a:pt x="227" y="105"/>
                    </a:lnTo>
                    <a:lnTo>
                      <a:pt x="224" y="104"/>
                    </a:lnTo>
                    <a:lnTo>
                      <a:pt x="220" y="105"/>
                    </a:lnTo>
                    <a:lnTo>
                      <a:pt x="216" y="104"/>
                    </a:lnTo>
                    <a:lnTo>
                      <a:pt x="210" y="104"/>
                    </a:lnTo>
                    <a:lnTo>
                      <a:pt x="210" y="107"/>
                    </a:lnTo>
                    <a:lnTo>
                      <a:pt x="209" y="111"/>
                    </a:lnTo>
                    <a:lnTo>
                      <a:pt x="210" y="111"/>
                    </a:lnTo>
                    <a:lnTo>
                      <a:pt x="212" y="111"/>
                    </a:lnTo>
                    <a:lnTo>
                      <a:pt x="214" y="115"/>
                    </a:lnTo>
                    <a:lnTo>
                      <a:pt x="214" y="117"/>
                    </a:lnTo>
                    <a:lnTo>
                      <a:pt x="210" y="117"/>
                    </a:lnTo>
                    <a:lnTo>
                      <a:pt x="203" y="119"/>
                    </a:lnTo>
                    <a:lnTo>
                      <a:pt x="203" y="122"/>
                    </a:lnTo>
                    <a:lnTo>
                      <a:pt x="207" y="122"/>
                    </a:lnTo>
                    <a:lnTo>
                      <a:pt x="209" y="124"/>
                    </a:lnTo>
                    <a:lnTo>
                      <a:pt x="212" y="122"/>
                    </a:lnTo>
                    <a:lnTo>
                      <a:pt x="212" y="122"/>
                    </a:lnTo>
                    <a:lnTo>
                      <a:pt x="218" y="119"/>
                    </a:lnTo>
                    <a:lnTo>
                      <a:pt x="218" y="119"/>
                    </a:lnTo>
                    <a:lnTo>
                      <a:pt x="218" y="119"/>
                    </a:lnTo>
                    <a:lnTo>
                      <a:pt x="218" y="119"/>
                    </a:lnTo>
                    <a:close/>
                    <a:moveTo>
                      <a:pt x="227" y="119"/>
                    </a:moveTo>
                    <a:lnTo>
                      <a:pt x="225" y="119"/>
                    </a:lnTo>
                    <a:lnTo>
                      <a:pt x="224" y="122"/>
                    </a:lnTo>
                    <a:lnTo>
                      <a:pt x="220" y="119"/>
                    </a:lnTo>
                    <a:lnTo>
                      <a:pt x="222" y="117"/>
                    </a:lnTo>
                    <a:lnTo>
                      <a:pt x="225" y="115"/>
                    </a:lnTo>
                    <a:lnTo>
                      <a:pt x="227" y="113"/>
                    </a:lnTo>
                    <a:lnTo>
                      <a:pt x="231" y="115"/>
                    </a:lnTo>
                    <a:lnTo>
                      <a:pt x="227" y="117"/>
                    </a:lnTo>
                    <a:lnTo>
                      <a:pt x="227" y="119"/>
                    </a:lnTo>
                    <a:lnTo>
                      <a:pt x="227" y="119"/>
                    </a:lnTo>
                    <a:lnTo>
                      <a:pt x="227" y="119"/>
                    </a:lnTo>
                    <a:lnTo>
                      <a:pt x="227" y="119"/>
                    </a:lnTo>
                    <a:close/>
                    <a:moveTo>
                      <a:pt x="239" y="128"/>
                    </a:moveTo>
                    <a:lnTo>
                      <a:pt x="233" y="122"/>
                    </a:lnTo>
                    <a:lnTo>
                      <a:pt x="231" y="119"/>
                    </a:lnTo>
                    <a:lnTo>
                      <a:pt x="233" y="119"/>
                    </a:lnTo>
                    <a:lnTo>
                      <a:pt x="237" y="119"/>
                    </a:lnTo>
                    <a:lnTo>
                      <a:pt x="237" y="122"/>
                    </a:lnTo>
                    <a:lnTo>
                      <a:pt x="241" y="119"/>
                    </a:lnTo>
                    <a:lnTo>
                      <a:pt x="242" y="122"/>
                    </a:lnTo>
                    <a:lnTo>
                      <a:pt x="242" y="128"/>
                    </a:lnTo>
                    <a:lnTo>
                      <a:pt x="239" y="128"/>
                    </a:lnTo>
                    <a:lnTo>
                      <a:pt x="239" y="128"/>
                    </a:lnTo>
                    <a:lnTo>
                      <a:pt x="239" y="128"/>
                    </a:lnTo>
                    <a:lnTo>
                      <a:pt x="239" y="128"/>
                    </a:lnTo>
                    <a:close/>
                    <a:moveTo>
                      <a:pt x="233" y="137"/>
                    </a:moveTo>
                    <a:lnTo>
                      <a:pt x="231" y="134"/>
                    </a:lnTo>
                    <a:lnTo>
                      <a:pt x="224" y="128"/>
                    </a:lnTo>
                    <a:lnTo>
                      <a:pt x="218" y="128"/>
                    </a:lnTo>
                    <a:lnTo>
                      <a:pt x="214" y="128"/>
                    </a:lnTo>
                    <a:lnTo>
                      <a:pt x="212" y="124"/>
                    </a:lnTo>
                    <a:lnTo>
                      <a:pt x="212" y="122"/>
                    </a:lnTo>
                    <a:lnTo>
                      <a:pt x="216" y="122"/>
                    </a:lnTo>
                    <a:lnTo>
                      <a:pt x="222" y="122"/>
                    </a:lnTo>
                    <a:lnTo>
                      <a:pt x="227" y="124"/>
                    </a:lnTo>
                    <a:lnTo>
                      <a:pt x="233" y="130"/>
                    </a:lnTo>
                    <a:lnTo>
                      <a:pt x="237" y="130"/>
                    </a:lnTo>
                    <a:lnTo>
                      <a:pt x="237" y="128"/>
                    </a:lnTo>
                    <a:lnTo>
                      <a:pt x="239" y="130"/>
                    </a:lnTo>
                    <a:lnTo>
                      <a:pt x="237" y="132"/>
                    </a:lnTo>
                    <a:lnTo>
                      <a:pt x="237" y="137"/>
                    </a:lnTo>
                    <a:lnTo>
                      <a:pt x="233" y="137"/>
                    </a:lnTo>
                    <a:lnTo>
                      <a:pt x="233" y="137"/>
                    </a:lnTo>
                    <a:lnTo>
                      <a:pt x="233" y="137"/>
                    </a:lnTo>
                    <a:lnTo>
                      <a:pt x="233" y="137"/>
                    </a:lnTo>
                    <a:close/>
                    <a:moveTo>
                      <a:pt x="237" y="149"/>
                    </a:moveTo>
                    <a:lnTo>
                      <a:pt x="237" y="143"/>
                    </a:lnTo>
                    <a:lnTo>
                      <a:pt x="233" y="139"/>
                    </a:lnTo>
                    <a:lnTo>
                      <a:pt x="231" y="139"/>
                    </a:lnTo>
                    <a:lnTo>
                      <a:pt x="225" y="137"/>
                    </a:lnTo>
                    <a:lnTo>
                      <a:pt x="220" y="134"/>
                    </a:lnTo>
                    <a:lnTo>
                      <a:pt x="218" y="132"/>
                    </a:lnTo>
                    <a:lnTo>
                      <a:pt x="216" y="130"/>
                    </a:lnTo>
                    <a:lnTo>
                      <a:pt x="210" y="132"/>
                    </a:lnTo>
                    <a:lnTo>
                      <a:pt x="207" y="130"/>
                    </a:lnTo>
                    <a:lnTo>
                      <a:pt x="201" y="130"/>
                    </a:lnTo>
                    <a:lnTo>
                      <a:pt x="195" y="130"/>
                    </a:lnTo>
                    <a:lnTo>
                      <a:pt x="197" y="134"/>
                    </a:lnTo>
                    <a:lnTo>
                      <a:pt x="197" y="136"/>
                    </a:lnTo>
                    <a:lnTo>
                      <a:pt x="199" y="137"/>
                    </a:lnTo>
                    <a:lnTo>
                      <a:pt x="203" y="139"/>
                    </a:lnTo>
                    <a:lnTo>
                      <a:pt x="207" y="136"/>
                    </a:lnTo>
                    <a:lnTo>
                      <a:pt x="207" y="136"/>
                    </a:lnTo>
                    <a:lnTo>
                      <a:pt x="210" y="139"/>
                    </a:lnTo>
                    <a:lnTo>
                      <a:pt x="210" y="143"/>
                    </a:lnTo>
                    <a:lnTo>
                      <a:pt x="214" y="143"/>
                    </a:lnTo>
                    <a:lnTo>
                      <a:pt x="216" y="141"/>
                    </a:lnTo>
                    <a:lnTo>
                      <a:pt x="218" y="145"/>
                    </a:lnTo>
                    <a:lnTo>
                      <a:pt x="222" y="147"/>
                    </a:lnTo>
                    <a:lnTo>
                      <a:pt x="227" y="147"/>
                    </a:lnTo>
                    <a:lnTo>
                      <a:pt x="231" y="149"/>
                    </a:lnTo>
                    <a:lnTo>
                      <a:pt x="233" y="149"/>
                    </a:lnTo>
                    <a:lnTo>
                      <a:pt x="237" y="149"/>
                    </a:lnTo>
                    <a:lnTo>
                      <a:pt x="237" y="149"/>
                    </a:lnTo>
                    <a:lnTo>
                      <a:pt x="237" y="149"/>
                    </a:lnTo>
                    <a:lnTo>
                      <a:pt x="237" y="149"/>
                    </a:lnTo>
                    <a:close/>
                    <a:moveTo>
                      <a:pt x="209" y="154"/>
                    </a:moveTo>
                    <a:lnTo>
                      <a:pt x="209" y="154"/>
                    </a:lnTo>
                    <a:lnTo>
                      <a:pt x="207" y="153"/>
                    </a:lnTo>
                    <a:lnTo>
                      <a:pt x="207" y="153"/>
                    </a:lnTo>
                    <a:lnTo>
                      <a:pt x="201" y="153"/>
                    </a:lnTo>
                    <a:lnTo>
                      <a:pt x="199" y="149"/>
                    </a:lnTo>
                    <a:lnTo>
                      <a:pt x="199" y="149"/>
                    </a:lnTo>
                    <a:lnTo>
                      <a:pt x="201" y="147"/>
                    </a:lnTo>
                    <a:lnTo>
                      <a:pt x="203" y="145"/>
                    </a:lnTo>
                    <a:lnTo>
                      <a:pt x="209" y="147"/>
                    </a:lnTo>
                    <a:lnTo>
                      <a:pt x="210" y="145"/>
                    </a:lnTo>
                    <a:lnTo>
                      <a:pt x="212" y="149"/>
                    </a:lnTo>
                    <a:lnTo>
                      <a:pt x="214" y="149"/>
                    </a:lnTo>
                    <a:lnTo>
                      <a:pt x="214" y="147"/>
                    </a:lnTo>
                    <a:lnTo>
                      <a:pt x="216" y="149"/>
                    </a:lnTo>
                    <a:lnTo>
                      <a:pt x="218" y="149"/>
                    </a:lnTo>
                    <a:lnTo>
                      <a:pt x="216" y="153"/>
                    </a:lnTo>
                    <a:lnTo>
                      <a:pt x="209" y="154"/>
                    </a:lnTo>
                    <a:lnTo>
                      <a:pt x="209" y="154"/>
                    </a:lnTo>
                    <a:lnTo>
                      <a:pt x="209" y="154"/>
                    </a:lnTo>
                    <a:lnTo>
                      <a:pt x="209" y="154"/>
                    </a:lnTo>
                    <a:close/>
                    <a:moveTo>
                      <a:pt x="203" y="173"/>
                    </a:moveTo>
                    <a:lnTo>
                      <a:pt x="199" y="171"/>
                    </a:lnTo>
                    <a:lnTo>
                      <a:pt x="199" y="166"/>
                    </a:lnTo>
                    <a:lnTo>
                      <a:pt x="197" y="166"/>
                    </a:lnTo>
                    <a:lnTo>
                      <a:pt x="197" y="171"/>
                    </a:lnTo>
                    <a:lnTo>
                      <a:pt x="195" y="171"/>
                    </a:lnTo>
                    <a:lnTo>
                      <a:pt x="197" y="173"/>
                    </a:lnTo>
                    <a:lnTo>
                      <a:pt x="201" y="173"/>
                    </a:lnTo>
                    <a:lnTo>
                      <a:pt x="203" y="173"/>
                    </a:lnTo>
                    <a:lnTo>
                      <a:pt x="203" y="173"/>
                    </a:lnTo>
                    <a:lnTo>
                      <a:pt x="203" y="173"/>
                    </a:lnTo>
                    <a:lnTo>
                      <a:pt x="203" y="173"/>
                    </a:lnTo>
                    <a:close/>
                    <a:moveTo>
                      <a:pt x="207" y="173"/>
                    </a:moveTo>
                    <a:lnTo>
                      <a:pt x="207" y="173"/>
                    </a:lnTo>
                    <a:lnTo>
                      <a:pt x="207" y="171"/>
                    </a:lnTo>
                    <a:lnTo>
                      <a:pt x="207" y="168"/>
                    </a:lnTo>
                    <a:lnTo>
                      <a:pt x="203" y="164"/>
                    </a:lnTo>
                    <a:lnTo>
                      <a:pt x="203" y="164"/>
                    </a:lnTo>
                    <a:lnTo>
                      <a:pt x="203" y="168"/>
                    </a:lnTo>
                    <a:lnTo>
                      <a:pt x="207" y="173"/>
                    </a:lnTo>
                    <a:lnTo>
                      <a:pt x="207" y="173"/>
                    </a:lnTo>
                    <a:lnTo>
                      <a:pt x="207" y="173"/>
                    </a:lnTo>
                    <a:lnTo>
                      <a:pt x="207" y="173"/>
                    </a:lnTo>
                    <a:close/>
                    <a:moveTo>
                      <a:pt x="212" y="169"/>
                    </a:moveTo>
                    <a:lnTo>
                      <a:pt x="212" y="169"/>
                    </a:lnTo>
                    <a:lnTo>
                      <a:pt x="216" y="171"/>
                    </a:lnTo>
                    <a:lnTo>
                      <a:pt x="216" y="169"/>
                    </a:lnTo>
                    <a:lnTo>
                      <a:pt x="214" y="166"/>
                    </a:lnTo>
                    <a:lnTo>
                      <a:pt x="210" y="164"/>
                    </a:lnTo>
                    <a:lnTo>
                      <a:pt x="209" y="166"/>
                    </a:lnTo>
                    <a:lnTo>
                      <a:pt x="212" y="169"/>
                    </a:lnTo>
                    <a:lnTo>
                      <a:pt x="212" y="169"/>
                    </a:lnTo>
                    <a:lnTo>
                      <a:pt x="212" y="169"/>
                    </a:lnTo>
                    <a:lnTo>
                      <a:pt x="212" y="169"/>
                    </a:lnTo>
                    <a:close/>
                    <a:moveTo>
                      <a:pt x="210" y="179"/>
                    </a:moveTo>
                    <a:lnTo>
                      <a:pt x="212" y="179"/>
                    </a:lnTo>
                    <a:lnTo>
                      <a:pt x="214" y="173"/>
                    </a:lnTo>
                    <a:lnTo>
                      <a:pt x="212" y="171"/>
                    </a:lnTo>
                    <a:lnTo>
                      <a:pt x="210" y="169"/>
                    </a:lnTo>
                    <a:lnTo>
                      <a:pt x="209" y="171"/>
                    </a:lnTo>
                    <a:lnTo>
                      <a:pt x="210" y="173"/>
                    </a:lnTo>
                    <a:lnTo>
                      <a:pt x="209" y="177"/>
                    </a:lnTo>
                    <a:lnTo>
                      <a:pt x="210" y="179"/>
                    </a:lnTo>
                    <a:lnTo>
                      <a:pt x="210" y="179"/>
                    </a:lnTo>
                    <a:lnTo>
                      <a:pt x="210" y="179"/>
                    </a:lnTo>
                    <a:lnTo>
                      <a:pt x="210" y="179"/>
                    </a:lnTo>
                    <a:close/>
                    <a:moveTo>
                      <a:pt x="207" y="186"/>
                    </a:moveTo>
                    <a:lnTo>
                      <a:pt x="207" y="186"/>
                    </a:lnTo>
                    <a:lnTo>
                      <a:pt x="203" y="186"/>
                    </a:lnTo>
                    <a:lnTo>
                      <a:pt x="201" y="183"/>
                    </a:lnTo>
                    <a:lnTo>
                      <a:pt x="199" y="183"/>
                    </a:lnTo>
                    <a:lnTo>
                      <a:pt x="195" y="183"/>
                    </a:lnTo>
                    <a:lnTo>
                      <a:pt x="197" y="186"/>
                    </a:lnTo>
                    <a:lnTo>
                      <a:pt x="197" y="188"/>
                    </a:lnTo>
                    <a:lnTo>
                      <a:pt x="193" y="190"/>
                    </a:lnTo>
                    <a:lnTo>
                      <a:pt x="195" y="194"/>
                    </a:lnTo>
                    <a:lnTo>
                      <a:pt x="201" y="194"/>
                    </a:lnTo>
                    <a:lnTo>
                      <a:pt x="207" y="192"/>
                    </a:lnTo>
                    <a:lnTo>
                      <a:pt x="207" y="186"/>
                    </a:lnTo>
                    <a:lnTo>
                      <a:pt x="207" y="186"/>
                    </a:lnTo>
                    <a:lnTo>
                      <a:pt x="207" y="186"/>
                    </a:lnTo>
                    <a:lnTo>
                      <a:pt x="207" y="186"/>
                    </a:lnTo>
                    <a:close/>
                    <a:moveTo>
                      <a:pt x="209" y="183"/>
                    </a:moveTo>
                    <a:lnTo>
                      <a:pt x="209" y="186"/>
                    </a:lnTo>
                    <a:lnTo>
                      <a:pt x="210" y="188"/>
                    </a:lnTo>
                    <a:lnTo>
                      <a:pt x="212" y="188"/>
                    </a:lnTo>
                    <a:lnTo>
                      <a:pt x="212" y="186"/>
                    </a:lnTo>
                    <a:lnTo>
                      <a:pt x="210" y="183"/>
                    </a:lnTo>
                    <a:lnTo>
                      <a:pt x="209" y="183"/>
                    </a:lnTo>
                    <a:lnTo>
                      <a:pt x="209" y="183"/>
                    </a:lnTo>
                    <a:lnTo>
                      <a:pt x="209" y="183"/>
                    </a:lnTo>
                    <a:lnTo>
                      <a:pt x="209" y="183"/>
                    </a:lnTo>
                    <a:close/>
                    <a:moveTo>
                      <a:pt x="239" y="141"/>
                    </a:moveTo>
                    <a:lnTo>
                      <a:pt x="239" y="137"/>
                    </a:lnTo>
                    <a:lnTo>
                      <a:pt x="241" y="136"/>
                    </a:lnTo>
                    <a:lnTo>
                      <a:pt x="241" y="132"/>
                    </a:lnTo>
                    <a:lnTo>
                      <a:pt x="242" y="130"/>
                    </a:lnTo>
                    <a:lnTo>
                      <a:pt x="244" y="130"/>
                    </a:lnTo>
                    <a:lnTo>
                      <a:pt x="246" y="134"/>
                    </a:lnTo>
                    <a:lnTo>
                      <a:pt x="248" y="137"/>
                    </a:lnTo>
                    <a:lnTo>
                      <a:pt x="246" y="137"/>
                    </a:lnTo>
                    <a:lnTo>
                      <a:pt x="246" y="139"/>
                    </a:lnTo>
                    <a:lnTo>
                      <a:pt x="244" y="141"/>
                    </a:lnTo>
                    <a:lnTo>
                      <a:pt x="241" y="141"/>
                    </a:lnTo>
                    <a:lnTo>
                      <a:pt x="239" y="141"/>
                    </a:lnTo>
                    <a:lnTo>
                      <a:pt x="239" y="141"/>
                    </a:lnTo>
                    <a:lnTo>
                      <a:pt x="239" y="141"/>
                    </a:lnTo>
                    <a:lnTo>
                      <a:pt x="239" y="141"/>
                    </a:lnTo>
                    <a:close/>
                    <a:moveTo>
                      <a:pt x="216" y="179"/>
                    </a:moveTo>
                    <a:lnTo>
                      <a:pt x="218" y="183"/>
                    </a:lnTo>
                    <a:lnTo>
                      <a:pt x="222" y="183"/>
                    </a:lnTo>
                    <a:lnTo>
                      <a:pt x="225" y="183"/>
                    </a:lnTo>
                    <a:lnTo>
                      <a:pt x="225" y="183"/>
                    </a:lnTo>
                    <a:lnTo>
                      <a:pt x="225" y="179"/>
                    </a:lnTo>
                    <a:lnTo>
                      <a:pt x="224" y="177"/>
                    </a:lnTo>
                    <a:lnTo>
                      <a:pt x="222" y="177"/>
                    </a:lnTo>
                    <a:lnTo>
                      <a:pt x="220" y="179"/>
                    </a:lnTo>
                    <a:lnTo>
                      <a:pt x="216" y="179"/>
                    </a:lnTo>
                    <a:lnTo>
                      <a:pt x="216" y="179"/>
                    </a:lnTo>
                    <a:lnTo>
                      <a:pt x="216" y="179"/>
                    </a:lnTo>
                    <a:lnTo>
                      <a:pt x="216" y="179"/>
                    </a:lnTo>
                    <a:close/>
                    <a:moveTo>
                      <a:pt x="218" y="173"/>
                    </a:moveTo>
                    <a:lnTo>
                      <a:pt x="220" y="173"/>
                    </a:lnTo>
                    <a:lnTo>
                      <a:pt x="222" y="171"/>
                    </a:lnTo>
                    <a:lnTo>
                      <a:pt x="222" y="169"/>
                    </a:lnTo>
                    <a:lnTo>
                      <a:pt x="220" y="169"/>
                    </a:lnTo>
                    <a:lnTo>
                      <a:pt x="218" y="173"/>
                    </a:lnTo>
                    <a:lnTo>
                      <a:pt x="218" y="173"/>
                    </a:lnTo>
                    <a:lnTo>
                      <a:pt x="218" y="173"/>
                    </a:lnTo>
                    <a:lnTo>
                      <a:pt x="218" y="173"/>
                    </a:lnTo>
                    <a:close/>
                    <a:moveTo>
                      <a:pt x="224" y="171"/>
                    </a:moveTo>
                    <a:lnTo>
                      <a:pt x="225" y="173"/>
                    </a:lnTo>
                    <a:lnTo>
                      <a:pt x="227" y="173"/>
                    </a:lnTo>
                    <a:lnTo>
                      <a:pt x="227" y="171"/>
                    </a:lnTo>
                    <a:lnTo>
                      <a:pt x="231" y="169"/>
                    </a:lnTo>
                    <a:lnTo>
                      <a:pt x="227" y="169"/>
                    </a:lnTo>
                    <a:lnTo>
                      <a:pt x="227" y="169"/>
                    </a:lnTo>
                    <a:lnTo>
                      <a:pt x="227" y="169"/>
                    </a:lnTo>
                    <a:lnTo>
                      <a:pt x="224" y="171"/>
                    </a:lnTo>
                    <a:lnTo>
                      <a:pt x="224" y="171"/>
                    </a:lnTo>
                    <a:lnTo>
                      <a:pt x="224" y="171"/>
                    </a:lnTo>
                    <a:lnTo>
                      <a:pt x="224" y="171"/>
                    </a:lnTo>
                    <a:close/>
                    <a:moveTo>
                      <a:pt x="225" y="154"/>
                    </a:moveTo>
                    <a:lnTo>
                      <a:pt x="224" y="158"/>
                    </a:lnTo>
                    <a:lnTo>
                      <a:pt x="220" y="158"/>
                    </a:lnTo>
                    <a:lnTo>
                      <a:pt x="218" y="156"/>
                    </a:lnTo>
                    <a:lnTo>
                      <a:pt x="218" y="153"/>
                    </a:lnTo>
                    <a:lnTo>
                      <a:pt x="222" y="149"/>
                    </a:lnTo>
                    <a:lnTo>
                      <a:pt x="225" y="149"/>
                    </a:lnTo>
                    <a:lnTo>
                      <a:pt x="227" y="149"/>
                    </a:lnTo>
                    <a:lnTo>
                      <a:pt x="231" y="153"/>
                    </a:lnTo>
                    <a:lnTo>
                      <a:pt x="231" y="153"/>
                    </a:lnTo>
                    <a:lnTo>
                      <a:pt x="231" y="154"/>
                    </a:lnTo>
                    <a:lnTo>
                      <a:pt x="231" y="156"/>
                    </a:lnTo>
                    <a:lnTo>
                      <a:pt x="227" y="156"/>
                    </a:lnTo>
                    <a:lnTo>
                      <a:pt x="225" y="154"/>
                    </a:lnTo>
                    <a:lnTo>
                      <a:pt x="225" y="154"/>
                    </a:lnTo>
                    <a:lnTo>
                      <a:pt x="225" y="154"/>
                    </a:lnTo>
                    <a:lnTo>
                      <a:pt x="225" y="154"/>
                    </a:lnTo>
                    <a:close/>
                    <a:moveTo>
                      <a:pt x="239" y="154"/>
                    </a:moveTo>
                    <a:lnTo>
                      <a:pt x="241" y="156"/>
                    </a:lnTo>
                    <a:lnTo>
                      <a:pt x="244" y="156"/>
                    </a:lnTo>
                    <a:lnTo>
                      <a:pt x="246" y="154"/>
                    </a:lnTo>
                    <a:lnTo>
                      <a:pt x="248" y="153"/>
                    </a:lnTo>
                    <a:lnTo>
                      <a:pt x="246" y="153"/>
                    </a:lnTo>
                    <a:lnTo>
                      <a:pt x="242" y="153"/>
                    </a:lnTo>
                    <a:lnTo>
                      <a:pt x="241" y="154"/>
                    </a:lnTo>
                    <a:lnTo>
                      <a:pt x="239" y="154"/>
                    </a:lnTo>
                    <a:lnTo>
                      <a:pt x="239" y="154"/>
                    </a:lnTo>
                    <a:lnTo>
                      <a:pt x="239" y="154"/>
                    </a:lnTo>
                    <a:lnTo>
                      <a:pt x="239" y="154"/>
                    </a:lnTo>
                    <a:close/>
                    <a:moveTo>
                      <a:pt x="248" y="188"/>
                    </a:moveTo>
                    <a:lnTo>
                      <a:pt x="248" y="186"/>
                    </a:lnTo>
                    <a:lnTo>
                      <a:pt x="244" y="183"/>
                    </a:lnTo>
                    <a:lnTo>
                      <a:pt x="244" y="179"/>
                    </a:lnTo>
                    <a:lnTo>
                      <a:pt x="244" y="177"/>
                    </a:lnTo>
                    <a:lnTo>
                      <a:pt x="242" y="171"/>
                    </a:lnTo>
                    <a:lnTo>
                      <a:pt x="239" y="169"/>
                    </a:lnTo>
                    <a:lnTo>
                      <a:pt x="237" y="171"/>
                    </a:lnTo>
                    <a:lnTo>
                      <a:pt x="233" y="171"/>
                    </a:lnTo>
                    <a:lnTo>
                      <a:pt x="227" y="173"/>
                    </a:lnTo>
                    <a:lnTo>
                      <a:pt x="227" y="179"/>
                    </a:lnTo>
                    <a:lnTo>
                      <a:pt x="231" y="183"/>
                    </a:lnTo>
                    <a:lnTo>
                      <a:pt x="231" y="188"/>
                    </a:lnTo>
                    <a:lnTo>
                      <a:pt x="237" y="190"/>
                    </a:lnTo>
                    <a:lnTo>
                      <a:pt x="237" y="190"/>
                    </a:lnTo>
                    <a:lnTo>
                      <a:pt x="242" y="188"/>
                    </a:lnTo>
                    <a:lnTo>
                      <a:pt x="248" y="188"/>
                    </a:lnTo>
                    <a:lnTo>
                      <a:pt x="248" y="188"/>
                    </a:lnTo>
                    <a:lnTo>
                      <a:pt x="248" y="188"/>
                    </a:lnTo>
                    <a:lnTo>
                      <a:pt x="248" y="188"/>
                    </a:lnTo>
                    <a:close/>
                    <a:moveTo>
                      <a:pt x="257" y="186"/>
                    </a:moveTo>
                    <a:lnTo>
                      <a:pt x="257" y="183"/>
                    </a:lnTo>
                    <a:lnTo>
                      <a:pt x="256" y="183"/>
                    </a:lnTo>
                    <a:lnTo>
                      <a:pt x="256" y="179"/>
                    </a:lnTo>
                    <a:lnTo>
                      <a:pt x="257" y="179"/>
                    </a:lnTo>
                    <a:lnTo>
                      <a:pt x="257" y="173"/>
                    </a:lnTo>
                    <a:lnTo>
                      <a:pt x="257" y="173"/>
                    </a:lnTo>
                    <a:lnTo>
                      <a:pt x="265" y="169"/>
                    </a:lnTo>
                    <a:lnTo>
                      <a:pt x="265" y="169"/>
                    </a:lnTo>
                    <a:lnTo>
                      <a:pt x="267" y="168"/>
                    </a:lnTo>
                    <a:lnTo>
                      <a:pt x="265" y="168"/>
                    </a:lnTo>
                    <a:lnTo>
                      <a:pt x="261" y="168"/>
                    </a:lnTo>
                    <a:lnTo>
                      <a:pt x="256" y="164"/>
                    </a:lnTo>
                    <a:lnTo>
                      <a:pt x="250" y="162"/>
                    </a:lnTo>
                    <a:lnTo>
                      <a:pt x="248" y="162"/>
                    </a:lnTo>
                    <a:lnTo>
                      <a:pt x="244" y="162"/>
                    </a:lnTo>
                    <a:lnTo>
                      <a:pt x="242" y="162"/>
                    </a:lnTo>
                    <a:lnTo>
                      <a:pt x="242" y="166"/>
                    </a:lnTo>
                    <a:lnTo>
                      <a:pt x="248" y="173"/>
                    </a:lnTo>
                    <a:lnTo>
                      <a:pt x="246" y="179"/>
                    </a:lnTo>
                    <a:lnTo>
                      <a:pt x="250" y="183"/>
                    </a:lnTo>
                    <a:lnTo>
                      <a:pt x="252" y="186"/>
                    </a:lnTo>
                    <a:lnTo>
                      <a:pt x="257" y="186"/>
                    </a:lnTo>
                    <a:lnTo>
                      <a:pt x="257" y="186"/>
                    </a:lnTo>
                    <a:lnTo>
                      <a:pt x="257" y="186"/>
                    </a:lnTo>
                    <a:lnTo>
                      <a:pt x="257" y="186"/>
                    </a:lnTo>
                    <a:close/>
                    <a:moveTo>
                      <a:pt x="267" y="186"/>
                    </a:moveTo>
                    <a:lnTo>
                      <a:pt x="267" y="188"/>
                    </a:lnTo>
                    <a:lnTo>
                      <a:pt x="273" y="190"/>
                    </a:lnTo>
                    <a:lnTo>
                      <a:pt x="274" y="194"/>
                    </a:lnTo>
                    <a:lnTo>
                      <a:pt x="280" y="194"/>
                    </a:lnTo>
                    <a:lnTo>
                      <a:pt x="282" y="188"/>
                    </a:lnTo>
                    <a:lnTo>
                      <a:pt x="282" y="183"/>
                    </a:lnTo>
                    <a:lnTo>
                      <a:pt x="278" y="183"/>
                    </a:lnTo>
                    <a:lnTo>
                      <a:pt x="273" y="183"/>
                    </a:lnTo>
                    <a:lnTo>
                      <a:pt x="267" y="186"/>
                    </a:lnTo>
                    <a:lnTo>
                      <a:pt x="267" y="186"/>
                    </a:lnTo>
                    <a:lnTo>
                      <a:pt x="267" y="186"/>
                    </a:lnTo>
                    <a:lnTo>
                      <a:pt x="267" y="186"/>
                    </a:lnTo>
                    <a:close/>
                    <a:moveTo>
                      <a:pt x="267" y="194"/>
                    </a:moveTo>
                    <a:lnTo>
                      <a:pt x="267" y="198"/>
                    </a:lnTo>
                    <a:lnTo>
                      <a:pt x="271" y="198"/>
                    </a:lnTo>
                    <a:lnTo>
                      <a:pt x="273" y="200"/>
                    </a:lnTo>
                    <a:lnTo>
                      <a:pt x="274" y="198"/>
                    </a:lnTo>
                    <a:lnTo>
                      <a:pt x="271" y="194"/>
                    </a:lnTo>
                    <a:lnTo>
                      <a:pt x="267" y="194"/>
                    </a:lnTo>
                    <a:lnTo>
                      <a:pt x="267" y="194"/>
                    </a:lnTo>
                    <a:lnTo>
                      <a:pt x="267" y="194"/>
                    </a:lnTo>
                    <a:lnTo>
                      <a:pt x="267" y="194"/>
                    </a:lnTo>
                    <a:close/>
                    <a:moveTo>
                      <a:pt x="267" y="75"/>
                    </a:moveTo>
                    <a:lnTo>
                      <a:pt x="269" y="73"/>
                    </a:lnTo>
                    <a:lnTo>
                      <a:pt x="273" y="73"/>
                    </a:lnTo>
                    <a:lnTo>
                      <a:pt x="274" y="72"/>
                    </a:lnTo>
                    <a:lnTo>
                      <a:pt x="278" y="72"/>
                    </a:lnTo>
                    <a:lnTo>
                      <a:pt x="278" y="73"/>
                    </a:lnTo>
                    <a:lnTo>
                      <a:pt x="282" y="73"/>
                    </a:lnTo>
                    <a:lnTo>
                      <a:pt x="282" y="75"/>
                    </a:lnTo>
                    <a:lnTo>
                      <a:pt x="280" y="79"/>
                    </a:lnTo>
                    <a:lnTo>
                      <a:pt x="276" y="79"/>
                    </a:lnTo>
                    <a:lnTo>
                      <a:pt x="274" y="77"/>
                    </a:lnTo>
                    <a:lnTo>
                      <a:pt x="269" y="77"/>
                    </a:lnTo>
                    <a:lnTo>
                      <a:pt x="267" y="75"/>
                    </a:lnTo>
                    <a:lnTo>
                      <a:pt x="267" y="75"/>
                    </a:lnTo>
                    <a:lnTo>
                      <a:pt x="267" y="75"/>
                    </a:lnTo>
                    <a:lnTo>
                      <a:pt x="267" y="75"/>
                    </a:lnTo>
                    <a:close/>
                    <a:moveTo>
                      <a:pt x="274" y="128"/>
                    </a:moveTo>
                    <a:lnTo>
                      <a:pt x="276" y="122"/>
                    </a:lnTo>
                    <a:lnTo>
                      <a:pt x="278" y="122"/>
                    </a:lnTo>
                    <a:lnTo>
                      <a:pt x="278" y="119"/>
                    </a:lnTo>
                    <a:lnTo>
                      <a:pt x="276" y="119"/>
                    </a:lnTo>
                    <a:lnTo>
                      <a:pt x="274" y="115"/>
                    </a:lnTo>
                    <a:lnTo>
                      <a:pt x="271" y="115"/>
                    </a:lnTo>
                    <a:lnTo>
                      <a:pt x="265" y="117"/>
                    </a:lnTo>
                    <a:lnTo>
                      <a:pt x="261" y="119"/>
                    </a:lnTo>
                    <a:lnTo>
                      <a:pt x="261" y="122"/>
                    </a:lnTo>
                    <a:lnTo>
                      <a:pt x="261" y="122"/>
                    </a:lnTo>
                    <a:lnTo>
                      <a:pt x="267" y="128"/>
                    </a:lnTo>
                    <a:lnTo>
                      <a:pt x="271" y="128"/>
                    </a:lnTo>
                    <a:lnTo>
                      <a:pt x="274" y="128"/>
                    </a:lnTo>
                    <a:lnTo>
                      <a:pt x="274" y="128"/>
                    </a:lnTo>
                    <a:lnTo>
                      <a:pt x="274" y="128"/>
                    </a:lnTo>
                    <a:lnTo>
                      <a:pt x="274" y="128"/>
                    </a:lnTo>
                    <a:close/>
                    <a:moveTo>
                      <a:pt x="282" y="122"/>
                    </a:moveTo>
                    <a:lnTo>
                      <a:pt x="282" y="122"/>
                    </a:lnTo>
                    <a:lnTo>
                      <a:pt x="282" y="128"/>
                    </a:lnTo>
                    <a:lnTo>
                      <a:pt x="280" y="130"/>
                    </a:lnTo>
                    <a:lnTo>
                      <a:pt x="278" y="128"/>
                    </a:lnTo>
                    <a:lnTo>
                      <a:pt x="276" y="130"/>
                    </a:lnTo>
                    <a:lnTo>
                      <a:pt x="271" y="134"/>
                    </a:lnTo>
                    <a:lnTo>
                      <a:pt x="267" y="134"/>
                    </a:lnTo>
                    <a:lnTo>
                      <a:pt x="265" y="132"/>
                    </a:lnTo>
                    <a:lnTo>
                      <a:pt x="261" y="134"/>
                    </a:lnTo>
                    <a:lnTo>
                      <a:pt x="261" y="136"/>
                    </a:lnTo>
                    <a:lnTo>
                      <a:pt x="265" y="141"/>
                    </a:lnTo>
                    <a:lnTo>
                      <a:pt x="265" y="149"/>
                    </a:lnTo>
                    <a:lnTo>
                      <a:pt x="265" y="156"/>
                    </a:lnTo>
                    <a:lnTo>
                      <a:pt x="271" y="162"/>
                    </a:lnTo>
                    <a:lnTo>
                      <a:pt x="274" y="162"/>
                    </a:lnTo>
                    <a:lnTo>
                      <a:pt x="280" y="162"/>
                    </a:lnTo>
                    <a:lnTo>
                      <a:pt x="286" y="162"/>
                    </a:lnTo>
                    <a:lnTo>
                      <a:pt x="289" y="156"/>
                    </a:lnTo>
                    <a:lnTo>
                      <a:pt x="295" y="156"/>
                    </a:lnTo>
                    <a:lnTo>
                      <a:pt x="295" y="153"/>
                    </a:lnTo>
                    <a:lnTo>
                      <a:pt x="289" y="153"/>
                    </a:lnTo>
                    <a:lnTo>
                      <a:pt x="289" y="149"/>
                    </a:lnTo>
                    <a:lnTo>
                      <a:pt x="282" y="147"/>
                    </a:lnTo>
                    <a:lnTo>
                      <a:pt x="282" y="141"/>
                    </a:lnTo>
                    <a:lnTo>
                      <a:pt x="282" y="139"/>
                    </a:lnTo>
                    <a:lnTo>
                      <a:pt x="286" y="136"/>
                    </a:lnTo>
                    <a:lnTo>
                      <a:pt x="289" y="136"/>
                    </a:lnTo>
                    <a:lnTo>
                      <a:pt x="291" y="134"/>
                    </a:lnTo>
                    <a:lnTo>
                      <a:pt x="291" y="132"/>
                    </a:lnTo>
                    <a:lnTo>
                      <a:pt x="289" y="128"/>
                    </a:lnTo>
                    <a:lnTo>
                      <a:pt x="286" y="124"/>
                    </a:lnTo>
                    <a:lnTo>
                      <a:pt x="282" y="122"/>
                    </a:lnTo>
                    <a:lnTo>
                      <a:pt x="282" y="122"/>
                    </a:lnTo>
                    <a:lnTo>
                      <a:pt x="282" y="122"/>
                    </a:lnTo>
                    <a:lnTo>
                      <a:pt x="282" y="122"/>
                    </a:lnTo>
                    <a:close/>
                    <a:moveTo>
                      <a:pt x="301" y="128"/>
                    </a:moveTo>
                    <a:lnTo>
                      <a:pt x="297" y="128"/>
                    </a:lnTo>
                    <a:lnTo>
                      <a:pt x="297" y="122"/>
                    </a:lnTo>
                    <a:lnTo>
                      <a:pt x="295" y="122"/>
                    </a:lnTo>
                    <a:lnTo>
                      <a:pt x="291" y="122"/>
                    </a:lnTo>
                    <a:lnTo>
                      <a:pt x="289" y="119"/>
                    </a:lnTo>
                    <a:lnTo>
                      <a:pt x="289" y="117"/>
                    </a:lnTo>
                    <a:lnTo>
                      <a:pt x="289" y="113"/>
                    </a:lnTo>
                    <a:lnTo>
                      <a:pt x="289" y="109"/>
                    </a:lnTo>
                    <a:lnTo>
                      <a:pt x="286" y="104"/>
                    </a:lnTo>
                    <a:lnTo>
                      <a:pt x="289" y="98"/>
                    </a:lnTo>
                    <a:lnTo>
                      <a:pt x="291" y="98"/>
                    </a:lnTo>
                    <a:lnTo>
                      <a:pt x="295" y="94"/>
                    </a:lnTo>
                    <a:lnTo>
                      <a:pt x="295" y="88"/>
                    </a:lnTo>
                    <a:lnTo>
                      <a:pt x="295" y="88"/>
                    </a:lnTo>
                    <a:lnTo>
                      <a:pt x="299" y="88"/>
                    </a:lnTo>
                    <a:lnTo>
                      <a:pt x="301" y="88"/>
                    </a:lnTo>
                    <a:lnTo>
                      <a:pt x="305" y="88"/>
                    </a:lnTo>
                    <a:lnTo>
                      <a:pt x="306" y="94"/>
                    </a:lnTo>
                    <a:lnTo>
                      <a:pt x="305" y="98"/>
                    </a:lnTo>
                    <a:lnTo>
                      <a:pt x="306" y="100"/>
                    </a:lnTo>
                    <a:lnTo>
                      <a:pt x="310" y="102"/>
                    </a:lnTo>
                    <a:lnTo>
                      <a:pt x="314" y="107"/>
                    </a:lnTo>
                    <a:lnTo>
                      <a:pt x="316" y="107"/>
                    </a:lnTo>
                    <a:lnTo>
                      <a:pt x="316" y="109"/>
                    </a:lnTo>
                    <a:lnTo>
                      <a:pt x="310" y="113"/>
                    </a:lnTo>
                    <a:lnTo>
                      <a:pt x="305" y="115"/>
                    </a:lnTo>
                    <a:lnTo>
                      <a:pt x="303" y="117"/>
                    </a:lnTo>
                    <a:lnTo>
                      <a:pt x="305" y="119"/>
                    </a:lnTo>
                    <a:lnTo>
                      <a:pt x="305" y="124"/>
                    </a:lnTo>
                    <a:lnTo>
                      <a:pt x="301" y="128"/>
                    </a:lnTo>
                    <a:lnTo>
                      <a:pt x="301" y="128"/>
                    </a:lnTo>
                    <a:lnTo>
                      <a:pt x="301" y="128"/>
                    </a:lnTo>
                    <a:lnTo>
                      <a:pt x="301" y="128"/>
                    </a:lnTo>
                    <a:close/>
                    <a:moveTo>
                      <a:pt x="2177" y="629"/>
                    </a:moveTo>
                    <a:lnTo>
                      <a:pt x="2176" y="631"/>
                    </a:lnTo>
                    <a:lnTo>
                      <a:pt x="2177" y="633"/>
                    </a:lnTo>
                    <a:lnTo>
                      <a:pt x="2179" y="633"/>
                    </a:lnTo>
                    <a:lnTo>
                      <a:pt x="2179" y="629"/>
                    </a:lnTo>
                    <a:lnTo>
                      <a:pt x="2177" y="629"/>
                    </a:lnTo>
                    <a:lnTo>
                      <a:pt x="2177" y="629"/>
                    </a:lnTo>
                    <a:lnTo>
                      <a:pt x="2177" y="629"/>
                    </a:lnTo>
                    <a:lnTo>
                      <a:pt x="2177" y="629"/>
                    </a:lnTo>
                    <a:lnTo>
                      <a:pt x="2177" y="629"/>
                    </a:lnTo>
                    <a:close/>
                    <a:moveTo>
                      <a:pt x="2170" y="622"/>
                    </a:moveTo>
                    <a:lnTo>
                      <a:pt x="2176" y="623"/>
                    </a:lnTo>
                    <a:lnTo>
                      <a:pt x="2177" y="623"/>
                    </a:lnTo>
                    <a:lnTo>
                      <a:pt x="2177" y="623"/>
                    </a:lnTo>
                    <a:lnTo>
                      <a:pt x="2176" y="620"/>
                    </a:lnTo>
                    <a:lnTo>
                      <a:pt x="2174" y="620"/>
                    </a:lnTo>
                    <a:lnTo>
                      <a:pt x="2170" y="622"/>
                    </a:lnTo>
                    <a:lnTo>
                      <a:pt x="2170" y="622"/>
                    </a:lnTo>
                    <a:lnTo>
                      <a:pt x="2170" y="622"/>
                    </a:lnTo>
                    <a:lnTo>
                      <a:pt x="2170" y="622"/>
                    </a:lnTo>
                    <a:close/>
                    <a:moveTo>
                      <a:pt x="344" y="396"/>
                    </a:moveTo>
                    <a:lnTo>
                      <a:pt x="346" y="396"/>
                    </a:lnTo>
                    <a:lnTo>
                      <a:pt x="350" y="396"/>
                    </a:lnTo>
                    <a:lnTo>
                      <a:pt x="353" y="390"/>
                    </a:lnTo>
                    <a:lnTo>
                      <a:pt x="353" y="390"/>
                    </a:lnTo>
                    <a:lnTo>
                      <a:pt x="352" y="386"/>
                    </a:lnTo>
                    <a:lnTo>
                      <a:pt x="350" y="390"/>
                    </a:lnTo>
                    <a:lnTo>
                      <a:pt x="346" y="390"/>
                    </a:lnTo>
                    <a:lnTo>
                      <a:pt x="344" y="396"/>
                    </a:lnTo>
                    <a:lnTo>
                      <a:pt x="344" y="396"/>
                    </a:lnTo>
                    <a:lnTo>
                      <a:pt x="344" y="396"/>
                    </a:lnTo>
                    <a:lnTo>
                      <a:pt x="344" y="396"/>
                    </a:lnTo>
                    <a:lnTo>
                      <a:pt x="344" y="396"/>
                    </a:lnTo>
                    <a:close/>
                    <a:moveTo>
                      <a:pt x="323" y="514"/>
                    </a:moveTo>
                    <a:lnTo>
                      <a:pt x="329" y="514"/>
                    </a:lnTo>
                    <a:lnTo>
                      <a:pt x="335" y="514"/>
                    </a:lnTo>
                    <a:lnTo>
                      <a:pt x="338" y="512"/>
                    </a:lnTo>
                    <a:lnTo>
                      <a:pt x="340" y="512"/>
                    </a:lnTo>
                    <a:lnTo>
                      <a:pt x="344" y="514"/>
                    </a:lnTo>
                    <a:lnTo>
                      <a:pt x="346" y="514"/>
                    </a:lnTo>
                    <a:lnTo>
                      <a:pt x="350" y="514"/>
                    </a:lnTo>
                    <a:lnTo>
                      <a:pt x="350" y="512"/>
                    </a:lnTo>
                    <a:lnTo>
                      <a:pt x="350" y="509"/>
                    </a:lnTo>
                    <a:lnTo>
                      <a:pt x="350" y="509"/>
                    </a:lnTo>
                    <a:lnTo>
                      <a:pt x="352" y="514"/>
                    </a:lnTo>
                    <a:lnTo>
                      <a:pt x="355" y="514"/>
                    </a:lnTo>
                    <a:lnTo>
                      <a:pt x="361" y="514"/>
                    </a:lnTo>
                    <a:lnTo>
                      <a:pt x="361" y="514"/>
                    </a:lnTo>
                    <a:lnTo>
                      <a:pt x="365" y="512"/>
                    </a:lnTo>
                    <a:lnTo>
                      <a:pt x="365" y="509"/>
                    </a:lnTo>
                    <a:lnTo>
                      <a:pt x="365" y="503"/>
                    </a:lnTo>
                    <a:lnTo>
                      <a:pt x="369" y="499"/>
                    </a:lnTo>
                    <a:lnTo>
                      <a:pt x="370" y="495"/>
                    </a:lnTo>
                    <a:lnTo>
                      <a:pt x="365" y="493"/>
                    </a:lnTo>
                    <a:lnTo>
                      <a:pt x="365" y="488"/>
                    </a:lnTo>
                    <a:lnTo>
                      <a:pt x="361" y="488"/>
                    </a:lnTo>
                    <a:lnTo>
                      <a:pt x="359" y="488"/>
                    </a:lnTo>
                    <a:lnTo>
                      <a:pt x="357" y="488"/>
                    </a:lnTo>
                    <a:lnTo>
                      <a:pt x="359" y="484"/>
                    </a:lnTo>
                    <a:lnTo>
                      <a:pt x="363" y="488"/>
                    </a:lnTo>
                    <a:lnTo>
                      <a:pt x="365" y="484"/>
                    </a:lnTo>
                    <a:lnTo>
                      <a:pt x="365" y="488"/>
                    </a:lnTo>
                    <a:lnTo>
                      <a:pt x="365" y="490"/>
                    </a:lnTo>
                    <a:lnTo>
                      <a:pt x="369" y="492"/>
                    </a:lnTo>
                    <a:lnTo>
                      <a:pt x="370" y="490"/>
                    </a:lnTo>
                    <a:lnTo>
                      <a:pt x="369" y="484"/>
                    </a:lnTo>
                    <a:lnTo>
                      <a:pt x="365" y="478"/>
                    </a:lnTo>
                    <a:lnTo>
                      <a:pt x="361" y="475"/>
                    </a:lnTo>
                    <a:lnTo>
                      <a:pt x="363" y="471"/>
                    </a:lnTo>
                    <a:lnTo>
                      <a:pt x="365" y="475"/>
                    </a:lnTo>
                    <a:lnTo>
                      <a:pt x="365" y="478"/>
                    </a:lnTo>
                    <a:lnTo>
                      <a:pt x="370" y="480"/>
                    </a:lnTo>
                    <a:lnTo>
                      <a:pt x="370" y="480"/>
                    </a:lnTo>
                    <a:lnTo>
                      <a:pt x="374" y="478"/>
                    </a:lnTo>
                    <a:lnTo>
                      <a:pt x="374" y="475"/>
                    </a:lnTo>
                    <a:lnTo>
                      <a:pt x="370" y="475"/>
                    </a:lnTo>
                    <a:lnTo>
                      <a:pt x="370" y="471"/>
                    </a:lnTo>
                    <a:lnTo>
                      <a:pt x="374" y="467"/>
                    </a:lnTo>
                    <a:lnTo>
                      <a:pt x="374" y="463"/>
                    </a:lnTo>
                    <a:lnTo>
                      <a:pt x="370" y="460"/>
                    </a:lnTo>
                    <a:lnTo>
                      <a:pt x="365" y="456"/>
                    </a:lnTo>
                    <a:lnTo>
                      <a:pt x="370" y="454"/>
                    </a:lnTo>
                    <a:lnTo>
                      <a:pt x="370" y="458"/>
                    </a:lnTo>
                    <a:lnTo>
                      <a:pt x="374" y="458"/>
                    </a:lnTo>
                    <a:lnTo>
                      <a:pt x="376" y="454"/>
                    </a:lnTo>
                    <a:lnTo>
                      <a:pt x="374" y="454"/>
                    </a:lnTo>
                    <a:lnTo>
                      <a:pt x="374" y="454"/>
                    </a:lnTo>
                    <a:lnTo>
                      <a:pt x="374" y="448"/>
                    </a:lnTo>
                    <a:lnTo>
                      <a:pt x="374" y="448"/>
                    </a:lnTo>
                    <a:lnTo>
                      <a:pt x="378" y="450"/>
                    </a:lnTo>
                    <a:lnTo>
                      <a:pt x="384" y="450"/>
                    </a:lnTo>
                    <a:lnTo>
                      <a:pt x="384" y="450"/>
                    </a:lnTo>
                    <a:lnTo>
                      <a:pt x="382" y="448"/>
                    </a:lnTo>
                    <a:lnTo>
                      <a:pt x="382" y="446"/>
                    </a:lnTo>
                    <a:lnTo>
                      <a:pt x="384" y="446"/>
                    </a:lnTo>
                    <a:lnTo>
                      <a:pt x="387" y="446"/>
                    </a:lnTo>
                    <a:lnTo>
                      <a:pt x="389" y="444"/>
                    </a:lnTo>
                    <a:lnTo>
                      <a:pt x="389" y="441"/>
                    </a:lnTo>
                    <a:lnTo>
                      <a:pt x="389" y="439"/>
                    </a:lnTo>
                    <a:lnTo>
                      <a:pt x="389" y="437"/>
                    </a:lnTo>
                    <a:lnTo>
                      <a:pt x="395" y="435"/>
                    </a:lnTo>
                    <a:lnTo>
                      <a:pt x="395" y="431"/>
                    </a:lnTo>
                    <a:lnTo>
                      <a:pt x="391" y="429"/>
                    </a:lnTo>
                    <a:lnTo>
                      <a:pt x="391" y="429"/>
                    </a:lnTo>
                    <a:lnTo>
                      <a:pt x="393" y="424"/>
                    </a:lnTo>
                    <a:lnTo>
                      <a:pt x="395" y="429"/>
                    </a:lnTo>
                    <a:lnTo>
                      <a:pt x="395" y="426"/>
                    </a:lnTo>
                    <a:lnTo>
                      <a:pt x="401" y="420"/>
                    </a:lnTo>
                    <a:lnTo>
                      <a:pt x="402" y="416"/>
                    </a:lnTo>
                    <a:lnTo>
                      <a:pt x="404" y="414"/>
                    </a:lnTo>
                    <a:lnTo>
                      <a:pt x="404" y="409"/>
                    </a:lnTo>
                    <a:lnTo>
                      <a:pt x="410" y="405"/>
                    </a:lnTo>
                    <a:lnTo>
                      <a:pt x="414" y="399"/>
                    </a:lnTo>
                    <a:lnTo>
                      <a:pt x="416" y="394"/>
                    </a:lnTo>
                    <a:lnTo>
                      <a:pt x="419" y="394"/>
                    </a:lnTo>
                    <a:lnTo>
                      <a:pt x="425" y="386"/>
                    </a:lnTo>
                    <a:lnTo>
                      <a:pt x="433" y="380"/>
                    </a:lnTo>
                    <a:lnTo>
                      <a:pt x="438" y="375"/>
                    </a:lnTo>
                    <a:lnTo>
                      <a:pt x="440" y="375"/>
                    </a:lnTo>
                    <a:lnTo>
                      <a:pt x="446" y="369"/>
                    </a:lnTo>
                    <a:lnTo>
                      <a:pt x="451" y="367"/>
                    </a:lnTo>
                    <a:lnTo>
                      <a:pt x="453" y="365"/>
                    </a:lnTo>
                    <a:lnTo>
                      <a:pt x="459" y="360"/>
                    </a:lnTo>
                    <a:lnTo>
                      <a:pt x="463" y="356"/>
                    </a:lnTo>
                    <a:lnTo>
                      <a:pt x="465" y="356"/>
                    </a:lnTo>
                    <a:lnTo>
                      <a:pt x="468" y="356"/>
                    </a:lnTo>
                    <a:lnTo>
                      <a:pt x="468" y="354"/>
                    </a:lnTo>
                    <a:lnTo>
                      <a:pt x="466" y="352"/>
                    </a:lnTo>
                    <a:lnTo>
                      <a:pt x="468" y="348"/>
                    </a:lnTo>
                    <a:lnTo>
                      <a:pt x="468" y="345"/>
                    </a:lnTo>
                    <a:lnTo>
                      <a:pt x="468" y="341"/>
                    </a:lnTo>
                    <a:lnTo>
                      <a:pt x="466" y="339"/>
                    </a:lnTo>
                    <a:lnTo>
                      <a:pt x="465" y="339"/>
                    </a:lnTo>
                    <a:lnTo>
                      <a:pt x="465" y="335"/>
                    </a:lnTo>
                    <a:lnTo>
                      <a:pt x="466" y="331"/>
                    </a:lnTo>
                    <a:lnTo>
                      <a:pt x="465" y="330"/>
                    </a:lnTo>
                    <a:lnTo>
                      <a:pt x="461" y="328"/>
                    </a:lnTo>
                    <a:lnTo>
                      <a:pt x="459" y="326"/>
                    </a:lnTo>
                    <a:lnTo>
                      <a:pt x="457" y="326"/>
                    </a:lnTo>
                    <a:lnTo>
                      <a:pt x="453" y="322"/>
                    </a:lnTo>
                    <a:lnTo>
                      <a:pt x="453" y="320"/>
                    </a:lnTo>
                    <a:lnTo>
                      <a:pt x="453" y="318"/>
                    </a:lnTo>
                    <a:lnTo>
                      <a:pt x="449" y="320"/>
                    </a:lnTo>
                    <a:lnTo>
                      <a:pt x="448" y="322"/>
                    </a:lnTo>
                    <a:lnTo>
                      <a:pt x="446" y="322"/>
                    </a:lnTo>
                    <a:lnTo>
                      <a:pt x="442" y="320"/>
                    </a:lnTo>
                    <a:lnTo>
                      <a:pt x="440" y="322"/>
                    </a:lnTo>
                    <a:lnTo>
                      <a:pt x="434" y="324"/>
                    </a:lnTo>
                    <a:lnTo>
                      <a:pt x="433" y="328"/>
                    </a:lnTo>
                    <a:lnTo>
                      <a:pt x="433" y="330"/>
                    </a:lnTo>
                    <a:lnTo>
                      <a:pt x="429" y="330"/>
                    </a:lnTo>
                    <a:lnTo>
                      <a:pt x="425" y="331"/>
                    </a:lnTo>
                    <a:lnTo>
                      <a:pt x="425" y="335"/>
                    </a:lnTo>
                    <a:lnTo>
                      <a:pt x="425" y="337"/>
                    </a:lnTo>
                    <a:lnTo>
                      <a:pt x="425" y="339"/>
                    </a:lnTo>
                    <a:lnTo>
                      <a:pt x="425" y="343"/>
                    </a:lnTo>
                    <a:lnTo>
                      <a:pt x="425" y="345"/>
                    </a:lnTo>
                    <a:lnTo>
                      <a:pt x="423" y="345"/>
                    </a:lnTo>
                    <a:lnTo>
                      <a:pt x="419" y="347"/>
                    </a:lnTo>
                    <a:lnTo>
                      <a:pt x="419" y="350"/>
                    </a:lnTo>
                    <a:lnTo>
                      <a:pt x="419" y="352"/>
                    </a:lnTo>
                    <a:lnTo>
                      <a:pt x="417" y="354"/>
                    </a:lnTo>
                    <a:lnTo>
                      <a:pt x="410" y="360"/>
                    </a:lnTo>
                    <a:lnTo>
                      <a:pt x="408" y="362"/>
                    </a:lnTo>
                    <a:lnTo>
                      <a:pt x="408" y="360"/>
                    </a:lnTo>
                    <a:lnTo>
                      <a:pt x="402" y="360"/>
                    </a:lnTo>
                    <a:lnTo>
                      <a:pt x="401" y="362"/>
                    </a:lnTo>
                    <a:lnTo>
                      <a:pt x="399" y="365"/>
                    </a:lnTo>
                    <a:lnTo>
                      <a:pt x="395" y="367"/>
                    </a:lnTo>
                    <a:lnTo>
                      <a:pt x="395" y="365"/>
                    </a:lnTo>
                    <a:lnTo>
                      <a:pt x="393" y="365"/>
                    </a:lnTo>
                    <a:lnTo>
                      <a:pt x="391" y="365"/>
                    </a:lnTo>
                    <a:lnTo>
                      <a:pt x="391" y="365"/>
                    </a:lnTo>
                    <a:lnTo>
                      <a:pt x="391" y="371"/>
                    </a:lnTo>
                    <a:lnTo>
                      <a:pt x="391" y="371"/>
                    </a:lnTo>
                    <a:lnTo>
                      <a:pt x="389" y="367"/>
                    </a:lnTo>
                    <a:lnTo>
                      <a:pt x="387" y="365"/>
                    </a:lnTo>
                    <a:lnTo>
                      <a:pt x="382" y="365"/>
                    </a:lnTo>
                    <a:lnTo>
                      <a:pt x="374" y="367"/>
                    </a:lnTo>
                    <a:lnTo>
                      <a:pt x="374" y="369"/>
                    </a:lnTo>
                    <a:lnTo>
                      <a:pt x="370" y="369"/>
                    </a:lnTo>
                    <a:lnTo>
                      <a:pt x="370" y="371"/>
                    </a:lnTo>
                    <a:lnTo>
                      <a:pt x="370" y="377"/>
                    </a:lnTo>
                    <a:lnTo>
                      <a:pt x="374" y="379"/>
                    </a:lnTo>
                    <a:lnTo>
                      <a:pt x="374" y="380"/>
                    </a:lnTo>
                    <a:lnTo>
                      <a:pt x="370" y="380"/>
                    </a:lnTo>
                    <a:lnTo>
                      <a:pt x="370" y="384"/>
                    </a:lnTo>
                    <a:lnTo>
                      <a:pt x="369" y="384"/>
                    </a:lnTo>
                    <a:lnTo>
                      <a:pt x="369" y="380"/>
                    </a:lnTo>
                    <a:lnTo>
                      <a:pt x="370" y="380"/>
                    </a:lnTo>
                    <a:lnTo>
                      <a:pt x="370" y="377"/>
                    </a:lnTo>
                    <a:lnTo>
                      <a:pt x="365" y="377"/>
                    </a:lnTo>
                    <a:lnTo>
                      <a:pt x="365" y="380"/>
                    </a:lnTo>
                    <a:lnTo>
                      <a:pt x="361" y="384"/>
                    </a:lnTo>
                    <a:lnTo>
                      <a:pt x="361" y="386"/>
                    </a:lnTo>
                    <a:lnTo>
                      <a:pt x="363" y="386"/>
                    </a:lnTo>
                    <a:lnTo>
                      <a:pt x="361" y="390"/>
                    </a:lnTo>
                    <a:lnTo>
                      <a:pt x="361" y="390"/>
                    </a:lnTo>
                    <a:lnTo>
                      <a:pt x="355" y="390"/>
                    </a:lnTo>
                    <a:lnTo>
                      <a:pt x="353" y="394"/>
                    </a:lnTo>
                    <a:lnTo>
                      <a:pt x="353" y="396"/>
                    </a:lnTo>
                    <a:lnTo>
                      <a:pt x="350" y="396"/>
                    </a:lnTo>
                    <a:lnTo>
                      <a:pt x="350" y="399"/>
                    </a:lnTo>
                    <a:lnTo>
                      <a:pt x="346" y="403"/>
                    </a:lnTo>
                    <a:lnTo>
                      <a:pt x="350" y="405"/>
                    </a:lnTo>
                    <a:lnTo>
                      <a:pt x="350" y="405"/>
                    </a:lnTo>
                    <a:lnTo>
                      <a:pt x="346" y="409"/>
                    </a:lnTo>
                    <a:lnTo>
                      <a:pt x="340" y="409"/>
                    </a:lnTo>
                    <a:lnTo>
                      <a:pt x="340" y="411"/>
                    </a:lnTo>
                    <a:lnTo>
                      <a:pt x="340" y="414"/>
                    </a:lnTo>
                    <a:lnTo>
                      <a:pt x="340" y="418"/>
                    </a:lnTo>
                    <a:lnTo>
                      <a:pt x="340" y="418"/>
                    </a:lnTo>
                    <a:lnTo>
                      <a:pt x="344" y="418"/>
                    </a:lnTo>
                    <a:lnTo>
                      <a:pt x="344" y="420"/>
                    </a:lnTo>
                    <a:lnTo>
                      <a:pt x="344" y="420"/>
                    </a:lnTo>
                    <a:lnTo>
                      <a:pt x="344" y="424"/>
                    </a:lnTo>
                    <a:lnTo>
                      <a:pt x="344" y="426"/>
                    </a:lnTo>
                    <a:lnTo>
                      <a:pt x="340" y="424"/>
                    </a:lnTo>
                    <a:lnTo>
                      <a:pt x="337" y="424"/>
                    </a:lnTo>
                    <a:lnTo>
                      <a:pt x="333" y="426"/>
                    </a:lnTo>
                    <a:lnTo>
                      <a:pt x="331" y="429"/>
                    </a:lnTo>
                    <a:lnTo>
                      <a:pt x="331" y="431"/>
                    </a:lnTo>
                    <a:lnTo>
                      <a:pt x="329" y="433"/>
                    </a:lnTo>
                    <a:lnTo>
                      <a:pt x="325" y="437"/>
                    </a:lnTo>
                    <a:lnTo>
                      <a:pt x="323" y="435"/>
                    </a:lnTo>
                    <a:lnTo>
                      <a:pt x="321" y="433"/>
                    </a:lnTo>
                    <a:lnTo>
                      <a:pt x="320" y="429"/>
                    </a:lnTo>
                    <a:lnTo>
                      <a:pt x="320" y="431"/>
                    </a:lnTo>
                    <a:lnTo>
                      <a:pt x="320" y="435"/>
                    </a:lnTo>
                    <a:lnTo>
                      <a:pt x="320" y="441"/>
                    </a:lnTo>
                    <a:lnTo>
                      <a:pt x="321" y="443"/>
                    </a:lnTo>
                    <a:lnTo>
                      <a:pt x="325" y="443"/>
                    </a:lnTo>
                    <a:lnTo>
                      <a:pt x="325" y="443"/>
                    </a:lnTo>
                    <a:lnTo>
                      <a:pt x="325" y="444"/>
                    </a:lnTo>
                    <a:lnTo>
                      <a:pt x="323" y="450"/>
                    </a:lnTo>
                    <a:lnTo>
                      <a:pt x="325" y="450"/>
                    </a:lnTo>
                    <a:lnTo>
                      <a:pt x="327" y="450"/>
                    </a:lnTo>
                    <a:lnTo>
                      <a:pt x="329" y="450"/>
                    </a:lnTo>
                    <a:lnTo>
                      <a:pt x="331" y="450"/>
                    </a:lnTo>
                    <a:lnTo>
                      <a:pt x="333" y="450"/>
                    </a:lnTo>
                    <a:lnTo>
                      <a:pt x="337" y="450"/>
                    </a:lnTo>
                    <a:lnTo>
                      <a:pt x="338" y="450"/>
                    </a:lnTo>
                    <a:lnTo>
                      <a:pt x="340" y="450"/>
                    </a:lnTo>
                    <a:lnTo>
                      <a:pt x="338" y="454"/>
                    </a:lnTo>
                    <a:lnTo>
                      <a:pt x="335" y="454"/>
                    </a:lnTo>
                    <a:lnTo>
                      <a:pt x="331" y="454"/>
                    </a:lnTo>
                    <a:lnTo>
                      <a:pt x="329" y="454"/>
                    </a:lnTo>
                    <a:lnTo>
                      <a:pt x="327" y="454"/>
                    </a:lnTo>
                    <a:lnTo>
                      <a:pt x="325" y="456"/>
                    </a:lnTo>
                    <a:lnTo>
                      <a:pt x="327" y="460"/>
                    </a:lnTo>
                    <a:lnTo>
                      <a:pt x="329" y="461"/>
                    </a:lnTo>
                    <a:lnTo>
                      <a:pt x="333" y="461"/>
                    </a:lnTo>
                    <a:lnTo>
                      <a:pt x="335" y="461"/>
                    </a:lnTo>
                    <a:lnTo>
                      <a:pt x="337" y="463"/>
                    </a:lnTo>
                    <a:lnTo>
                      <a:pt x="335" y="463"/>
                    </a:lnTo>
                    <a:lnTo>
                      <a:pt x="331" y="465"/>
                    </a:lnTo>
                    <a:lnTo>
                      <a:pt x="325" y="465"/>
                    </a:lnTo>
                    <a:lnTo>
                      <a:pt x="323" y="467"/>
                    </a:lnTo>
                    <a:lnTo>
                      <a:pt x="323" y="469"/>
                    </a:lnTo>
                    <a:lnTo>
                      <a:pt x="325" y="471"/>
                    </a:lnTo>
                    <a:lnTo>
                      <a:pt x="329" y="471"/>
                    </a:lnTo>
                    <a:lnTo>
                      <a:pt x="333" y="471"/>
                    </a:lnTo>
                    <a:lnTo>
                      <a:pt x="333" y="473"/>
                    </a:lnTo>
                    <a:lnTo>
                      <a:pt x="331" y="473"/>
                    </a:lnTo>
                    <a:lnTo>
                      <a:pt x="327" y="473"/>
                    </a:lnTo>
                    <a:lnTo>
                      <a:pt x="327" y="475"/>
                    </a:lnTo>
                    <a:lnTo>
                      <a:pt x="327" y="475"/>
                    </a:lnTo>
                    <a:lnTo>
                      <a:pt x="333" y="475"/>
                    </a:lnTo>
                    <a:lnTo>
                      <a:pt x="338" y="480"/>
                    </a:lnTo>
                    <a:lnTo>
                      <a:pt x="340" y="480"/>
                    </a:lnTo>
                    <a:lnTo>
                      <a:pt x="340" y="480"/>
                    </a:lnTo>
                    <a:lnTo>
                      <a:pt x="340" y="484"/>
                    </a:lnTo>
                    <a:lnTo>
                      <a:pt x="338" y="480"/>
                    </a:lnTo>
                    <a:lnTo>
                      <a:pt x="335" y="480"/>
                    </a:lnTo>
                    <a:lnTo>
                      <a:pt x="331" y="480"/>
                    </a:lnTo>
                    <a:lnTo>
                      <a:pt x="329" y="478"/>
                    </a:lnTo>
                    <a:lnTo>
                      <a:pt x="325" y="478"/>
                    </a:lnTo>
                    <a:lnTo>
                      <a:pt x="323" y="480"/>
                    </a:lnTo>
                    <a:lnTo>
                      <a:pt x="321" y="484"/>
                    </a:lnTo>
                    <a:lnTo>
                      <a:pt x="320" y="484"/>
                    </a:lnTo>
                    <a:lnTo>
                      <a:pt x="321" y="484"/>
                    </a:lnTo>
                    <a:lnTo>
                      <a:pt x="321" y="488"/>
                    </a:lnTo>
                    <a:lnTo>
                      <a:pt x="321" y="488"/>
                    </a:lnTo>
                    <a:lnTo>
                      <a:pt x="320" y="490"/>
                    </a:lnTo>
                    <a:lnTo>
                      <a:pt x="320" y="490"/>
                    </a:lnTo>
                    <a:lnTo>
                      <a:pt x="316" y="492"/>
                    </a:lnTo>
                    <a:lnTo>
                      <a:pt x="316" y="495"/>
                    </a:lnTo>
                    <a:lnTo>
                      <a:pt x="316" y="495"/>
                    </a:lnTo>
                    <a:lnTo>
                      <a:pt x="316" y="497"/>
                    </a:lnTo>
                    <a:lnTo>
                      <a:pt x="312" y="499"/>
                    </a:lnTo>
                    <a:lnTo>
                      <a:pt x="312" y="499"/>
                    </a:lnTo>
                    <a:lnTo>
                      <a:pt x="316" y="505"/>
                    </a:lnTo>
                    <a:lnTo>
                      <a:pt x="320" y="505"/>
                    </a:lnTo>
                    <a:lnTo>
                      <a:pt x="320" y="505"/>
                    </a:lnTo>
                    <a:lnTo>
                      <a:pt x="321" y="503"/>
                    </a:lnTo>
                    <a:lnTo>
                      <a:pt x="323" y="501"/>
                    </a:lnTo>
                    <a:lnTo>
                      <a:pt x="329" y="497"/>
                    </a:lnTo>
                    <a:lnTo>
                      <a:pt x="333" y="495"/>
                    </a:lnTo>
                    <a:lnTo>
                      <a:pt x="337" y="495"/>
                    </a:lnTo>
                    <a:lnTo>
                      <a:pt x="338" y="497"/>
                    </a:lnTo>
                    <a:lnTo>
                      <a:pt x="338" y="499"/>
                    </a:lnTo>
                    <a:lnTo>
                      <a:pt x="337" y="499"/>
                    </a:lnTo>
                    <a:lnTo>
                      <a:pt x="335" y="497"/>
                    </a:lnTo>
                    <a:lnTo>
                      <a:pt x="333" y="497"/>
                    </a:lnTo>
                    <a:lnTo>
                      <a:pt x="331" y="501"/>
                    </a:lnTo>
                    <a:lnTo>
                      <a:pt x="325" y="503"/>
                    </a:lnTo>
                    <a:lnTo>
                      <a:pt x="323" y="505"/>
                    </a:lnTo>
                    <a:lnTo>
                      <a:pt x="323" y="509"/>
                    </a:lnTo>
                    <a:lnTo>
                      <a:pt x="323" y="514"/>
                    </a:lnTo>
                    <a:lnTo>
                      <a:pt x="323" y="514"/>
                    </a:lnTo>
                    <a:lnTo>
                      <a:pt x="323" y="514"/>
                    </a:lnTo>
                    <a:lnTo>
                      <a:pt x="323" y="514"/>
                    </a:lnTo>
                    <a:lnTo>
                      <a:pt x="323" y="514"/>
                    </a:lnTo>
                    <a:lnTo>
                      <a:pt x="323" y="514"/>
                    </a:lnTo>
                    <a:lnTo>
                      <a:pt x="323" y="514"/>
                    </a:lnTo>
                    <a:close/>
                    <a:moveTo>
                      <a:pt x="340" y="616"/>
                    </a:moveTo>
                    <a:lnTo>
                      <a:pt x="340" y="616"/>
                    </a:lnTo>
                    <a:lnTo>
                      <a:pt x="340" y="614"/>
                    </a:lnTo>
                    <a:lnTo>
                      <a:pt x="340" y="612"/>
                    </a:lnTo>
                    <a:lnTo>
                      <a:pt x="340" y="608"/>
                    </a:lnTo>
                    <a:lnTo>
                      <a:pt x="340" y="606"/>
                    </a:lnTo>
                    <a:lnTo>
                      <a:pt x="337" y="606"/>
                    </a:lnTo>
                    <a:lnTo>
                      <a:pt x="337" y="603"/>
                    </a:lnTo>
                    <a:lnTo>
                      <a:pt x="333" y="603"/>
                    </a:lnTo>
                    <a:lnTo>
                      <a:pt x="329" y="603"/>
                    </a:lnTo>
                    <a:lnTo>
                      <a:pt x="325" y="603"/>
                    </a:lnTo>
                    <a:lnTo>
                      <a:pt x="327" y="606"/>
                    </a:lnTo>
                    <a:lnTo>
                      <a:pt x="329" y="606"/>
                    </a:lnTo>
                    <a:lnTo>
                      <a:pt x="331" y="606"/>
                    </a:lnTo>
                    <a:lnTo>
                      <a:pt x="335" y="608"/>
                    </a:lnTo>
                    <a:lnTo>
                      <a:pt x="335" y="612"/>
                    </a:lnTo>
                    <a:lnTo>
                      <a:pt x="337" y="612"/>
                    </a:lnTo>
                    <a:lnTo>
                      <a:pt x="340" y="616"/>
                    </a:lnTo>
                    <a:lnTo>
                      <a:pt x="340" y="616"/>
                    </a:lnTo>
                    <a:lnTo>
                      <a:pt x="340" y="616"/>
                    </a:lnTo>
                    <a:lnTo>
                      <a:pt x="340" y="616"/>
                    </a:lnTo>
                    <a:close/>
                    <a:moveTo>
                      <a:pt x="408" y="616"/>
                    </a:moveTo>
                    <a:lnTo>
                      <a:pt x="401" y="612"/>
                    </a:lnTo>
                    <a:lnTo>
                      <a:pt x="399" y="614"/>
                    </a:lnTo>
                    <a:lnTo>
                      <a:pt x="395" y="612"/>
                    </a:lnTo>
                    <a:lnTo>
                      <a:pt x="395" y="608"/>
                    </a:lnTo>
                    <a:lnTo>
                      <a:pt x="391" y="608"/>
                    </a:lnTo>
                    <a:lnTo>
                      <a:pt x="384" y="603"/>
                    </a:lnTo>
                    <a:lnTo>
                      <a:pt x="382" y="599"/>
                    </a:lnTo>
                    <a:lnTo>
                      <a:pt x="378" y="599"/>
                    </a:lnTo>
                    <a:lnTo>
                      <a:pt x="374" y="591"/>
                    </a:lnTo>
                    <a:lnTo>
                      <a:pt x="369" y="584"/>
                    </a:lnTo>
                    <a:lnTo>
                      <a:pt x="365" y="574"/>
                    </a:lnTo>
                    <a:lnTo>
                      <a:pt x="361" y="569"/>
                    </a:lnTo>
                    <a:lnTo>
                      <a:pt x="361" y="561"/>
                    </a:lnTo>
                    <a:lnTo>
                      <a:pt x="359" y="556"/>
                    </a:lnTo>
                    <a:lnTo>
                      <a:pt x="357" y="544"/>
                    </a:lnTo>
                    <a:lnTo>
                      <a:pt x="355" y="542"/>
                    </a:lnTo>
                    <a:lnTo>
                      <a:pt x="357" y="539"/>
                    </a:lnTo>
                    <a:lnTo>
                      <a:pt x="357" y="539"/>
                    </a:lnTo>
                    <a:lnTo>
                      <a:pt x="353" y="537"/>
                    </a:lnTo>
                    <a:lnTo>
                      <a:pt x="352" y="539"/>
                    </a:lnTo>
                    <a:lnTo>
                      <a:pt x="350" y="537"/>
                    </a:lnTo>
                    <a:lnTo>
                      <a:pt x="350" y="535"/>
                    </a:lnTo>
                    <a:lnTo>
                      <a:pt x="355" y="537"/>
                    </a:lnTo>
                    <a:lnTo>
                      <a:pt x="359" y="533"/>
                    </a:lnTo>
                    <a:lnTo>
                      <a:pt x="359" y="525"/>
                    </a:lnTo>
                    <a:lnTo>
                      <a:pt x="359" y="522"/>
                    </a:lnTo>
                    <a:lnTo>
                      <a:pt x="355" y="524"/>
                    </a:lnTo>
                    <a:lnTo>
                      <a:pt x="352" y="524"/>
                    </a:lnTo>
                    <a:lnTo>
                      <a:pt x="353" y="522"/>
                    </a:lnTo>
                    <a:lnTo>
                      <a:pt x="359" y="520"/>
                    </a:lnTo>
                    <a:lnTo>
                      <a:pt x="359" y="518"/>
                    </a:lnTo>
                    <a:lnTo>
                      <a:pt x="357" y="518"/>
                    </a:lnTo>
                    <a:lnTo>
                      <a:pt x="352" y="518"/>
                    </a:lnTo>
                    <a:lnTo>
                      <a:pt x="344" y="514"/>
                    </a:lnTo>
                    <a:lnTo>
                      <a:pt x="340" y="514"/>
                    </a:lnTo>
                    <a:lnTo>
                      <a:pt x="337" y="514"/>
                    </a:lnTo>
                    <a:lnTo>
                      <a:pt x="329" y="518"/>
                    </a:lnTo>
                    <a:lnTo>
                      <a:pt x="323" y="518"/>
                    </a:lnTo>
                    <a:lnTo>
                      <a:pt x="320" y="520"/>
                    </a:lnTo>
                    <a:lnTo>
                      <a:pt x="316" y="524"/>
                    </a:lnTo>
                    <a:lnTo>
                      <a:pt x="316" y="527"/>
                    </a:lnTo>
                    <a:lnTo>
                      <a:pt x="316" y="529"/>
                    </a:lnTo>
                    <a:lnTo>
                      <a:pt x="316" y="533"/>
                    </a:lnTo>
                    <a:lnTo>
                      <a:pt x="320" y="533"/>
                    </a:lnTo>
                    <a:lnTo>
                      <a:pt x="320" y="535"/>
                    </a:lnTo>
                    <a:lnTo>
                      <a:pt x="320" y="537"/>
                    </a:lnTo>
                    <a:lnTo>
                      <a:pt x="316" y="537"/>
                    </a:lnTo>
                    <a:lnTo>
                      <a:pt x="312" y="539"/>
                    </a:lnTo>
                    <a:lnTo>
                      <a:pt x="310" y="542"/>
                    </a:lnTo>
                    <a:lnTo>
                      <a:pt x="306" y="548"/>
                    </a:lnTo>
                    <a:lnTo>
                      <a:pt x="310" y="548"/>
                    </a:lnTo>
                    <a:lnTo>
                      <a:pt x="314" y="548"/>
                    </a:lnTo>
                    <a:lnTo>
                      <a:pt x="320" y="544"/>
                    </a:lnTo>
                    <a:lnTo>
                      <a:pt x="320" y="548"/>
                    </a:lnTo>
                    <a:lnTo>
                      <a:pt x="316" y="550"/>
                    </a:lnTo>
                    <a:lnTo>
                      <a:pt x="316" y="554"/>
                    </a:lnTo>
                    <a:lnTo>
                      <a:pt x="316" y="554"/>
                    </a:lnTo>
                    <a:lnTo>
                      <a:pt x="320" y="550"/>
                    </a:lnTo>
                    <a:lnTo>
                      <a:pt x="321" y="550"/>
                    </a:lnTo>
                    <a:lnTo>
                      <a:pt x="321" y="552"/>
                    </a:lnTo>
                    <a:lnTo>
                      <a:pt x="320" y="554"/>
                    </a:lnTo>
                    <a:lnTo>
                      <a:pt x="320" y="558"/>
                    </a:lnTo>
                    <a:lnTo>
                      <a:pt x="321" y="559"/>
                    </a:lnTo>
                    <a:lnTo>
                      <a:pt x="325" y="559"/>
                    </a:lnTo>
                    <a:lnTo>
                      <a:pt x="323" y="561"/>
                    </a:lnTo>
                    <a:lnTo>
                      <a:pt x="320" y="561"/>
                    </a:lnTo>
                    <a:lnTo>
                      <a:pt x="320" y="563"/>
                    </a:lnTo>
                    <a:lnTo>
                      <a:pt x="320" y="567"/>
                    </a:lnTo>
                    <a:lnTo>
                      <a:pt x="320" y="569"/>
                    </a:lnTo>
                    <a:lnTo>
                      <a:pt x="320" y="573"/>
                    </a:lnTo>
                    <a:lnTo>
                      <a:pt x="316" y="569"/>
                    </a:lnTo>
                    <a:lnTo>
                      <a:pt x="314" y="573"/>
                    </a:lnTo>
                    <a:lnTo>
                      <a:pt x="312" y="569"/>
                    </a:lnTo>
                    <a:lnTo>
                      <a:pt x="306" y="569"/>
                    </a:lnTo>
                    <a:lnTo>
                      <a:pt x="306" y="573"/>
                    </a:lnTo>
                    <a:lnTo>
                      <a:pt x="306" y="576"/>
                    </a:lnTo>
                    <a:lnTo>
                      <a:pt x="306" y="582"/>
                    </a:lnTo>
                    <a:lnTo>
                      <a:pt x="306" y="586"/>
                    </a:lnTo>
                    <a:lnTo>
                      <a:pt x="306" y="590"/>
                    </a:lnTo>
                    <a:lnTo>
                      <a:pt x="312" y="595"/>
                    </a:lnTo>
                    <a:lnTo>
                      <a:pt x="312" y="597"/>
                    </a:lnTo>
                    <a:lnTo>
                      <a:pt x="316" y="599"/>
                    </a:lnTo>
                    <a:lnTo>
                      <a:pt x="320" y="603"/>
                    </a:lnTo>
                    <a:lnTo>
                      <a:pt x="321" y="599"/>
                    </a:lnTo>
                    <a:lnTo>
                      <a:pt x="325" y="599"/>
                    </a:lnTo>
                    <a:lnTo>
                      <a:pt x="327" y="595"/>
                    </a:lnTo>
                    <a:lnTo>
                      <a:pt x="327" y="590"/>
                    </a:lnTo>
                    <a:lnTo>
                      <a:pt x="327" y="586"/>
                    </a:lnTo>
                    <a:lnTo>
                      <a:pt x="329" y="582"/>
                    </a:lnTo>
                    <a:lnTo>
                      <a:pt x="327" y="588"/>
                    </a:lnTo>
                    <a:lnTo>
                      <a:pt x="327" y="590"/>
                    </a:lnTo>
                    <a:lnTo>
                      <a:pt x="329" y="593"/>
                    </a:lnTo>
                    <a:lnTo>
                      <a:pt x="331" y="597"/>
                    </a:lnTo>
                    <a:lnTo>
                      <a:pt x="333" y="599"/>
                    </a:lnTo>
                    <a:lnTo>
                      <a:pt x="337" y="597"/>
                    </a:lnTo>
                    <a:lnTo>
                      <a:pt x="337" y="593"/>
                    </a:lnTo>
                    <a:lnTo>
                      <a:pt x="338" y="590"/>
                    </a:lnTo>
                    <a:lnTo>
                      <a:pt x="338" y="591"/>
                    </a:lnTo>
                    <a:lnTo>
                      <a:pt x="338" y="593"/>
                    </a:lnTo>
                    <a:lnTo>
                      <a:pt x="338" y="597"/>
                    </a:lnTo>
                    <a:lnTo>
                      <a:pt x="340" y="603"/>
                    </a:lnTo>
                    <a:lnTo>
                      <a:pt x="344" y="606"/>
                    </a:lnTo>
                    <a:lnTo>
                      <a:pt x="350" y="606"/>
                    </a:lnTo>
                    <a:lnTo>
                      <a:pt x="352" y="603"/>
                    </a:lnTo>
                    <a:lnTo>
                      <a:pt x="353" y="603"/>
                    </a:lnTo>
                    <a:lnTo>
                      <a:pt x="352" y="606"/>
                    </a:lnTo>
                    <a:lnTo>
                      <a:pt x="350" y="606"/>
                    </a:lnTo>
                    <a:lnTo>
                      <a:pt x="350" y="606"/>
                    </a:lnTo>
                    <a:lnTo>
                      <a:pt x="346" y="608"/>
                    </a:lnTo>
                    <a:lnTo>
                      <a:pt x="344" y="612"/>
                    </a:lnTo>
                    <a:lnTo>
                      <a:pt x="350" y="614"/>
                    </a:lnTo>
                    <a:lnTo>
                      <a:pt x="350" y="618"/>
                    </a:lnTo>
                    <a:lnTo>
                      <a:pt x="346" y="618"/>
                    </a:lnTo>
                    <a:lnTo>
                      <a:pt x="344" y="616"/>
                    </a:lnTo>
                    <a:lnTo>
                      <a:pt x="344" y="620"/>
                    </a:lnTo>
                    <a:lnTo>
                      <a:pt x="346" y="622"/>
                    </a:lnTo>
                    <a:lnTo>
                      <a:pt x="352" y="622"/>
                    </a:lnTo>
                    <a:lnTo>
                      <a:pt x="355" y="623"/>
                    </a:lnTo>
                    <a:lnTo>
                      <a:pt x="361" y="622"/>
                    </a:lnTo>
                    <a:lnTo>
                      <a:pt x="365" y="623"/>
                    </a:lnTo>
                    <a:lnTo>
                      <a:pt x="365" y="622"/>
                    </a:lnTo>
                    <a:lnTo>
                      <a:pt x="365" y="622"/>
                    </a:lnTo>
                    <a:lnTo>
                      <a:pt x="369" y="623"/>
                    </a:lnTo>
                    <a:lnTo>
                      <a:pt x="370" y="629"/>
                    </a:lnTo>
                    <a:lnTo>
                      <a:pt x="370" y="633"/>
                    </a:lnTo>
                    <a:lnTo>
                      <a:pt x="374" y="631"/>
                    </a:lnTo>
                    <a:lnTo>
                      <a:pt x="376" y="629"/>
                    </a:lnTo>
                    <a:lnTo>
                      <a:pt x="376" y="623"/>
                    </a:lnTo>
                    <a:lnTo>
                      <a:pt x="370" y="622"/>
                    </a:lnTo>
                    <a:lnTo>
                      <a:pt x="370" y="622"/>
                    </a:lnTo>
                    <a:lnTo>
                      <a:pt x="370" y="620"/>
                    </a:lnTo>
                    <a:lnTo>
                      <a:pt x="374" y="622"/>
                    </a:lnTo>
                    <a:lnTo>
                      <a:pt x="378" y="623"/>
                    </a:lnTo>
                    <a:lnTo>
                      <a:pt x="378" y="623"/>
                    </a:lnTo>
                    <a:lnTo>
                      <a:pt x="380" y="629"/>
                    </a:lnTo>
                    <a:lnTo>
                      <a:pt x="382" y="629"/>
                    </a:lnTo>
                    <a:lnTo>
                      <a:pt x="384" y="627"/>
                    </a:lnTo>
                    <a:lnTo>
                      <a:pt x="384" y="623"/>
                    </a:lnTo>
                    <a:lnTo>
                      <a:pt x="387" y="629"/>
                    </a:lnTo>
                    <a:lnTo>
                      <a:pt x="391" y="631"/>
                    </a:lnTo>
                    <a:lnTo>
                      <a:pt x="393" y="631"/>
                    </a:lnTo>
                    <a:lnTo>
                      <a:pt x="393" y="629"/>
                    </a:lnTo>
                    <a:lnTo>
                      <a:pt x="391" y="623"/>
                    </a:lnTo>
                    <a:lnTo>
                      <a:pt x="391" y="623"/>
                    </a:lnTo>
                    <a:lnTo>
                      <a:pt x="393" y="623"/>
                    </a:lnTo>
                    <a:lnTo>
                      <a:pt x="395" y="623"/>
                    </a:lnTo>
                    <a:lnTo>
                      <a:pt x="395" y="627"/>
                    </a:lnTo>
                    <a:lnTo>
                      <a:pt x="399" y="627"/>
                    </a:lnTo>
                    <a:lnTo>
                      <a:pt x="399" y="631"/>
                    </a:lnTo>
                    <a:lnTo>
                      <a:pt x="401" y="633"/>
                    </a:lnTo>
                    <a:lnTo>
                      <a:pt x="402" y="631"/>
                    </a:lnTo>
                    <a:lnTo>
                      <a:pt x="402" y="629"/>
                    </a:lnTo>
                    <a:lnTo>
                      <a:pt x="402" y="623"/>
                    </a:lnTo>
                    <a:lnTo>
                      <a:pt x="399" y="623"/>
                    </a:lnTo>
                    <a:lnTo>
                      <a:pt x="399" y="623"/>
                    </a:lnTo>
                    <a:lnTo>
                      <a:pt x="399" y="622"/>
                    </a:lnTo>
                    <a:lnTo>
                      <a:pt x="401" y="623"/>
                    </a:lnTo>
                    <a:lnTo>
                      <a:pt x="402" y="623"/>
                    </a:lnTo>
                    <a:lnTo>
                      <a:pt x="404" y="620"/>
                    </a:lnTo>
                    <a:lnTo>
                      <a:pt x="408" y="618"/>
                    </a:lnTo>
                    <a:lnTo>
                      <a:pt x="408" y="616"/>
                    </a:lnTo>
                    <a:lnTo>
                      <a:pt x="408" y="616"/>
                    </a:lnTo>
                    <a:lnTo>
                      <a:pt x="408" y="616"/>
                    </a:lnTo>
                    <a:lnTo>
                      <a:pt x="408" y="616"/>
                    </a:lnTo>
                    <a:close/>
                    <a:moveTo>
                      <a:pt x="128" y="849"/>
                    </a:moveTo>
                    <a:lnTo>
                      <a:pt x="128" y="844"/>
                    </a:lnTo>
                    <a:lnTo>
                      <a:pt x="128" y="844"/>
                    </a:lnTo>
                    <a:lnTo>
                      <a:pt x="128" y="840"/>
                    </a:lnTo>
                    <a:lnTo>
                      <a:pt x="124" y="840"/>
                    </a:lnTo>
                    <a:lnTo>
                      <a:pt x="124" y="844"/>
                    </a:lnTo>
                    <a:lnTo>
                      <a:pt x="124" y="844"/>
                    </a:lnTo>
                    <a:lnTo>
                      <a:pt x="128" y="849"/>
                    </a:lnTo>
                    <a:lnTo>
                      <a:pt x="128" y="849"/>
                    </a:lnTo>
                    <a:lnTo>
                      <a:pt x="128" y="849"/>
                    </a:lnTo>
                    <a:lnTo>
                      <a:pt x="128" y="849"/>
                    </a:lnTo>
                    <a:lnTo>
                      <a:pt x="128" y="849"/>
                    </a:lnTo>
                    <a:lnTo>
                      <a:pt x="128" y="849"/>
                    </a:lnTo>
                    <a:lnTo>
                      <a:pt x="128" y="849"/>
                    </a:lnTo>
                    <a:close/>
                    <a:moveTo>
                      <a:pt x="224" y="785"/>
                    </a:moveTo>
                    <a:lnTo>
                      <a:pt x="225" y="785"/>
                    </a:lnTo>
                    <a:lnTo>
                      <a:pt x="225" y="785"/>
                    </a:lnTo>
                    <a:lnTo>
                      <a:pt x="224" y="782"/>
                    </a:lnTo>
                    <a:lnTo>
                      <a:pt x="222" y="782"/>
                    </a:lnTo>
                    <a:lnTo>
                      <a:pt x="222" y="785"/>
                    </a:lnTo>
                    <a:lnTo>
                      <a:pt x="224" y="785"/>
                    </a:lnTo>
                    <a:lnTo>
                      <a:pt x="224" y="785"/>
                    </a:lnTo>
                    <a:lnTo>
                      <a:pt x="224" y="785"/>
                    </a:lnTo>
                    <a:lnTo>
                      <a:pt x="224" y="785"/>
                    </a:lnTo>
                    <a:close/>
                    <a:moveTo>
                      <a:pt x="299" y="706"/>
                    </a:moveTo>
                    <a:lnTo>
                      <a:pt x="303" y="706"/>
                    </a:lnTo>
                    <a:lnTo>
                      <a:pt x="306" y="701"/>
                    </a:lnTo>
                    <a:lnTo>
                      <a:pt x="310" y="697"/>
                    </a:lnTo>
                    <a:lnTo>
                      <a:pt x="310" y="691"/>
                    </a:lnTo>
                    <a:lnTo>
                      <a:pt x="314" y="687"/>
                    </a:lnTo>
                    <a:lnTo>
                      <a:pt x="314" y="691"/>
                    </a:lnTo>
                    <a:lnTo>
                      <a:pt x="314" y="697"/>
                    </a:lnTo>
                    <a:lnTo>
                      <a:pt x="316" y="691"/>
                    </a:lnTo>
                    <a:lnTo>
                      <a:pt x="316" y="687"/>
                    </a:lnTo>
                    <a:lnTo>
                      <a:pt x="312" y="684"/>
                    </a:lnTo>
                    <a:lnTo>
                      <a:pt x="299" y="678"/>
                    </a:lnTo>
                    <a:lnTo>
                      <a:pt x="291" y="678"/>
                    </a:lnTo>
                    <a:lnTo>
                      <a:pt x="289" y="680"/>
                    </a:lnTo>
                    <a:lnTo>
                      <a:pt x="286" y="687"/>
                    </a:lnTo>
                    <a:lnTo>
                      <a:pt x="286" y="697"/>
                    </a:lnTo>
                    <a:lnTo>
                      <a:pt x="289" y="701"/>
                    </a:lnTo>
                    <a:lnTo>
                      <a:pt x="289" y="704"/>
                    </a:lnTo>
                    <a:lnTo>
                      <a:pt x="289" y="704"/>
                    </a:lnTo>
                    <a:lnTo>
                      <a:pt x="295" y="706"/>
                    </a:lnTo>
                    <a:lnTo>
                      <a:pt x="291" y="708"/>
                    </a:lnTo>
                    <a:lnTo>
                      <a:pt x="295" y="708"/>
                    </a:lnTo>
                    <a:lnTo>
                      <a:pt x="299" y="706"/>
                    </a:lnTo>
                    <a:lnTo>
                      <a:pt x="299" y="706"/>
                    </a:lnTo>
                    <a:lnTo>
                      <a:pt x="299" y="706"/>
                    </a:lnTo>
                    <a:lnTo>
                      <a:pt x="299" y="706"/>
                    </a:lnTo>
                    <a:close/>
                    <a:moveTo>
                      <a:pt x="331" y="714"/>
                    </a:moveTo>
                    <a:lnTo>
                      <a:pt x="333" y="714"/>
                    </a:lnTo>
                    <a:lnTo>
                      <a:pt x="335" y="712"/>
                    </a:lnTo>
                    <a:lnTo>
                      <a:pt x="338" y="712"/>
                    </a:lnTo>
                    <a:lnTo>
                      <a:pt x="340" y="710"/>
                    </a:lnTo>
                    <a:lnTo>
                      <a:pt x="335" y="710"/>
                    </a:lnTo>
                    <a:lnTo>
                      <a:pt x="331" y="712"/>
                    </a:lnTo>
                    <a:lnTo>
                      <a:pt x="331" y="714"/>
                    </a:lnTo>
                    <a:lnTo>
                      <a:pt x="331" y="714"/>
                    </a:lnTo>
                    <a:lnTo>
                      <a:pt x="331" y="714"/>
                    </a:lnTo>
                    <a:lnTo>
                      <a:pt x="331" y="714"/>
                    </a:lnTo>
                    <a:close/>
                    <a:moveTo>
                      <a:pt x="385" y="712"/>
                    </a:moveTo>
                    <a:lnTo>
                      <a:pt x="385" y="714"/>
                    </a:lnTo>
                    <a:lnTo>
                      <a:pt x="389" y="710"/>
                    </a:lnTo>
                    <a:lnTo>
                      <a:pt x="389" y="706"/>
                    </a:lnTo>
                    <a:lnTo>
                      <a:pt x="385" y="708"/>
                    </a:lnTo>
                    <a:lnTo>
                      <a:pt x="384" y="710"/>
                    </a:lnTo>
                    <a:lnTo>
                      <a:pt x="385" y="712"/>
                    </a:lnTo>
                    <a:lnTo>
                      <a:pt x="385" y="712"/>
                    </a:lnTo>
                    <a:lnTo>
                      <a:pt x="385" y="712"/>
                    </a:lnTo>
                    <a:lnTo>
                      <a:pt x="385" y="712"/>
                    </a:lnTo>
                    <a:close/>
                    <a:moveTo>
                      <a:pt x="376" y="714"/>
                    </a:moveTo>
                    <a:lnTo>
                      <a:pt x="380" y="714"/>
                    </a:lnTo>
                    <a:lnTo>
                      <a:pt x="382" y="712"/>
                    </a:lnTo>
                    <a:lnTo>
                      <a:pt x="380" y="708"/>
                    </a:lnTo>
                    <a:lnTo>
                      <a:pt x="378" y="710"/>
                    </a:lnTo>
                    <a:lnTo>
                      <a:pt x="376" y="714"/>
                    </a:lnTo>
                    <a:lnTo>
                      <a:pt x="376" y="714"/>
                    </a:lnTo>
                    <a:lnTo>
                      <a:pt x="376" y="714"/>
                    </a:lnTo>
                    <a:lnTo>
                      <a:pt x="376" y="714"/>
                    </a:lnTo>
                    <a:close/>
                    <a:moveTo>
                      <a:pt x="419" y="693"/>
                    </a:moveTo>
                    <a:lnTo>
                      <a:pt x="423" y="693"/>
                    </a:lnTo>
                    <a:lnTo>
                      <a:pt x="425" y="691"/>
                    </a:lnTo>
                    <a:lnTo>
                      <a:pt x="429" y="691"/>
                    </a:lnTo>
                    <a:lnTo>
                      <a:pt x="433" y="687"/>
                    </a:lnTo>
                    <a:lnTo>
                      <a:pt x="429" y="687"/>
                    </a:lnTo>
                    <a:lnTo>
                      <a:pt x="423" y="691"/>
                    </a:lnTo>
                    <a:lnTo>
                      <a:pt x="419" y="693"/>
                    </a:lnTo>
                    <a:lnTo>
                      <a:pt x="419" y="693"/>
                    </a:lnTo>
                    <a:lnTo>
                      <a:pt x="419" y="693"/>
                    </a:lnTo>
                    <a:lnTo>
                      <a:pt x="419" y="693"/>
                    </a:lnTo>
                    <a:close/>
                    <a:moveTo>
                      <a:pt x="402" y="691"/>
                    </a:moveTo>
                    <a:lnTo>
                      <a:pt x="404" y="691"/>
                    </a:lnTo>
                    <a:lnTo>
                      <a:pt x="408" y="691"/>
                    </a:lnTo>
                    <a:lnTo>
                      <a:pt x="408" y="691"/>
                    </a:lnTo>
                    <a:lnTo>
                      <a:pt x="404" y="687"/>
                    </a:lnTo>
                    <a:lnTo>
                      <a:pt x="402" y="691"/>
                    </a:lnTo>
                    <a:lnTo>
                      <a:pt x="402" y="691"/>
                    </a:lnTo>
                    <a:lnTo>
                      <a:pt x="402" y="691"/>
                    </a:lnTo>
                    <a:lnTo>
                      <a:pt x="402" y="691"/>
                    </a:lnTo>
                    <a:close/>
                    <a:moveTo>
                      <a:pt x="393" y="687"/>
                    </a:moveTo>
                    <a:lnTo>
                      <a:pt x="395" y="691"/>
                    </a:lnTo>
                    <a:lnTo>
                      <a:pt x="395" y="691"/>
                    </a:lnTo>
                    <a:lnTo>
                      <a:pt x="399" y="691"/>
                    </a:lnTo>
                    <a:lnTo>
                      <a:pt x="399" y="687"/>
                    </a:lnTo>
                    <a:lnTo>
                      <a:pt x="395" y="687"/>
                    </a:lnTo>
                    <a:lnTo>
                      <a:pt x="393" y="687"/>
                    </a:lnTo>
                    <a:lnTo>
                      <a:pt x="393" y="687"/>
                    </a:lnTo>
                    <a:lnTo>
                      <a:pt x="393" y="687"/>
                    </a:lnTo>
                    <a:lnTo>
                      <a:pt x="393" y="687"/>
                    </a:lnTo>
                    <a:close/>
                    <a:moveTo>
                      <a:pt x="387" y="691"/>
                    </a:moveTo>
                    <a:lnTo>
                      <a:pt x="387" y="691"/>
                    </a:lnTo>
                    <a:lnTo>
                      <a:pt x="389" y="691"/>
                    </a:lnTo>
                    <a:lnTo>
                      <a:pt x="391" y="687"/>
                    </a:lnTo>
                    <a:lnTo>
                      <a:pt x="389" y="687"/>
                    </a:lnTo>
                    <a:lnTo>
                      <a:pt x="387" y="691"/>
                    </a:lnTo>
                    <a:lnTo>
                      <a:pt x="387" y="691"/>
                    </a:lnTo>
                    <a:lnTo>
                      <a:pt x="387" y="691"/>
                    </a:lnTo>
                    <a:lnTo>
                      <a:pt x="387" y="691"/>
                    </a:lnTo>
                    <a:close/>
                    <a:moveTo>
                      <a:pt x="783" y="569"/>
                    </a:moveTo>
                    <a:lnTo>
                      <a:pt x="783" y="573"/>
                    </a:lnTo>
                    <a:lnTo>
                      <a:pt x="783" y="574"/>
                    </a:lnTo>
                    <a:lnTo>
                      <a:pt x="783" y="573"/>
                    </a:lnTo>
                    <a:lnTo>
                      <a:pt x="783" y="569"/>
                    </a:lnTo>
                    <a:lnTo>
                      <a:pt x="783" y="569"/>
                    </a:lnTo>
                    <a:lnTo>
                      <a:pt x="783" y="569"/>
                    </a:lnTo>
                    <a:lnTo>
                      <a:pt x="783" y="569"/>
                    </a:lnTo>
                    <a:lnTo>
                      <a:pt x="783" y="569"/>
                    </a:lnTo>
                    <a:close/>
                    <a:moveTo>
                      <a:pt x="775" y="558"/>
                    </a:moveTo>
                    <a:lnTo>
                      <a:pt x="775" y="565"/>
                    </a:lnTo>
                    <a:lnTo>
                      <a:pt x="777" y="569"/>
                    </a:lnTo>
                    <a:lnTo>
                      <a:pt x="775" y="574"/>
                    </a:lnTo>
                    <a:lnTo>
                      <a:pt x="777" y="574"/>
                    </a:lnTo>
                    <a:lnTo>
                      <a:pt x="779" y="573"/>
                    </a:lnTo>
                    <a:lnTo>
                      <a:pt x="779" y="563"/>
                    </a:lnTo>
                    <a:lnTo>
                      <a:pt x="775" y="558"/>
                    </a:lnTo>
                    <a:lnTo>
                      <a:pt x="775" y="558"/>
                    </a:lnTo>
                    <a:lnTo>
                      <a:pt x="775" y="558"/>
                    </a:lnTo>
                    <a:lnTo>
                      <a:pt x="775" y="558"/>
                    </a:lnTo>
                    <a:lnTo>
                      <a:pt x="775" y="558"/>
                    </a:lnTo>
                    <a:close/>
                    <a:moveTo>
                      <a:pt x="769" y="550"/>
                    </a:moveTo>
                    <a:lnTo>
                      <a:pt x="771" y="554"/>
                    </a:lnTo>
                    <a:lnTo>
                      <a:pt x="773" y="556"/>
                    </a:lnTo>
                    <a:lnTo>
                      <a:pt x="773" y="552"/>
                    </a:lnTo>
                    <a:lnTo>
                      <a:pt x="771" y="550"/>
                    </a:lnTo>
                    <a:lnTo>
                      <a:pt x="769" y="550"/>
                    </a:lnTo>
                    <a:lnTo>
                      <a:pt x="769" y="550"/>
                    </a:lnTo>
                    <a:lnTo>
                      <a:pt x="769" y="550"/>
                    </a:lnTo>
                    <a:lnTo>
                      <a:pt x="769" y="550"/>
                    </a:lnTo>
                    <a:close/>
                    <a:moveTo>
                      <a:pt x="433" y="663"/>
                    </a:moveTo>
                    <a:lnTo>
                      <a:pt x="434" y="663"/>
                    </a:lnTo>
                    <a:lnTo>
                      <a:pt x="434" y="657"/>
                    </a:lnTo>
                    <a:lnTo>
                      <a:pt x="433" y="657"/>
                    </a:lnTo>
                    <a:lnTo>
                      <a:pt x="433" y="663"/>
                    </a:lnTo>
                    <a:lnTo>
                      <a:pt x="433" y="663"/>
                    </a:lnTo>
                    <a:lnTo>
                      <a:pt x="433" y="663"/>
                    </a:lnTo>
                    <a:lnTo>
                      <a:pt x="433" y="663"/>
                    </a:lnTo>
                    <a:close/>
                    <a:moveTo>
                      <a:pt x="451" y="678"/>
                    </a:moveTo>
                    <a:lnTo>
                      <a:pt x="451" y="678"/>
                    </a:lnTo>
                    <a:lnTo>
                      <a:pt x="453" y="674"/>
                    </a:lnTo>
                    <a:lnTo>
                      <a:pt x="451" y="674"/>
                    </a:lnTo>
                    <a:lnTo>
                      <a:pt x="451" y="678"/>
                    </a:lnTo>
                    <a:lnTo>
                      <a:pt x="451" y="678"/>
                    </a:lnTo>
                    <a:lnTo>
                      <a:pt x="451" y="678"/>
                    </a:lnTo>
                    <a:lnTo>
                      <a:pt x="451" y="678"/>
                    </a:lnTo>
                    <a:close/>
                    <a:moveTo>
                      <a:pt x="449" y="672"/>
                    </a:moveTo>
                    <a:lnTo>
                      <a:pt x="448" y="667"/>
                    </a:lnTo>
                    <a:lnTo>
                      <a:pt x="442" y="667"/>
                    </a:lnTo>
                    <a:lnTo>
                      <a:pt x="438" y="663"/>
                    </a:lnTo>
                    <a:lnTo>
                      <a:pt x="438" y="663"/>
                    </a:lnTo>
                    <a:lnTo>
                      <a:pt x="442" y="667"/>
                    </a:lnTo>
                    <a:lnTo>
                      <a:pt x="449" y="672"/>
                    </a:lnTo>
                    <a:lnTo>
                      <a:pt x="449" y="672"/>
                    </a:lnTo>
                    <a:lnTo>
                      <a:pt x="449" y="672"/>
                    </a:lnTo>
                    <a:lnTo>
                      <a:pt x="449" y="672"/>
                    </a:lnTo>
                    <a:close/>
                    <a:moveTo>
                      <a:pt x="457" y="655"/>
                    </a:moveTo>
                    <a:lnTo>
                      <a:pt x="459" y="650"/>
                    </a:lnTo>
                    <a:lnTo>
                      <a:pt x="457" y="644"/>
                    </a:lnTo>
                    <a:lnTo>
                      <a:pt x="453" y="640"/>
                    </a:lnTo>
                    <a:lnTo>
                      <a:pt x="448" y="637"/>
                    </a:lnTo>
                    <a:lnTo>
                      <a:pt x="444" y="637"/>
                    </a:lnTo>
                    <a:lnTo>
                      <a:pt x="440" y="631"/>
                    </a:lnTo>
                    <a:lnTo>
                      <a:pt x="436" y="629"/>
                    </a:lnTo>
                    <a:lnTo>
                      <a:pt x="434" y="627"/>
                    </a:lnTo>
                    <a:lnTo>
                      <a:pt x="429" y="623"/>
                    </a:lnTo>
                    <a:lnTo>
                      <a:pt x="429" y="623"/>
                    </a:lnTo>
                    <a:lnTo>
                      <a:pt x="425" y="623"/>
                    </a:lnTo>
                    <a:lnTo>
                      <a:pt x="425" y="627"/>
                    </a:lnTo>
                    <a:lnTo>
                      <a:pt x="423" y="629"/>
                    </a:lnTo>
                    <a:lnTo>
                      <a:pt x="425" y="633"/>
                    </a:lnTo>
                    <a:lnTo>
                      <a:pt x="429" y="633"/>
                    </a:lnTo>
                    <a:lnTo>
                      <a:pt x="429" y="633"/>
                    </a:lnTo>
                    <a:lnTo>
                      <a:pt x="425" y="633"/>
                    </a:lnTo>
                    <a:lnTo>
                      <a:pt x="423" y="633"/>
                    </a:lnTo>
                    <a:lnTo>
                      <a:pt x="423" y="633"/>
                    </a:lnTo>
                    <a:lnTo>
                      <a:pt x="423" y="637"/>
                    </a:lnTo>
                    <a:lnTo>
                      <a:pt x="429" y="642"/>
                    </a:lnTo>
                    <a:lnTo>
                      <a:pt x="433" y="644"/>
                    </a:lnTo>
                    <a:lnTo>
                      <a:pt x="434" y="648"/>
                    </a:lnTo>
                    <a:lnTo>
                      <a:pt x="436" y="648"/>
                    </a:lnTo>
                    <a:lnTo>
                      <a:pt x="438" y="644"/>
                    </a:lnTo>
                    <a:lnTo>
                      <a:pt x="440" y="646"/>
                    </a:lnTo>
                    <a:lnTo>
                      <a:pt x="444" y="644"/>
                    </a:lnTo>
                    <a:lnTo>
                      <a:pt x="444" y="646"/>
                    </a:lnTo>
                    <a:lnTo>
                      <a:pt x="446" y="652"/>
                    </a:lnTo>
                    <a:lnTo>
                      <a:pt x="446" y="654"/>
                    </a:lnTo>
                    <a:lnTo>
                      <a:pt x="448" y="655"/>
                    </a:lnTo>
                    <a:lnTo>
                      <a:pt x="453" y="655"/>
                    </a:lnTo>
                    <a:lnTo>
                      <a:pt x="453" y="654"/>
                    </a:lnTo>
                    <a:lnTo>
                      <a:pt x="457" y="655"/>
                    </a:lnTo>
                    <a:lnTo>
                      <a:pt x="457" y="655"/>
                    </a:lnTo>
                    <a:lnTo>
                      <a:pt x="457" y="655"/>
                    </a:lnTo>
                    <a:lnTo>
                      <a:pt x="457" y="655"/>
                    </a:lnTo>
                    <a:close/>
                    <a:moveTo>
                      <a:pt x="545" y="497"/>
                    </a:moveTo>
                    <a:lnTo>
                      <a:pt x="545" y="497"/>
                    </a:lnTo>
                    <a:lnTo>
                      <a:pt x="545" y="495"/>
                    </a:lnTo>
                    <a:lnTo>
                      <a:pt x="545" y="492"/>
                    </a:lnTo>
                    <a:lnTo>
                      <a:pt x="547" y="492"/>
                    </a:lnTo>
                    <a:lnTo>
                      <a:pt x="549" y="495"/>
                    </a:lnTo>
                    <a:lnTo>
                      <a:pt x="551" y="495"/>
                    </a:lnTo>
                    <a:lnTo>
                      <a:pt x="553" y="495"/>
                    </a:lnTo>
                    <a:lnTo>
                      <a:pt x="557" y="495"/>
                    </a:lnTo>
                    <a:lnTo>
                      <a:pt x="557" y="492"/>
                    </a:lnTo>
                    <a:lnTo>
                      <a:pt x="561" y="488"/>
                    </a:lnTo>
                    <a:lnTo>
                      <a:pt x="566" y="488"/>
                    </a:lnTo>
                    <a:lnTo>
                      <a:pt x="566" y="484"/>
                    </a:lnTo>
                    <a:lnTo>
                      <a:pt x="562" y="480"/>
                    </a:lnTo>
                    <a:lnTo>
                      <a:pt x="559" y="480"/>
                    </a:lnTo>
                    <a:lnTo>
                      <a:pt x="559" y="475"/>
                    </a:lnTo>
                    <a:lnTo>
                      <a:pt x="555" y="473"/>
                    </a:lnTo>
                    <a:lnTo>
                      <a:pt x="553" y="471"/>
                    </a:lnTo>
                    <a:lnTo>
                      <a:pt x="549" y="473"/>
                    </a:lnTo>
                    <a:lnTo>
                      <a:pt x="545" y="475"/>
                    </a:lnTo>
                    <a:lnTo>
                      <a:pt x="542" y="475"/>
                    </a:lnTo>
                    <a:lnTo>
                      <a:pt x="538" y="480"/>
                    </a:lnTo>
                    <a:lnTo>
                      <a:pt x="538" y="480"/>
                    </a:lnTo>
                    <a:lnTo>
                      <a:pt x="542" y="484"/>
                    </a:lnTo>
                    <a:lnTo>
                      <a:pt x="542" y="488"/>
                    </a:lnTo>
                    <a:lnTo>
                      <a:pt x="542" y="493"/>
                    </a:lnTo>
                    <a:lnTo>
                      <a:pt x="545" y="497"/>
                    </a:lnTo>
                    <a:lnTo>
                      <a:pt x="545" y="497"/>
                    </a:lnTo>
                    <a:lnTo>
                      <a:pt x="545" y="497"/>
                    </a:lnTo>
                    <a:lnTo>
                      <a:pt x="545" y="497"/>
                    </a:lnTo>
                    <a:close/>
                    <a:moveTo>
                      <a:pt x="557" y="654"/>
                    </a:moveTo>
                    <a:lnTo>
                      <a:pt x="557" y="654"/>
                    </a:lnTo>
                    <a:lnTo>
                      <a:pt x="557" y="655"/>
                    </a:lnTo>
                    <a:lnTo>
                      <a:pt x="561" y="655"/>
                    </a:lnTo>
                    <a:lnTo>
                      <a:pt x="562" y="654"/>
                    </a:lnTo>
                    <a:lnTo>
                      <a:pt x="562" y="650"/>
                    </a:lnTo>
                    <a:lnTo>
                      <a:pt x="561" y="648"/>
                    </a:lnTo>
                    <a:lnTo>
                      <a:pt x="559" y="650"/>
                    </a:lnTo>
                    <a:lnTo>
                      <a:pt x="559" y="652"/>
                    </a:lnTo>
                    <a:lnTo>
                      <a:pt x="557" y="654"/>
                    </a:lnTo>
                    <a:lnTo>
                      <a:pt x="557" y="654"/>
                    </a:lnTo>
                    <a:lnTo>
                      <a:pt x="557" y="654"/>
                    </a:lnTo>
                    <a:lnTo>
                      <a:pt x="557" y="654"/>
                    </a:lnTo>
                    <a:close/>
                    <a:moveTo>
                      <a:pt x="625" y="740"/>
                    </a:moveTo>
                    <a:lnTo>
                      <a:pt x="625" y="742"/>
                    </a:lnTo>
                    <a:lnTo>
                      <a:pt x="628" y="744"/>
                    </a:lnTo>
                    <a:lnTo>
                      <a:pt x="628" y="746"/>
                    </a:lnTo>
                    <a:lnTo>
                      <a:pt x="632" y="750"/>
                    </a:lnTo>
                    <a:lnTo>
                      <a:pt x="636" y="748"/>
                    </a:lnTo>
                    <a:lnTo>
                      <a:pt x="638" y="746"/>
                    </a:lnTo>
                    <a:lnTo>
                      <a:pt x="636" y="742"/>
                    </a:lnTo>
                    <a:lnTo>
                      <a:pt x="634" y="740"/>
                    </a:lnTo>
                    <a:lnTo>
                      <a:pt x="630" y="742"/>
                    </a:lnTo>
                    <a:lnTo>
                      <a:pt x="628" y="740"/>
                    </a:lnTo>
                    <a:lnTo>
                      <a:pt x="625" y="740"/>
                    </a:lnTo>
                    <a:lnTo>
                      <a:pt x="625" y="740"/>
                    </a:lnTo>
                    <a:lnTo>
                      <a:pt x="625" y="740"/>
                    </a:lnTo>
                    <a:lnTo>
                      <a:pt x="625" y="740"/>
                    </a:lnTo>
                    <a:close/>
                    <a:moveTo>
                      <a:pt x="613" y="493"/>
                    </a:moveTo>
                    <a:lnTo>
                      <a:pt x="613" y="490"/>
                    </a:lnTo>
                    <a:lnTo>
                      <a:pt x="611" y="488"/>
                    </a:lnTo>
                    <a:lnTo>
                      <a:pt x="611" y="488"/>
                    </a:lnTo>
                    <a:lnTo>
                      <a:pt x="613" y="484"/>
                    </a:lnTo>
                    <a:lnTo>
                      <a:pt x="611" y="480"/>
                    </a:lnTo>
                    <a:lnTo>
                      <a:pt x="608" y="480"/>
                    </a:lnTo>
                    <a:lnTo>
                      <a:pt x="606" y="484"/>
                    </a:lnTo>
                    <a:lnTo>
                      <a:pt x="604" y="488"/>
                    </a:lnTo>
                    <a:lnTo>
                      <a:pt x="606" y="492"/>
                    </a:lnTo>
                    <a:lnTo>
                      <a:pt x="608" y="492"/>
                    </a:lnTo>
                    <a:lnTo>
                      <a:pt x="611" y="493"/>
                    </a:lnTo>
                    <a:lnTo>
                      <a:pt x="613" y="493"/>
                    </a:lnTo>
                    <a:lnTo>
                      <a:pt x="613" y="493"/>
                    </a:lnTo>
                    <a:lnTo>
                      <a:pt x="613" y="493"/>
                    </a:lnTo>
                    <a:lnTo>
                      <a:pt x="613" y="493"/>
                    </a:lnTo>
                    <a:close/>
                    <a:moveTo>
                      <a:pt x="608" y="467"/>
                    </a:moveTo>
                    <a:lnTo>
                      <a:pt x="609" y="463"/>
                    </a:lnTo>
                    <a:lnTo>
                      <a:pt x="613" y="465"/>
                    </a:lnTo>
                    <a:lnTo>
                      <a:pt x="617" y="461"/>
                    </a:lnTo>
                    <a:lnTo>
                      <a:pt x="615" y="460"/>
                    </a:lnTo>
                    <a:lnTo>
                      <a:pt x="615" y="458"/>
                    </a:lnTo>
                    <a:lnTo>
                      <a:pt x="619" y="458"/>
                    </a:lnTo>
                    <a:lnTo>
                      <a:pt x="617" y="456"/>
                    </a:lnTo>
                    <a:lnTo>
                      <a:pt x="613" y="456"/>
                    </a:lnTo>
                    <a:lnTo>
                      <a:pt x="609" y="460"/>
                    </a:lnTo>
                    <a:lnTo>
                      <a:pt x="606" y="465"/>
                    </a:lnTo>
                    <a:lnTo>
                      <a:pt x="608" y="467"/>
                    </a:lnTo>
                    <a:lnTo>
                      <a:pt x="608" y="467"/>
                    </a:lnTo>
                    <a:lnTo>
                      <a:pt x="608" y="467"/>
                    </a:lnTo>
                    <a:lnTo>
                      <a:pt x="608" y="467"/>
                    </a:lnTo>
                    <a:close/>
                    <a:moveTo>
                      <a:pt x="625" y="473"/>
                    </a:moveTo>
                    <a:lnTo>
                      <a:pt x="626" y="475"/>
                    </a:lnTo>
                    <a:lnTo>
                      <a:pt x="632" y="475"/>
                    </a:lnTo>
                    <a:lnTo>
                      <a:pt x="634" y="475"/>
                    </a:lnTo>
                    <a:lnTo>
                      <a:pt x="634" y="473"/>
                    </a:lnTo>
                    <a:lnTo>
                      <a:pt x="628" y="473"/>
                    </a:lnTo>
                    <a:lnTo>
                      <a:pt x="625" y="471"/>
                    </a:lnTo>
                    <a:lnTo>
                      <a:pt x="625" y="473"/>
                    </a:lnTo>
                    <a:lnTo>
                      <a:pt x="625" y="473"/>
                    </a:lnTo>
                    <a:lnTo>
                      <a:pt x="625" y="473"/>
                    </a:lnTo>
                    <a:lnTo>
                      <a:pt x="625" y="473"/>
                    </a:lnTo>
                    <a:close/>
                    <a:moveTo>
                      <a:pt x="658" y="499"/>
                    </a:moveTo>
                    <a:lnTo>
                      <a:pt x="658" y="503"/>
                    </a:lnTo>
                    <a:lnTo>
                      <a:pt x="657" y="505"/>
                    </a:lnTo>
                    <a:lnTo>
                      <a:pt x="655" y="505"/>
                    </a:lnTo>
                    <a:lnTo>
                      <a:pt x="655" y="509"/>
                    </a:lnTo>
                    <a:lnTo>
                      <a:pt x="655" y="514"/>
                    </a:lnTo>
                    <a:lnTo>
                      <a:pt x="657" y="512"/>
                    </a:lnTo>
                    <a:lnTo>
                      <a:pt x="660" y="509"/>
                    </a:lnTo>
                    <a:lnTo>
                      <a:pt x="664" y="509"/>
                    </a:lnTo>
                    <a:lnTo>
                      <a:pt x="666" y="505"/>
                    </a:lnTo>
                    <a:lnTo>
                      <a:pt x="670" y="503"/>
                    </a:lnTo>
                    <a:lnTo>
                      <a:pt x="673" y="499"/>
                    </a:lnTo>
                    <a:lnTo>
                      <a:pt x="670" y="495"/>
                    </a:lnTo>
                    <a:lnTo>
                      <a:pt x="670" y="493"/>
                    </a:lnTo>
                    <a:lnTo>
                      <a:pt x="666" y="493"/>
                    </a:lnTo>
                    <a:lnTo>
                      <a:pt x="660" y="495"/>
                    </a:lnTo>
                    <a:lnTo>
                      <a:pt x="658" y="499"/>
                    </a:lnTo>
                    <a:lnTo>
                      <a:pt x="658" y="499"/>
                    </a:lnTo>
                    <a:lnTo>
                      <a:pt x="658" y="499"/>
                    </a:lnTo>
                    <a:lnTo>
                      <a:pt x="658" y="499"/>
                    </a:lnTo>
                    <a:close/>
                    <a:moveTo>
                      <a:pt x="670" y="463"/>
                    </a:moveTo>
                    <a:lnTo>
                      <a:pt x="670" y="469"/>
                    </a:lnTo>
                    <a:lnTo>
                      <a:pt x="668" y="475"/>
                    </a:lnTo>
                    <a:lnTo>
                      <a:pt x="666" y="480"/>
                    </a:lnTo>
                    <a:lnTo>
                      <a:pt x="666" y="480"/>
                    </a:lnTo>
                    <a:lnTo>
                      <a:pt x="670" y="484"/>
                    </a:lnTo>
                    <a:lnTo>
                      <a:pt x="670" y="484"/>
                    </a:lnTo>
                    <a:lnTo>
                      <a:pt x="675" y="484"/>
                    </a:lnTo>
                    <a:lnTo>
                      <a:pt x="679" y="488"/>
                    </a:lnTo>
                    <a:lnTo>
                      <a:pt x="681" y="484"/>
                    </a:lnTo>
                    <a:lnTo>
                      <a:pt x="681" y="484"/>
                    </a:lnTo>
                    <a:lnTo>
                      <a:pt x="679" y="478"/>
                    </a:lnTo>
                    <a:lnTo>
                      <a:pt x="679" y="473"/>
                    </a:lnTo>
                    <a:lnTo>
                      <a:pt x="673" y="469"/>
                    </a:lnTo>
                    <a:lnTo>
                      <a:pt x="670" y="463"/>
                    </a:lnTo>
                    <a:lnTo>
                      <a:pt x="670" y="463"/>
                    </a:lnTo>
                    <a:lnTo>
                      <a:pt x="670" y="463"/>
                    </a:lnTo>
                    <a:lnTo>
                      <a:pt x="670" y="463"/>
                    </a:lnTo>
                    <a:close/>
                    <a:moveTo>
                      <a:pt x="694" y="420"/>
                    </a:moveTo>
                    <a:lnTo>
                      <a:pt x="698" y="416"/>
                    </a:lnTo>
                    <a:lnTo>
                      <a:pt x="696" y="414"/>
                    </a:lnTo>
                    <a:lnTo>
                      <a:pt x="692" y="414"/>
                    </a:lnTo>
                    <a:lnTo>
                      <a:pt x="690" y="416"/>
                    </a:lnTo>
                    <a:lnTo>
                      <a:pt x="692" y="420"/>
                    </a:lnTo>
                    <a:lnTo>
                      <a:pt x="694" y="420"/>
                    </a:lnTo>
                    <a:lnTo>
                      <a:pt x="694" y="420"/>
                    </a:lnTo>
                    <a:lnTo>
                      <a:pt x="694" y="420"/>
                    </a:lnTo>
                    <a:lnTo>
                      <a:pt x="694" y="420"/>
                    </a:lnTo>
                    <a:close/>
                    <a:moveTo>
                      <a:pt x="704" y="418"/>
                    </a:moveTo>
                    <a:lnTo>
                      <a:pt x="707" y="414"/>
                    </a:lnTo>
                    <a:lnTo>
                      <a:pt x="707" y="412"/>
                    </a:lnTo>
                    <a:lnTo>
                      <a:pt x="704" y="412"/>
                    </a:lnTo>
                    <a:lnTo>
                      <a:pt x="704" y="412"/>
                    </a:lnTo>
                    <a:lnTo>
                      <a:pt x="700" y="414"/>
                    </a:lnTo>
                    <a:lnTo>
                      <a:pt x="700" y="416"/>
                    </a:lnTo>
                    <a:lnTo>
                      <a:pt x="704" y="418"/>
                    </a:lnTo>
                    <a:lnTo>
                      <a:pt x="704" y="418"/>
                    </a:lnTo>
                    <a:lnTo>
                      <a:pt x="704" y="418"/>
                    </a:lnTo>
                    <a:lnTo>
                      <a:pt x="704" y="418"/>
                    </a:lnTo>
                    <a:close/>
                    <a:moveTo>
                      <a:pt x="722" y="420"/>
                    </a:moveTo>
                    <a:lnTo>
                      <a:pt x="724" y="418"/>
                    </a:lnTo>
                    <a:lnTo>
                      <a:pt x="719" y="416"/>
                    </a:lnTo>
                    <a:lnTo>
                      <a:pt x="715" y="418"/>
                    </a:lnTo>
                    <a:lnTo>
                      <a:pt x="717" y="420"/>
                    </a:lnTo>
                    <a:lnTo>
                      <a:pt x="722" y="420"/>
                    </a:lnTo>
                    <a:lnTo>
                      <a:pt x="722" y="420"/>
                    </a:lnTo>
                    <a:lnTo>
                      <a:pt x="722" y="420"/>
                    </a:lnTo>
                    <a:lnTo>
                      <a:pt x="722" y="420"/>
                    </a:lnTo>
                    <a:close/>
                    <a:moveTo>
                      <a:pt x="749" y="411"/>
                    </a:moveTo>
                    <a:lnTo>
                      <a:pt x="749" y="416"/>
                    </a:lnTo>
                    <a:lnTo>
                      <a:pt x="753" y="416"/>
                    </a:lnTo>
                    <a:lnTo>
                      <a:pt x="753" y="414"/>
                    </a:lnTo>
                    <a:lnTo>
                      <a:pt x="751" y="412"/>
                    </a:lnTo>
                    <a:lnTo>
                      <a:pt x="749" y="411"/>
                    </a:lnTo>
                    <a:lnTo>
                      <a:pt x="749" y="411"/>
                    </a:lnTo>
                    <a:lnTo>
                      <a:pt x="749" y="411"/>
                    </a:lnTo>
                    <a:lnTo>
                      <a:pt x="749" y="411"/>
                    </a:lnTo>
                    <a:close/>
                    <a:moveTo>
                      <a:pt x="734" y="409"/>
                    </a:moveTo>
                    <a:lnTo>
                      <a:pt x="737" y="409"/>
                    </a:lnTo>
                    <a:lnTo>
                      <a:pt x="737" y="405"/>
                    </a:lnTo>
                    <a:lnTo>
                      <a:pt x="737" y="403"/>
                    </a:lnTo>
                    <a:lnTo>
                      <a:pt x="734" y="405"/>
                    </a:lnTo>
                    <a:lnTo>
                      <a:pt x="734" y="407"/>
                    </a:lnTo>
                    <a:lnTo>
                      <a:pt x="734" y="409"/>
                    </a:lnTo>
                    <a:lnTo>
                      <a:pt x="734" y="409"/>
                    </a:lnTo>
                    <a:lnTo>
                      <a:pt x="734" y="409"/>
                    </a:lnTo>
                    <a:lnTo>
                      <a:pt x="734" y="409"/>
                    </a:lnTo>
                    <a:close/>
                    <a:moveTo>
                      <a:pt x="721" y="394"/>
                    </a:moveTo>
                    <a:lnTo>
                      <a:pt x="721" y="390"/>
                    </a:lnTo>
                    <a:lnTo>
                      <a:pt x="719" y="390"/>
                    </a:lnTo>
                    <a:lnTo>
                      <a:pt x="713" y="396"/>
                    </a:lnTo>
                    <a:lnTo>
                      <a:pt x="713" y="396"/>
                    </a:lnTo>
                    <a:lnTo>
                      <a:pt x="717" y="399"/>
                    </a:lnTo>
                    <a:lnTo>
                      <a:pt x="719" y="396"/>
                    </a:lnTo>
                    <a:lnTo>
                      <a:pt x="717" y="396"/>
                    </a:lnTo>
                    <a:lnTo>
                      <a:pt x="719" y="394"/>
                    </a:lnTo>
                    <a:lnTo>
                      <a:pt x="721" y="394"/>
                    </a:lnTo>
                    <a:lnTo>
                      <a:pt x="721" y="394"/>
                    </a:lnTo>
                    <a:lnTo>
                      <a:pt x="721" y="394"/>
                    </a:lnTo>
                    <a:lnTo>
                      <a:pt x="721" y="394"/>
                    </a:lnTo>
                    <a:close/>
                    <a:moveTo>
                      <a:pt x="732" y="390"/>
                    </a:moveTo>
                    <a:lnTo>
                      <a:pt x="730" y="386"/>
                    </a:lnTo>
                    <a:lnTo>
                      <a:pt x="724" y="386"/>
                    </a:lnTo>
                    <a:lnTo>
                      <a:pt x="724" y="390"/>
                    </a:lnTo>
                    <a:lnTo>
                      <a:pt x="724" y="394"/>
                    </a:lnTo>
                    <a:lnTo>
                      <a:pt x="728" y="394"/>
                    </a:lnTo>
                    <a:lnTo>
                      <a:pt x="730" y="390"/>
                    </a:lnTo>
                    <a:lnTo>
                      <a:pt x="732" y="390"/>
                    </a:lnTo>
                    <a:lnTo>
                      <a:pt x="732" y="390"/>
                    </a:lnTo>
                    <a:lnTo>
                      <a:pt x="732" y="390"/>
                    </a:lnTo>
                    <a:lnTo>
                      <a:pt x="732" y="390"/>
                    </a:lnTo>
                    <a:close/>
                    <a:moveTo>
                      <a:pt x="732" y="390"/>
                    </a:moveTo>
                    <a:lnTo>
                      <a:pt x="734" y="394"/>
                    </a:lnTo>
                    <a:lnTo>
                      <a:pt x="734" y="390"/>
                    </a:lnTo>
                    <a:lnTo>
                      <a:pt x="737" y="390"/>
                    </a:lnTo>
                    <a:lnTo>
                      <a:pt x="737" y="386"/>
                    </a:lnTo>
                    <a:lnTo>
                      <a:pt x="737" y="384"/>
                    </a:lnTo>
                    <a:lnTo>
                      <a:pt x="734" y="384"/>
                    </a:lnTo>
                    <a:lnTo>
                      <a:pt x="734" y="386"/>
                    </a:lnTo>
                    <a:lnTo>
                      <a:pt x="734" y="390"/>
                    </a:lnTo>
                    <a:lnTo>
                      <a:pt x="732" y="390"/>
                    </a:lnTo>
                    <a:lnTo>
                      <a:pt x="732" y="390"/>
                    </a:lnTo>
                    <a:lnTo>
                      <a:pt x="732" y="390"/>
                    </a:lnTo>
                    <a:lnTo>
                      <a:pt x="732" y="390"/>
                    </a:lnTo>
                    <a:close/>
                    <a:moveTo>
                      <a:pt x="721" y="380"/>
                    </a:moveTo>
                    <a:lnTo>
                      <a:pt x="724" y="377"/>
                    </a:lnTo>
                    <a:lnTo>
                      <a:pt x="722" y="375"/>
                    </a:lnTo>
                    <a:lnTo>
                      <a:pt x="721" y="375"/>
                    </a:lnTo>
                    <a:lnTo>
                      <a:pt x="717" y="375"/>
                    </a:lnTo>
                    <a:lnTo>
                      <a:pt x="715" y="377"/>
                    </a:lnTo>
                    <a:lnTo>
                      <a:pt x="715" y="377"/>
                    </a:lnTo>
                    <a:lnTo>
                      <a:pt x="719" y="379"/>
                    </a:lnTo>
                    <a:lnTo>
                      <a:pt x="721" y="380"/>
                    </a:lnTo>
                    <a:lnTo>
                      <a:pt x="721" y="380"/>
                    </a:lnTo>
                    <a:lnTo>
                      <a:pt x="721" y="380"/>
                    </a:lnTo>
                    <a:lnTo>
                      <a:pt x="721" y="380"/>
                    </a:lnTo>
                    <a:close/>
                    <a:moveTo>
                      <a:pt x="737" y="371"/>
                    </a:moveTo>
                    <a:lnTo>
                      <a:pt x="739" y="371"/>
                    </a:lnTo>
                    <a:lnTo>
                      <a:pt x="739" y="369"/>
                    </a:lnTo>
                    <a:lnTo>
                      <a:pt x="737" y="367"/>
                    </a:lnTo>
                    <a:lnTo>
                      <a:pt x="741" y="365"/>
                    </a:lnTo>
                    <a:lnTo>
                      <a:pt x="741" y="365"/>
                    </a:lnTo>
                    <a:lnTo>
                      <a:pt x="737" y="362"/>
                    </a:lnTo>
                    <a:lnTo>
                      <a:pt x="734" y="362"/>
                    </a:lnTo>
                    <a:lnTo>
                      <a:pt x="734" y="362"/>
                    </a:lnTo>
                    <a:lnTo>
                      <a:pt x="734" y="365"/>
                    </a:lnTo>
                    <a:lnTo>
                      <a:pt x="732" y="365"/>
                    </a:lnTo>
                    <a:lnTo>
                      <a:pt x="730" y="365"/>
                    </a:lnTo>
                    <a:lnTo>
                      <a:pt x="728" y="365"/>
                    </a:lnTo>
                    <a:lnTo>
                      <a:pt x="730" y="367"/>
                    </a:lnTo>
                    <a:lnTo>
                      <a:pt x="732" y="369"/>
                    </a:lnTo>
                    <a:lnTo>
                      <a:pt x="734" y="369"/>
                    </a:lnTo>
                    <a:lnTo>
                      <a:pt x="737" y="371"/>
                    </a:lnTo>
                    <a:lnTo>
                      <a:pt x="737" y="371"/>
                    </a:lnTo>
                    <a:lnTo>
                      <a:pt x="737" y="371"/>
                    </a:lnTo>
                    <a:lnTo>
                      <a:pt x="737" y="371"/>
                    </a:lnTo>
                    <a:close/>
                    <a:moveTo>
                      <a:pt x="786" y="237"/>
                    </a:moveTo>
                    <a:lnTo>
                      <a:pt x="788" y="237"/>
                    </a:lnTo>
                    <a:lnTo>
                      <a:pt x="792" y="237"/>
                    </a:lnTo>
                    <a:lnTo>
                      <a:pt x="794" y="234"/>
                    </a:lnTo>
                    <a:lnTo>
                      <a:pt x="794" y="234"/>
                    </a:lnTo>
                    <a:lnTo>
                      <a:pt x="796" y="235"/>
                    </a:lnTo>
                    <a:lnTo>
                      <a:pt x="794" y="237"/>
                    </a:lnTo>
                    <a:lnTo>
                      <a:pt x="798" y="235"/>
                    </a:lnTo>
                    <a:lnTo>
                      <a:pt x="801" y="232"/>
                    </a:lnTo>
                    <a:lnTo>
                      <a:pt x="801" y="228"/>
                    </a:lnTo>
                    <a:lnTo>
                      <a:pt x="803" y="226"/>
                    </a:lnTo>
                    <a:lnTo>
                      <a:pt x="803" y="222"/>
                    </a:lnTo>
                    <a:lnTo>
                      <a:pt x="801" y="220"/>
                    </a:lnTo>
                    <a:lnTo>
                      <a:pt x="800" y="220"/>
                    </a:lnTo>
                    <a:lnTo>
                      <a:pt x="800" y="222"/>
                    </a:lnTo>
                    <a:lnTo>
                      <a:pt x="796" y="226"/>
                    </a:lnTo>
                    <a:lnTo>
                      <a:pt x="792" y="228"/>
                    </a:lnTo>
                    <a:lnTo>
                      <a:pt x="788" y="234"/>
                    </a:lnTo>
                    <a:lnTo>
                      <a:pt x="786" y="237"/>
                    </a:lnTo>
                    <a:lnTo>
                      <a:pt x="786" y="237"/>
                    </a:lnTo>
                    <a:lnTo>
                      <a:pt x="786" y="237"/>
                    </a:lnTo>
                    <a:lnTo>
                      <a:pt x="786" y="237"/>
                    </a:lnTo>
                    <a:close/>
                    <a:moveTo>
                      <a:pt x="822" y="241"/>
                    </a:moveTo>
                    <a:lnTo>
                      <a:pt x="826" y="241"/>
                    </a:lnTo>
                    <a:lnTo>
                      <a:pt x="828" y="237"/>
                    </a:lnTo>
                    <a:lnTo>
                      <a:pt x="826" y="237"/>
                    </a:lnTo>
                    <a:lnTo>
                      <a:pt x="822" y="237"/>
                    </a:lnTo>
                    <a:lnTo>
                      <a:pt x="820" y="241"/>
                    </a:lnTo>
                    <a:lnTo>
                      <a:pt x="822" y="241"/>
                    </a:lnTo>
                    <a:lnTo>
                      <a:pt x="822" y="241"/>
                    </a:lnTo>
                    <a:lnTo>
                      <a:pt x="822" y="241"/>
                    </a:lnTo>
                    <a:lnTo>
                      <a:pt x="822" y="241"/>
                    </a:lnTo>
                    <a:close/>
                    <a:moveTo>
                      <a:pt x="828" y="249"/>
                    </a:moveTo>
                    <a:lnTo>
                      <a:pt x="830" y="249"/>
                    </a:lnTo>
                    <a:lnTo>
                      <a:pt x="832" y="247"/>
                    </a:lnTo>
                    <a:lnTo>
                      <a:pt x="832" y="247"/>
                    </a:lnTo>
                    <a:lnTo>
                      <a:pt x="828" y="243"/>
                    </a:lnTo>
                    <a:lnTo>
                      <a:pt x="828" y="241"/>
                    </a:lnTo>
                    <a:lnTo>
                      <a:pt x="826" y="241"/>
                    </a:lnTo>
                    <a:lnTo>
                      <a:pt x="826" y="243"/>
                    </a:lnTo>
                    <a:lnTo>
                      <a:pt x="828" y="247"/>
                    </a:lnTo>
                    <a:lnTo>
                      <a:pt x="828" y="249"/>
                    </a:lnTo>
                    <a:lnTo>
                      <a:pt x="828" y="249"/>
                    </a:lnTo>
                    <a:lnTo>
                      <a:pt x="828" y="249"/>
                    </a:lnTo>
                    <a:lnTo>
                      <a:pt x="828" y="249"/>
                    </a:lnTo>
                    <a:close/>
                    <a:moveTo>
                      <a:pt x="796" y="258"/>
                    </a:moveTo>
                    <a:lnTo>
                      <a:pt x="800" y="256"/>
                    </a:lnTo>
                    <a:lnTo>
                      <a:pt x="800" y="254"/>
                    </a:lnTo>
                    <a:lnTo>
                      <a:pt x="798" y="252"/>
                    </a:lnTo>
                    <a:lnTo>
                      <a:pt x="796" y="254"/>
                    </a:lnTo>
                    <a:lnTo>
                      <a:pt x="792" y="256"/>
                    </a:lnTo>
                    <a:lnTo>
                      <a:pt x="792" y="258"/>
                    </a:lnTo>
                    <a:lnTo>
                      <a:pt x="796" y="258"/>
                    </a:lnTo>
                    <a:lnTo>
                      <a:pt x="796" y="258"/>
                    </a:lnTo>
                    <a:lnTo>
                      <a:pt x="796" y="258"/>
                    </a:lnTo>
                    <a:lnTo>
                      <a:pt x="796" y="258"/>
                    </a:lnTo>
                    <a:close/>
                    <a:moveTo>
                      <a:pt x="813" y="258"/>
                    </a:moveTo>
                    <a:lnTo>
                      <a:pt x="817" y="256"/>
                    </a:lnTo>
                    <a:lnTo>
                      <a:pt x="817" y="252"/>
                    </a:lnTo>
                    <a:lnTo>
                      <a:pt x="817" y="252"/>
                    </a:lnTo>
                    <a:lnTo>
                      <a:pt x="817" y="247"/>
                    </a:lnTo>
                    <a:lnTo>
                      <a:pt x="813" y="247"/>
                    </a:lnTo>
                    <a:lnTo>
                      <a:pt x="813" y="249"/>
                    </a:lnTo>
                    <a:lnTo>
                      <a:pt x="811" y="252"/>
                    </a:lnTo>
                    <a:lnTo>
                      <a:pt x="807" y="254"/>
                    </a:lnTo>
                    <a:lnTo>
                      <a:pt x="809" y="256"/>
                    </a:lnTo>
                    <a:lnTo>
                      <a:pt x="811" y="256"/>
                    </a:lnTo>
                    <a:lnTo>
                      <a:pt x="813" y="254"/>
                    </a:lnTo>
                    <a:lnTo>
                      <a:pt x="813" y="254"/>
                    </a:lnTo>
                    <a:lnTo>
                      <a:pt x="813" y="258"/>
                    </a:lnTo>
                    <a:lnTo>
                      <a:pt x="813" y="258"/>
                    </a:lnTo>
                    <a:lnTo>
                      <a:pt x="813" y="258"/>
                    </a:lnTo>
                    <a:lnTo>
                      <a:pt x="813" y="258"/>
                    </a:lnTo>
                    <a:close/>
                    <a:moveTo>
                      <a:pt x="817" y="277"/>
                    </a:moveTo>
                    <a:lnTo>
                      <a:pt x="818" y="277"/>
                    </a:lnTo>
                    <a:lnTo>
                      <a:pt x="820" y="277"/>
                    </a:lnTo>
                    <a:lnTo>
                      <a:pt x="826" y="277"/>
                    </a:lnTo>
                    <a:lnTo>
                      <a:pt x="826" y="277"/>
                    </a:lnTo>
                    <a:lnTo>
                      <a:pt x="830" y="277"/>
                    </a:lnTo>
                    <a:lnTo>
                      <a:pt x="833" y="277"/>
                    </a:lnTo>
                    <a:lnTo>
                      <a:pt x="835" y="273"/>
                    </a:lnTo>
                    <a:lnTo>
                      <a:pt x="835" y="271"/>
                    </a:lnTo>
                    <a:lnTo>
                      <a:pt x="833" y="271"/>
                    </a:lnTo>
                    <a:lnTo>
                      <a:pt x="833" y="271"/>
                    </a:lnTo>
                    <a:lnTo>
                      <a:pt x="833" y="267"/>
                    </a:lnTo>
                    <a:lnTo>
                      <a:pt x="830" y="267"/>
                    </a:lnTo>
                    <a:lnTo>
                      <a:pt x="828" y="271"/>
                    </a:lnTo>
                    <a:lnTo>
                      <a:pt x="828" y="271"/>
                    </a:lnTo>
                    <a:lnTo>
                      <a:pt x="828" y="271"/>
                    </a:lnTo>
                    <a:lnTo>
                      <a:pt x="826" y="271"/>
                    </a:lnTo>
                    <a:lnTo>
                      <a:pt x="826" y="271"/>
                    </a:lnTo>
                    <a:lnTo>
                      <a:pt x="822" y="271"/>
                    </a:lnTo>
                    <a:lnTo>
                      <a:pt x="820" y="271"/>
                    </a:lnTo>
                    <a:lnTo>
                      <a:pt x="818" y="273"/>
                    </a:lnTo>
                    <a:lnTo>
                      <a:pt x="817" y="271"/>
                    </a:lnTo>
                    <a:lnTo>
                      <a:pt x="817" y="277"/>
                    </a:lnTo>
                    <a:lnTo>
                      <a:pt x="817" y="277"/>
                    </a:lnTo>
                    <a:lnTo>
                      <a:pt x="817" y="277"/>
                    </a:lnTo>
                    <a:lnTo>
                      <a:pt x="817" y="277"/>
                    </a:lnTo>
                    <a:lnTo>
                      <a:pt x="817" y="277"/>
                    </a:lnTo>
                    <a:close/>
                    <a:moveTo>
                      <a:pt x="673" y="81"/>
                    </a:moveTo>
                    <a:lnTo>
                      <a:pt x="679" y="77"/>
                    </a:lnTo>
                    <a:lnTo>
                      <a:pt x="681" y="73"/>
                    </a:lnTo>
                    <a:lnTo>
                      <a:pt x="681" y="70"/>
                    </a:lnTo>
                    <a:lnTo>
                      <a:pt x="687" y="64"/>
                    </a:lnTo>
                    <a:lnTo>
                      <a:pt x="694" y="60"/>
                    </a:lnTo>
                    <a:lnTo>
                      <a:pt x="700" y="58"/>
                    </a:lnTo>
                    <a:lnTo>
                      <a:pt x="700" y="55"/>
                    </a:lnTo>
                    <a:lnTo>
                      <a:pt x="700" y="51"/>
                    </a:lnTo>
                    <a:lnTo>
                      <a:pt x="694" y="47"/>
                    </a:lnTo>
                    <a:lnTo>
                      <a:pt x="689" y="43"/>
                    </a:lnTo>
                    <a:lnTo>
                      <a:pt x="685" y="34"/>
                    </a:lnTo>
                    <a:lnTo>
                      <a:pt x="685" y="30"/>
                    </a:lnTo>
                    <a:lnTo>
                      <a:pt x="687" y="28"/>
                    </a:lnTo>
                    <a:lnTo>
                      <a:pt x="687" y="24"/>
                    </a:lnTo>
                    <a:lnTo>
                      <a:pt x="685" y="24"/>
                    </a:lnTo>
                    <a:lnTo>
                      <a:pt x="675" y="24"/>
                    </a:lnTo>
                    <a:lnTo>
                      <a:pt x="670" y="23"/>
                    </a:lnTo>
                    <a:lnTo>
                      <a:pt x="664" y="19"/>
                    </a:lnTo>
                    <a:lnTo>
                      <a:pt x="657" y="9"/>
                    </a:lnTo>
                    <a:lnTo>
                      <a:pt x="651" y="4"/>
                    </a:lnTo>
                    <a:lnTo>
                      <a:pt x="645" y="0"/>
                    </a:lnTo>
                    <a:lnTo>
                      <a:pt x="643" y="0"/>
                    </a:lnTo>
                    <a:lnTo>
                      <a:pt x="643" y="4"/>
                    </a:lnTo>
                    <a:lnTo>
                      <a:pt x="641" y="6"/>
                    </a:lnTo>
                    <a:lnTo>
                      <a:pt x="643" y="9"/>
                    </a:lnTo>
                    <a:lnTo>
                      <a:pt x="641" y="13"/>
                    </a:lnTo>
                    <a:lnTo>
                      <a:pt x="640" y="19"/>
                    </a:lnTo>
                    <a:lnTo>
                      <a:pt x="636" y="24"/>
                    </a:lnTo>
                    <a:lnTo>
                      <a:pt x="632" y="30"/>
                    </a:lnTo>
                    <a:lnTo>
                      <a:pt x="630" y="34"/>
                    </a:lnTo>
                    <a:lnTo>
                      <a:pt x="632" y="47"/>
                    </a:lnTo>
                    <a:lnTo>
                      <a:pt x="634" y="51"/>
                    </a:lnTo>
                    <a:lnTo>
                      <a:pt x="638" y="53"/>
                    </a:lnTo>
                    <a:lnTo>
                      <a:pt x="638" y="55"/>
                    </a:lnTo>
                    <a:lnTo>
                      <a:pt x="638" y="68"/>
                    </a:lnTo>
                    <a:lnTo>
                      <a:pt x="634" y="70"/>
                    </a:lnTo>
                    <a:lnTo>
                      <a:pt x="634" y="73"/>
                    </a:lnTo>
                    <a:lnTo>
                      <a:pt x="634" y="77"/>
                    </a:lnTo>
                    <a:lnTo>
                      <a:pt x="636" y="75"/>
                    </a:lnTo>
                    <a:lnTo>
                      <a:pt x="640" y="72"/>
                    </a:lnTo>
                    <a:lnTo>
                      <a:pt x="643" y="70"/>
                    </a:lnTo>
                    <a:lnTo>
                      <a:pt x="645" y="72"/>
                    </a:lnTo>
                    <a:lnTo>
                      <a:pt x="645" y="75"/>
                    </a:lnTo>
                    <a:lnTo>
                      <a:pt x="651" y="79"/>
                    </a:lnTo>
                    <a:lnTo>
                      <a:pt x="655" y="79"/>
                    </a:lnTo>
                    <a:lnTo>
                      <a:pt x="657" y="77"/>
                    </a:lnTo>
                    <a:lnTo>
                      <a:pt x="658" y="77"/>
                    </a:lnTo>
                    <a:lnTo>
                      <a:pt x="664" y="81"/>
                    </a:lnTo>
                    <a:lnTo>
                      <a:pt x="670" y="81"/>
                    </a:lnTo>
                    <a:lnTo>
                      <a:pt x="673" y="81"/>
                    </a:lnTo>
                    <a:lnTo>
                      <a:pt x="673" y="81"/>
                    </a:lnTo>
                    <a:lnTo>
                      <a:pt x="673" y="81"/>
                    </a:lnTo>
                    <a:lnTo>
                      <a:pt x="673" y="81"/>
                    </a:lnTo>
                    <a:close/>
                    <a:moveTo>
                      <a:pt x="655" y="107"/>
                    </a:moveTo>
                    <a:lnTo>
                      <a:pt x="657" y="109"/>
                    </a:lnTo>
                    <a:lnTo>
                      <a:pt x="660" y="111"/>
                    </a:lnTo>
                    <a:lnTo>
                      <a:pt x="664" y="111"/>
                    </a:lnTo>
                    <a:lnTo>
                      <a:pt x="668" y="107"/>
                    </a:lnTo>
                    <a:lnTo>
                      <a:pt x="670" y="104"/>
                    </a:lnTo>
                    <a:lnTo>
                      <a:pt x="675" y="102"/>
                    </a:lnTo>
                    <a:lnTo>
                      <a:pt x="675" y="98"/>
                    </a:lnTo>
                    <a:lnTo>
                      <a:pt x="679" y="92"/>
                    </a:lnTo>
                    <a:lnTo>
                      <a:pt x="675" y="88"/>
                    </a:lnTo>
                    <a:lnTo>
                      <a:pt x="670" y="85"/>
                    </a:lnTo>
                    <a:lnTo>
                      <a:pt x="662" y="85"/>
                    </a:lnTo>
                    <a:lnTo>
                      <a:pt x="657" y="85"/>
                    </a:lnTo>
                    <a:lnTo>
                      <a:pt x="655" y="88"/>
                    </a:lnTo>
                    <a:lnTo>
                      <a:pt x="649" y="85"/>
                    </a:lnTo>
                    <a:lnTo>
                      <a:pt x="649" y="85"/>
                    </a:lnTo>
                    <a:lnTo>
                      <a:pt x="645" y="88"/>
                    </a:lnTo>
                    <a:lnTo>
                      <a:pt x="640" y="88"/>
                    </a:lnTo>
                    <a:lnTo>
                      <a:pt x="640" y="88"/>
                    </a:lnTo>
                    <a:lnTo>
                      <a:pt x="641" y="92"/>
                    </a:lnTo>
                    <a:lnTo>
                      <a:pt x="645" y="94"/>
                    </a:lnTo>
                    <a:lnTo>
                      <a:pt x="645" y="98"/>
                    </a:lnTo>
                    <a:lnTo>
                      <a:pt x="651" y="98"/>
                    </a:lnTo>
                    <a:lnTo>
                      <a:pt x="655" y="102"/>
                    </a:lnTo>
                    <a:lnTo>
                      <a:pt x="658" y="104"/>
                    </a:lnTo>
                    <a:lnTo>
                      <a:pt x="664" y="104"/>
                    </a:lnTo>
                    <a:lnTo>
                      <a:pt x="668" y="104"/>
                    </a:lnTo>
                    <a:lnTo>
                      <a:pt x="666" y="105"/>
                    </a:lnTo>
                    <a:lnTo>
                      <a:pt x="660" y="107"/>
                    </a:lnTo>
                    <a:lnTo>
                      <a:pt x="655" y="107"/>
                    </a:lnTo>
                    <a:lnTo>
                      <a:pt x="655" y="107"/>
                    </a:lnTo>
                    <a:lnTo>
                      <a:pt x="655" y="107"/>
                    </a:lnTo>
                    <a:lnTo>
                      <a:pt x="655" y="107"/>
                    </a:lnTo>
                    <a:close/>
                    <a:moveTo>
                      <a:pt x="781" y="119"/>
                    </a:moveTo>
                    <a:lnTo>
                      <a:pt x="781" y="122"/>
                    </a:lnTo>
                    <a:lnTo>
                      <a:pt x="777" y="128"/>
                    </a:lnTo>
                    <a:lnTo>
                      <a:pt x="771" y="128"/>
                    </a:lnTo>
                    <a:lnTo>
                      <a:pt x="768" y="132"/>
                    </a:lnTo>
                    <a:lnTo>
                      <a:pt x="762" y="136"/>
                    </a:lnTo>
                    <a:lnTo>
                      <a:pt x="762" y="136"/>
                    </a:lnTo>
                    <a:lnTo>
                      <a:pt x="756" y="132"/>
                    </a:lnTo>
                    <a:lnTo>
                      <a:pt x="754" y="130"/>
                    </a:lnTo>
                    <a:lnTo>
                      <a:pt x="751" y="130"/>
                    </a:lnTo>
                    <a:lnTo>
                      <a:pt x="749" y="130"/>
                    </a:lnTo>
                    <a:lnTo>
                      <a:pt x="743" y="130"/>
                    </a:lnTo>
                    <a:lnTo>
                      <a:pt x="734" y="130"/>
                    </a:lnTo>
                    <a:lnTo>
                      <a:pt x="732" y="128"/>
                    </a:lnTo>
                    <a:lnTo>
                      <a:pt x="728" y="124"/>
                    </a:lnTo>
                    <a:lnTo>
                      <a:pt x="724" y="128"/>
                    </a:lnTo>
                    <a:lnTo>
                      <a:pt x="719" y="130"/>
                    </a:lnTo>
                    <a:lnTo>
                      <a:pt x="715" y="128"/>
                    </a:lnTo>
                    <a:lnTo>
                      <a:pt x="713" y="128"/>
                    </a:lnTo>
                    <a:lnTo>
                      <a:pt x="707" y="124"/>
                    </a:lnTo>
                    <a:lnTo>
                      <a:pt x="704" y="122"/>
                    </a:lnTo>
                    <a:lnTo>
                      <a:pt x="704" y="117"/>
                    </a:lnTo>
                    <a:lnTo>
                      <a:pt x="700" y="113"/>
                    </a:lnTo>
                    <a:lnTo>
                      <a:pt x="698" y="113"/>
                    </a:lnTo>
                    <a:lnTo>
                      <a:pt x="694" y="115"/>
                    </a:lnTo>
                    <a:lnTo>
                      <a:pt x="690" y="111"/>
                    </a:lnTo>
                    <a:lnTo>
                      <a:pt x="687" y="109"/>
                    </a:lnTo>
                    <a:lnTo>
                      <a:pt x="687" y="111"/>
                    </a:lnTo>
                    <a:lnTo>
                      <a:pt x="687" y="115"/>
                    </a:lnTo>
                    <a:lnTo>
                      <a:pt x="685" y="115"/>
                    </a:lnTo>
                    <a:lnTo>
                      <a:pt x="683" y="115"/>
                    </a:lnTo>
                    <a:lnTo>
                      <a:pt x="679" y="111"/>
                    </a:lnTo>
                    <a:lnTo>
                      <a:pt x="681" y="109"/>
                    </a:lnTo>
                    <a:lnTo>
                      <a:pt x="685" y="107"/>
                    </a:lnTo>
                    <a:lnTo>
                      <a:pt x="685" y="104"/>
                    </a:lnTo>
                    <a:lnTo>
                      <a:pt x="685" y="98"/>
                    </a:lnTo>
                    <a:lnTo>
                      <a:pt x="685" y="94"/>
                    </a:lnTo>
                    <a:lnTo>
                      <a:pt x="690" y="92"/>
                    </a:lnTo>
                    <a:lnTo>
                      <a:pt x="689" y="88"/>
                    </a:lnTo>
                    <a:lnTo>
                      <a:pt x="685" y="88"/>
                    </a:lnTo>
                    <a:lnTo>
                      <a:pt x="681" y="85"/>
                    </a:lnTo>
                    <a:lnTo>
                      <a:pt x="681" y="85"/>
                    </a:lnTo>
                    <a:lnTo>
                      <a:pt x="683" y="77"/>
                    </a:lnTo>
                    <a:lnTo>
                      <a:pt x="687" y="75"/>
                    </a:lnTo>
                    <a:lnTo>
                      <a:pt x="692" y="73"/>
                    </a:lnTo>
                    <a:lnTo>
                      <a:pt x="692" y="70"/>
                    </a:lnTo>
                    <a:lnTo>
                      <a:pt x="694" y="68"/>
                    </a:lnTo>
                    <a:lnTo>
                      <a:pt x="700" y="68"/>
                    </a:lnTo>
                    <a:lnTo>
                      <a:pt x="704" y="60"/>
                    </a:lnTo>
                    <a:lnTo>
                      <a:pt x="707" y="58"/>
                    </a:lnTo>
                    <a:lnTo>
                      <a:pt x="707" y="55"/>
                    </a:lnTo>
                    <a:lnTo>
                      <a:pt x="715" y="58"/>
                    </a:lnTo>
                    <a:lnTo>
                      <a:pt x="719" y="60"/>
                    </a:lnTo>
                    <a:lnTo>
                      <a:pt x="724" y="70"/>
                    </a:lnTo>
                    <a:lnTo>
                      <a:pt x="728" y="73"/>
                    </a:lnTo>
                    <a:lnTo>
                      <a:pt x="724" y="79"/>
                    </a:lnTo>
                    <a:lnTo>
                      <a:pt x="728" y="81"/>
                    </a:lnTo>
                    <a:lnTo>
                      <a:pt x="724" y="85"/>
                    </a:lnTo>
                    <a:lnTo>
                      <a:pt x="724" y="85"/>
                    </a:lnTo>
                    <a:lnTo>
                      <a:pt x="724" y="88"/>
                    </a:lnTo>
                    <a:lnTo>
                      <a:pt x="724" y="88"/>
                    </a:lnTo>
                    <a:lnTo>
                      <a:pt x="730" y="83"/>
                    </a:lnTo>
                    <a:lnTo>
                      <a:pt x="730" y="79"/>
                    </a:lnTo>
                    <a:lnTo>
                      <a:pt x="730" y="75"/>
                    </a:lnTo>
                    <a:lnTo>
                      <a:pt x="732" y="72"/>
                    </a:lnTo>
                    <a:lnTo>
                      <a:pt x="732" y="70"/>
                    </a:lnTo>
                    <a:lnTo>
                      <a:pt x="724" y="64"/>
                    </a:lnTo>
                    <a:lnTo>
                      <a:pt x="724" y="60"/>
                    </a:lnTo>
                    <a:lnTo>
                      <a:pt x="724" y="60"/>
                    </a:lnTo>
                    <a:lnTo>
                      <a:pt x="734" y="60"/>
                    </a:lnTo>
                    <a:lnTo>
                      <a:pt x="739" y="60"/>
                    </a:lnTo>
                    <a:lnTo>
                      <a:pt x="751" y="68"/>
                    </a:lnTo>
                    <a:lnTo>
                      <a:pt x="753" y="70"/>
                    </a:lnTo>
                    <a:lnTo>
                      <a:pt x="754" y="70"/>
                    </a:lnTo>
                    <a:lnTo>
                      <a:pt x="754" y="75"/>
                    </a:lnTo>
                    <a:lnTo>
                      <a:pt x="758" y="77"/>
                    </a:lnTo>
                    <a:lnTo>
                      <a:pt x="758" y="83"/>
                    </a:lnTo>
                    <a:lnTo>
                      <a:pt x="758" y="88"/>
                    </a:lnTo>
                    <a:lnTo>
                      <a:pt x="764" y="94"/>
                    </a:lnTo>
                    <a:lnTo>
                      <a:pt x="768" y="98"/>
                    </a:lnTo>
                    <a:lnTo>
                      <a:pt x="768" y="100"/>
                    </a:lnTo>
                    <a:lnTo>
                      <a:pt x="764" y="100"/>
                    </a:lnTo>
                    <a:lnTo>
                      <a:pt x="762" y="98"/>
                    </a:lnTo>
                    <a:lnTo>
                      <a:pt x="758" y="98"/>
                    </a:lnTo>
                    <a:lnTo>
                      <a:pt x="762" y="104"/>
                    </a:lnTo>
                    <a:lnTo>
                      <a:pt x="764" y="105"/>
                    </a:lnTo>
                    <a:lnTo>
                      <a:pt x="769" y="107"/>
                    </a:lnTo>
                    <a:lnTo>
                      <a:pt x="773" y="113"/>
                    </a:lnTo>
                    <a:lnTo>
                      <a:pt x="777" y="113"/>
                    </a:lnTo>
                    <a:lnTo>
                      <a:pt x="781" y="119"/>
                    </a:lnTo>
                    <a:lnTo>
                      <a:pt x="781" y="119"/>
                    </a:lnTo>
                    <a:lnTo>
                      <a:pt x="781" y="119"/>
                    </a:lnTo>
                    <a:lnTo>
                      <a:pt x="781" y="119"/>
                    </a:lnTo>
                    <a:close/>
                    <a:moveTo>
                      <a:pt x="1496" y="77"/>
                    </a:moveTo>
                    <a:lnTo>
                      <a:pt x="1498" y="85"/>
                    </a:lnTo>
                    <a:lnTo>
                      <a:pt x="1504" y="94"/>
                    </a:lnTo>
                    <a:lnTo>
                      <a:pt x="1505" y="98"/>
                    </a:lnTo>
                    <a:lnTo>
                      <a:pt x="1517" y="100"/>
                    </a:lnTo>
                    <a:lnTo>
                      <a:pt x="1528" y="102"/>
                    </a:lnTo>
                    <a:lnTo>
                      <a:pt x="1536" y="105"/>
                    </a:lnTo>
                    <a:lnTo>
                      <a:pt x="1539" y="105"/>
                    </a:lnTo>
                    <a:lnTo>
                      <a:pt x="1545" y="104"/>
                    </a:lnTo>
                    <a:lnTo>
                      <a:pt x="1551" y="105"/>
                    </a:lnTo>
                    <a:lnTo>
                      <a:pt x="1554" y="104"/>
                    </a:lnTo>
                    <a:lnTo>
                      <a:pt x="1560" y="100"/>
                    </a:lnTo>
                    <a:lnTo>
                      <a:pt x="1564" y="94"/>
                    </a:lnTo>
                    <a:lnTo>
                      <a:pt x="1566" y="92"/>
                    </a:lnTo>
                    <a:lnTo>
                      <a:pt x="1564" y="85"/>
                    </a:lnTo>
                    <a:lnTo>
                      <a:pt x="1560" y="85"/>
                    </a:lnTo>
                    <a:lnTo>
                      <a:pt x="1558" y="85"/>
                    </a:lnTo>
                    <a:lnTo>
                      <a:pt x="1558" y="83"/>
                    </a:lnTo>
                    <a:lnTo>
                      <a:pt x="1558" y="79"/>
                    </a:lnTo>
                    <a:lnTo>
                      <a:pt x="1556" y="77"/>
                    </a:lnTo>
                    <a:lnTo>
                      <a:pt x="1553" y="79"/>
                    </a:lnTo>
                    <a:lnTo>
                      <a:pt x="1549" y="77"/>
                    </a:lnTo>
                    <a:lnTo>
                      <a:pt x="1539" y="79"/>
                    </a:lnTo>
                    <a:lnTo>
                      <a:pt x="1534" y="85"/>
                    </a:lnTo>
                    <a:lnTo>
                      <a:pt x="1528" y="85"/>
                    </a:lnTo>
                    <a:lnTo>
                      <a:pt x="1528" y="83"/>
                    </a:lnTo>
                    <a:lnTo>
                      <a:pt x="1526" y="79"/>
                    </a:lnTo>
                    <a:lnTo>
                      <a:pt x="1524" y="79"/>
                    </a:lnTo>
                    <a:lnTo>
                      <a:pt x="1519" y="81"/>
                    </a:lnTo>
                    <a:lnTo>
                      <a:pt x="1515" y="81"/>
                    </a:lnTo>
                    <a:lnTo>
                      <a:pt x="1511" y="79"/>
                    </a:lnTo>
                    <a:lnTo>
                      <a:pt x="1511" y="83"/>
                    </a:lnTo>
                    <a:lnTo>
                      <a:pt x="1509" y="85"/>
                    </a:lnTo>
                    <a:lnTo>
                      <a:pt x="1502" y="83"/>
                    </a:lnTo>
                    <a:lnTo>
                      <a:pt x="1500" y="81"/>
                    </a:lnTo>
                    <a:lnTo>
                      <a:pt x="1498" y="79"/>
                    </a:lnTo>
                    <a:lnTo>
                      <a:pt x="1496" y="77"/>
                    </a:lnTo>
                    <a:lnTo>
                      <a:pt x="1496" y="77"/>
                    </a:lnTo>
                    <a:lnTo>
                      <a:pt x="1496" y="77"/>
                    </a:lnTo>
                    <a:lnTo>
                      <a:pt x="1496" y="77"/>
                    </a:lnTo>
                    <a:close/>
                    <a:moveTo>
                      <a:pt x="1353" y="141"/>
                    </a:moveTo>
                    <a:lnTo>
                      <a:pt x="1349" y="132"/>
                    </a:lnTo>
                    <a:lnTo>
                      <a:pt x="1347" y="128"/>
                    </a:lnTo>
                    <a:lnTo>
                      <a:pt x="1344" y="124"/>
                    </a:lnTo>
                    <a:lnTo>
                      <a:pt x="1340" y="124"/>
                    </a:lnTo>
                    <a:lnTo>
                      <a:pt x="1336" y="119"/>
                    </a:lnTo>
                    <a:lnTo>
                      <a:pt x="1332" y="119"/>
                    </a:lnTo>
                    <a:lnTo>
                      <a:pt x="1330" y="117"/>
                    </a:lnTo>
                    <a:lnTo>
                      <a:pt x="1330" y="119"/>
                    </a:lnTo>
                    <a:lnTo>
                      <a:pt x="1334" y="124"/>
                    </a:lnTo>
                    <a:lnTo>
                      <a:pt x="1340" y="130"/>
                    </a:lnTo>
                    <a:lnTo>
                      <a:pt x="1344" y="137"/>
                    </a:lnTo>
                    <a:lnTo>
                      <a:pt x="1347" y="147"/>
                    </a:lnTo>
                    <a:lnTo>
                      <a:pt x="1351" y="149"/>
                    </a:lnTo>
                    <a:lnTo>
                      <a:pt x="1353" y="147"/>
                    </a:lnTo>
                    <a:lnTo>
                      <a:pt x="1353" y="141"/>
                    </a:lnTo>
                    <a:lnTo>
                      <a:pt x="1353" y="141"/>
                    </a:lnTo>
                    <a:lnTo>
                      <a:pt x="1353" y="141"/>
                    </a:lnTo>
                    <a:lnTo>
                      <a:pt x="1353" y="141"/>
                    </a:lnTo>
                    <a:close/>
                    <a:moveTo>
                      <a:pt x="1426" y="149"/>
                    </a:moveTo>
                    <a:lnTo>
                      <a:pt x="1423" y="149"/>
                    </a:lnTo>
                    <a:lnTo>
                      <a:pt x="1421" y="149"/>
                    </a:lnTo>
                    <a:lnTo>
                      <a:pt x="1421" y="147"/>
                    </a:lnTo>
                    <a:lnTo>
                      <a:pt x="1423" y="143"/>
                    </a:lnTo>
                    <a:lnTo>
                      <a:pt x="1423" y="145"/>
                    </a:lnTo>
                    <a:lnTo>
                      <a:pt x="1426" y="149"/>
                    </a:lnTo>
                    <a:lnTo>
                      <a:pt x="1430" y="149"/>
                    </a:lnTo>
                    <a:lnTo>
                      <a:pt x="1430" y="153"/>
                    </a:lnTo>
                    <a:lnTo>
                      <a:pt x="1430" y="153"/>
                    </a:lnTo>
                    <a:lnTo>
                      <a:pt x="1432" y="153"/>
                    </a:lnTo>
                    <a:lnTo>
                      <a:pt x="1436" y="149"/>
                    </a:lnTo>
                    <a:lnTo>
                      <a:pt x="1440" y="141"/>
                    </a:lnTo>
                    <a:lnTo>
                      <a:pt x="1445" y="134"/>
                    </a:lnTo>
                    <a:lnTo>
                      <a:pt x="1451" y="134"/>
                    </a:lnTo>
                    <a:lnTo>
                      <a:pt x="1455" y="130"/>
                    </a:lnTo>
                    <a:lnTo>
                      <a:pt x="1457" y="132"/>
                    </a:lnTo>
                    <a:lnTo>
                      <a:pt x="1455" y="134"/>
                    </a:lnTo>
                    <a:lnTo>
                      <a:pt x="1457" y="136"/>
                    </a:lnTo>
                    <a:lnTo>
                      <a:pt x="1460" y="136"/>
                    </a:lnTo>
                    <a:lnTo>
                      <a:pt x="1462" y="136"/>
                    </a:lnTo>
                    <a:lnTo>
                      <a:pt x="1462" y="132"/>
                    </a:lnTo>
                    <a:lnTo>
                      <a:pt x="1468" y="128"/>
                    </a:lnTo>
                    <a:lnTo>
                      <a:pt x="1472" y="124"/>
                    </a:lnTo>
                    <a:lnTo>
                      <a:pt x="1470" y="122"/>
                    </a:lnTo>
                    <a:lnTo>
                      <a:pt x="1464" y="124"/>
                    </a:lnTo>
                    <a:lnTo>
                      <a:pt x="1460" y="128"/>
                    </a:lnTo>
                    <a:lnTo>
                      <a:pt x="1455" y="122"/>
                    </a:lnTo>
                    <a:lnTo>
                      <a:pt x="1447" y="122"/>
                    </a:lnTo>
                    <a:lnTo>
                      <a:pt x="1447" y="119"/>
                    </a:lnTo>
                    <a:lnTo>
                      <a:pt x="1441" y="119"/>
                    </a:lnTo>
                    <a:lnTo>
                      <a:pt x="1441" y="119"/>
                    </a:lnTo>
                    <a:lnTo>
                      <a:pt x="1436" y="113"/>
                    </a:lnTo>
                    <a:lnTo>
                      <a:pt x="1432" y="111"/>
                    </a:lnTo>
                    <a:lnTo>
                      <a:pt x="1430" y="104"/>
                    </a:lnTo>
                    <a:lnTo>
                      <a:pt x="1430" y="100"/>
                    </a:lnTo>
                    <a:lnTo>
                      <a:pt x="1426" y="98"/>
                    </a:lnTo>
                    <a:lnTo>
                      <a:pt x="1426" y="94"/>
                    </a:lnTo>
                    <a:lnTo>
                      <a:pt x="1423" y="92"/>
                    </a:lnTo>
                    <a:lnTo>
                      <a:pt x="1423" y="88"/>
                    </a:lnTo>
                    <a:lnTo>
                      <a:pt x="1423" y="88"/>
                    </a:lnTo>
                    <a:lnTo>
                      <a:pt x="1423" y="85"/>
                    </a:lnTo>
                    <a:lnTo>
                      <a:pt x="1423" y="85"/>
                    </a:lnTo>
                    <a:lnTo>
                      <a:pt x="1426" y="85"/>
                    </a:lnTo>
                    <a:lnTo>
                      <a:pt x="1426" y="81"/>
                    </a:lnTo>
                    <a:lnTo>
                      <a:pt x="1423" y="81"/>
                    </a:lnTo>
                    <a:lnTo>
                      <a:pt x="1421" y="79"/>
                    </a:lnTo>
                    <a:lnTo>
                      <a:pt x="1413" y="79"/>
                    </a:lnTo>
                    <a:lnTo>
                      <a:pt x="1409" y="77"/>
                    </a:lnTo>
                    <a:lnTo>
                      <a:pt x="1406" y="73"/>
                    </a:lnTo>
                    <a:lnTo>
                      <a:pt x="1402" y="73"/>
                    </a:lnTo>
                    <a:lnTo>
                      <a:pt x="1398" y="73"/>
                    </a:lnTo>
                    <a:lnTo>
                      <a:pt x="1398" y="73"/>
                    </a:lnTo>
                    <a:lnTo>
                      <a:pt x="1402" y="79"/>
                    </a:lnTo>
                    <a:lnTo>
                      <a:pt x="1406" y="79"/>
                    </a:lnTo>
                    <a:lnTo>
                      <a:pt x="1408" y="83"/>
                    </a:lnTo>
                    <a:lnTo>
                      <a:pt x="1402" y="83"/>
                    </a:lnTo>
                    <a:lnTo>
                      <a:pt x="1402" y="81"/>
                    </a:lnTo>
                    <a:lnTo>
                      <a:pt x="1398" y="81"/>
                    </a:lnTo>
                    <a:lnTo>
                      <a:pt x="1398" y="85"/>
                    </a:lnTo>
                    <a:lnTo>
                      <a:pt x="1398" y="88"/>
                    </a:lnTo>
                    <a:lnTo>
                      <a:pt x="1398" y="92"/>
                    </a:lnTo>
                    <a:lnTo>
                      <a:pt x="1402" y="98"/>
                    </a:lnTo>
                    <a:lnTo>
                      <a:pt x="1406" y="102"/>
                    </a:lnTo>
                    <a:lnTo>
                      <a:pt x="1408" y="105"/>
                    </a:lnTo>
                    <a:lnTo>
                      <a:pt x="1406" y="107"/>
                    </a:lnTo>
                    <a:lnTo>
                      <a:pt x="1402" y="107"/>
                    </a:lnTo>
                    <a:lnTo>
                      <a:pt x="1398" y="102"/>
                    </a:lnTo>
                    <a:lnTo>
                      <a:pt x="1396" y="98"/>
                    </a:lnTo>
                    <a:lnTo>
                      <a:pt x="1394" y="94"/>
                    </a:lnTo>
                    <a:lnTo>
                      <a:pt x="1389" y="98"/>
                    </a:lnTo>
                    <a:lnTo>
                      <a:pt x="1387" y="98"/>
                    </a:lnTo>
                    <a:lnTo>
                      <a:pt x="1387" y="98"/>
                    </a:lnTo>
                    <a:lnTo>
                      <a:pt x="1383" y="98"/>
                    </a:lnTo>
                    <a:lnTo>
                      <a:pt x="1381" y="92"/>
                    </a:lnTo>
                    <a:lnTo>
                      <a:pt x="1381" y="88"/>
                    </a:lnTo>
                    <a:lnTo>
                      <a:pt x="1377" y="88"/>
                    </a:lnTo>
                    <a:lnTo>
                      <a:pt x="1374" y="85"/>
                    </a:lnTo>
                    <a:lnTo>
                      <a:pt x="1368" y="85"/>
                    </a:lnTo>
                    <a:lnTo>
                      <a:pt x="1366" y="83"/>
                    </a:lnTo>
                    <a:lnTo>
                      <a:pt x="1364" y="81"/>
                    </a:lnTo>
                    <a:lnTo>
                      <a:pt x="1361" y="81"/>
                    </a:lnTo>
                    <a:lnTo>
                      <a:pt x="1357" y="85"/>
                    </a:lnTo>
                    <a:lnTo>
                      <a:pt x="1359" y="88"/>
                    </a:lnTo>
                    <a:lnTo>
                      <a:pt x="1357" y="88"/>
                    </a:lnTo>
                    <a:lnTo>
                      <a:pt x="1357" y="94"/>
                    </a:lnTo>
                    <a:lnTo>
                      <a:pt x="1355" y="100"/>
                    </a:lnTo>
                    <a:lnTo>
                      <a:pt x="1351" y="104"/>
                    </a:lnTo>
                    <a:lnTo>
                      <a:pt x="1351" y="105"/>
                    </a:lnTo>
                    <a:lnTo>
                      <a:pt x="1355" y="113"/>
                    </a:lnTo>
                    <a:lnTo>
                      <a:pt x="1359" y="113"/>
                    </a:lnTo>
                    <a:lnTo>
                      <a:pt x="1361" y="115"/>
                    </a:lnTo>
                    <a:lnTo>
                      <a:pt x="1359" y="117"/>
                    </a:lnTo>
                    <a:lnTo>
                      <a:pt x="1357" y="117"/>
                    </a:lnTo>
                    <a:lnTo>
                      <a:pt x="1357" y="119"/>
                    </a:lnTo>
                    <a:lnTo>
                      <a:pt x="1361" y="119"/>
                    </a:lnTo>
                    <a:lnTo>
                      <a:pt x="1362" y="122"/>
                    </a:lnTo>
                    <a:lnTo>
                      <a:pt x="1362" y="128"/>
                    </a:lnTo>
                    <a:lnTo>
                      <a:pt x="1364" y="128"/>
                    </a:lnTo>
                    <a:lnTo>
                      <a:pt x="1368" y="130"/>
                    </a:lnTo>
                    <a:lnTo>
                      <a:pt x="1368" y="132"/>
                    </a:lnTo>
                    <a:lnTo>
                      <a:pt x="1368" y="134"/>
                    </a:lnTo>
                    <a:lnTo>
                      <a:pt x="1372" y="136"/>
                    </a:lnTo>
                    <a:lnTo>
                      <a:pt x="1372" y="134"/>
                    </a:lnTo>
                    <a:lnTo>
                      <a:pt x="1374" y="134"/>
                    </a:lnTo>
                    <a:lnTo>
                      <a:pt x="1377" y="136"/>
                    </a:lnTo>
                    <a:lnTo>
                      <a:pt x="1372" y="137"/>
                    </a:lnTo>
                    <a:lnTo>
                      <a:pt x="1372" y="137"/>
                    </a:lnTo>
                    <a:lnTo>
                      <a:pt x="1368" y="137"/>
                    </a:lnTo>
                    <a:lnTo>
                      <a:pt x="1368" y="139"/>
                    </a:lnTo>
                    <a:lnTo>
                      <a:pt x="1368" y="143"/>
                    </a:lnTo>
                    <a:lnTo>
                      <a:pt x="1381" y="149"/>
                    </a:lnTo>
                    <a:lnTo>
                      <a:pt x="1387" y="153"/>
                    </a:lnTo>
                    <a:lnTo>
                      <a:pt x="1393" y="153"/>
                    </a:lnTo>
                    <a:lnTo>
                      <a:pt x="1396" y="154"/>
                    </a:lnTo>
                    <a:lnTo>
                      <a:pt x="1398" y="156"/>
                    </a:lnTo>
                    <a:lnTo>
                      <a:pt x="1398" y="162"/>
                    </a:lnTo>
                    <a:lnTo>
                      <a:pt x="1402" y="164"/>
                    </a:lnTo>
                    <a:lnTo>
                      <a:pt x="1408" y="164"/>
                    </a:lnTo>
                    <a:lnTo>
                      <a:pt x="1413" y="162"/>
                    </a:lnTo>
                    <a:lnTo>
                      <a:pt x="1419" y="162"/>
                    </a:lnTo>
                    <a:lnTo>
                      <a:pt x="1423" y="164"/>
                    </a:lnTo>
                    <a:lnTo>
                      <a:pt x="1426" y="164"/>
                    </a:lnTo>
                    <a:lnTo>
                      <a:pt x="1426" y="162"/>
                    </a:lnTo>
                    <a:lnTo>
                      <a:pt x="1426" y="156"/>
                    </a:lnTo>
                    <a:lnTo>
                      <a:pt x="1426" y="153"/>
                    </a:lnTo>
                    <a:lnTo>
                      <a:pt x="1426" y="149"/>
                    </a:lnTo>
                    <a:lnTo>
                      <a:pt x="1426" y="149"/>
                    </a:lnTo>
                    <a:lnTo>
                      <a:pt x="1426" y="149"/>
                    </a:lnTo>
                    <a:lnTo>
                      <a:pt x="1426" y="149"/>
                    </a:lnTo>
                    <a:close/>
                    <a:moveTo>
                      <a:pt x="1426" y="77"/>
                    </a:moveTo>
                    <a:lnTo>
                      <a:pt x="1432" y="77"/>
                    </a:lnTo>
                    <a:lnTo>
                      <a:pt x="1438" y="77"/>
                    </a:lnTo>
                    <a:lnTo>
                      <a:pt x="1441" y="77"/>
                    </a:lnTo>
                    <a:lnTo>
                      <a:pt x="1453" y="83"/>
                    </a:lnTo>
                    <a:lnTo>
                      <a:pt x="1457" y="83"/>
                    </a:lnTo>
                    <a:lnTo>
                      <a:pt x="1460" y="83"/>
                    </a:lnTo>
                    <a:lnTo>
                      <a:pt x="1468" y="83"/>
                    </a:lnTo>
                    <a:lnTo>
                      <a:pt x="1477" y="85"/>
                    </a:lnTo>
                    <a:lnTo>
                      <a:pt x="1477" y="88"/>
                    </a:lnTo>
                    <a:lnTo>
                      <a:pt x="1473" y="88"/>
                    </a:lnTo>
                    <a:lnTo>
                      <a:pt x="1470" y="92"/>
                    </a:lnTo>
                    <a:lnTo>
                      <a:pt x="1470" y="94"/>
                    </a:lnTo>
                    <a:lnTo>
                      <a:pt x="1475" y="100"/>
                    </a:lnTo>
                    <a:lnTo>
                      <a:pt x="1479" y="100"/>
                    </a:lnTo>
                    <a:lnTo>
                      <a:pt x="1479" y="105"/>
                    </a:lnTo>
                    <a:lnTo>
                      <a:pt x="1481" y="107"/>
                    </a:lnTo>
                    <a:lnTo>
                      <a:pt x="1477" y="111"/>
                    </a:lnTo>
                    <a:lnTo>
                      <a:pt x="1477" y="117"/>
                    </a:lnTo>
                    <a:lnTo>
                      <a:pt x="1473" y="119"/>
                    </a:lnTo>
                    <a:lnTo>
                      <a:pt x="1472" y="122"/>
                    </a:lnTo>
                    <a:lnTo>
                      <a:pt x="1468" y="119"/>
                    </a:lnTo>
                    <a:lnTo>
                      <a:pt x="1466" y="119"/>
                    </a:lnTo>
                    <a:lnTo>
                      <a:pt x="1462" y="122"/>
                    </a:lnTo>
                    <a:lnTo>
                      <a:pt x="1460" y="122"/>
                    </a:lnTo>
                    <a:lnTo>
                      <a:pt x="1451" y="119"/>
                    </a:lnTo>
                    <a:lnTo>
                      <a:pt x="1447" y="115"/>
                    </a:lnTo>
                    <a:lnTo>
                      <a:pt x="1438" y="107"/>
                    </a:lnTo>
                    <a:lnTo>
                      <a:pt x="1436" y="102"/>
                    </a:lnTo>
                    <a:lnTo>
                      <a:pt x="1438" y="98"/>
                    </a:lnTo>
                    <a:lnTo>
                      <a:pt x="1438" y="94"/>
                    </a:lnTo>
                    <a:lnTo>
                      <a:pt x="1440" y="94"/>
                    </a:lnTo>
                    <a:lnTo>
                      <a:pt x="1438" y="88"/>
                    </a:lnTo>
                    <a:lnTo>
                      <a:pt x="1436" y="88"/>
                    </a:lnTo>
                    <a:lnTo>
                      <a:pt x="1436" y="85"/>
                    </a:lnTo>
                    <a:lnTo>
                      <a:pt x="1432" y="85"/>
                    </a:lnTo>
                    <a:lnTo>
                      <a:pt x="1430" y="81"/>
                    </a:lnTo>
                    <a:lnTo>
                      <a:pt x="1426" y="77"/>
                    </a:lnTo>
                    <a:lnTo>
                      <a:pt x="1426" y="77"/>
                    </a:lnTo>
                    <a:lnTo>
                      <a:pt x="1426" y="77"/>
                    </a:lnTo>
                    <a:lnTo>
                      <a:pt x="1426" y="77"/>
                    </a:lnTo>
                    <a:close/>
                    <a:moveTo>
                      <a:pt x="813" y="173"/>
                    </a:moveTo>
                    <a:lnTo>
                      <a:pt x="813" y="173"/>
                    </a:lnTo>
                    <a:lnTo>
                      <a:pt x="817" y="171"/>
                    </a:lnTo>
                    <a:lnTo>
                      <a:pt x="820" y="168"/>
                    </a:lnTo>
                    <a:lnTo>
                      <a:pt x="826" y="162"/>
                    </a:lnTo>
                    <a:lnTo>
                      <a:pt x="828" y="162"/>
                    </a:lnTo>
                    <a:lnTo>
                      <a:pt x="826" y="156"/>
                    </a:lnTo>
                    <a:lnTo>
                      <a:pt x="828" y="154"/>
                    </a:lnTo>
                    <a:lnTo>
                      <a:pt x="835" y="149"/>
                    </a:lnTo>
                    <a:lnTo>
                      <a:pt x="837" y="149"/>
                    </a:lnTo>
                    <a:lnTo>
                      <a:pt x="841" y="149"/>
                    </a:lnTo>
                    <a:lnTo>
                      <a:pt x="843" y="149"/>
                    </a:lnTo>
                    <a:lnTo>
                      <a:pt x="847" y="147"/>
                    </a:lnTo>
                    <a:lnTo>
                      <a:pt x="847" y="143"/>
                    </a:lnTo>
                    <a:lnTo>
                      <a:pt x="850" y="143"/>
                    </a:lnTo>
                    <a:lnTo>
                      <a:pt x="856" y="137"/>
                    </a:lnTo>
                    <a:lnTo>
                      <a:pt x="858" y="134"/>
                    </a:lnTo>
                    <a:lnTo>
                      <a:pt x="860" y="132"/>
                    </a:lnTo>
                    <a:lnTo>
                      <a:pt x="864" y="124"/>
                    </a:lnTo>
                    <a:lnTo>
                      <a:pt x="862" y="122"/>
                    </a:lnTo>
                    <a:lnTo>
                      <a:pt x="858" y="117"/>
                    </a:lnTo>
                    <a:lnTo>
                      <a:pt x="856" y="111"/>
                    </a:lnTo>
                    <a:lnTo>
                      <a:pt x="854" y="107"/>
                    </a:lnTo>
                    <a:lnTo>
                      <a:pt x="850" y="104"/>
                    </a:lnTo>
                    <a:lnTo>
                      <a:pt x="847" y="104"/>
                    </a:lnTo>
                    <a:lnTo>
                      <a:pt x="843" y="104"/>
                    </a:lnTo>
                    <a:lnTo>
                      <a:pt x="841" y="102"/>
                    </a:lnTo>
                    <a:lnTo>
                      <a:pt x="837" y="102"/>
                    </a:lnTo>
                    <a:lnTo>
                      <a:pt x="832" y="98"/>
                    </a:lnTo>
                    <a:lnTo>
                      <a:pt x="830" y="98"/>
                    </a:lnTo>
                    <a:lnTo>
                      <a:pt x="830" y="98"/>
                    </a:lnTo>
                    <a:lnTo>
                      <a:pt x="826" y="98"/>
                    </a:lnTo>
                    <a:lnTo>
                      <a:pt x="826" y="94"/>
                    </a:lnTo>
                    <a:lnTo>
                      <a:pt x="822" y="92"/>
                    </a:lnTo>
                    <a:lnTo>
                      <a:pt x="820" y="92"/>
                    </a:lnTo>
                    <a:lnTo>
                      <a:pt x="818" y="94"/>
                    </a:lnTo>
                    <a:lnTo>
                      <a:pt x="817" y="94"/>
                    </a:lnTo>
                    <a:lnTo>
                      <a:pt x="813" y="88"/>
                    </a:lnTo>
                    <a:lnTo>
                      <a:pt x="813" y="88"/>
                    </a:lnTo>
                    <a:lnTo>
                      <a:pt x="813" y="88"/>
                    </a:lnTo>
                    <a:lnTo>
                      <a:pt x="817" y="94"/>
                    </a:lnTo>
                    <a:lnTo>
                      <a:pt x="817" y="94"/>
                    </a:lnTo>
                    <a:lnTo>
                      <a:pt x="813" y="98"/>
                    </a:lnTo>
                    <a:lnTo>
                      <a:pt x="813" y="100"/>
                    </a:lnTo>
                    <a:lnTo>
                      <a:pt x="811" y="100"/>
                    </a:lnTo>
                    <a:lnTo>
                      <a:pt x="811" y="98"/>
                    </a:lnTo>
                    <a:lnTo>
                      <a:pt x="809" y="85"/>
                    </a:lnTo>
                    <a:lnTo>
                      <a:pt x="805" y="85"/>
                    </a:lnTo>
                    <a:lnTo>
                      <a:pt x="801" y="85"/>
                    </a:lnTo>
                    <a:lnTo>
                      <a:pt x="796" y="81"/>
                    </a:lnTo>
                    <a:lnTo>
                      <a:pt x="794" y="81"/>
                    </a:lnTo>
                    <a:lnTo>
                      <a:pt x="792" y="85"/>
                    </a:lnTo>
                    <a:lnTo>
                      <a:pt x="792" y="88"/>
                    </a:lnTo>
                    <a:lnTo>
                      <a:pt x="796" y="88"/>
                    </a:lnTo>
                    <a:lnTo>
                      <a:pt x="800" y="94"/>
                    </a:lnTo>
                    <a:lnTo>
                      <a:pt x="798" y="94"/>
                    </a:lnTo>
                    <a:lnTo>
                      <a:pt x="794" y="94"/>
                    </a:lnTo>
                    <a:lnTo>
                      <a:pt x="792" y="94"/>
                    </a:lnTo>
                    <a:lnTo>
                      <a:pt x="792" y="92"/>
                    </a:lnTo>
                    <a:lnTo>
                      <a:pt x="788" y="92"/>
                    </a:lnTo>
                    <a:lnTo>
                      <a:pt x="792" y="94"/>
                    </a:lnTo>
                    <a:lnTo>
                      <a:pt x="792" y="98"/>
                    </a:lnTo>
                    <a:lnTo>
                      <a:pt x="792" y="98"/>
                    </a:lnTo>
                    <a:lnTo>
                      <a:pt x="792" y="102"/>
                    </a:lnTo>
                    <a:lnTo>
                      <a:pt x="792" y="104"/>
                    </a:lnTo>
                    <a:lnTo>
                      <a:pt x="794" y="104"/>
                    </a:lnTo>
                    <a:lnTo>
                      <a:pt x="796" y="105"/>
                    </a:lnTo>
                    <a:lnTo>
                      <a:pt x="796" y="109"/>
                    </a:lnTo>
                    <a:lnTo>
                      <a:pt x="800" y="119"/>
                    </a:lnTo>
                    <a:lnTo>
                      <a:pt x="803" y="122"/>
                    </a:lnTo>
                    <a:lnTo>
                      <a:pt x="805" y="122"/>
                    </a:lnTo>
                    <a:lnTo>
                      <a:pt x="803" y="122"/>
                    </a:lnTo>
                    <a:lnTo>
                      <a:pt x="800" y="124"/>
                    </a:lnTo>
                    <a:lnTo>
                      <a:pt x="798" y="130"/>
                    </a:lnTo>
                    <a:lnTo>
                      <a:pt x="801" y="137"/>
                    </a:lnTo>
                    <a:lnTo>
                      <a:pt x="803" y="143"/>
                    </a:lnTo>
                    <a:lnTo>
                      <a:pt x="803" y="147"/>
                    </a:lnTo>
                    <a:lnTo>
                      <a:pt x="805" y="149"/>
                    </a:lnTo>
                    <a:lnTo>
                      <a:pt x="805" y="153"/>
                    </a:lnTo>
                    <a:lnTo>
                      <a:pt x="803" y="153"/>
                    </a:lnTo>
                    <a:lnTo>
                      <a:pt x="807" y="158"/>
                    </a:lnTo>
                    <a:lnTo>
                      <a:pt x="809" y="164"/>
                    </a:lnTo>
                    <a:lnTo>
                      <a:pt x="813" y="168"/>
                    </a:lnTo>
                    <a:lnTo>
                      <a:pt x="811" y="171"/>
                    </a:lnTo>
                    <a:lnTo>
                      <a:pt x="813" y="173"/>
                    </a:lnTo>
                    <a:lnTo>
                      <a:pt x="813" y="173"/>
                    </a:lnTo>
                    <a:lnTo>
                      <a:pt x="813" y="173"/>
                    </a:lnTo>
                    <a:lnTo>
                      <a:pt x="813" y="173"/>
                    </a:lnTo>
                    <a:close/>
                    <a:moveTo>
                      <a:pt x="884" y="132"/>
                    </a:moveTo>
                    <a:lnTo>
                      <a:pt x="888" y="130"/>
                    </a:lnTo>
                    <a:lnTo>
                      <a:pt x="888" y="128"/>
                    </a:lnTo>
                    <a:lnTo>
                      <a:pt x="886" y="128"/>
                    </a:lnTo>
                    <a:lnTo>
                      <a:pt x="888" y="124"/>
                    </a:lnTo>
                    <a:lnTo>
                      <a:pt x="890" y="124"/>
                    </a:lnTo>
                    <a:lnTo>
                      <a:pt x="888" y="122"/>
                    </a:lnTo>
                    <a:lnTo>
                      <a:pt x="886" y="122"/>
                    </a:lnTo>
                    <a:lnTo>
                      <a:pt x="882" y="128"/>
                    </a:lnTo>
                    <a:lnTo>
                      <a:pt x="884" y="128"/>
                    </a:lnTo>
                    <a:lnTo>
                      <a:pt x="881" y="128"/>
                    </a:lnTo>
                    <a:lnTo>
                      <a:pt x="881" y="132"/>
                    </a:lnTo>
                    <a:lnTo>
                      <a:pt x="882" y="134"/>
                    </a:lnTo>
                    <a:lnTo>
                      <a:pt x="884" y="132"/>
                    </a:lnTo>
                    <a:lnTo>
                      <a:pt x="884" y="132"/>
                    </a:lnTo>
                    <a:lnTo>
                      <a:pt x="884" y="132"/>
                    </a:lnTo>
                    <a:lnTo>
                      <a:pt x="884" y="132"/>
                    </a:lnTo>
                    <a:close/>
                    <a:moveTo>
                      <a:pt x="890" y="132"/>
                    </a:moveTo>
                    <a:lnTo>
                      <a:pt x="892" y="130"/>
                    </a:lnTo>
                    <a:lnTo>
                      <a:pt x="896" y="130"/>
                    </a:lnTo>
                    <a:lnTo>
                      <a:pt x="899" y="128"/>
                    </a:lnTo>
                    <a:lnTo>
                      <a:pt x="901" y="128"/>
                    </a:lnTo>
                    <a:lnTo>
                      <a:pt x="901" y="128"/>
                    </a:lnTo>
                    <a:lnTo>
                      <a:pt x="905" y="128"/>
                    </a:lnTo>
                    <a:lnTo>
                      <a:pt x="905" y="130"/>
                    </a:lnTo>
                    <a:lnTo>
                      <a:pt x="905" y="134"/>
                    </a:lnTo>
                    <a:lnTo>
                      <a:pt x="901" y="132"/>
                    </a:lnTo>
                    <a:lnTo>
                      <a:pt x="901" y="134"/>
                    </a:lnTo>
                    <a:lnTo>
                      <a:pt x="896" y="136"/>
                    </a:lnTo>
                    <a:lnTo>
                      <a:pt x="890" y="136"/>
                    </a:lnTo>
                    <a:lnTo>
                      <a:pt x="890" y="132"/>
                    </a:lnTo>
                    <a:lnTo>
                      <a:pt x="890" y="132"/>
                    </a:lnTo>
                    <a:lnTo>
                      <a:pt x="890" y="132"/>
                    </a:lnTo>
                    <a:lnTo>
                      <a:pt x="890" y="132"/>
                    </a:lnTo>
                    <a:close/>
                    <a:moveTo>
                      <a:pt x="926" y="168"/>
                    </a:moveTo>
                    <a:lnTo>
                      <a:pt x="926" y="171"/>
                    </a:lnTo>
                    <a:lnTo>
                      <a:pt x="929" y="173"/>
                    </a:lnTo>
                    <a:lnTo>
                      <a:pt x="929" y="177"/>
                    </a:lnTo>
                    <a:lnTo>
                      <a:pt x="929" y="179"/>
                    </a:lnTo>
                    <a:lnTo>
                      <a:pt x="933" y="177"/>
                    </a:lnTo>
                    <a:lnTo>
                      <a:pt x="933" y="173"/>
                    </a:lnTo>
                    <a:lnTo>
                      <a:pt x="931" y="168"/>
                    </a:lnTo>
                    <a:lnTo>
                      <a:pt x="929" y="168"/>
                    </a:lnTo>
                    <a:lnTo>
                      <a:pt x="926" y="168"/>
                    </a:lnTo>
                    <a:lnTo>
                      <a:pt x="926" y="168"/>
                    </a:lnTo>
                    <a:lnTo>
                      <a:pt x="926" y="168"/>
                    </a:lnTo>
                    <a:lnTo>
                      <a:pt x="926" y="168"/>
                    </a:lnTo>
                    <a:close/>
                    <a:moveTo>
                      <a:pt x="1270" y="281"/>
                    </a:moveTo>
                    <a:lnTo>
                      <a:pt x="1272" y="281"/>
                    </a:lnTo>
                    <a:lnTo>
                      <a:pt x="1272" y="277"/>
                    </a:lnTo>
                    <a:lnTo>
                      <a:pt x="1272" y="271"/>
                    </a:lnTo>
                    <a:lnTo>
                      <a:pt x="1268" y="273"/>
                    </a:lnTo>
                    <a:lnTo>
                      <a:pt x="1268" y="277"/>
                    </a:lnTo>
                    <a:lnTo>
                      <a:pt x="1268" y="281"/>
                    </a:lnTo>
                    <a:lnTo>
                      <a:pt x="1268" y="281"/>
                    </a:lnTo>
                    <a:lnTo>
                      <a:pt x="1270" y="281"/>
                    </a:lnTo>
                    <a:lnTo>
                      <a:pt x="1270" y="281"/>
                    </a:lnTo>
                    <a:lnTo>
                      <a:pt x="1270" y="281"/>
                    </a:lnTo>
                    <a:lnTo>
                      <a:pt x="1270" y="281"/>
                    </a:lnTo>
                    <a:close/>
                    <a:moveTo>
                      <a:pt x="1225" y="331"/>
                    </a:moveTo>
                    <a:lnTo>
                      <a:pt x="1231" y="331"/>
                    </a:lnTo>
                    <a:lnTo>
                      <a:pt x="1231" y="331"/>
                    </a:lnTo>
                    <a:lnTo>
                      <a:pt x="1231" y="331"/>
                    </a:lnTo>
                    <a:lnTo>
                      <a:pt x="1231" y="330"/>
                    </a:lnTo>
                    <a:lnTo>
                      <a:pt x="1231" y="328"/>
                    </a:lnTo>
                    <a:lnTo>
                      <a:pt x="1227" y="324"/>
                    </a:lnTo>
                    <a:lnTo>
                      <a:pt x="1223" y="324"/>
                    </a:lnTo>
                    <a:lnTo>
                      <a:pt x="1221" y="326"/>
                    </a:lnTo>
                    <a:lnTo>
                      <a:pt x="1223" y="328"/>
                    </a:lnTo>
                    <a:lnTo>
                      <a:pt x="1225" y="330"/>
                    </a:lnTo>
                    <a:lnTo>
                      <a:pt x="1225" y="330"/>
                    </a:lnTo>
                    <a:lnTo>
                      <a:pt x="1225" y="331"/>
                    </a:lnTo>
                    <a:lnTo>
                      <a:pt x="1225" y="331"/>
                    </a:lnTo>
                    <a:lnTo>
                      <a:pt x="1225" y="331"/>
                    </a:lnTo>
                    <a:lnTo>
                      <a:pt x="1225" y="331"/>
                    </a:lnTo>
                    <a:close/>
                    <a:moveTo>
                      <a:pt x="1097" y="311"/>
                    </a:moveTo>
                    <a:lnTo>
                      <a:pt x="1101" y="311"/>
                    </a:lnTo>
                    <a:lnTo>
                      <a:pt x="1103" y="311"/>
                    </a:lnTo>
                    <a:lnTo>
                      <a:pt x="1105" y="311"/>
                    </a:lnTo>
                    <a:lnTo>
                      <a:pt x="1106" y="305"/>
                    </a:lnTo>
                    <a:lnTo>
                      <a:pt x="1108" y="305"/>
                    </a:lnTo>
                    <a:lnTo>
                      <a:pt x="1108" y="301"/>
                    </a:lnTo>
                    <a:lnTo>
                      <a:pt x="1106" y="301"/>
                    </a:lnTo>
                    <a:lnTo>
                      <a:pt x="1105" y="294"/>
                    </a:lnTo>
                    <a:lnTo>
                      <a:pt x="1103" y="292"/>
                    </a:lnTo>
                    <a:lnTo>
                      <a:pt x="1101" y="288"/>
                    </a:lnTo>
                    <a:lnTo>
                      <a:pt x="1101" y="286"/>
                    </a:lnTo>
                    <a:lnTo>
                      <a:pt x="1099" y="284"/>
                    </a:lnTo>
                    <a:lnTo>
                      <a:pt x="1093" y="286"/>
                    </a:lnTo>
                    <a:lnTo>
                      <a:pt x="1086" y="292"/>
                    </a:lnTo>
                    <a:lnTo>
                      <a:pt x="1082" y="292"/>
                    </a:lnTo>
                    <a:lnTo>
                      <a:pt x="1082" y="294"/>
                    </a:lnTo>
                    <a:lnTo>
                      <a:pt x="1082" y="298"/>
                    </a:lnTo>
                    <a:lnTo>
                      <a:pt x="1086" y="299"/>
                    </a:lnTo>
                    <a:lnTo>
                      <a:pt x="1086" y="301"/>
                    </a:lnTo>
                    <a:lnTo>
                      <a:pt x="1084" y="305"/>
                    </a:lnTo>
                    <a:lnTo>
                      <a:pt x="1080" y="301"/>
                    </a:lnTo>
                    <a:lnTo>
                      <a:pt x="1080" y="305"/>
                    </a:lnTo>
                    <a:lnTo>
                      <a:pt x="1082" y="305"/>
                    </a:lnTo>
                    <a:lnTo>
                      <a:pt x="1088" y="305"/>
                    </a:lnTo>
                    <a:lnTo>
                      <a:pt x="1097" y="311"/>
                    </a:lnTo>
                    <a:lnTo>
                      <a:pt x="1097" y="311"/>
                    </a:lnTo>
                    <a:lnTo>
                      <a:pt x="1097" y="311"/>
                    </a:lnTo>
                    <a:lnTo>
                      <a:pt x="1097" y="311"/>
                    </a:lnTo>
                    <a:close/>
                    <a:moveTo>
                      <a:pt x="1472" y="196"/>
                    </a:moveTo>
                    <a:lnTo>
                      <a:pt x="1473" y="194"/>
                    </a:lnTo>
                    <a:lnTo>
                      <a:pt x="1473" y="194"/>
                    </a:lnTo>
                    <a:lnTo>
                      <a:pt x="1475" y="190"/>
                    </a:lnTo>
                    <a:lnTo>
                      <a:pt x="1477" y="186"/>
                    </a:lnTo>
                    <a:lnTo>
                      <a:pt x="1475" y="183"/>
                    </a:lnTo>
                    <a:lnTo>
                      <a:pt x="1472" y="179"/>
                    </a:lnTo>
                    <a:lnTo>
                      <a:pt x="1470" y="173"/>
                    </a:lnTo>
                    <a:lnTo>
                      <a:pt x="1466" y="173"/>
                    </a:lnTo>
                    <a:lnTo>
                      <a:pt x="1462" y="173"/>
                    </a:lnTo>
                    <a:lnTo>
                      <a:pt x="1460" y="179"/>
                    </a:lnTo>
                    <a:lnTo>
                      <a:pt x="1460" y="179"/>
                    </a:lnTo>
                    <a:lnTo>
                      <a:pt x="1460" y="186"/>
                    </a:lnTo>
                    <a:lnTo>
                      <a:pt x="1460" y="186"/>
                    </a:lnTo>
                    <a:lnTo>
                      <a:pt x="1462" y="188"/>
                    </a:lnTo>
                    <a:lnTo>
                      <a:pt x="1466" y="190"/>
                    </a:lnTo>
                    <a:lnTo>
                      <a:pt x="1468" y="194"/>
                    </a:lnTo>
                    <a:lnTo>
                      <a:pt x="1472" y="196"/>
                    </a:lnTo>
                    <a:lnTo>
                      <a:pt x="1472" y="196"/>
                    </a:lnTo>
                    <a:lnTo>
                      <a:pt x="1472" y="196"/>
                    </a:lnTo>
                    <a:lnTo>
                      <a:pt x="1472" y="196"/>
                    </a:lnTo>
                    <a:close/>
                    <a:moveTo>
                      <a:pt x="1481" y="224"/>
                    </a:moveTo>
                    <a:lnTo>
                      <a:pt x="1485" y="222"/>
                    </a:lnTo>
                    <a:lnTo>
                      <a:pt x="1487" y="218"/>
                    </a:lnTo>
                    <a:lnTo>
                      <a:pt x="1494" y="217"/>
                    </a:lnTo>
                    <a:lnTo>
                      <a:pt x="1500" y="217"/>
                    </a:lnTo>
                    <a:lnTo>
                      <a:pt x="1505" y="217"/>
                    </a:lnTo>
                    <a:lnTo>
                      <a:pt x="1511" y="217"/>
                    </a:lnTo>
                    <a:lnTo>
                      <a:pt x="1521" y="217"/>
                    </a:lnTo>
                    <a:lnTo>
                      <a:pt x="1524" y="213"/>
                    </a:lnTo>
                    <a:lnTo>
                      <a:pt x="1530" y="213"/>
                    </a:lnTo>
                    <a:lnTo>
                      <a:pt x="1534" y="213"/>
                    </a:lnTo>
                    <a:lnTo>
                      <a:pt x="1536" y="211"/>
                    </a:lnTo>
                    <a:lnTo>
                      <a:pt x="1534" y="207"/>
                    </a:lnTo>
                    <a:lnTo>
                      <a:pt x="1532" y="205"/>
                    </a:lnTo>
                    <a:lnTo>
                      <a:pt x="1528" y="198"/>
                    </a:lnTo>
                    <a:lnTo>
                      <a:pt x="1519" y="192"/>
                    </a:lnTo>
                    <a:lnTo>
                      <a:pt x="1515" y="192"/>
                    </a:lnTo>
                    <a:lnTo>
                      <a:pt x="1511" y="190"/>
                    </a:lnTo>
                    <a:lnTo>
                      <a:pt x="1505" y="186"/>
                    </a:lnTo>
                    <a:lnTo>
                      <a:pt x="1504" y="186"/>
                    </a:lnTo>
                    <a:lnTo>
                      <a:pt x="1502" y="188"/>
                    </a:lnTo>
                    <a:lnTo>
                      <a:pt x="1496" y="186"/>
                    </a:lnTo>
                    <a:lnTo>
                      <a:pt x="1492" y="186"/>
                    </a:lnTo>
                    <a:lnTo>
                      <a:pt x="1490" y="190"/>
                    </a:lnTo>
                    <a:lnTo>
                      <a:pt x="1485" y="196"/>
                    </a:lnTo>
                    <a:lnTo>
                      <a:pt x="1487" y="201"/>
                    </a:lnTo>
                    <a:lnTo>
                      <a:pt x="1487" y="207"/>
                    </a:lnTo>
                    <a:lnTo>
                      <a:pt x="1485" y="217"/>
                    </a:lnTo>
                    <a:lnTo>
                      <a:pt x="1481" y="220"/>
                    </a:lnTo>
                    <a:lnTo>
                      <a:pt x="1481" y="224"/>
                    </a:lnTo>
                    <a:lnTo>
                      <a:pt x="1481" y="224"/>
                    </a:lnTo>
                    <a:lnTo>
                      <a:pt x="1481" y="224"/>
                    </a:lnTo>
                    <a:lnTo>
                      <a:pt x="1481" y="224"/>
                    </a:lnTo>
                    <a:lnTo>
                      <a:pt x="1481" y="224"/>
                    </a:lnTo>
                    <a:close/>
                    <a:moveTo>
                      <a:pt x="1396" y="205"/>
                    </a:moveTo>
                    <a:lnTo>
                      <a:pt x="1396" y="207"/>
                    </a:lnTo>
                    <a:lnTo>
                      <a:pt x="1398" y="213"/>
                    </a:lnTo>
                    <a:lnTo>
                      <a:pt x="1402" y="213"/>
                    </a:lnTo>
                    <a:lnTo>
                      <a:pt x="1406" y="213"/>
                    </a:lnTo>
                    <a:lnTo>
                      <a:pt x="1409" y="217"/>
                    </a:lnTo>
                    <a:lnTo>
                      <a:pt x="1413" y="218"/>
                    </a:lnTo>
                    <a:lnTo>
                      <a:pt x="1415" y="218"/>
                    </a:lnTo>
                    <a:lnTo>
                      <a:pt x="1417" y="217"/>
                    </a:lnTo>
                    <a:lnTo>
                      <a:pt x="1411" y="211"/>
                    </a:lnTo>
                    <a:lnTo>
                      <a:pt x="1408" y="211"/>
                    </a:lnTo>
                    <a:lnTo>
                      <a:pt x="1402" y="207"/>
                    </a:lnTo>
                    <a:lnTo>
                      <a:pt x="1398" y="205"/>
                    </a:lnTo>
                    <a:lnTo>
                      <a:pt x="1396" y="205"/>
                    </a:lnTo>
                    <a:lnTo>
                      <a:pt x="1396" y="205"/>
                    </a:lnTo>
                    <a:lnTo>
                      <a:pt x="1396" y="205"/>
                    </a:lnTo>
                    <a:lnTo>
                      <a:pt x="1396" y="205"/>
                    </a:lnTo>
                    <a:lnTo>
                      <a:pt x="1396" y="205"/>
                    </a:lnTo>
                    <a:close/>
                    <a:moveTo>
                      <a:pt x="1511" y="324"/>
                    </a:moveTo>
                    <a:lnTo>
                      <a:pt x="1515" y="328"/>
                    </a:lnTo>
                    <a:lnTo>
                      <a:pt x="1519" y="330"/>
                    </a:lnTo>
                    <a:lnTo>
                      <a:pt x="1519" y="328"/>
                    </a:lnTo>
                    <a:lnTo>
                      <a:pt x="1524" y="326"/>
                    </a:lnTo>
                    <a:lnTo>
                      <a:pt x="1524" y="324"/>
                    </a:lnTo>
                    <a:lnTo>
                      <a:pt x="1524" y="320"/>
                    </a:lnTo>
                    <a:lnTo>
                      <a:pt x="1522" y="316"/>
                    </a:lnTo>
                    <a:lnTo>
                      <a:pt x="1521" y="316"/>
                    </a:lnTo>
                    <a:lnTo>
                      <a:pt x="1521" y="320"/>
                    </a:lnTo>
                    <a:lnTo>
                      <a:pt x="1517" y="324"/>
                    </a:lnTo>
                    <a:lnTo>
                      <a:pt x="1517" y="324"/>
                    </a:lnTo>
                    <a:lnTo>
                      <a:pt x="1511" y="324"/>
                    </a:lnTo>
                    <a:lnTo>
                      <a:pt x="1511" y="324"/>
                    </a:lnTo>
                    <a:lnTo>
                      <a:pt x="1511" y="324"/>
                    </a:lnTo>
                    <a:lnTo>
                      <a:pt x="1511" y="324"/>
                    </a:lnTo>
                    <a:close/>
                    <a:moveTo>
                      <a:pt x="1923" y="292"/>
                    </a:moveTo>
                    <a:lnTo>
                      <a:pt x="1927" y="290"/>
                    </a:lnTo>
                    <a:lnTo>
                      <a:pt x="1927" y="288"/>
                    </a:lnTo>
                    <a:lnTo>
                      <a:pt x="1923" y="284"/>
                    </a:lnTo>
                    <a:lnTo>
                      <a:pt x="1923" y="284"/>
                    </a:lnTo>
                    <a:lnTo>
                      <a:pt x="1923" y="286"/>
                    </a:lnTo>
                    <a:lnTo>
                      <a:pt x="1923" y="292"/>
                    </a:lnTo>
                    <a:lnTo>
                      <a:pt x="1923" y="292"/>
                    </a:lnTo>
                    <a:lnTo>
                      <a:pt x="1923" y="292"/>
                    </a:lnTo>
                    <a:lnTo>
                      <a:pt x="1923" y="292"/>
                    </a:lnTo>
                    <a:close/>
                    <a:moveTo>
                      <a:pt x="1921" y="294"/>
                    </a:moveTo>
                    <a:lnTo>
                      <a:pt x="1923" y="296"/>
                    </a:lnTo>
                    <a:lnTo>
                      <a:pt x="1923" y="292"/>
                    </a:lnTo>
                    <a:lnTo>
                      <a:pt x="1921" y="288"/>
                    </a:lnTo>
                    <a:lnTo>
                      <a:pt x="1920" y="288"/>
                    </a:lnTo>
                    <a:lnTo>
                      <a:pt x="1920" y="290"/>
                    </a:lnTo>
                    <a:lnTo>
                      <a:pt x="1921" y="294"/>
                    </a:lnTo>
                    <a:lnTo>
                      <a:pt x="1921" y="294"/>
                    </a:lnTo>
                    <a:lnTo>
                      <a:pt x="1921" y="294"/>
                    </a:lnTo>
                    <a:lnTo>
                      <a:pt x="1921" y="294"/>
                    </a:lnTo>
                    <a:close/>
                    <a:moveTo>
                      <a:pt x="1920" y="296"/>
                    </a:moveTo>
                    <a:lnTo>
                      <a:pt x="1921" y="301"/>
                    </a:lnTo>
                    <a:lnTo>
                      <a:pt x="1923" y="305"/>
                    </a:lnTo>
                    <a:lnTo>
                      <a:pt x="1923" y="301"/>
                    </a:lnTo>
                    <a:lnTo>
                      <a:pt x="1923" y="298"/>
                    </a:lnTo>
                    <a:lnTo>
                      <a:pt x="1920" y="294"/>
                    </a:lnTo>
                    <a:lnTo>
                      <a:pt x="1918" y="294"/>
                    </a:lnTo>
                    <a:lnTo>
                      <a:pt x="1920" y="296"/>
                    </a:lnTo>
                    <a:lnTo>
                      <a:pt x="1920" y="296"/>
                    </a:lnTo>
                    <a:lnTo>
                      <a:pt x="1920" y="296"/>
                    </a:lnTo>
                    <a:lnTo>
                      <a:pt x="1920" y="296"/>
                    </a:lnTo>
                    <a:close/>
                    <a:moveTo>
                      <a:pt x="1908" y="294"/>
                    </a:moveTo>
                    <a:lnTo>
                      <a:pt x="1910" y="298"/>
                    </a:lnTo>
                    <a:lnTo>
                      <a:pt x="1914" y="299"/>
                    </a:lnTo>
                    <a:lnTo>
                      <a:pt x="1914" y="298"/>
                    </a:lnTo>
                    <a:lnTo>
                      <a:pt x="1916" y="298"/>
                    </a:lnTo>
                    <a:lnTo>
                      <a:pt x="1914" y="292"/>
                    </a:lnTo>
                    <a:lnTo>
                      <a:pt x="1912" y="292"/>
                    </a:lnTo>
                    <a:lnTo>
                      <a:pt x="1912" y="292"/>
                    </a:lnTo>
                    <a:lnTo>
                      <a:pt x="1908" y="294"/>
                    </a:lnTo>
                    <a:lnTo>
                      <a:pt x="1908" y="294"/>
                    </a:lnTo>
                    <a:lnTo>
                      <a:pt x="1908" y="294"/>
                    </a:lnTo>
                    <a:lnTo>
                      <a:pt x="1908" y="294"/>
                    </a:lnTo>
                    <a:close/>
                    <a:moveTo>
                      <a:pt x="2012" y="250"/>
                    </a:moveTo>
                    <a:lnTo>
                      <a:pt x="2016" y="252"/>
                    </a:lnTo>
                    <a:lnTo>
                      <a:pt x="2019" y="252"/>
                    </a:lnTo>
                    <a:lnTo>
                      <a:pt x="2021" y="247"/>
                    </a:lnTo>
                    <a:lnTo>
                      <a:pt x="2021" y="243"/>
                    </a:lnTo>
                    <a:lnTo>
                      <a:pt x="2017" y="241"/>
                    </a:lnTo>
                    <a:lnTo>
                      <a:pt x="2019" y="241"/>
                    </a:lnTo>
                    <a:lnTo>
                      <a:pt x="2017" y="237"/>
                    </a:lnTo>
                    <a:lnTo>
                      <a:pt x="2016" y="234"/>
                    </a:lnTo>
                    <a:lnTo>
                      <a:pt x="2016" y="235"/>
                    </a:lnTo>
                    <a:lnTo>
                      <a:pt x="2012" y="235"/>
                    </a:lnTo>
                    <a:lnTo>
                      <a:pt x="2008" y="234"/>
                    </a:lnTo>
                    <a:lnTo>
                      <a:pt x="2004" y="234"/>
                    </a:lnTo>
                    <a:lnTo>
                      <a:pt x="2004" y="235"/>
                    </a:lnTo>
                    <a:lnTo>
                      <a:pt x="2001" y="235"/>
                    </a:lnTo>
                    <a:lnTo>
                      <a:pt x="2002" y="237"/>
                    </a:lnTo>
                    <a:lnTo>
                      <a:pt x="1999" y="237"/>
                    </a:lnTo>
                    <a:lnTo>
                      <a:pt x="1997" y="241"/>
                    </a:lnTo>
                    <a:lnTo>
                      <a:pt x="1999" y="247"/>
                    </a:lnTo>
                    <a:lnTo>
                      <a:pt x="1999" y="247"/>
                    </a:lnTo>
                    <a:lnTo>
                      <a:pt x="2002" y="247"/>
                    </a:lnTo>
                    <a:lnTo>
                      <a:pt x="2008" y="247"/>
                    </a:lnTo>
                    <a:lnTo>
                      <a:pt x="2012" y="250"/>
                    </a:lnTo>
                    <a:lnTo>
                      <a:pt x="2012" y="250"/>
                    </a:lnTo>
                    <a:lnTo>
                      <a:pt x="2012" y="250"/>
                    </a:lnTo>
                    <a:lnTo>
                      <a:pt x="2012" y="250"/>
                    </a:lnTo>
                    <a:close/>
                    <a:moveTo>
                      <a:pt x="2036" y="241"/>
                    </a:moveTo>
                    <a:lnTo>
                      <a:pt x="2036" y="241"/>
                    </a:lnTo>
                    <a:lnTo>
                      <a:pt x="2036" y="237"/>
                    </a:lnTo>
                    <a:lnTo>
                      <a:pt x="2034" y="237"/>
                    </a:lnTo>
                    <a:lnTo>
                      <a:pt x="2034" y="241"/>
                    </a:lnTo>
                    <a:lnTo>
                      <a:pt x="2036" y="241"/>
                    </a:lnTo>
                    <a:lnTo>
                      <a:pt x="2036" y="241"/>
                    </a:lnTo>
                    <a:lnTo>
                      <a:pt x="2036" y="241"/>
                    </a:lnTo>
                    <a:lnTo>
                      <a:pt x="2036" y="241"/>
                    </a:lnTo>
                    <a:close/>
                    <a:moveTo>
                      <a:pt x="2061" y="1239"/>
                    </a:moveTo>
                    <a:lnTo>
                      <a:pt x="2061" y="1232"/>
                    </a:lnTo>
                    <a:lnTo>
                      <a:pt x="2061" y="1230"/>
                    </a:lnTo>
                    <a:lnTo>
                      <a:pt x="2059" y="1226"/>
                    </a:lnTo>
                    <a:lnTo>
                      <a:pt x="2057" y="1222"/>
                    </a:lnTo>
                    <a:lnTo>
                      <a:pt x="2059" y="1215"/>
                    </a:lnTo>
                    <a:lnTo>
                      <a:pt x="2063" y="1213"/>
                    </a:lnTo>
                    <a:lnTo>
                      <a:pt x="2065" y="1213"/>
                    </a:lnTo>
                    <a:lnTo>
                      <a:pt x="2065" y="1215"/>
                    </a:lnTo>
                    <a:lnTo>
                      <a:pt x="2066" y="1217"/>
                    </a:lnTo>
                    <a:lnTo>
                      <a:pt x="2072" y="1217"/>
                    </a:lnTo>
                    <a:lnTo>
                      <a:pt x="2072" y="1215"/>
                    </a:lnTo>
                    <a:lnTo>
                      <a:pt x="2074" y="1215"/>
                    </a:lnTo>
                    <a:lnTo>
                      <a:pt x="2076" y="1217"/>
                    </a:lnTo>
                    <a:lnTo>
                      <a:pt x="2076" y="1219"/>
                    </a:lnTo>
                    <a:lnTo>
                      <a:pt x="2076" y="1221"/>
                    </a:lnTo>
                    <a:lnTo>
                      <a:pt x="2080" y="1224"/>
                    </a:lnTo>
                    <a:lnTo>
                      <a:pt x="2080" y="1226"/>
                    </a:lnTo>
                    <a:lnTo>
                      <a:pt x="2081" y="1230"/>
                    </a:lnTo>
                    <a:lnTo>
                      <a:pt x="2083" y="1226"/>
                    </a:lnTo>
                    <a:lnTo>
                      <a:pt x="2081" y="1226"/>
                    </a:lnTo>
                    <a:lnTo>
                      <a:pt x="2081" y="1222"/>
                    </a:lnTo>
                    <a:lnTo>
                      <a:pt x="2081" y="1217"/>
                    </a:lnTo>
                    <a:lnTo>
                      <a:pt x="2078" y="1215"/>
                    </a:lnTo>
                    <a:lnTo>
                      <a:pt x="2078" y="1209"/>
                    </a:lnTo>
                    <a:lnTo>
                      <a:pt x="2076" y="1205"/>
                    </a:lnTo>
                    <a:lnTo>
                      <a:pt x="2072" y="1207"/>
                    </a:lnTo>
                    <a:lnTo>
                      <a:pt x="2070" y="1207"/>
                    </a:lnTo>
                    <a:lnTo>
                      <a:pt x="2066" y="1205"/>
                    </a:lnTo>
                    <a:lnTo>
                      <a:pt x="2066" y="1200"/>
                    </a:lnTo>
                    <a:lnTo>
                      <a:pt x="2063" y="1196"/>
                    </a:lnTo>
                    <a:lnTo>
                      <a:pt x="2059" y="1190"/>
                    </a:lnTo>
                    <a:lnTo>
                      <a:pt x="2055" y="1190"/>
                    </a:lnTo>
                    <a:lnTo>
                      <a:pt x="2053" y="1187"/>
                    </a:lnTo>
                    <a:lnTo>
                      <a:pt x="2051" y="1179"/>
                    </a:lnTo>
                    <a:lnTo>
                      <a:pt x="2048" y="1175"/>
                    </a:lnTo>
                    <a:lnTo>
                      <a:pt x="2046" y="1172"/>
                    </a:lnTo>
                    <a:lnTo>
                      <a:pt x="2046" y="1166"/>
                    </a:lnTo>
                    <a:lnTo>
                      <a:pt x="2046" y="1158"/>
                    </a:lnTo>
                    <a:lnTo>
                      <a:pt x="2046" y="1155"/>
                    </a:lnTo>
                    <a:lnTo>
                      <a:pt x="2046" y="1147"/>
                    </a:lnTo>
                    <a:lnTo>
                      <a:pt x="2046" y="1145"/>
                    </a:lnTo>
                    <a:lnTo>
                      <a:pt x="2042" y="1138"/>
                    </a:lnTo>
                    <a:lnTo>
                      <a:pt x="2046" y="1138"/>
                    </a:lnTo>
                    <a:lnTo>
                      <a:pt x="2046" y="1134"/>
                    </a:lnTo>
                    <a:lnTo>
                      <a:pt x="2046" y="1132"/>
                    </a:lnTo>
                    <a:lnTo>
                      <a:pt x="2046" y="1132"/>
                    </a:lnTo>
                    <a:lnTo>
                      <a:pt x="2048" y="1132"/>
                    </a:lnTo>
                    <a:lnTo>
                      <a:pt x="2053" y="1132"/>
                    </a:lnTo>
                    <a:lnTo>
                      <a:pt x="2057" y="1132"/>
                    </a:lnTo>
                    <a:lnTo>
                      <a:pt x="2061" y="1136"/>
                    </a:lnTo>
                    <a:lnTo>
                      <a:pt x="2065" y="1141"/>
                    </a:lnTo>
                    <a:lnTo>
                      <a:pt x="2066" y="1141"/>
                    </a:lnTo>
                    <a:lnTo>
                      <a:pt x="2070" y="1145"/>
                    </a:lnTo>
                    <a:lnTo>
                      <a:pt x="2074" y="1151"/>
                    </a:lnTo>
                    <a:lnTo>
                      <a:pt x="2076" y="1151"/>
                    </a:lnTo>
                    <a:lnTo>
                      <a:pt x="2074" y="1145"/>
                    </a:lnTo>
                    <a:lnTo>
                      <a:pt x="2070" y="1141"/>
                    </a:lnTo>
                    <a:lnTo>
                      <a:pt x="2066" y="1138"/>
                    </a:lnTo>
                    <a:lnTo>
                      <a:pt x="2063" y="1132"/>
                    </a:lnTo>
                    <a:lnTo>
                      <a:pt x="2059" y="1126"/>
                    </a:lnTo>
                    <a:lnTo>
                      <a:pt x="2059" y="1124"/>
                    </a:lnTo>
                    <a:lnTo>
                      <a:pt x="2057" y="1123"/>
                    </a:lnTo>
                    <a:lnTo>
                      <a:pt x="2053" y="1117"/>
                    </a:lnTo>
                    <a:lnTo>
                      <a:pt x="2051" y="1111"/>
                    </a:lnTo>
                    <a:lnTo>
                      <a:pt x="2049" y="1111"/>
                    </a:lnTo>
                    <a:lnTo>
                      <a:pt x="2048" y="1108"/>
                    </a:lnTo>
                    <a:lnTo>
                      <a:pt x="2042" y="1100"/>
                    </a:lnTo>
                    <a:lnTo>
                      <a:pt x="2040" y="1091"/>
                    </a:lnTo>
                    <a:lnTo>
                      <a:pt x="2036" y="1087"/>
                    </a:lnTo>
                    <a:lnTo>
                      <a:pt x="2031" y="1077"/>
                    </a:lnTo>
                    <a:lnTo>
                      <a:pt x="2027" y="1072"/>
                    </a:lnTo>
                    <a:lnTo>
                      <a:pt x="2025" y="1070"/>
                    </a:lnTo>
                    <a:lnTo>
                      <a:pt x="2025" y="1066"/>
                    </a:lnTo>
                    <a:lnTo>
                      <a:pt x="2023" y="1062"/>
                    </a:lnTo>
                    <a:lnTo>
                      <a:pt x="2019" y="1060"/>
                    </a:lnTo>
                    <a:lnTo>
                      <a:pt x="2019" y="1062"/>
                    </a:lnTo>
                    <a:lnTo>
                      <a:pt x="2017" y="1062"/>
                    </a:lnTo>
                    <a:lnTo>
                      <a:pt x="2016" y="1060"/>
                    </a:lnTo>
                    <a:lnTo>
                      <a:pt x="2017" y="1057"/>
                    </a:lnTo>
                    <a:lnTo>
                      <a:pt x="2016" y="1057"/>
                    </a:lnTo>
                    <a:lnTo>
                      <a:pt x="2012" y="1053"/>
                    </a:lnTo>
                    <a:lnTo>
                      <a:pt x="2010" y="1049"/>
                    </a:lnTo>
                    <a:lnTo>
                      <a:pt x="2008" y="1043"/>
                    </a:lnTo>
                    <a:lnTo>
                      <a:pt x="2006" y="1042"/>
                    </a:lnTo>
                    <a:lnTo>
                      <a:pt x="2006" y="1038"/>
                    </a:lnTo>
                    <a:lnTo>
                      <a:pt x="2006" y="1034"/>
                    </a:lnTo>
                    <a:lnTo>
                      <a:pt x="2008" y="1034"/>
                    </a:lnTo>
                    <a:lnTo>
                      <a:pt x="2006" y="1028"/>
                    </a:lnTo>
                    <a:lnTo>
                      <a:pt x="2006" y="1023"/>
                    </a:lnTo>
                    <a:lnTo>
                      <a:pt x="2004" y="1019"/>
                    </a:lnTo>
                    <a:lnTo>
                      <a:pt x="2001" y="1019"/>
                    </a:lnTo>
                    <a:lnTo>
                      <a:pt x="1997" y="1013"/>
                    </a:lnTo>
                    <a:lnTo>
                      <a:pt x="1997" y="1011"/>
                    </a:lnTo>
                    <a:lnTo>
                      <a:pt x="1995" y="1010"/>
                    </a:lnTo>
                    <a:lnTo>
                      <a:pt x="1995" y="1008"/>
                    </a:lnTo>
                    <a:lnTo>
                      <a:pt x="1997" y="1008"/>
                    </a:lnTo>
                    <a:lnTo>
                      <a:pt x="2001" y="1010"/>
                    </a:lnTo>
                    <a:lnTo>
                      <a:pt x="2004" y="1015"/>
                    </a:lnTo>
                    <a:lnTo>
                      <a:pt x="2002" y="1011"/>
                    </a:lnTo>
                    <a:lnTo>
                      <a:pt x="1997" y="1004"/>
                    </a:lnTo>
                    <a:lnTo>
                      <a:pt x="1993" y="1002"/>
                    </a:lnTo>
                    <a:lnTo>
                      <a:pt x="1991" y="1002"/>
                    </a:lnTo>
                    <a:lnTo>
                      <a:pt x="1991" y="998"/>
                    </a:lnTo>
                    <a:lnTo>
                      <a:pt x="1984" y="989"/>
                    </a:lnTo>
                    <a:lnTo>
                      <a:pt x="1982" y="987"/>
                    </a:lnTo>
                    <a:lnTo>
                      <a:pt x="1982" y="981"/>
                    </a:lnTo>
                    <a:lnTo>
                      <a:pt x="1978" y="978"/>
                    </a:lnTo>
                    <a:lnTo>
                      <a:pt x="1972" y="976"/>
                    </a:lnTo>
                    <a:lnTo>
                      <a:pt x="1970" y="970"/>
                    </a:lnTo>
                    <a:lnTo>
                      <a:pt x="1969" y="968"/>
                    </a:lnTo>
                    <a:lnTo>
                      <a:pt x="1969" y="970"/>
                    </a:lnTo>
                    <a:lnTo>
                      <a:pt x="1969" y="972"/>
                    </a:lnTo>
                    <a:lnTo>
                      <a:pt x="1969" y="976"/>
                    </a:lnTo>
                    <a:lnTo>
                      <a:pt x="1967" y="976"/>
                    </a:lnTo>
                    <a:lnTo>
                      <a:pt x="1967" y="974"/>
                    </a:lnTo>
                    <a:lnTo>
                      <a:pt x="1961" y="974"/>
                    </a:lnTo>
                    <a:lnTo>
                      <a:pt x="1967" y="979"/>
                    </a:lnTo>
                    <a:lnTo>
                      <a:pt x="1972" y="983"/>
                    </a:lnTo>
                    <a:lnTo>
                      <a:pt x="1974" y="987"/>
                    </a:lnTo>
                    <a:lnTo>
                      <a:pt x="1974" y="989"/>
                    </a:lnTo>
                    <a:lnTo>
                      <a:pt x="1976" y="989"/>
                    </a:lnTo>
                    <a:lnTo>
                      <a:pt x="1978" y="989"/>
                    </a:lnTo>
                    <a:lnTo>
                      <a:pt x="1978" y="989"/>
                    </a:lnTo>
                    <a:lnTo>
                      <a:pt x="1978" y="993"/>
                    </a:lnTo>
                    <a:lnTo>
                      <a:pt x="1974" y="993"/>
                    </a:lnTo>
                    <a:lnTo>
                      <a:pt x="1976" y="995"/>
                    </a:lnTo>
                    <a:lnTo>
                      <a:pt x="1978" y="995"/>
                    </a:lnTo>
                    <a:lnTo>
                      <a:pt x="1978" y="1002"/>
                    </a:lnTo>
                    <a:lnTo>
                      <a:pt x="1976" y="1002"/>
                    </a:lnTo>
                    <a:lnTo>
                      <a:pt x="1974" y="1002"/>
                    </a:lnTo>
                    <a:lnTo>
                      <a:pt x="1970" y="998"/>
                    </a:lnTo>
                    <a:lnTo>
                      <a:pt x="1969" y="1002"/>
                    </a:lnTo>
                    <a:lnTo>
                      <a:pt x="1967" y="1006"/>
                    </a:lnTo>
                    <a:lnTo>
                      <a:pt x="1970" y="1010"/>
                    </a:lnTo>
                    <a:lnTo>
                      <a:pt x="1970" y="1013"/>
                    </a:lnTo>
                    <a:lnTo>
                      <a:pt x="1976" y="1019"/>
                    </a:lnTo>
                    <a:lnTo>
                      <a:pt x="1978" y="1023"/>
                    </a:lnTo>
                    <a:lnTo>
                      <a:pt x="1978" y="1032"/>
                    </a:lnTo>
                    <a:lnTo>
                      <a:pt x="1978" y="1034"/>
                    </a:lnTo>
                    <a:lnTo>
                      <a:pt x="1982" y="1040"/>
                    </a:lnTo>
                    <a:lnTo>
                      <a:pt x="1984" y="1049"/>
                    </a:lnTo>
                    <a:lnTo>
                      <a:pt x="1987" y="1053"/>
                    </a:lnTo>
                    <a:lnTo>
                      <a:pt x="1991" y="1057"/>
                    </a:lnTo>
                    <a:lnTo>
                      <a:pt x="1991" y="1057"/>
                    </a:lnTo>
                    <a:lnTo>
                      <a:pt x="1987" y="1059"/>
                    </a:lnTo>
                    <a:lnTo>
                      <a:pt x="1997" y="1068"/>
                    </a:lnTo>
                    <a:lnTo>
                      <a:pt x="2001" y="1070"/>
                    </a:lnTo>
                    <a:lnTo>
                      <a:pt x="2006" y="1076"/>
                    </a:lnTo>
                    <a:lnTo>
                      <a:pt x="2006" y="1083"/>
                    </a:lnTo>
                    <a:lnTo>
                      <a:pt x="2006" y="1087"/>
                    </a:lnTo>
                    <a:lnTo>
                      <a:pt x="2010" y="1091"/>
                    </a:lnTo>
                    <a:lnTo>
                      <a:pt x="2010" y="1094"/>
                    </a:lnTo>
                    <a:lnTo>
                      <a:pt x="2012" y="1098"/>
                    </a:lnTo>
                    <a:lnTo>
                      <a:pt x="2016" y="1102"/>
                    </a:lnTo>
                    <a:lnTo>
                      <a:pt x="2016" y="1102"/>
                    </a:lnTo>
                    <a:lnTo>
                      <a:pt x="2016" y="1106"/>
                    </a:lnTo>
                    <a:lnTo>
                      <a:pt x="2017" y="1111"/>
                    </a:lnTo>
                    <a:lnTo>
                      <a:pt x="2019" y="1117"/>
                    </a:lnTo>
                    <a:lnTo>
                      <a:pt x="2021" y="1121"/>
                    </a:lnTo>
                    <a:lnTo>
                      <a:pt x="2021" y="1128"/>
                    </a:lnTo>
                    <a:lnTo>
                      <a:pt x="2023" y="1130"/>
                    </a:lnTo>
                    <a:lnTo>
                      <a:pt x="2023" y="1134"/>
                    </a:lnTo>
                    <a:lnTo>
                      <a:pt x="2023" y="1138"/>
                    </a:lnTo>
                    <a:lnTo>
                      <a:pt x="2027" y="1147"/>
                    </a:lnTo>
                    <a:lnTo>
                      <a:pt x="2025" y="1151"/>
                    </a:lnTo>
                    <a:lnTo>
                      <a:pt x="2027" y="1155"/>
                    </a:lnTo>
                    <a:lnTo>
                      <a:pt x="2031" y="1158"/>
                    </a:lnTo>
                    <a:lnTo>
                      <a:pt x="2036" y="1166"/>
                    </a:lnTo>
                    <a:lnTo>
                      <a:pt x="2036" y="1172"/>
                    </a:lnTo>
                    <a:lnTo>
                      <a:pt x="2040" y="1175"/>
                    </a:lnTo>
                    <a:lnTo>
                      <a:pt x="2040" y="1183"/>
                    </a:lnTo>
                    <a:lnTo>
                      <a:pt x="2040" y="1189"/>
                    </a:lnTo>
                    <a:lnTo>
                      <a:pt x="2042" y="1194"/>
                    </a:lnTo>
                    <a:lnTo>
                      <a:pt x="2046" y="1200"/>
                    </a:lnTo>
                    <a:lnTo>
                      <a:pt x="2048" y="1205"/>
                    </a:lnTo>
                    <a:lnTo>
                      <a:pt x="2049" y="1207"/>
                    </a:lnTo>
                    <a:lnTo>
                      <a:pt x="2048" y="1213"/>
                    </a:lnTo>
                    <a:lnTo>
                      <a:pt x="2048" y="1222"/>
                    </a:lnTo>
                    <a:lnTo>
                      <a:pt x="2049" y="1226"/>
                    </a:lnTo>
                    <a:lnTo>
                      <a:pt x="2053" y="1230"/>
                    </a:lnTo>
                    <a:lnTo>
                      <a:pt x="2055" y="1236"/>
                    </a:lnTo>
                    <a:lnTo>
                      <a:pt x="2061" y="1239"/>
                    </a:lnTo>
                    <a:lnTo>
                      <a:pt x="2061" y="1239"/>
                    </a:lnTo>
                    <a:lnTo>
                      <a:pt x="2061" y="1239"/>
                    </a:lnTo>
                    <a:lnTo>
                      <a:pt x="2061" y="1239"/>
                    </a:lnTo>
                    <a:close/>
                    <a:moveTo>
                      <a:pt x="1873" y="974"/>
                    </a:moveTo>
                    <a:lnTo>
                      <a:pt x="1874" y="974"/>
                    </a:lnTo>
                    <a:lnTo>
                      <a:pt x="1874" y="972"/>
                    </a:lnTo>
                    <a:lnTo>
                      <a:pt x="1874" y="970"/>
                    </a:lnTo>
                    <a:lnTo>
                      <a:pt x="1878" y="972"/>
                    </a:lnTo>
                    <a:lnTo>
                      <a:pt x="1878" y="974"/>
                    </a:lnTo>
                    <a:lnTo>
                      <a:pt x="1882" y="976"/>
                    </a:lnTo>
                    <a:lnTo>
                      <a:pt x="1884" y="972"/>
                    </a:lnTo>
                    <a:lnTo>
                      <a:pt x="1884" y="970"/>
                    </a:lnTo>
                    <a:lnTo>
                      <a:pt x="1884" y="968"/>
                    </a:lnTo>
                    <a:lnTo>
                      <a:pt x="1884" y="968"/>
                    </a:lnTo>
                    <a:lnTo>
                      <a:pt x="1886" y="964"/>
                    </a:lnTo>
                    <a:lnTo>
                      <a:pt x="1886" y="964"/>
                    </a:lnTo>
                    <a:lnTo>
                      <a:pt x="1884" y="964"/>
                    </a:lnTo>
                    <a:lnTo>
                      <a:pt x="1882" y="964"/>
                    </a:lnTo>
                    <a:lnTo>
                      <a:pt x="1880" y="964"/>
                    </a:lnTo>
                    <a:lnTo>
                      <a:pt x="1880" y="964"/>
                    </a:lnTo>
                    <a:lnTo>
                      <a:pt x="1882" y="962"/>
                    </a:lnTo>
                    <a:lnTo>
                      <a:pt x="1882" y="962"/>
                    </a:lnTo>
                    <a:lnTo>
                      <a:pt x="1880" y="959"/>
                    </a:lnTo>
                    <a:lnTo>
                      <a:pt x="1878" y="962"/>
                    </a:lnTo>
                    <a:lnTo>
                      <a:pt x="1874" y="959"/>
                    </a:lnTo>
                    <a:lnTo>
                      <a:pt x="1873" y="962"/>
                    </a:lnTo>
                    <a:lnTo>
                      <a:pt x="1873" y="964"/>
                    </a:lnTo>
                    <a:lnTo>
                      <a:pt x="1869" y="968"/>
                    </a:lnTo>
                    <a:lnTo>
                      <a:pt x="1869" y="970"/>
                    </a:lnTo>
                    <a:lnTo>
                      <a:pt x="1873" y="974"/>
                    </a:lnTo>
                    <a:lnTo>
                      <a:pt x="1873" y="974"/>
                    </a:lnTo>
                    <a:lnTo>
                      <a:pt x="1873" y="974"/>
                    </a:lnTo>
                    <a:lnTo>
                      <a:pt x="1873" y="974"/>
                    </a:lnTo>
                    <a:close/>
                    <a:moveTo>
                      <a:pt x="1859" y="972"/>
                    </a:moveTo>
                    <a:lnTo>
                      <a:pt x="1861" y="970"/>
                    </a:lnTo>
                    <a:lnTo>
                      <a:pt x="1861" y="970"/>
                    </a:lnTo>
                    <a:lnTo>
                      <a:pt x="1863" y="968"/>
                    </a:lnTo>
                    <a:lnTo>
                      <a:pt x="1865" y="970"/>
                    </a:lnTo>
                    <a:lnTo>
                      <a:pt x="1865" y="968"/>
                    </a:lnTo>
                    <a:lnTo>
                      <a:pt x="1865" y="968"/>
                    </a:lnTo>
                    <a:lnTo>
                      <a:pt x="1865" y="964"/>
                    </a:lnTo>
                    <a:lnTo>
                      <a:pt x="1865" y="962"/>
                    </a:lnTo>
                    <a:lnTo>
                      <a:pt x="1865" y="964"/>
                    </a:lnTo>
                    <a:lnTo>
                      <a:pt x="1863" y="964"/>
                    </a:lnTo>
                    <a:lnTo>
                      <a:pt x="1857" y="968"/>
                    </a:lnTo>
                    <a:lnTo>
                      <a:pt x="1857" y="968"/>
                    </a:lnTo>
                    <a:lnTo>
                      <a:pt x="1859" y="972"/>
                    </a:lnTo>
                    <a:lnTo>
                      <a:pt x="1859" y="972"/>
                    </a:lnTo>
                    <a:lnTo>
                      <a:pt x="1859" y="972"/>
                    </a:lnTo>
                    <a:lnTo>
                      <a:pt x="1859" y="972"/>
                    </a:lnTo>
                    <a:close/>
                    <a:moveTo>
                      <a:pt x="1886" y="985"/>
                    </a:moveTo>
                    <a:lnTo>
                      <a:pt x="1886" y="985"/>
                    </a:lnTo>
                    <a:lnTo>
                      <a:pt x="1888" y="983"/>
                    </a:lnTo>
                    <a:lnTo>
                      <a:pt x="1889" y="981"/>
                    </a:lnTo>
                    <a:lnTo>
                      <a:pt x="1888" y="979"/>
                    </a:lnTo>
                    <a:lnTo>
                      <a:pt x="1886" y="981"/>
                    </a:lnTo>
                    <a:lnTo>
                      <a:pt x="1886" y="981"/>
                    </a:lnTo>
                    <a:lnTo>
                      <a:pt x="1886" y="985"/>
                    </a:lnTo>
                    <a:lnTo>
                      <a:pt x="1886" y="985"/>
                    </a:lnTo>
                    <a:lnTo>
                      <a:pt x="1886" y="985"/>
                    </a:lnTo>
                    <a:lnTo>
                      <a:pt x="1886" y="985"/>
                    </a:lnTo>
                    <a:close/>
                    <a:moveTo>
                      <a:pt x="1880" y="979"/>
                    </a:moveTo>
                    <a:lnTo>
                      <a:pt x="1880" y="981"/>
                    </a:lnTo>
                    <a:lnTo>
                      <a:pt x="1882" y="985"/>
                    </a:lnTo>
                    <a:lnTo>
                      <a:pt x="1884" y="983"/>
                    </a:lnTo>
                    <a:lnTo>
                      <a:pt x="1884" y="979"/>
                    </a:lnTo>
                    <a:lnTo>
                      <a:pt x="1882" y="979"/>
                    </a:lnTo>
                    <a:lnTo>
                      <a:pt x="1880" y="979"/>
                    </a:lnTo>
                    <a:lnTo>
                      <a:pt x="1880" y="979"/>
                    </a:lnTo>
                    <a:lnTo>
                      <a:pt x="1880" y="979"/>
                    </a:lnTo>
                    <a:lnTo>
                      <a:pt x="1880" y="979"/>
                    </a:lnTo>
                    <a:close/>
                    <a:moveTo>
                      <a:pt x="1882" y="998"/>
                    </a:moveTo>
                    <a:lnTo>
                      <a:pt x="1884" y="993"/>
                    </a:lnTo>
                    <a:lnTo>
                      <a:pt x="1886" y="993"/>
                    </a:lnTo>
                    <a:lnTo>
                      <a:pt x="1888" y="989"/>
                    </a:lnTo>
                    <a:lnTo>
                      <a:pt x="1886" y="989"/>
                    </a:lnTo>
                    <a:lnTo>
                      <a:pt x="1888" y="987"/>
                    </a:lnTo>
                    <a:lnTo>
                      <a:pt x="1882" y="989"/>
                    </a:lnTo>
                    <a:lnTo>
                      <a:pt x="1878" y="993"/>
                    </a:lnTo>
                    <a:lnTo>
                      <a:pt x="1878" y="995"/>
                    </a:lnTo>
                    <a:lnTo>
                      <a:pt x="1882" y="998"/>
                    </a:lnTo>
                    <a:lnTo>
                      <a:pt x="1882" y="998"/>
                    </a:lnTo>
                    <a:lnTo>
                      <a:pt x="1882" y="998"/>
                    </a:lnTo>
                    <a:lnTo>
                      <a:pt x="1882" y="998"/>
                    </a:lnTo>
                    <a:close/>
                    <a:moveTo>
                      <a:pt x="2023" y="780"/>
                    </a:moveTo>
                    <a:lnTo>
                      <a:pt x="2025" y="782"/>
                    </a:lnTo>
                    <a:lnTo>
                      <a:pt x="2027" y="776"/>
                    </a:lnTo>
                    <a:lnTo>
                      <a:pt x="2029" y="774"/>
                    </a:lnTo>
                    <a:lnTo>
                      <a:pt x="2025" y="774"/>
                    </a:lnTo>
                    <a:lnTo>
                      <a:pt x="2023" y="776"/>
                    </a:lnTo>
                    <a:lnTo>
                      <a:pt x="2023" y="780"/>
                    </a:lnTo>
                    <a:lnTo>
                      <a:pt x="2023" y="780"/>
                    </a:lnTo>
                    <a:lnTo>
                      <a:pt x="2023" y="780"/>
                    </a:lnTo>
                    <a:lnTo>
                      <a:pt x="2023" y="780"/>
                    </a:lnTo>
                    <a:close/>
                    <a:moveTo>
                      <a:pt x="2249" y="755"/>
                    </a:moveTo>
                    <a:lnTo>
                      <a:pt x="2251" y="755"/>
                    </a:lnTo>
                    <a:lnTo>
                      <a:pt x="2249" y="752"/>
                    </a:lnTo>
                    <a:lnTo>
                      <a:pt x="2249" y="750"/>
                    </a:lnTo>
                    <a:lnTo>
                      <a:pt x="2249" y="748"/>
                    </a:lnTo>
                    <a:lnTo>
                      <a:pt x="2249" y="746"/>
                    </a:lnTo>
                    <a:lnTo>
                      <a:pt x="2251" y="740"/>
                    </a:lnTo>
                    <a:lnTo>
                      <a:pt x="2255" y="736"/>
                    </a:lnTo>
                    <a:lnTo>
                      <a:pt x="2258" y="733"/>
                    </a:lnTo>
                    <a:lnTo>
                      <a:pt x="2258" y="733"/>
                    </a:lnTo>
                    <a:lnTo>
                      <a:pt x="2258" y="731"/>
                    </a:lnTo>
                    <a:lnTo>
                      <a:pt x="2258" y="725"/>
                    </a:lnTo>
                    <a:lnTo>
                      <a:pt x="2253" y="718"/>
                    </a:lnTo>
                    <a:lnTo>
                      <a:pt x="2251" y="718"/>
                    </a:lnTo>
                    <a:lnTo>
                      <a:pt x="2249" y="721"/>
                    </a:lnTo>
                    <a:lnTo>
                      <a:pt x="2249" y="721"/>
                    </a:lnTo>
                    <a:lnTo>
                      <a:pt x="2247" y="725"/>
                    </a:lnTo>
                    <a:lnTo>
                      <a:pt x="2241" y="731"/>
                    </a:lnTo>
                    <a:lnTo>
                      <a:pt x="2240" y="731"/>
                    </a:lnTo>
                    <a:lnTo>
                      <a:pt x="2238" y="733"/>
                    </a:lnTo>
                    <a:lnTo>
                      <a:pt x="2240" y="733"/>
                    </a:lnTo>
                    <a:lnTo>
                      <a:pt x="2243" y="731"/>
                    </a:lnTo>
                    <a:lnTo>
                      <a:pt x="2243" y="733"/>
                    </a:lnTo>
                    <a:lnTo>
                      <a:pt x="2243" y="735"/>
                    </a:lnTo>
                    <a:lnTo>
                      <a:pt x="2245" y="742"/>
                    </a:lnTo>
                    <a:lnTo>
                      <a:pt x="2247" y="744"/>
                    </a:lnTo>
                    <a:lnTo>
                      <a:pt x="2247" y="750"/>
                    </a:lnTo>
                    <a:lnTo>
                      <a:pt x="2245" y="752"/>
                    </a:lnTo>
                    <a:lnTo>
                      <a:pt x="2245" y="752"/>
                    </a:lnTo>
                    <a:lnTo>
                      <a:pt x="2249" y="755"/>
                    </a:lnTo>
                    <a:lnTo>
                      <a:pt x="2249" y="755"/>
                    </a:lnTo>
                    <a:lnTo>
                      <a:pt x="2249" y="755"/>
                    </a:lnTo>
                    <a:lnTo>
                      <a:pt x="2249" y="755"/>
                    </a:lnTo>
                    <a:close/>
                    <a:moveTo>
                      <a:pt x="2253" y="1057"/>
                    </a:moveTo>
                    <a:lnTo>
                      <a:pt x="2255" y="1057"/>
                    </a:lnTo>
                    <a:lnTo>
                      <a:pt x="2257" y="1053"/>
                    </a:lnTo>
                    <a:lnTo>
                      <a:pt x="2255" y="1051"/>
                    </a:lnTo>
                    <a:lnTo>
                      <a:pt x="2253" y="1049"/>
                    </a:lnTo>
                    <a:lnTo>
                      <a:pt x="2251" y="1051"/>
                    </a:lnTo>
                    <a:lnTo>
                      <a:pt x="2251" y="1053"/>
                    </a:lnTo>
                    <a:lnTo>
                      <a:pt x="2253" y="1057"/>
                    </a:lnTo>
                    <a:lnTo>
                      <a:pt x="2253" y="1057"/>
                    </a:lnTo>
                    <a:lnTo>
                      <a:pt x="2253" y="1057"/>
                    </a:lnTo>
                    <a:lnTo>
                      <a:pt x="2253" y="1057"/>
                    </a:lnTo>
                    <a:close/>
                    <a:moveTo>
                      <a:pt x="2234" y="1051"/>
                    </a:moveTo>
                    <a:lnTo>
                      <a:pt x="2234" y="1053"/>
                    </a:lnTo>
                    <a:lnTo>
                      <a:pt x="2234" y="1057"/>
                    </a:lnTo>
                    <a:lnTo>
                      <a:pt x="2238" y="1057"/>
                    </a:lnTo>
                    <a:lnTo>
                      <a:pt x="2238" y="1053"/>
                    </a:lnTo>
                    <a:lnTo>
                      <a:pt x="2234" y="1051"/>
                    </a:lnTo>
                    <a:lnTo>
                      <a:pt x="2234" y="1051"/>
                    </a:lnTo>
                    <a:lnTo>
                      <a:pt x="2234" y="1051"/>
                    </a:lnTo>
                    <a:lnTo>
                      <a:pt x="2234" y="1051"/>
                    </a:lnTo>
                    <a:lnTo>
                      <a:pt x="2234" y="1051"/>
                    </a:lnTo>
                    <a:close/>
                    <a:moveTo>
                      <a:pt x="2243" y="1083"/>
                    </a:moveTo>
                    <a:lnTo>
                      <a:pt x="2245" y="1083"/>
                    </a:lnTo>
                    <a:lnTo>
                      <a:pt x="2245" y="1077"/>
                    </a:lnTo>
                    <a:lnTo>
                      <a:pt x="2245" y="1076"/>
                    </a:lnTo>
                    <a:lnTo>
                      <a:pt x="2249" y="1074"/>
                    </a:lnTo>
                    <a:lnTo>
                      <a:pt x="2251" y="1070"/>
                    </a:lnTo>
                    <a:lnTo>
                      <a:pt x="2251" y="1066"/>
                    </a:lnTo>
                    <a:lnTo>
                      <a:pt x="2251" y="1062"/>
                    </a:lnTo>
                    <a:lnTo>
                      <a:pt x="2253" y="1060"/>
                    </a:lnTo>
                    <a:lnTo>
                      <a:pt x="2253" y="1057"/>
                    </a:lnTo>
                    <a:lnTo>
                      <a:pt x="2245" y="1053"/>
                    </a:lnTo>
                    <a:lnTo>
                      <a:pt x="2245" y="1057"/>
                    </a:lnTo>
                    <a:lnTo>
                      <a:pt x="2245" y="1062"/>
                    </a:lnTo>
                    <a:lnTo>
                      <a:pt x="2245" y="1066"/>
                    </a:lnTo>
                    <a:lnTo>
                      <a:pt x="2241" y="1068"/>
                    </a:lnTo>
                    <a:lnTo>
                      <a:pt x="2240" y="1070"/>
                    </a:lnTo>
                    <a:lnTo>
                      <a:pt x="2238" y="1072"/>
                    </a:lnTo>
                    <a:lnTo>
                      <a:pt x="2238" y="1072"/>
                    </a:lnTo>
                    <a:lnTo>
                      <a:pt x="2240" y="1076"/>
                    </a:lnTo>
                    <a:lnTo>
                      <a:pt x="2240" y="1077"/>
                    </a:lnTo>
                    <a:lnTo>
                      <a:pt x="2238" y="1077"/>
                    </a:lnTo>
                    <a:lnTo>
                      <a:pt x="2238" y="1081"/>
                    </a:lnTo>
                    <a:lnTo>
                      <a:pt x="2241" y="1081"/>
                    </a:lnTo>
                    <a:lnTo>
                      <a:pt x="2243" y="1083"/>
                    </a:lnTo>
                    <a:lnTo>
                      <a:pt x="2243" y="1083"/>
                    </a:lnTo>
                    <a:lnTo>
                      <a:pt x="2243" y="1083"/>
                    </a:lnTo>
                    <a:lnTo>
                      <a:pt x="2243" y="1083"/>
                    </a:lnTo>
                    <a:close/>
                    <a:moveTo>
                      <a:pt x="2240" y="1106"/>
                    </a:moveTo>
                    <a:lnTo>
                      <a:pt x="2240" y="1106"/>
                    </a:lnTo>
                    <a:lnTo>
                      <a:pt x="2241" y="1104"/>
                    </a:lnTo>
                    <a:lnTo>
                      <a:pt x="2240" y="1098"/>
                    </a:lnTo>
                    <a:lnTo>
                      <a:pt x="2240" y="1096"/>
                    </a:lnTo>
                    <a:lnTo>
                      <a:pt x="2238" y="1094"/>
                    </a:lnTo>
                    <a:lnTo>
                      <a:pt x="2238" y="1098"/>
                    </a:lnTo>
                    <a:lnTo>
                      <a:pt x="2238" y="1102"/>
                    </a:lnTo>
                    <a:lnTo>
                      <a:pt x="2240" y="1106"/>
                    </a:lnTo>
                    <a:lnTo>
                      <a:pt x="2240" y="1106"/>
                    </a:lnTo>
                    <a:lnTo>
                      <a:pt x="2240" y="1106"/>
                    </a:lnTo>
                    <a:lnTo>
                      <a:pt x="2240" y="1106"/>
                    </a:lnTo>
                    <a:close/>
                    <a:moveTo>
                      <a:pt x="2241" y="1111"/>
                    </a:moveTo>
                    <a:lnTo>
                      <a:pt x="2243" y="1111"/>
                    </a:lnTo>
                    <a:lnTo>
                      <a:pt x="2241" y="1108"/>
                    </a:lnTo>
                    <a:lnTo>
                      <a:pt x="2240" y="1108"/>
                    </a:lnTo>
                    <a:lnTo>
                      <a:pt x="2238" y="1108"/>
                    </a:lnTo>
                    <a:lnTo>
                      <a:pt x="2238" y="1111"/>
                    </a:lnTo>
                    <a:lnTo>
                      <a:pt x="2241" y="1111"/>
                    </a:lnTo>
                    <a:lnTo>
                      <a:pt x="2241" y="1111"/>
                    </a:lnTo>
                    <a:lnTo>
                      <a:pt x="2241" y="1111"/>
                    </a:lnTo>
                    <a:lnTo>
                      <a:pt x="2241" y="1111"/>
                    </a:lnTo>
                    <a:close/>
                    <a:moveTo>
                      <a:pt x="2234" y="1117"/>
                    </a:moveTo>
                    <a:lnTo>
                      <a:pt x="2234" y="1117"/>
                    </a:lnTo>
                    <a:lnTo>
                      <a:pt x="2234" y="1117"/>
                    </a:lnTo>
                    <a:lnTo>
                      <a:pt x="2234" y="1117"/>
                    </a:lnTo>
                    <a:lnTo>
                      <a:pt x="2234" y="1117"/>
                    </a:lnTo>
                    <a:lnTo>
                      <a:pt x="2234" y="1117"/>
                    </a:lnTo>
                    <a:lnTo>
                      <a:pt x="2234" y="1117"/>
                    </a:lnTo>
                    <a:lnTo>
                      <a:pt x="2234" y="1117"/>
                    </a:lnTo>
                    <a:lnTo>
                      <a:pt x="2234" y="1117"/>
                    </a:lnTo>
                    <a:close/>
                    <a:moveTo>
                      <a:pt x="2238" y="1126"/>
                    </a:moveTo>
                    <a:lnTo>
                      <a:pt x="2238" y="1124"/>
                    </a:lnTo>
                    <a:lnTo>
                      <a:pt x="2240" y="1123"/>
                    </a:lnTo>
                    <a:lnTo>
                      <a:pt x="2240" y="1121"/>
                    </a:lnTo>
                    <a:lnTo>
                      <a:pt x="2238" y="1121"/>
                    </a:lnTo>
                    <a:lnTo>
                      <a:pt x="2238" y="1121"/>
                    </a:lnTo>
                    <a:lnTo>
                      <a:pt x="2238" y="1126"/>
                    </a:lnTo>
                    <a:lnTo>
                      <a:pt x="2238" y="1126"/>
                    </a:lnTo>
                    <a:lnTo>
                      <a:pt x="2238" y="1126"/>
                    </a:lnTo>
                    <a:lnTo>
                      <a:pt x="2238" y="1126"/>
                    </a:lnTo>
                    <a:close/>
                    <a:moveTo>
                      <a:pt x="2232" y="1151"/>
                    </a:moveTo>
                    <a:lnTo>
                      <a:pt x="2234" y="1147"/>
                    </a:lnTo>
                    <a:lnTo>
                      <a:pt x="2232" y="1145"/>
                    </a:lnTo>
                    <a:lnTo>
                      <a:pt x="2232" y="1147"/>
                    </a:lnTo>
                    <a:lnTo>
                      <a:pt x="2232" y="1151"/>
                    </a:lnTo>
                    <a:lnTo>
                      <a:pt x="2232" y="1151"/>
                    </a:lnTo>
                    <a:lnTo>
                      <a:pt x="2232" y="1151"/>
                    </a:lnTo>
                    <a:lnTo>
                      <a:pt x="2232" y="1151"/>
                    </a:lnTo>
                    <a:close/>
                    <a:moveTo>
                      <a:pt x="2232" y="1162"/>
                    </a:moveTo>
                    <a:lnTo>
                      <a:pt x="2232" y="1158"/>
                    </a:lnTo>
                    <a:lnTo>
                      <a:pt x="2232" y="1157"/>
                    </a:lnTo>
                    <a:lnTo>
                      <a:pt x="2228" y="1158"/>
                    </a:lnTo>
                    <a:lnTo>
                      <a:pt x="2232" y="1162"/>
                    </a:lnTo>
                    <a:lnTo>
                      <a:pt x="2232" y="1162"/>
                    </a:lnTo>
                    <a:lnTo>
                      <a:pt x="2232" y="1162"/>
                    </a:lnTo>
                    <a:lnTo>
                      <a:pt x="2232" y="1162"/>
                    </a:lnTo>
                    <a:close/>
                    <a:moveTo>
                      <a:pt x="2228" y="1166"/>
                    </a:moveTo>
                    <a:lnTo>
                      <a:pt x="2232" y="1168"/>
                    </a:lnTo>
                    <a:lnTo>
                      <a:pt x="2232" y="1166"/>
                    </a:lnTo>
                    <a:lnTo>
                      <a:pt x="2228" y="1166"/>
                    </a:lnTo>
                    <a:lnTo>
                      <a:pt x="2228" y="1166"/>
                    </a:lnTo>
                    <a:lnTo>
                      <a:pt x="2228" y="1166"/>
                    </a:lnTo>
                    <a:lnTo>
                      <a:pt x="2228" y="1166"/>
                    </a:lnTo>
                    <a:close/>
                    <a:moveTo>
                      <a:pt x="2226" y="1172"/>
                    </a:moveTo>
                    <a:lnTo>
                      <a:pt x="2228" y="1172"/>
                    </a:lnTo>
                    <a:lnTo>
                      <a:pt x="2228" y="1172"/>
                    </a:lnTo>
                    <a:lnTo>
                      <a:pt x="2228" y="1172"/>
                    </a:lnTo>
                    <a:lnTo>
                      <a:pt x="2228" y="1172"/>
                    </a:lnTo>
                    <a:lnTo>
                      <a:pt x="2226" y="1172"/>
                    </a:lnTo>
                    <a:lnTo>
                      <a:pt x="2226" y="1172"/>
                    </a:lnTo>
                    <a:lnTo>
                      <a:pt x="2226" y="1172"/>
                    </a:lnTo>
                    <a:lnTo>
                      <a:pt x="2226" y="1172"/>
                    </a:lnTo>
                    <a:close/>
                    <a:moveTo>
                      <a:pt x="2225" y="1187"/>
                    </a:moveTo>
                    <a:lnTo>
                      <a:pt x="2226" y="1185"/>
                    </a:lnTo>
                    <a:lnTo>
                      <a:pt x="2226" y="1177"/>
                    </a:lnTo>
                    <a:lnTo>
                      <a:pt x="2225" y="1177"/>
                    </a:lnTo>
                    <a:lnTo>
                      <a:pt x="2225" y="1181"/>
                    </a:lnTo>
                    <a:lnTo>
                      <a:pt x="2223" y="1187"/>
                    </a:lnTo>
                    <a:lnTo>
                      <a:pt x="2225" y="1187"/>
                    </a:lnTo>
                    <a:lnTo>
                      <a:pt x="2225" y="1187"/>
                    </a:lnTo>
                    <a:lnTo>
                      <a:pt x="2225" y="1187"/>
                    </a:lnTo>
                    <a:lnTo>
                      <a:pt x="2225" y="1187"/>
                    </a:lnTo>
                    <a:close/>
                    <a:moveTo>
                      <a:pt x="2193" y="1230"/>
                    </a:moveTo>
                    <a:lnTo>
                      <a:pt x="2194" y="1230"/>
                    </a:lnTo>
                    <a:lnTo>
                      <a:pt x="2198" y="1226"/>
                    </a:lnTo>
                    <a:lnTo>
                      <a:pt x="2200" y="1221"/>
                    </a:lnTo>
                    <a:lnTo>
                      <a:pt x="2204" y="1219"/>
                    </a:lnTo>
                    <a:lnTo>
                      <a:pt x="2204" y="1215"/>
                    </a:lnTo>
                    <a:lnTo>
                      <a:pt x="2204" y="1211"/>
                    </a:lnTo>
                    <a:lnTo>
                      <a:pt x="2208" y="1205"/>
                    </a:lnTo>
                    <a:lnTo>
                      <a:pt x="2208" y="1207"/>
                    </a:lnTo>
                    <a:lnTo>
                      <a:pt x="2202" y="1207"/>
                    </a:lnTo>
                    <a:lnTo>
                      <a:pt x="2200" y="1211"/>
                    </a:lnTo>
                    <a:lnTo>
                      <a:pt x="2200" y="1213"/>
                    </a:lnTo>
                    <a:lnTo>
                      <a:pt x="2198" y="1217"/>
                    </a:lnTo>
                    <a:lnTo>
                      <a:pt x="2196" y="1219"/>
                    </a:lnTo>
                    <a:lnTo>
                      <a:pt x="2196" y="1221"/>
                    </a:lnTo>
                    <a:lnTo>
                      <a:pt x="2193" y="1224"/>
                    </a:lnTo>
                    <a:lnTo>
                      <a:pt x="2193" y="1230"/>
                    </a:lnTo>
                    <a:lnTo>
                      <a:pt x="2193" y="1230"/>
                    </a:lnTo>
                    <a:lnTo>
                      <a:pt x="2193" y="1230"/>
                    </a:lnTo>
                    <a:lnTo>
                      <a:pt x="2193" y="1230"/>
                    </a:lnTo>
                    <a:close/>
                    <a:moveTo>
                      <a:pt x="2159" y="1270"/>
                    </a:moveTo>
                    <a:lnTo>
                      <a:pt x="2159" y="1270"/>
                    </a:lnTo>
                    <a:lnTo>
                      <a:pt x="2161" y="1266"/>
                    </a:lnTo>
                    <a:lnTo>
                      <a:pt x="2162" y="1264"/>
                    </a:lnTo>
                    <a:lnTo>
                      <a:pt x="2162" y="1258"/>
                    </a:lnTo>
                    <a:lnTo>
                      <a:pt x="2164" y="1256"/>
                    </a:lnTo>
                    <a:lnTo>
                      <a:pt x="2164" y="1254"/>
                    </a:lnTo>
                    <a:lnTo>
                      <a:pt x="2166" y="1253"/>
                    </a:lnTo>
                    <a:lnTo>
                      <a:pt x="2168" y="1254"/>
                    </a:lnTo>
                    <a:lnTo>
                      <a:pt x="2170" y="1251"/>
                    </a:lnTo>
                    <a:lnTo>
                      <a:pt x="2174" y="1245"/>
                    </a:lnTo>
                    <a:lnTo>
                      <a:pt x="2177" y="1241"/>
                    </a:lnTo>
                    <a:lnTo>
                      <a:pt x="2179" y="1241"/>
                    </a:lnTo>
                    <a:lnTo>
                      <a:pt x="2183" y="1239"/>
                    </a:lnTo>
                    <a:lnTo>
                      <a:pt x="2183" y="1236"/>
                    </a:lnTo>
                    <a:lnTo>
                      <a:pt x="2183" y="1230"/>
                    </a:lnTo>
                    <a:lnTo>
                      <a:pt x="2179" y="1232"/>
                    </a:lnTo>
                    <a:lnTo>
                      <a:pt x="2177" y="1236"/>
                    </a:lnTo>
                    <a:lnTo>
                      <a:pt x="2176" y="1239"/>
                    </a:lnTo>
                    <a:lnTo>
                      <a:pt x="2174" y="1239"/>
                    </a:lnTo>
                    <a:lnTo>
                      <a:pt x="2170" y="1241"/>
                    </a:lnTo>
                    <a:lnTo>
                      <a:pt x="2168" y="1241"/>
                    </a:lnTo>
                    <a:lnTo>
                      <a:pt x="2168" y="1239"/>
                    </a:lnTo>
                    <a:lnTo>
                      <a:pt x="2166" y="1239"/>
                    </a:lnTo>
                    <a:lnTo>
                      <a:pt x="2164" y="1241"/>
                    </a:lnTo>
                    <a:lnTo>
                      <a:pt x="2166" y="1243"/>
                    </a:lnTo>
                    <a:lnTo>
                      <a:pt x="2164" y="1247"/>
                    </a:lnTo>
                    <a:lnTo>
                      <a:pt x="2162" y="1251"/>
                    </a:lnTo>
                    <a:lnTo>
                      <a:pt x="2161" y="1251"/>
                    </a:lnTo>
                    <a:lnTo>
                      <a:pt x="2161" y="1253"/>
                    </a:lnTo>
                    <a:lnTo>
                      <a:pt x="2161" y="1256"/>
                    </a:lnTo>
                    <a:lnTo>
                      <a:pt x="2159" y="1258"/>
                    </a:lnTo>
                    <a:lnTo>
                      <a:pt x="2159" y="1260"/>
                    </a:lnTo>
                    <a:lnTo>
                      <a:pt x="2159" y="1260"/>
                    </a:lnTo>
                    <a:lnTo>
                      <a:pt x="2159" y="1264"/>
                    </a:lnTo>
                    <a:lnTo>
                      <a:pt x="2159" y="1266"/>
                    </a:lnTo>
                    <a:lnTo>
                      <a:pt x="2159" y="1270"/>
                    </a:lnTo>
                    <a:lnTo>
                      <a:pt x="2159" y="1270"/>
                    </a:lnTo>
                    <a:lnTo>
                      <a:pt x="2159" y="1270"/>
                    </a:lnTo>
                    <a:lnTo>
                      <a:pt x="2159" y="1270"/>
                    </a:lnTo>
                    <a:close/>
                    <a:moveTo>
                      <a:pt x="2142" y="1294"/>
                    </a:moveTo>
                    <a:lnTo>
                      <a:pt x="2142" y="1294"/>
                    </a:lnTo>
                    <a:lnTo>
                      <a:pt x="2142" y="1290"/>
                    </a:lnTo>
                    <a:lnTo>
                      <a:pt x="2144" y="1281"/>
                    </a:lnTo>
                    <a:lnTo>
                      <a:pt x="2145" y="1279"/>
                    </a:lnTo>
                    <a:lnTo>
                      <a:pt x="2149" y="1275"/>
                    </a:lnTo>
                    <a:lnTo>
                      <a:pt x="2149" y="1271"/>
                    </a:lnTo>
                    <a:lnTo>
                      <a:pt x="2149" y="1271"/>
                    </a:lnTo>
                    <a:lnTo>
                      <a:pt x="2145" y="1271"/>
                    </a:lnTo>
                    <a:lnTo>
                      <a:pt x="2145" y="1271"/>
                    </a:lnTo>
                    <a:lnTo>
                      <a:pt x="2144" y="1270"/>
                    </a:lnTo>
                    <a:lnTo>
                      <a:pt x="2142" y="1270"/>
                    </a:lnTo>
                    <a:lnTo>
                      <a:pt x="2142" y="1275"/>
                    </a:lnTo>
                    <a:lnTo>
                      <a:pt x="2140" y="1279"/>
                    </a:lnTo>
                    <a:lnTo>
                      <a:pt x="2140" y="1285"/>
                    </a:lnTo>
                    <a:lnTo>
                      <a:pt x="2138" y="1288"/>
                    </a:lnTo>
                    <a:lnTo>
                      <a:pt x="2140" y="1290"/>
                    </a:lnTo>
                    <a:lnTo>
                      <a:pt x="2142" y="1294"/>
                    </a:lnTo>
                    <a:lnTo>
                      <a:pt x="2142" y="1294"/>
                    </a:lnTo>
                    <a:lnTo>
                      <a:pt x="2142" y="1294"/>
                    </a:lnTo>
                    <a:lnTo>
                      <a:pt x="2142" y="1294"/>
                    </a:lnTo>
                    <a:close/>
                    <a:moveTo>
                      <a:pt x="35" y="998"/>
                    </a:moveTo>
                    <a:lnTo>
                      <a:pt x="35" y="998"/>
                    </a:lnTo>
                    <a:lnTo>
                      <a:pt x="35" y="1002"/>
                    </a:lnTo>
                    <a:lnTo>
                      <a:pt x="39" y="1002"/>
                    </a:lnTo>
                    <a:lnTo>
                      <a:pt x="39" y="1002"/>
                    </a:lnTo>
                    <a:lnTo>
                      <a:pt x="35" y="998"/>
                    </a:lnTo>
                    <a:lnTo>
                      <a:pt x="35" y="998"/>
                    </a:lnTo>
                    <a:lnTo>
                      <a:pt x="35" y="998"/>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4" name="Freeform 6"/>
              <p:cNvSpPr>
                <a:spLocks noEditPoints="1"/>
              </p:cNvSpPr>
              <p:nvPr/>
            </p:nvSpPr>
            <p:spPr bwMode="auto">
              <a:xfrm>
                <a:off x="2901" y="1886"/>
                <a:ext cx="121" cy="91"/>
              </a:xfrm>
              <a:custGeom>
                <a:avLst/>
                <a:gdLst/>
                <a:ahLst/>
                <a:cxnLst>
                  <a:cxn ang="0">
                    <a:pos x="96" y="87"/>
                  </a:cxn>
                  <a:cxn ang="0">
                    <a:pos x="91" y="79"/>
                  </a:cxn>
                  <a:cxn ang="0">
                    <a:pos x="91" y="83"/>
                  </a:cxn>
                  <a:cxn ang="0">
                    <a:pos x="87" y="87"/>
                  </a:cxn>
                  <a:cxn ang="0">
                    <a:pos x="121" y="70"/>
                  </a:cxn>
                  <a:cxn ang="0">
                    <a:pos x="115" y="62"/>
                  </a:cxn>
                  <a:cxn ang="0">
                    <a:pos x="78" y="53"/>
                  </a:cxn>
                  <a:cxn ang="0">
                    <a:pos x="62" y="70"/>
                  </a:cxn>
                  <a:cxn ang="0">
                    <a:pos x="55" y="62"/>
                  </a:cxn>
                  <a:cxn ang="0">
                    <a:pos x="57" y="51"/>
                  </a:cxn>
                  <a:cxn ang="0">
                    <a:pos x="64" y="53"/>
                  </a:cxn>
                  <a:cxn ang="0">
                    <a:pos x="64" y="47"/>
                  </a:cxn>
                  <a:cxn ang="0">
                    <a:pos x="76" y="57"/>
                  </a:cxn>
                  <a:cxn ang="0">
                    <a:pos x="74" y="66"/>
                  </a:cxn>
                  <a:cxn ang="0">
                    <a:pos x="68" y="72"/>
                  </a:cxn>
                  <a:cxn ang="0">
                    <a:pos x="76" y="72"/>
                  </a:cxn>
                  <a:cxn ang="0">
                    <a:pos x="70" y="72"/>
                  </a:cxn>
                  <a:cxn ang="0">
                    <a:pos x="62" y="76"/>
                  </a:cxn>
                  <a:cxn ang="0">
                    <a:pos x="68" y="78"/>
                  </a:cxn>
                  <a:cxn ang="0">
                    <a:pos x="59" y="81"/>
                  </a:cxn>
                  <a:cxn ang="0">
                    <a:pos x="53" y="72"/>
                  </a:cxn>
                  <a:cxn ang="0">
                    <a:pos x="44" y="53"/>
                  </a:cxn>
                  <a:cxn ang="0">
                    <a:pos x="44" y="53"/>
                  </a:cxn>
                  <a:cxn ang="0">
                    <a:pos x="44" y="76"/>
                  </a:cxn>
                  <a:cxn ang="0">
                    <a:pos x="40" y="72"/>
                  </a:cxn>
                  <a:cxn ang="0">
                    <a:pos x="49" y="76"/>
                  </a:cxn>
                  <a:cxn ang="0">
                    <a:pos x="49" y="68"/>
                  </a:cxn>
                  <a:cxn ang="0">
                    <a:pos x="44" y="59"/>
                  </a:cxn>
                  <a:cxn ang="0">
                    <a:pos x="40" y="72"/>
                  </a:cxn>
                  <a:cxn ang="0">
                    <a:pos x="30" y="59"/>
                  </a:cxn>
                  <a:cxn ang="0">
                    <a:pos x="51" y="12"/>
                  </a:cxn>
                  <a:cxn ang="0">
                    <a:pos x="46" y="13"/>
                  </a:cxn>
                  <a:cxn ang="0">
                    <a:pos x="17" y="27"/>
                  </a:cxn>
                  <a:cxn ang="0">
                    <a:pos x="14" y="30"/>
                  </a:cxn>
                  <a:cxn ang="0">
                    <a:pos x="19" y="23"/>
                  </a:cxn>
                  <a:cxn ang="0">
                    <a:pos x="34" y="23"/>
                  </a:cxn>
                  <a:cxn ang="0">
                    <a:pos x="40" y="6"/>
                  </a:cxn>
                  <a:cxn ang="0">
                    <a:pos x="30" y="8"/>
                  </a:cxn>
                  <a:cxn ang="0">
                    <a:pos x="12" y="23"/>
                  </a:cxn>
                  <a:cxn ang="0">
                    <a:pos x="6" y="29"/>
                  </a:cxn>
                  <a:cxn ang="0">
                    <a:pos x="12" y="32"/>
                  </a:cxn>
                  <a:cxn ang="0">
                    <a:pos x="25" y="70"/>
                  </a:cxn>
                  <a:cxn ang="0">
                    <a:pos x="25" y="59"/>
                  </a:cxn>
                  <a:cxn ang="0">
                    <a:pos x="40" y="53"/>
                  </a:cxn>
                  <a:cxn ang="0">
                    <a:pos x="46" y="44"/>
                  </a:cxn>
                  <a:cxn ang="0">
                    <a:pos x="49" y="34"/>
                  </a:cxn>
                  <a:cxn ang="0">
                    <a:pos x="34" y="30"/>
                  </a:cxn>
                  <a:cxn ang="0">
                    <a:pos x="25" y="25"/>
                  </a:cxn>
                  <a:cxn ang="0">
                    <a:pos x="25" y="34"/>
                  </a:cxn>
                  <a:cxn ang="0">
                    <a:pos x="21" y="32"/>
                  </a:cxn>
                  <a:cxn ang="0">
                    <a:pos x="14" y="38"/>
                  </a:cxn>
                  <a:cxn ang="0">
                    <a:pos x="6" y="38"/>
                  </a:cxn>
                  <a:cxn ang="0">
                    <a:pos x="6" y="47"/>
                  </a:cxn>
                  <a:cxn ang="0">
                    <a:pos x="2" y="61"/>
                  </a:cxn>
                  <a:cxn ang="0">
                    <a:pos x="10" y="72"/>
                  </a:cxn>
                  <a:cxn ang="0">
                    <a:pos x="29" y="76"/>
                  </a:cxn>
                </a:cxnLst>
                <a:rect l="0" t="0" r="r" b="b"/>
                <a:pathLst>
                  <a:path w="121" h="91">
                    <a:moveTo>
                      <a:pt x="87" y="87"/>
                    </a:moveTo>
                    <a:lnTo>
                      <a:pt x="89" y="89"/>
                    </a:lnTo>
                    <a:lnTo>
                      <a:pt x="91" y="91"/>
                    </a:lnTo>
                    <a:lnTo>
                      <a:pt x="94" y="87"/>
                    </a:lnTo>
                    <a:lnTo>
                      <a:pt x="96" y="87"/>
                    </a:lnTo>
                    <a:lnTo>
                      <a:pt x="96" y="85"/>
                    </a:lnTo>
                    <a:lnTo>
                      <a:pt x="96" y="83"/>
                    </a:lnTo>
                    <a:lnTo>
                      <a:pt x="96" y="79"/>
                    </a:lnTo>
                    <a:lnTo>
                      <a:pt x="94" y="79"/>
                    </a:lnTo>
                    <a:lnTo>
                      <a:pt x="91" y="79"/>
                    </a:lnTo>
                    <a:lnTo>
                      <a:pt x="91" y="79"/>
                    </a:lnTo>
                    <a:lnTo>
                      <a:pt x="89" y="79"/>
                    </a:lnTo>
                    <a:lnTo>
                      <a:pt x="89" y="81"/>
                    </a:lnTo>
                    <a:lnTo>
                      <a:pt x="91" y="81"/>
                    </a:lnTo>
                    <a:lnTo>
                      <a:pt x="91" y="83"/>
                    </a:lnTo>
                    <a:lnTo>
                      <a:pt x="89" y="85"/>
                    </a:lnTo>
                    <a:lnTo>
                      <a:pt x="87" y="87"/>
                    </a:lnTo>
                    <a:lnTo>
                      <a:pt x="87" y="87"/>
                    </a:lnTo>
                    <a:lnTo>
                      <a:pt x="87" y="87"/>
                    </a:lnTo>
                    <a:lnTo>
                      <a:pt x="87" y="87"/>
                    </a:lnTo>
                    <a:close/>
                    <a:moveTo>
                      <a:pt x="115" y="62"/>
                    </a:moveTo>
                    <a:lnTo>
                      <a:pt x="115" y="66"/>
                    </a:lnTo>
                    <a:lnTo>
                      <a:pt x="115" y="70"/>
                    </a:lnTo>
                    <a:lnTo>
                      <a:pt x="121" y="72"/>
                    </a:lnTo>
                    <a:lnTo>
                      <a:pt x="121" y="70"/>
                    </a:lnTo>
                    <a:lnTo>
                      <a:pt x="117" y="64"/>
                    </a:lnTo>
                    <a:lnTo>
                      <a:pt x="115" y="62"/>
                    </a:lnTo>
                    <a:lnTo>
                      <a:pt x="115" y="62"/>
                    </a:lnTo>
                    <a:lnTo>
                      <a:pt x="115" y="62"/>
                    </a:lnTo>
                    <a:lnTo>
                      <a:pt x="115" y="62"/>
                    </a:lnTo>
                    <a:close/>
                    <a:moveTo>
                      <a:pt x="78" y="53"/>
                    </a:moveTo>
                    <a:lnTo>
                      <a:pt x="76" y="57"/>
                    </a:lnTo>
                    <a:lnTo>
                      <a:pt x="79" y="59"/>
                    </a:lnTo>
                    <a:lnTo>
                      <a:pt x="78" y="53"/>
                    </a:lnTo>
                    <a:lnTo>
                      <a:pt x="78" y="53"/>
                    </a:lnTo>
                    <a:lnTo>
                      <a:pt x="78" y="53"/>
                    </a:lnTo>
                    <a:lnTo>
                      <a:pt x="78" y="53"/>
                    </a:lnTo>
                    <a:close/>
                    <a:moveTo>
                      <a:pt x="68" y="72"/>
                    </a:moveTo>
                    <a:lnTo>
                      <a:pt x="64" y="72"/>
                    </a:lnTo>
                    <a:lnTo>
                      <a:pt x="62" y="70"/>
                    </a:lnTo>
                    <a:lnTo>
                      <a:pt x="64" y="68"/>
                    </a:lnTo>
                    <a:lnTo>
                      <a:pt x="64" y="66"/>
                    </a:lnTo>
                    <a:lnTo>
                      <a:pt x="59" y="66"/>
                    </a:lnTo>
                    <a:lnTo>
                      <a:pt x="57" y="66"/>
                    </a:lnTo>
                    <a:lnTo>
                      <a:pt x="55" y="62"/>
                    </a:lnTo>
                    <a:lnTo>
                      <a:pt x="55" y="59"/>
                    </a:lnTo>
                    <a:lnTo>
                      <a:pt x="53" y="57"/>
                    </a:lnTo>
                    <a:lnTo>
                      <a:pt x="53" y="53"/>
                    </a:lnTo>
                    <a:lnTo>
                      <a:pt x="55" y="53"/>
                    </a:lnTo>
                    <a:lnTo>
                      <a:pt x="57" y="51"/>
                    </a:lnTo>
                    <a:lnTo>
                      <a:pt x="59" y="49"/>
                    </a:lnTo>
                    <a:lnTo>
                      <a:pt x="61" y="53"/>
                    </a:lnTo>
                    <a:lnTo>
                      <a:pt x="61" y="53"/>
                    </a:lnTo>
                    <a:lnTo>
                      <a:pt x="64" y="57"/>
                    </a:lnTo>
                    <a:lnTo>
                      <a:pt x="64" y="53"/>
                    </a:lnTo>
                    <a:lnTo>
                      <a:pt x="68" y="57"/>
                    </a:lnTo>
                    <a:lnTo>
                      <a:pt x="68" y="53"/>
                    </a:lnTo>
                    <a:lnTo>
                      <a:pt x="64" y="53"/>
                    </a:lnTo>
                    <a:lnTo>
                      <a:pt x="62" y="51"/>
                    </a:lnTo>
                    <a:lnTo>
                      <a:pt x="64" y="47"/>
                    </a:lnTo>
                    <a:lnTo>
                      <a:pt x="70" y="45"/>
                    </a:lnTo>
                    <a:lnTo>
                      <a:pt x="74" y="45"/>
                    </a:lnTo>
                    <a:lnTo>
                      <a:pt x="76" y="49"/>
                    </a:lnTo>
                    <a:lnTo>
                      <a:pt x="76" y="53"/>
                    </a:lnTo>
                    <a:lnTo>
                      <a:pt x="76" y="57"/>
                    </a:lnTo>
                    <a:lnTo>
                      <a:pt x="70" y="59"/>
                    </a:lnTo>
                    <a:lnTo>
                      <a:pt x="70" y="59"/>
                    </a:lnTo>
                    <a:lnTo>
                      <a:pt x="74" y="62"/>
                    </a:lnTo>
                    <a:lnTo>
                      <a:pt x="76" y="64"/>
                    </a:lnTo>
                    <a:lnTo>
                      <a:pt x="74" y="66"/>
                    </a:lnTo>
                    <a:lnTo>
                      <a:pt x="68" y="68"/>
                    </a:lnTo>
                    <a:lnTo>
                      <a:pt x="70" y="70"/>
                    </a:lnTo>
                    <a:lnTo>
                      <a:pt x="68" y="72"/>
                    </a:lnTo>
                    <a:lnTo>
                      <a:pt x="68" y="72"/>
                    </a:lnTo>
                    <a:lnTo>
                      <a:pt x="68" y="72"/>
                    </a:lnTo>
                    <a:lnTo>
                      <a:pt x="68" y="72"/>
                    </a:lnTo>
                    <a:close/>
                    <a:moveTo>
                      <a:pt x="70" y="72"/>
                    </a:moveTo>
                    <a:lnTo>
                      <a:pt x="70" y="76"/>
                    </a:lnTo>
                    <a:lnTo>
                      <a:pt x="72" y="72"/>
                    </a:lnTo>
                    <a:lnTo>
                      <a:pt x="76" y="72"/>
                    </a:lnTo>
                    <a:lnTo>
                      <a:pt x="74" y="70"/>
                    </a:lnTo>
                    <a:lnTo>
                      <a:pt x="72" y="72"/>
                    </a:lnTo>
                    <a:lnTo>
                      <a:pt x="70" y="72"/>
                    </a:lnTo>
                    <a:lnTo>
                      <a:pt x="70" y="72"/>
                    </a:lnTo>
                    <a:lnTo>
                      <a:pt x="70" y="72"/>
                    </a:lnTo>
                    <a:lnTo>
                      <a:pt x="70" y="72"/>
                    </a:lnTo>
                    <a:close/>
                    <a:moveTo>
                      <a:pt x="55" y="72"/>
                    </a:moveTo>
                    <a:lnTo>
                      <a:pt x="59" y="76"/>
                    </a:lnTo>
                    <a:lnTo>
                      <a:pt x="61" y="76"/>
                    </a:lnTo>
                    <a:lnTo>
                      <a:pt x="62" y="76"/>
                    </a:lnTo>
                    <a:lnTo>
                      <a:pt x="64" y="72"/>
                    </a:lnTo>
                    <a:lnTo>
                      <a:pt x="68" y="72"/>
                    </a:lnTo>
                    <a:lnTo>
                      <a:pt x="68" y="72"/>
                    </a:lnTo>
                    <a:lnTo>
                      <a:pt x="70" y="76"/>
                    </a:lnTo>
                    <a:lnTo>
                      <a:pt x="68" y="78"/>
                    </a:lnTo>
                    <a:lnTo>
                      <a:pt x="68" y="81"/>
                    </a:lnTo>
                    <a:lnTo>
                      <a:pt x="66" y="81"/>
                    </a:lnTo>
                    <a:lnTo>
                      <a:pt x="66" y="78"/>
                    </a:lnTo>
                    <a:lnTo>
                      <a:pt x="64" y="79"/>
                    </a:lnTo>
                    <a:lnTo>
                      <a:pt x="59" y="81"/>
                    </a:lnTo>
                    <a:lnTo>
                      <a:pt x="53" y="79"/>
                    </a:lnTo>
                    <a:lnTo>
                      <a:pt x="51" y="78"/>
                    </a:lnTo>
                    <a:lnTo>
                      <a:pt x="53" y="76"/>
                    </a:lnTo>
                    <a:lnTo>
                      <a:pt x="51" y="76"/>
                    </a:lnTo>
                    <a:lnTo>
                      <a:pt x="53" y="72"/>
                    </a:lnTo>
                    <a:lnTo>
                      <a:pt x="55" y="72"/>
                    </a:lnTo>
                    <a:lnTo>
                      <a:pt x="55" y="72"/>
                    </a:lnTo>
                    <a:lnTo>
                      <a:pt x="55" y="72"/>
                    </a:lnTo>
                    <a:lnTo>
                      <a:pt x="55" y="72"/>
                    </a:lnTo>
                    <a:close/>
                    <a:moveTo>
                      <a:pt x="44" y="53"/>
                    </a:moveTo>
                    <a:lnTo>
                      <a:pt x="44" y="53"/>
                    </a:lnTo>
                    <a:lnTo>
                      <a:pt x="44" y="47"/>
                    </a:lnTo>
                    <a:lnTo>
                      <a:pt x="44" y="51"/>
                    </a:lnTo>
                    <a:lnTo>
                      <a:pt x="44" y="53"/>
                    </a:lnTo>
                    <a:lnTo>
                      <a:pt x="44" y="53"/>
                    </a:lnTo>
                    <a:lnTo>
                      <a:pt x="44" y="53"/>
                    </a:lnTo>
                    <a:lnTo>
                      <a:pt x="44" y="53"/>
                    </a:lnTo>
                    <a:lnTo>
                      <a:pt x="44" y="53"/>
                    </a:lnTo>
                    <a:close/>
                    <a:moveTo>
                      <a:pt x="40" y="72"/>
                    </a:moveTo>
                    <a:lnTo>
                      <a:pt x="44" y="76"/>
                    </a:lnTo>
                    <a:lnTo>
                      <a:pt x="44" y="76"/>
                    </a:lnTo>
                    <a:lnTo>
                      <a:pt x="40" y="72"/>
                    </a:lnTo>
                    <a:lnTo>
                      <a:pt x="40" y="72"/>
                    </a:lnTo>
                    <a:lnTo>
                      <a:pt x="40" y="72"/>
                    </a:lnTo>
                    <a:lnTo>
                      <a:pt x="40" y="72"/>
                    </a:lnTo>
                    <a:close/>
                    <a:moveTo>
                      <a:pt x="49" y="68"/>
                    </a:moveTo>
                    <a:lnTo>
                      <a:pt x="49" y="72"/>
                    </a:lnTo>
                    <a:lnTo>
                      <a:pt x="46" y="76"/>
                    </a:lnTo>
                    <a:lnTo>
                      <a:pt x="46" y="76"/>
                    </a:lnTo>
                    <a:lnTo>
                      <a:pt x="49" y="76"/>
                    </a:lnTo>
                    <a:lnTo>
                      <a:pt x="51" y="70"/>
                    </a:lnTo>
                    <a:lnTo>
                      <a:pt x="51" y="70"/>
                    </a:lnTo>
                    <a:lnTo>
                      <a:pt x="49" y="68"/>
                    </a:lnTo>
                    <a:lnTo>
                      <a:pt x="49" y="68"/>
                    </a:lnTo>
                    <a:lnTo>
                      <a:pt x="49" y="68"/>
                    </a:lnTo>
                    <a:lnTo>
                      <a:pt x="49" y="68"/>
                    </a:lnTo>
                    <a:close/>
                    <a:moveTo>
                      <a:pt x="30" y="59"/>
                    </a:moveTo>
                    <a:lnTo>
                      <a:pt x="38" y="57"/>
                    </a:lnTo>
                    <a:lnTo>
                      <a:pt x="40" y="59"/>
                    </a:lnTo>
                    <a:lnTo>
                      <a:pt x="44" y="59"/>
                    </a:lnTo>
                    <a:lnTo>
                      <a:pt x="46" y="64"/>
                    </a:lnTo>
                    <a:lnTo>
                      <a:pt x="49" y="68"/>
                    </a:lnTo>
                    <a:lnTo>
                      <a:pt x="44" y="72"/>
                    </a:lnTo>
                    <a:lnTo>
                      <a:pt x="40" y="72"/>
                    </a:lnTo>
                    <a:lnTo>
                      <a:pt x="40" y="72"/>
                    </a:lnTo>
                    <a:lnTo>
                      <a:pt x="34" y="70"/>
                    </a:lnTo>
                    <a:lnTo>
                      <a:pt x="30" y="66"/>
                    </a:lnTo>
                    <a:lnTo>
                      <a:pt x="30" y="62"/>
                    </a:lnTo>
                    <a:lnTo>
                      <a:pt x="30" y="59"/>
                    </a:lnTo>
                    <a:lnTo>
                      <a:pt x="30" y="59"/>
                    </a:lnTo>
                    <a:lnTo>
                      <a:pt x="30" y="59"/>
                    </a:lnTo>
                    <a:lnTo>
                      <a:pt x="30" y="59"/>
                    </a:lnTo>
                    <a:close/>
                    <a:moveTo>
                      <a:pt x="46" y="13"/>
                    </a:moveTo>
                    <a:lnTo>
                      <a:pt x="49" y="12"/>
                    </a:lnTo>
                    <a:lnTo>
                      <a:pt x="51" y="12"/>
                    </a:lnTo>
                    <a:lnTo>
                      <a:pt x="49" y="13"/>
                    </a:lnTo>
                    <a:lnTo>
                      <a:pt x="46" y="13"/>
                    </a:lnTo>
                    <a:lnTo>
                      <a:pt x="46" y="13"/>
                    </a:lnTo>
                    <a:lnTo>
                      <a:pt x="46" y="13"/>
                    </a:lnTo>
                    <a:lnTo>
                      <a:pt x="46" y="13"/>
                    </a:lnTo>
                    <a:close/>
                    <a:moveTo>
                      <a:pt x="14" y="30"/>
                    </a:moveTo>
                    <a:lnTo>
                      <a:pt x="12" y="27"/>
                    </a:lnTo>
                    <a:lnTo>
                      <a:pt x="15" y="25"/>
                    </a:lnTo>
                    <a:lnTo>
                      <a:pt x="19" y="25"/>
                    </a:lnTo>
                    <a:lnTo>
                      <a:pt x="17" y="27"/>
                    </a:lnTo>
                    <a:lnTo>
                      <a:pt x="15" y="30"/>
                    </a:lnTo>
                    <a:lnTo>
                      <a:pt x="14" y="30"/>
                    </a:lnTo>
                    <a:lnTo>
                      <a:pt x="14" y="30"/>
                    </a:lnTo>
                    <a:lnTo>
                      <a:pt x="14" y="30"/>
                    </a:lnTo>
                    <a:lnTo>
                      <a:pt x="14" y="30"/>
                    </a:lnTo>
                    <a:close/>
                    <a:moveTo>
                      <a:pt x="12" y="32"/>
                    </a:moveTo>
                    <a:lnTo>
                      <a:pt x="10" y="29"/>
                    </a:lnTo>
                    <a:lnTo>
                      <a:pt x="12" y="25"/>
                    </a:lnTo>
                    <a:lnTo>
                      <a:pt x="17" y="23"/>
                    </a:lnTo>
                    <a:lnTo>
                      <a:pt x="19" y="23"/>
                    </a:lnTo>
                    <a:lnTo>
                      <a:pt x="23" y="23"/>
                    </a:lnTo>
                    <a:lnTo>
                      <a:pt x="25" y="23"/>
                    </a:lnTo>
                    <a:lnTo>
                      <a:pt x="29" y="23"/>
                    </a:lnTo>
                    <a:lnTo>
                      <a:pt x="30" y="23"/>
                    </a:lnTo>
                    <a:lnTo>
                      <a:pt x="34" y="23"/>
                    </a:lnTo>
                    <a:lnTo>
                      <a:pt x="38" y="23"/>
                    </a:lnTo>
                    <a:lnTo>
                      <a:pt x="40" y="17"/>
                    </a:lnTo>
                    <a:lnTo>
                      <a:pt x="40" y="12"/>
                    </a:lnTo>
                    <a:lnTo>
                      <a:pt x="40" y="12"/>
                    </a:lnTo>
                    <a:lnTo>
                      <a:pt x="40" y="6"/>
                    </a:lnTo>
                    <a:lnTo>
                      <a:pt x="44" y="2"/>
                    </a:lnTo>
                    <a:lnTo>
                      <a:pt x="44" y="0"/>
                    </a:lnTo>
                    <a:lnTo>
                      <a:pt x="38" y="6"/>
                    </a:lnTo>
                    <a:lnTo>
                      <a:pt x="30" y="8"/>
                    </a:lnTo>
                    <a:lnTo>
                      <a:pt x="30" y="8"/>
                    </a:lnTo>
                    <a:lnTo>
                      <a:pt x="25" y="12"/>
                    </a:lnTo>
                    <a:lnTo>
                      <a:pt x="25" y="17"/>
                    </a:lnTo>
                    <a:lnTo>
                      <a:pt x="21" y="19"/>
                    </a:lnTo>
                    <a:lnTo>
                      <a:pt x="17" y="19"/>
                    </a:lnTo>
                    <a:lnTo>
                      <a:pt x="12" y="23"/>
                    </a:lnTo>
                    <a:lnTo>
                      <a:pt x="12" y="23"/>
                    </a:lnTo>
                    <a:lnTo>
                      <a:pt x="8" y="23"/>
                    </a:lnTo>
                    <a:lnTo>
                      <a:pt x="6" y="25"/>
                    </a:lnTo>
                    <a:lnTo>
                      <a:pt x="4" y="29"/>
                    </a:lnTo>
                    <a:lnTo>
                      <a:pt x="6" y="29"/>
                    </a:lnTo>
                    <a:lnTo>
                      <a:pt x="8" y="29"/>
                    </a:lnTo>
                    <a:lnTo>
                      <a:pt x="12" y="32"/>
                    </a:lnTo>
                    <a:lnTo>
                      <a:pt x="12" y="32"/>
                    </a:lnTo>
                    <a:lnTo>
                      <a:pt x="12" y="32"/>
                    </a:lnTo>
                    <a:lnTo>
                      <a:pt x="12" y="32"/>
                    </a:lnTo>
                    <a:close/>
                    <a:moveTo>
                      <a:pt x="29" y="76"/>
                    </a:moveTo>
                    <a:lnTo>
                      <a:pt x="29" y="76"/>
                    </a:lnTo>
                    <a:lnTo>
                      <a:pt x="29" y="72"/>
                    </a:lnTo>
                    <a:lnTo>
                      <a:pt x="25" y="70"/>
                    </a:lnTo>
                    <a:lnTo>
                      <a:pt x="25" y="70"/>
                    </a:lnTo>
                    <a:lnTo>
                      <a:pt x="25" y="68"/>
                    </a:lnTo>
                    <a:lnTo>
                      <a:pt x="25" y="66"/>
                    </a:lnTo>
                    <a:lnTo>
                      <a:pt x="29" y="62"/>
                    </a:lnTo>
                    <a:lnTo>
                      <a:pt x="25" y="62"/>
                    </a:lnTo>
                    <a:lnTo>
                      <a:pt x="25" y="59"/>
                    </a:lnTo>
                    <a:lnTo>
                      <a:pt x="34" y="57"/>
                    </a:lnTo>
                    <a:lnTo>
                      <a:pt x="30" y="57"/>
                    </a:lnTo>
                    <a:lnTo>
                      <a:pt x="34" y="53"/>
                    </a:lnTo>
                    <a:lnTo>
                      <a:pt x="34" y="53"/>
                    </a:lnTo>
                    <a:lnTo>
                      <a:pt x="40" y="53"/>
                    </a:lnTo>
                    <a:lnTo>
                      <a:pt x="40" y="47"/>
                    </a:lnTo>
                    <a:lnTo>
                      <a:pt x="38" y="44"/>
                    </a:lnTo>
                    <a:lnTo>
                      <a:pt x="40" y="42"/>
                    </a:lnTo>
                    <a:lnTo>
                      <a:pt x="44" y="42"/>
                    </a:lnTo>
                    <a:lnTo>
                      <a:pt x="46" y="44"/>
                    </a:lnTo>
                    <a:lnTo>
                      <a:pt x="46" y="42"/>
                    </a:lnTo>
                    <a:lnTo>
                      <a:pt x="49" y="44"/>
                    </a:lnTo>
                    <a:lnTo>
                      <a:pt x="49" y="42"/>
                    </a:lnTo>
                    <a:lnTo>
                      <a:pt x="49" y="38"/>
                    </a:lnTo>
                    <a:lnTo>
                      <a:pt x="49" y="34"/>
                    </a:lnTo>
                    <a:lnTo>
                      <a:pt x="46" y="38"/>
                    </a:lnTo>
                    <a:lnTo>
                      <a:pt x="40" y="38"/>
                    </a:lnTo>
                    <a:lnTo>
                      <a:pt x="40" y="34"/>
                    </a:lnTo>
                    <a:lnTo>
                      <a:pt x="38" y="32"/>
                    </a:lnTo>
                    <a:lnTo>
                      <a:pt x="34" y="30"/>
                    </a:lnTo>
                    <a:lnTo>
                      <a:pt x="38" y="29"/>
                    </a:lnTo>
                    <a:lnTo>
                      <a:pt x="38" y="25"/>
                    </a:lnTo>
                    <a:lnTo>
                      <a:pt x="34" y="23"/>
                    </a:lnTo>
                    <a:lnTo>
                      <a:pt x="29" y="23"/>
                    </a:lnTo>
                    <a:lnTo>
                      <a:pt x="25" y="25"/>
                    </a:lnTo>
                    <a:lnTo>
                      <a:pt x="21" y="23"/>
                    </a:lnTo>
                    <a:lnTo>
                      <a:pt x="21" y="25"/>
                    </a:lnTo>
                    <a:lnTo>
                      <a:pt x="23" y="30"/>
                    </a:lnTo>
                    <a:lnTo>
                      <a:pt x="23" y="30"/>
                    </a:lnTo>
                    <a:lnTo>
                      <a:pt x="25" y="34"/>
                    </a:lnTo>
                    <a:lnTo>
                      <a:pt x="25" y="34"/>
                    </a:lnTo>
                    <a:lnTo>
                      <a:pt x="23" y="34"/>
                    </a:lnTo>
                    <a:lnTo>
                      <a:pt x="19" y="34"/>
                    </a:lnTo>
                    <a:lnTo>
                      <a:pt x="19" y="34"/>
                    </a:lnTo>
                    <a:lnTo>
                      <a:pt x="21" y="32"/>
                    </a:lnTo>
                    <a:lnTo>
                      <a:pt x="19" y="29"/>
                    </a:lnTo>
                    <a:lnTo>
                      <a:pt x="17" y="29"/>
                    </a:lnTo>
                    <a:lnTo>
                      <a:pt x="15" y="32"/>
                    </a:lnTo>
                    <a:lnTo>
                      <a:pt x="17" y="34"/>
                    </a:lnTo>
                    <a:lnTo>
                      <a:pt x="14" y="38"/>
                    </a:lnTo>
                    <a:lnTo>
                      <a:pt x="10" y="34"/>
                    </a:lnTo>
                    <a:lnTo>
                      <a:pt x="8" y="34"/>
                    </a:lnTo>
                    <a:lnTo>
                      <a:pt x="4" y="34"/>
                    </a:lnTo>
                    <a:lnTo>
                      <a:pt x="2" y="34"/>
                    </a:lnTo>
                    <a:lnTo>
                      <a:pt x="6" y="38"/>
                    </a:lnTo>
                    <a:lnTo>
                      <a:pt x="6" y="42"/>
                    </a:lnTo>
                    <a:lnTo>
                      <a:pt x="4" y="42"/>
                    </a:lnTo>
                    <a:lnTo>
                      <a:pt x="2" y="42"/>
                    </a:lnTo>
                    <a:lnTo>
                      <a:pt x="2" y="45"/>
                    </a:lnTo>
                    <a:lnTo>
                      <a:pt x="6" y="47"/>
                    </a:lnTo>
                    <a:lnTo>
                      <a:pt x="6" y="51"/>
                    </a:lnTo>
                    <a:lnTo>
                      <a:pt x="8" y="53"/>
                    </a:lnTo>
                    <a:lnTo>
                      <a:pt x="2" y="53"/>
                    </a:lnTo>
                    <a:lnTo>
                      <a:pt x="0" y="59"/>
                    </a:lnTo>
                    <a:lnTo>
                      <a:pt x="2" y="61"/>
                    </a:lnTo>
                    <a:lnTo>
                      <a:pt x="6" y="59"/>
                    </a:lnTo>
                    <a:lnTo>
                      <a:pt x="10" y="64"/>
                    </a:lnTo>
                    <a:lnTo>
                      <a:pt x="12" y="70"/>
                    </a:lnTo>
                    <a:lnTo>
                      <a:pt x="10" y="70"/>
                    </a:lnTo>
                    <a:lnTo>
                      <a:pt x="10" y="72"/>
                    </a:lnTo>
                    <a:lnTo>
                      <a:pt x="15" y="72"/>
                    </a:lnTo>
                    <a:lnTo>
                      <a:pt x="23" y="76"/>
                    </a:lnTo>
                    <a:lnTo>
                      <a:pt x="25" y="76"/>
                    </a:lnTo>
                    <a:lnTo>
                      <a:pt x="29" y="76"/>
                    </a:lnTo>
                    <a:lnTo>
                      <a:pt x="29" y="76"/>
                    </a:lnTo>
                    <a:lnTo>
                      <a:pt x="29" y="76"/>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5" name="Freeform 7"/>
              <p:cNvSpPr>
                <a:spLocks noEditPoints="1"/>
              </p:cNvSpPr>
              <p:nvPr/>
            </p:nvSpPr>
            <p:spPr bwMode="auto">
              <a:xfrm>
                <a:off x="2849" y="1447"/>
                <a:ext cx="374" cy="434"/>
              </a:xfrm>
              <a:custGeom>
                <a:avLst/>
                <a:gdLst/>
                <a:ahLst/>
                <a:cxnLst>
                  <a:cxn ang="0">
                    <a:pos x="355" y="49"/>
                  </a:cxn>
                  <a:cxn ang="0">
                    <a:pos x="370" y="23"/>
                  </a:cxn>
                  <a:cxn ang="0">
                    <a:pos x="335" y="12"/>
                  </a:cxn>
                  <a:cxn ang="0">
                    <a:pos x="320" y="15"/>
                  </a:cxn>
                  <a:cxn ang="0">
                    <a:pos x="310" y="12"/>
                  </a:cxn>
                  <a:cxn ang="0">
                    <a:pos x="291" y="15"/>
                  </a:cxn>
                  <a:cxn ang="0">
                    <a:pos x="278" y="12"/>
                  </a:cxn>
                  <a:cxn ang="0">
                    <a:pos x="259" y="34"/>
                  </a:cxn>
                  <a:cxn ang="0">
                    <a:pos x="231" y="46"/>
                  </a:cxn>
                  <a:cxn ang="0">
                    <a:pos x="216" y="70"/>
                  </a:cxn>
                  <a:cxn ang="0">
                    <a:pos x="201" y="76"/>
                  </a:cxn>
                  <a:cxn ang="0">
                    <a:pos x="177" y="85"/>
                  </a:cxn>
                  <a:cxn ang="0">
                    <a:pos x="178" y="104"/>
                  </a:cxn>
                  <a:cxn ang="0">
                    <a:pos x="152" y="117"/>
                  </a:cxn>
                  <a:cxn ang="0">
                    <a:pos x="154" y="142"/>
                  </a:cxn>
                  <a:cxn ang="0">
                    <a:pos x="133" y="155"/>
                  </a:cxn>
                  <a:cxn ang="0">
                    <a:pos x="120" y="177"/>
                  </a:cxn>
                  <a:cxn ang="0">
                    <a:pos x="116" y="202"/>
                  </a:cxn>
                  <a:cxn ang="0">
                    <a:pos x="103" y="226"/>
                  </a:cxn>
                  <a:cxn ang="0">
                    <a:pos x="79" y="258"/>
                  </a:cxn>
                  <a:cxn ang="0">
                    <a:pos x="99" y="260"/>
                  </a:cxn>
                  <a:cxn ang="0">
                    <a:pos x="71" y="274"/>
                  </a:cxn>
                  <a:cxn ang="0">
                    <a:pos x="49" y="283"/>
                  </a:cxn>
                  <a:cxn ang="0">
                    <a:pos x="47" y="296"/>
                  </a:cxn>
                  <a:cxn ang="0">
                    <a:pos x="26" y="307"/>
                  </a:cxn>
                  <a:cxn ang="0">
                    <a:pos x="26" y="322"/>
                  </a:cxn>
                  <a:cxn ang="0">
                    <a:pos x="5" y="338"/>
                  </a:cxn>
                  <a:cxn ang="0">
                    <a:pos x="41" y="341"/>
                  </a:cxn>
                  <a:cxn ang="0">
                    <a:pos x="7" y="349"/>
                  </a:cxn>
                  <a:cxn ang="0">
                    <a:pos x="30" y="360"/>
                  </a:cxn>
                  <a:cxn ang="0">
                    <a:pos x="15" y="383"/>
                  </a:cxn>
                  <a:cxn ang="0">
                    <a:pos x="26" y="409"/>
                  </a:cxn>
                  <a:cxn ang="0">
                    <a:pos x="49" y="430"/>
                  </a:cxn>
                  <a:cxn ang="0">
                    <a:pos x="73" y="392"/>
                  </a:cxn>
                  <a:cxn ang="0">
                    <a:pos x="92" y="377"/>
                  </a:cxn>
                  <a:cxn ang="0">
                    <a:pos x="120" y="368"/>
                  </a:cxn>
                  <a:cxn ang="0">
                    <a:pos x="133" y="247"/>
                  </a:cxn>
                  <a:cxn ang="0">
                    <a:pos x="169" y="125"/>
                  </a:cxn>
                  <a:cxn ang="0">
                    <a:pos x="216" y="96"/>
                  </a:cxn>
                  <a:cxn ang="0">
                    <a:pos x="267" y="89"/>
                  </a:cxn>
                  <a:cxn ang="0">
                    <a:pos x="316" y="42"/>
                  </a:cxn>
                  <a:cxn ang="0">
                    <a:pos x="5" y="379"/>
                  </a:cxn>
                  <a:cxn ang="0">
                    <a:pos x="0" y="353"/>
                  </a:cxn>
                  <a:cxn ang="0">
                    <a:pos x="0" y="362"/>
                  </a:cxn>
                  <a:cxn ang="0">
                    <a:pos x="2" y="317"/>
                  </a:cxn>
                  <a:cxn ang="0">
                    <a:pos x="50" y="279"/>
                  </a:cxn>
                  <a:cxn ang="0">
                    <a:pos x="54" y="274"/>
                  </a:cxn>
                  <a:cxn ang="0">
                    <a:pos x="92" y="226"/>
                  </a:cxn>
                  <a:cxn ang="0">
                    <a:pos x="113" y="191"/>
                  </a:cxn>
                  <a:cxn ang="0">
                    <a:pos x="111" y="130"/>
                  </a:cxn>
                  <a:cxn ang="0">
                    <a:pos x="126" y="113"/>
                  </a:cxn>
                  <a:cxn ang="0">
                    <a:pos x="145" y="96"/>
                  </a:cxn>
                  <a:cxn ang="0">
                    <a:pos x="154" y="83"/>
                  </a:cxn>
                  <a:cxn ang="0">
                    <a:pos x="160" y="96"/>
                  </a:cxn>
                  <a:cxn ang="0">
                    <a:pos x="182" y="72"/>
                  </a:cxn>
                  <a:cxn ang="0">
                    <a:pos x="182" y="72"/>
                  </a:cxn>
                  <a:cxn ang="0">
                    <a:pos x="192" y="47"/>
                  </a:cxn>
                  <a:cxn ang="0">
                    <a:pos x="203" y="47"/>
                  </a:cxn>
                  <a:cxn ang="0">
                    <a:pos x="222" y="42"/>
                  </a:cxn>
                  <a:cxn ang="0">
                    <a:pos x="252" y="34"/>
                  </a:cxn>
                  <a:cxn ang="0">
                    <a:pos x="259" y="25"/>
                  </a:cxn>
                  <a:cxn ang="0">
                    <a:pos x="280" y="8"/>
                  </a:cxn>
                </a:cxnLst>
                <a:rect l="0" t="0" r="r" b="b"/>
                <a:pathLst>
                  <a:path w="374" h="434">
                    <a:moveTo>
                      <a:pt x="346" y="78"/>
                    </a:moveTo>
                    <a:lnTo>
                      <a:pt x="350" y="76"/>
                    </a:lnTo>
                    <a:lnTo>
                      <a:pt x="350" y="70"/>
                    </a:lnTo>
                    <a:lnTo>
                      <a:pt x="354" y="66"/>
                    </a:lnTo>
                    <a:lnTo>
                      <a:pt x="357" y="66"/>
                    </a:lnTo>
                    <a:lnTo>
                      <a:pt x="361" y="63"/>
                    </a:lnTo>
                    <a:lnTo>
                      <a:pt x="359" y="57"/>
                    </a:lnTo>
                    <a:lnTo>
                      <a:pt x="363" y="55"/>
                    </a:lnTo>
                    <a:lnTo>
                      <a:pt x="367" y="57"/>
                    </a:lnTo>
                    <a:lnTo>
                      <a:pt x="370" y="55"/>
                    </a:lnTo>
                    <a:lnTo>
                      <a:pt x="369" y="51"/>
                    </a:lnTo>
                    <a:lnTo>
                      <a:pt x="369" y="49"/>
                    </a:lnTo>
                    <a:lnTo>
                      <a:pt x="365" y="47"/>
                    </a:lnTo>
                    <a:lnTo>
                      <a:pt x="365" y="47"/>
                    </a:lnTo>
                    <a:lnTo>
                      <a:pt x="363" y="49"/>
                    </a:lnTo>
                    <a:lnTo>
                      <a:pt x="363" y="51"/>
                    </a:lnTo>
                    <a:lnTo>
                      <a:pt x="361" y="49"/>
                    </a:lnTo>
                    <a:lnTo>
                      <a:pt x="359" y="47"/>
                    </a:lnTo>
                    <a:lnTo>
                      <a:pt x="357" y="47"/>
                    </a:lnTo>
                    <a:lnTo>
                      <a:pt x="359" y="49"/>
                    </a:lnTo>
                    <a:lnTo>
                      <a:pt x="357" y="53"/>
                    </a:lnTo>
                    <a:lnTo>
                      <a:pt x="355" y="53"/>
                    </a:lnTo>
                    <a:lnTo>
                      <a:pt x="355" y="49"/>
                    </a:lnTo>
                    <a:lnTo>
                      <a:pt x="354" y="51"/>
                    </a:lnTo>
                    <a:lnTo>
                      <a:pt x="354" y="53"/>
                    </a:lnTo>
                    <a:lnTo>
                      <a:pt x="350" y="51"/>
                    </a:lnTo>
                    <a:lnTo>
                      <a:pt x="350" y="47"/>
                    </a:lnTo>
                    <a:lnTo>
                      <a:pt x="350" y="46"/>
                    </a:lnTo>
                    <a:lnTo>
                      <a:pt x="348" y="42"/>
                    </a:lnTo>
                    <a:lnTo>
                      <a:pt x="346" y="42"/>
                    </a:lnTo>
                    <a:lnTo>
                      <a:pt x="340" y="42"/>
                    </a:lnTo>
                    <a:lnTo>
                      <a:pt x="340" y="42"/>
                    </a:lnTo>
                    <a:lnTo>
                      <a:pt x="335" y="42"/>
                    </a:lnTo>
                    <a:lnTo>
                      <a:pt x="333" y="36"/>
                    </a:lnTo>
                    <a:lnTo>
                      <a:pt x="335" y="36"/>
                    </a:lnTo>
                    <a:lnTo>
                      <a:pt x="340" y="40"/>
                    </a:lnTo>
                    <a:lnTo>
                      <a:pt x="344" y="36"/>
                    </a:lnTo>
                    <a:lnTo>
                      <a:pt x="348" y="40"/>
                    </a:lnTo>
                    <a:lnTo>
                      <a:pt x="354" y="40"/>
                    </a:lnTo>
                    <a:lnTo>
                      <a:pt x="359" y="36"/>
                    </a:lnTo>
                    <a:lnTo>
                      <a:pt x="363" y="32"/>
                    </a:lnTo>
                    <a:lnTo>
                      <a:pt x="370" y="31"/>
                    </a:lnTo>
                    <a:lnTo>
                      <a:pt x="374" y="27"/>
                    </a:lnTo>
                    <a:lnTo>
                      <a:pt x="374" y="27"/>
                    </a:lnTo>
                    <a:lnTo>
                      <a:pt x="372" y="25"/>
                    </a:lnTo>
                    <a:lnTo>
                      <a:pt x="370" y="23"/>
                    </a:lnTo>
                    <a:lnTo>
                      <a:pt x="369" y="23"/>
                    </a:lnTo>
                    <a:lnTo>
                      <a:pt x="365" y="23"/>
                    </a:lnTo>
                    <a:lnTo>
                      <a:pt x="359" y="19"/>
                    </a:lnTo>
                    <a:lnTo>
                      <a:pt x="357" y="19"/>
                    </a:lnTo>
                    <a:lnTo>
                      <a:pt x="354" y="23"/>
                    </a:lnTo>
                    <a:lnTo>
                      <a:pt x="354" y="23"/>
                    </a:lnTo>
                    <a:lnTo>
                      <a:pt x="354" y="21"/>
                    </a:lnTo>
                    <a:lnTo>
                      <a:pt x="355" y="19"/>
                    </a:lnTo>
                    <a:lnTo>
                      <a:pt x="355" y="17"/>
                    </a:lnTo>
                    <a:lnTo>
                      <a:pt x="354" y="15"/>
                    </a:lnTo>
                    <a:lnTo>
                      <a:pt x="350" y="15"/>
                    </a:lnTo>
                    <a:lnTo>
                      <a:pt x="350" y="15"/>
                    </a:lnTo>
                    <a:lnTo>
                      <a:pt x="348" y="19"/>
                    </a:lnTo>
                    <a:lnTo>
                      <a:pt x="346" y="19"/>
                    </a:lnTo>
                    <a:lnTo>
                      <a:pt x="346" y="15"/>
                    </a:lnTo>
                    <a:lnTo>
                      <a:pt x="344" y="15"/>
                    </a:lnTo>
                    <a:lnTo>
                      <a:pt x="340" y="19"/>
                    </a:lnTo>
                    <a:lnTo>
                      <a:pt x="340" y="19"/>
                    </a:lnTo>
                    <a:lnTo>
                      <a:pt x="340" y="15"/>
                    </a:lnTo>
                    <a:lnTo>
                      <a:pt x="340" y="15"/>
                    </a:lnTo>
                    <a:lnTo>
                      <a:pt x="340" y="12"/>
                    </a:lnTo>
                    <a:lnTo>
                      <a:pt x="338" y="12"/>
                    </a:lnTo>
                    <a:lnTo>
                      <a:pt x="335" y="12"/>
                    </a:lnTo>
                    <a:lnTo>
                      <a:pt x="333" y="12"/>
                    </a:lnTo>
                    <a:lnTo>
                      <a:pt x="333" y="17"/>
                    </a:lnTo>
                    <a:lnTo>
                      <a:pt x="329" y="17"/>
                    </a:lnTo>
                    <a:lnTo>
                      <a:pt x="329" y="19"/>
                    </a:lnTo>
                    <a:lnTo>
                      <a:pt x="333" y="25"/>
                    </a:lnTo>
                    <a:lnTo>
                      <a:pt x="331" y="27"/>
                    </a:lnTo>
                    <a:lnTo>
                      <a:pt x="329" y="29"/>
                    </a:lnTo>
                    <a:lnTo>
                      <a:pt x="329" y="27"/>
                    </a:lnTo>
                    <a:lnTo>
                      <a:pt x="325" y="27"/>
                    </a:lnTo>
                    <a:lnTo>
                      <a:pt x="325" y="27"/>
                    </a:lnTo>
                    <a:lnTo>
                      <a:pt x="322" y="27"/>
                    </a:lnTo>
                    <a:lnTo>
                      <a:pt x="320" y="29"/>
                    </a:lnTo>
                    <a:lnTo>
                      <a:pt x="322" y="23"/>
                    </a:lnTo>
                    <a:lnTo>
                      <a:pt x="325" y="23"/>
                    </a:lnTo>
                    <a:lnTo>
                      <a:pt x="325" y="19"/>
                    </a:lnTo>
                    <a:lnTo>
                      <a:pt x="325" y="17"/>
                    </a:lnTo>
                    <a:lnTo>
                      <a:pt x="325" y="17"/>
                    </a:lnTo>
                    <a:lnTo>
                      <a:pt x="320" y="21"/>
                    </a:lnTo>
                    <a:lnTo>
                      <a:pt x="320" y="19"/>
                    </a:lnTo>
                    <a:lnTo>
                      <a:pt x="320" y="17"/>
                    </a:lnTo>
                    <a:lnTo>
                      <a:pt x="320" y="15"/>
                    </a:lnTo>
                    <a:lnTo>
                      <a:pt x="322" y="15"/>
                    </a:lnTo>
                    <a:lnTo>
                      <a:pt x="320" y="15"/>
                    </a:lnTo>
                    <a:lnTo>
                      <a:pt x="316" y="12"/>
                    </a:lnTo>
                    <a:lnTo>
                      <a:pt x="320" y="12"/>
                    </a:lnTo>
                    <a:lnTo>
                      <a:pt x="322" y="12"/>
                    </a:lnTo>
                    <a:lnTo>
                      <a:pt x="325" y="12"/>
                    </a:lnTo>
                    <a:lnTo>
                      <a:pt x="329" y="8"/>
                    </a:lnTo>
                    <a:lnTo>
                      <a:pt x="329" y="6"/>
                    </a:lnTo>
                    <a:lnTo>
                      <a:pt x="325" y="6"/>
                    </a:lnTo>
                    <a:lnTo>
                      <a:pt x="322" y="6"/>
                    </a:lnTo>
                    <a:lnTo>
                      <a:pt x="322" y="2"/>
                    </a:lnTo>
                    <a:lnTo>
                      <a:pt x="322" y="0"/>
                    </a:lnTo>
                    <a:lnTo>
                      <a:pt x="320" y="2"/>
                    </a:lnTo>
                    <a:lnTo>
                      <a:pt x="316" y="2"/>
                    </a:lnTo>
                    <a:lnTo>
                      <a:pt x="316" y="0"/>
                    </a:lnTo>
                    <a:lnTo>
                      <a:pt x="312" y="2"/>
                    </a:lnTo>
                    <a:lnTo>
                      <a:pt x="312" y="2"/>
                    </a:lnTo>
                    <a:lnTo>
                      <a:pt x="316" y="8"/>
                    </a:lnTo>
                    <a:lnTo>
                      <a:pt x="314" y="10"/>
                    </a:lnTo>
                    <a:lnTo>
                      <a:pt x="312" y="10"/>
                    </a:lnTo>
                    <a:lnTo>
                      <a:pt x="308" y="6"/>
                    </a:lnTo>
                    <a:lnTo>
                      <a:pt x="306" y="8"/>
                    </a:lnTo>
                    <a:lnTo>
                      <a:pt x="306" y="10"/>
                    </a:lnTo>
                    <a:lnTo>
                      <a:pt x="306" y="12"/>
                    </a:lnTo>
                    <a:lnTo>
                      <a:pt x="310" y="12"/>
                    </a:lnTo>
                    <a:lnTo>
                      <a:pt x="312" y="12"/>
                    </a:lnTo>
                    <a:lnTo>
                      <a:pt x="312" y="15"/>
                    </a:lnTo>
                    <a:lnTo>
                      <a:pt x="308" y="15"/>
                    </a:lnTo>
                    <a:lnTo>
                      <a:pt x="308" y="17"/>
                    </a:lnTo>
                    <a:lnTo>
                      <a:pt x="306" y="17"/>
                    </a:lnTo>
                    <a:lnTo>
                      <a:pt x="306" y="21"/>
                    </a:lnTo>
                    <a:lnTo>
                      <a:pt x="306" y="21"/>
                    </a:lnTo>
                    <a:lnTo>
                      <a:pt x="305" y="23"/>
                    </a:lnTo>
                    <a:lnTo>
                      <a:pt x="306" y="27"/>
                    </a:lnTo>
                    <a:lnTo>
                      <a:pt x="305" y="29"/>
                    </a:lnTo>
                    <a:lnTo>
                      <a:pt x="305" y="27"/>
                    </a:lnTo>
                    <a:lnTo>
                      <a:pt x="301" y="29"/>
                    </a:lnTo>
                    <a:lnTo>
                      <a:pt x="299" y="31"/>
                    </a:lnTo>
                    <a:lnTo>
                      <a:pt x="297" y="32"/>
                    </a:lnTo>
                    <a:lnTo>
                      <a:pt x="297" y="29"/>
                    </a:lnTo>
                    <a:lnTo>
                      <a:pt x="301" y="21"/>
                    </a:lnTo>
                    <a:lnTo>
                      <a:pt x="297" y="19"/>
                    </a:lnTo>
                    <a:lnTo>
                      <a:pt x="297" y="19"/>
                    </a:lnTo>
                    <a:lnTo>
                      <a:pt x="299" y="15"/>
                    </a:lnTo>
                    <a:lnTo>
                      <a:pt x="299" y="12"/>
                    </a:lnTo>
                    <a:lnTo>
                      <a:pt x="299" y="10"/>
                    </a:lnTo>
                    <a:lnTo>
                      <a:pt x="297" y="10"/>
                    </a:lnTo>
                    <a:lnTo>
                      <a:pt x="291" y="15"/>
                    </a:lnTo>
                    <a:lnTo>
                      <a:pt x="291" y="21"/>
                    </a:lnTo>
                    <a:lnTo>
                      <a:pt x="288" y="29"/>
                    </a:lnTo>
                    <a:lnTo>
                      <a:pt x="288" y="32"/>
                    </a:lnTo>
                    <a:lnTo>
                      <a:pt x="288" y="34"/>
                    </a:lnTo>
                    <a:lnTo>
                      <a:pt x="288" y="36"/>
                    </a:lnTo>
                    <a:lnTo>
                      <a:pt x="282" y="42"/>
                    </a:lnTo>
                    <a:lnTo>
                      <a:pt x="280" y="46"/>
                    </a:lnTo>
                    <a:lnTo>
                      <a:pt x="280" y="42"/>
                    </a:lnTo>
                    <a:lnTo>
                      <a:pt x="278" y="40"/>
                    </a:lnTo>
                    <a:lnTo>
                      <a:pt x="282" y="34"/>
                    </a:lnTo>
                    <a:lnTo>
                      <a:pt x="282" y="31"/>
                    </a:lnTo>
                    <a:lnTo>
                      <a:pt x="284" y="29"/>
                    </a:lnTo>
                    <a:lnTo>
                      <a:pt x="282" y="25"/>
                    </a:lnTo>
                    <a:lnTo>
                      <a:pt x="288" y="19"/>
                    </a:lnTo>
                    <a:lnTo>
                      <a:pt x="288" y="15"/>
                    </a:lnTo>
                    <a:lnTo>
                      <a:pt x="290" y="15"/>
                    </a:lnTo>
                    <a:lnTo>
                      <a:pt x="290" y="12"/>
                    </a:lnTo>
                    <a:lnTo>
                      <a:pt x="286" y="12"/>
                    </a:lnTo>
                    <a:lnTo>
                      <a:pt x="282" y="10"/>
                    </a:lnTo>
                    <a:lnTo>
                      <a:pt x="280" y="12"/>
                    </a:lnTo>
                    <a:lnTo>
                      <a:pt x="282" y="12"/>
                    </a:lnTo>
                    <a:lnTo>
                      <a:pt x="280" y="15"/>
                    </a:lnTo>
                    <a:lnTo>
                      <a:pt x="278" y="12"/>
                    </a:lnTo>
                    <a:lnTo>
                      <a:pt x="276" y="12"/>
                    </a:lnTo>
                    <a:lnTo>
                      <a:pt x="273" y="10"/>
                    </a:lnTo>
                    <a:lnTo>
                      <a:pt x="271" y="12"/>
                    </a:lnTo>
                    <a:lnTo>
                      <a:pt x="271" y="15"/>
                    </a:lnTo>
                    <a:lnTo>
                      <a:pt x="271" y="17"/>
                    </a:lnTo>
                    <a:lnTo>
                      <a:pt x="271" y="15"/>
                    </a:lnTo>
                    <a:lnTo>
                      <a:pt x="267" y="15"/>
                    </a:lnTo>
                    <a:lnTo>
                      <a:pt x="267" y="15"/>
                    </a:lnTo>
                    <a:lnTo>
                      <a:pt x="267" y="17"/>
                    </a:lnTo>
                    <a:lnTo>
                      <a:pt x="271" y="19"/>
                    </a:lnTo>
                    <a:lnTo>
                      <a:pt x="271" y="23"/>
                    </a:lnTo>
                    <a:lnTo>
                      <a:pt x="271" y="25"/>
                    </a:lnTo>
                    <a:lnTo>
                      <a:pt x="267" y="21"/>
                    </a:lnTo>
                    <a:lnTo>
                      <a:pt x="267" y="25"/>
                    </a:lnTo>
                    <a:lnTo>
                      <a:pt x="267" y="27"/>
                    </a:lnTo>
                    <a:lnTo>
                      <a:pt x="267" y="29"/>
                    </a:lnTo>
                    <a:lnTo>
                      <a:pt x="267" y="29"/>
                    </a:lnTo>
                    <a:lnTo>
                      <a:pt x="261" y="27"/>
                    </a:lnTo>
                    <a:lnTo>
                      <a:pt x="261" y="27"/>
                    </a:lnTo>
                    <a:lnTo>
                      <a:pt x="259" y="31"/>
                    </a:lnTo>
                    <a:lnTo>
                      <a:pt x="258" y="32"/>
                    </a:lnTo>
                    <a:lnTo>
                      <a:pt x="258" y="34"/>
                    </a:lnTo>
                    <a:lnTo>
                      <a:pt x="259" y="34"/>
                    </a:lnTo>
                    <a:lnTo>
                      <a:pt x="256" y="36"/>
                    </a:lnTo>
                    <a:lnTo>
                      <a:pt x="254" y="40"/>
                    </a:lnTo>
                    <a:lnTo>
                      <a:pt x="258" y="42"/>
                    </a:lnTo>
                    <a:lnTo>
                      <a:pt x="256" y="46"/>
                    </a:lnTo>
                    <a:lnTo>
                      <a:pt x="258" y="46"/>
                    </a:lnTo>
                    <a:lnTo>
                      <a:pt x="259" y="46"/>
                    </a:lnTo>
                    <a:lnTo>
                      <a:pt x="258" y="47"/>
                    </a:lnTo>
                    <a:lnTo>
                      <a:pt x="252" y="47"/>
                    </a:lnTo>
                    <a:lnTo>
                      <a:pt x="252" y="42"/>
                    </a:lnTo>
                    <a:lnTo>
                      <a:pt x="250" y="42"/>
                    </a:lnTo>
                    <a:lnTo>
                      <a:pt x="252" y="42"/>
                    </a:lnTo>
                    <a:lnTo>
                      <a:pt x="248" y="40"/>
                    </a:lnTo>
                    <a:lnTo>
                      <a:pt x="246" y="40"/>
                    </a:lnTo>
                    <a:lnTo>
                      <a:pt x="241" y="40"/>
                    </a:lnTo>
                    <a:lnTo>
                      <a:pt x="237" y="34"/>
                    </a:lnTo>
                    <a:lnTo>
                      <a:pt x="235" y="34"/>
                    </a:lnTo>
                    <a:lnTo>
                      <a:pt x="233" y="36"/>
                    </a:lnTo>
                    <a:lnTo>
                      <a:pt x="231" y="34"/>
                    </a:lnTo>
                    <a:lnTo>
                      <a:pt x="229" y="36"/>
                    </a:lnTo>
                    <a:lnTo>
                      <a:pt x="226" y="36"/>
                    </a:lnTo>
                    <a:lnTo>
                      <a:pt x="226" y="40"/>
                    </a:lnTo>
                    <a:lnTo>
                      <a:pt x="229" y="46"/>
                    </a:lnTo>
                    <a:lnTo>
                      <a:pt x="231" y="46"/>
                    </a:lnTo>
                    <a:lnTo>
                      <a:pt x="233" y="46"/>
                    </a:lnTo>
                    <a:lnTo>
                      <a:pt x="237" y="46"/>
                    </a:lnTo>
                    <a:lnTo>
                      <a:pt x="237" y="49"/>
                    </a:lnTo>
                    <a:lnTo>
                      <a:pt x="237" y="53"/>
                    </a:lnTo>
                    <a:lnTo>
                      <a:pt x="237" y="57"/>
                    </a:lnTo>
                    <a:lnTo>
                      <a:pt x="237" y="59"/>
                    </a:lnTo>
                    <a:lnTo>
                      <a:pt x="237" y="57"/>
                    </a:lnTo>
                    <a:lnTo>
                      <a:pt x="233" y="53"/>
                    </a:lnTo>
                    <a:lnTo>
                      <a:pt x="231" y="51"/>
                    </a:lnTo>
                    <a:lnTo>
                      <a:pt x="227" y="49"/>
                    </a:lnTo>
                    <a:lnTo>
                      <a:pt x="227" y="53"/>
                    </a:lnTo>
                    <a:lnTo>
                      <a:pt x="224" y="55"/>
                    </a:lnTo>
                    <a:lnTo>
                      <a:pt x="224" y="49"/>
                    </a:lnTo>
                    <a:lnTo>
                      <a:pt x="220" y="53"/>
                    </a:lnTo>
                    <a:lnTo>
                      <a:pt x="220" y="55"/>
                    </a:lnTo>
                    <a:lnTo>
                      <a:pt x="218" y="57"/>
                    </a:lnTo>
                    <a:lnTo>
                      <a:pt x="218" y="61"/>
                    </a:lnTo>
                    <a:lnTo>
                      <a:pt x="222" y="63"/>
                    </a:lnTo>
                    <a:lnTo>
                      <a:pt x="224" y="66"/>
                    </a:lnTo>
                    <a:lnTo>
                      <a:pt x="220" y="66"/>
                    </a:lnTo>
                    <a:lnTo>
                      <a:pt x="218" y="64"/>
                    </a:lnTo>
                    <a:lnTo>
                      <a:pt x="216" y="66"/>
                    </a:lnTo>
                    <a:lnTo>
                      <a:pt x="216" y="70"/>
                    </a:lnTo>
                    <a:lnTo>
                      <a:pt x="212" y="72"/>
                    </a:lnTo>
                    <a:lnTo>
                      <a:pt x="212" y="70"/>
                    </a:lnTo>
                    <a:lnTo>
                      <a:pt x="216" y="70"/>
                    </a:lnTo>
                    <a:lnTo>
                      <a:pt x="212" y="66"/>
                    </a:lnTo>
                    <a:lnTo>
                      <a:pt x="216" y="63"/>
                    </a:lnTo>
                    <a:lnTo>
                      <a:pt x="212" y="51"/>
                    </a:lnTo>
                    <a:lnTo>
                      <a:pt x="212" y="53"/>
                    </a:lnTo>
                    <a:lnTo>
                      <a:pt x="209" y="59"/>
                    </a:lnTo>
                    <a:lnTo>
                      <a:pt x="207" y="64"/>
                    </a:lnTo>
                    <a:lnTo>
                      <a:pt x="209" y="66"/>
                    </a:lnTo>
                    <a:lnTo>
                      <a:pt x="205" y="70"/>
                    </a:lnTo>
                    <a:lnTo>
                      <a:pt x="205" y="66"/>
                    </a:lnTo>
                    <a:lnTo>
                      <a:pt x="207" y="63"/>
                    </a:lnTo>
                    <a:lnTo>
                      <a:pt x="205" y="57"/>
                    </a:lnTo>
                    <a:lnTo>
                      <a:pt x="203" y="57"/>
                    </a:lnTo>
                    <a:lnTo>
                      <a:pt x="199" y="59"/>
                    </a:lnTo>
                    <a:lnTo>
                      <a:pt x="197" y="64"/>
                    </a:lnTo>
                    <a:lnTo>
                      <a:pt x="199" y="66"/>
                    </a:lnTo>
                    <a:lnTo>
                      <a:pt x="199" y="70"/>
                    </a:lnTo>
                    <a:lnTo>
                      <a:pt x="203" y="76"/>
                    </a:lnTo>
                    <a:lnTo>
                      <a:pt x="205" y="76"/>
                    </a:lnTo>
                    <a:lnTo>
                      <a:pt x="203" y="79"/>
                    </a:lnTo>
                    <a:lnTo>
                      <a:pt x="201" y="76"/>
                    </a:lnTo>
                    <a:lnTo>
                      <a:pt x="197" y="76"/>
                    </a:lnTo>
                    <a:lnTo>
                      <a:pt x="195" y="66"/>
                    </a:lnTo>
                    <a:lnTo>
                      <a:pt x="194" y="66"/>
                    </a:lnTo>
                    <a:lnTo>
                      <a:pt x="188" y="66"/>
                    </a:lnTo>
                    <a:lnTo>
                      <a:pt x="188" y="70"/>
                    </a:lnTo>
                    <a:lnTo>
                      <a:pt x="194" y="76"/>
                    </a:lnTo>
                    <a:lnTo>
                      <a:pt x="195" y="76"/>
                    </a:lnTo>
                    <a:lnTo>
                      <a:pt x="197" y="76"/>
                    </a:lnTo>
                    <a:lnTo>
                      <a:pt x="194" y="76"/>
                    </a:lnTo>
                    <a:lnTo>
                      <a:pt x="192" y="76"/>
                    </a:lnTo>
                    <a:lnTo>
                      <a:pt x="192" y="79"/>
                    </a:lnTo>
                    <a:lnTo>
                      <a:pt x="188" y="78"/>
                    </a:lnTo>
                    <a:lnTo>
                      <a:pt x="188" y="72"/>
                    </a:lnTo>
                    <a:lnTo>
                      <a:pt x="188" y="72"/>
                    </a:lnTo>
                    <a:lnTo>
                      <a:pt x="188" y="70"/>
                    </a:lnTo>
                    <a:lnTo>
                      <a:pt x="186" y="70"/>
                    </a:lnTo>
                    <a:lnTo>
                      <a:pt x="184" y="76"/>
                    </a:lnTo>
                    <a:lnTo>
                      <a:pt x="186" y="78"/>
                    </a:lnTo>
                    <a:lnTo>
                      <a:pt x="186" y="81"/>
                    </a:lnTo>
                    <a:lnTo>
                      <a:pt x="182" y="79"/>
                    </a:lnTo>
                    <a:lnTo>
                      <a:pt x="178" y="81"/>
                    </a:lnTo>
                    <a:lnTo>
                      <a:pt x="177" y="85"/>
                    </a:lnTo>
                    <a:lnTo>
                      <a:pt x="177" y="85"/>
                    </a:lnTo>
                    <a:lnTo>
                      <a:pt x="178" y="85"/>
                    </a:lnTo>
                    <a:lnTo>
                      <a:pt x="182" y="89"/>
                    </a:lnTo>
                    <a:lnTo>
                      <a:pt x="178" y="89"/>
                    </a:lnTo>
                    <a:lnTo>
                      <a:pt x="177" y="91"/>
                    </a:lnTo>
                    <a:lnTo>
                      <a:pt x="178" y="91"/>
                    </a:lnTo>
                    <a:lnTo>
                      <a:pt x="177" y="91"/>
                    </a:lnTo>
                    <a:lnTo>
                      <a:pt x="175" y="95"/>
                    </a:lnTo>
                    <a:lnTo>
                      <a:pt x="175" y="96"/>
                    </a:lnTo>
                    <a:lnTo>
                      <a:pt x="175" y="96"/>
                    </a:lnTo>
                    <a:lnTo>
                      <a:pt x="173" y="96"/>
                    </a:lnTo>
                    <a:lnTo>
                      <a:pt x="171" y="95"/>
                    </a:lnTo>
                    <a:lnTo>
                      <a:pt x="169" y="96"/>
                    </a:lnTo>
                    <a:lnTo>
                      <a:pt x="167" y="96"/>
                    </a:lnTo>
                    <a:lnTo>
                      <a:pt x="167" y="100"/>
                    </a:lnTo>
                    <a:lnTo>
                      <a:pt x="167" y="100"/>
                    </a:lnTo>
                    <a:lnTo>
                      <a:pt x="162" y="100"/>
                    </a:lnTo>
                    <a:lnTo>
                      <a:pt x="160" y="104"/>
                    </a:lnTo>
                    <a:lnTo>
                      <a:pt x="163" y="106"/>
                    </a:lnTo>
                    <a:lnTo>
                      <a:pt x="171" y="104"/>
                    </a:lnTo>
                    <a:lnTo>
                      <a:pt x="173" y="104"/>
                    </a:lnTo>
                    <a:lnTo>
                      <a:pt x="177" y="104"/>
                    </a:lnTo>
                    <a:lnTo>
                      <a:pt x="178" y="104"/>
                    </a:lnTo>
                    <a:lnTo>
                      <a:pt x="178" y="104"/>
                    </a:lnTo>
                    <a:lnTo>
                      <a:pt x="177" y="108"/>
                    </a:lnTo>
                    <a:lnTo>
                      <a:pt x="177" y="113"/>
                    </a:lnTo>
                    <a:lnTo>
                      <a:pt x="175" y="113"/>
                    </a:lnTo>
                    <a:lnTo>
                      <a:pt x="173" y="112"/>
                    </a:lnTo>
                    <a:lnTo>
                      <a:pt x="173" y="110"/>
                    </a:lnTo>
                    <a:lnTo>
                      <a:pt x="171" y="110"/>
                    </a:lnTo>
                    <a:lnTo>
                      <a:pt x="169" y="108"/>
                    </a:lnTo>
                    <a:lnTo>
                      <a:pt x="167" y="108"/>
                    </a:lnTo>
                    <a:lnTo>
                      <a:pt x="167" y="110"/>
                    </a:lnTo>
                    <a:lnTo>
                      <a:pt x="167" y="112"/>
                    </a:lnTo>
                    <a:lnTo>
                      <a:pt x="162" y="110"/>
                    </a:lnTo>
                    <a:lnTo>
                      <a:pt x="160" y="112"/>
                    </a:lnTo>
                    <a:lnTo>
                      <a:pt x="163" y="113"/>
                    </a:lnTo>
                    <a:lnTo>
                      <a:pt x="163" y="115"/>
                    </a:lnTo>
                    <a:lnTo>
                      <a:pt x="162" y="115"/>
                    </a:lnTo>
                    <a:lnTo>
                      <a:pt x="162" y="119"/>
                    </a:lnTo>
                    <a:lnTo>
                      <a:pt x="162" y="121"/>
                    </a:lnTo>
                    <a:lnTo>
                      <a:pt x="162" y="121"/>
                    </a:lnTo>
                    <a:lnTo>
                      <a:pt x="160" y="121"/>
                    </a:lnTo>
                    <a:lnTo>
                      <a:pt x="160" y="117"/>
                    </a:lnTo>
                    <a:lnTo>
                      <a:pt x="158" y="113"/>
                    </a:lnTo>
                    <a:lnTo>
                      <a:pt x="154" y="115"/>
                    </a:lnTo>
                    <a:lnTo>
                      <a:pt x="152" y="117"/>
                    </a:lnTo>
                    <a:lnTo>
                      <a:pt x="152" y="115"/>
                    </a:lnTo>
                    <a:lnTo>
                      <a:pt x="152" y="113"/>
                    </a:lnTo>
                    <a:lnTo>
                      <a:pt x="150" y="113"/>
                    </a:lnTo>
                    <a:lnTo>
                      <a:pt x="146" y="115"/>
                    </a:lnTo>
                    <a:lnTo>
                      <a:pt x="150" y="119"/>
                    </a:lnTo>
                    <a:lnTo>
                      <a:pt x="154" y="119"/>
                    </a:lnTo>
                    <a:lnTo>
                      <a:pt x="158" y="121"/>
                    </a:lnTo>
                    <a:lnTo>
                      <a:pt x="154" y="125"/>
                    </a:lnTo>
                    <a:lnTo>
                      <a:pt x="148" y="125"/>
                    </a:lnTo>
                    <a:lnTo>
                      <a:pt x="146" y="121"/>
                    </a:lnTo>
                    <a:lnTo>
                      <a:pt x="145" y="121"/>
                    </a:lnTo>
                    <a:lnTo>
                      <a:pt x="143" y="125"/>
                    </a:lnTo>
                    <a:lnTo>
                      <a:pt x="145" y="130"/>
                    </a:lnTo>
                    <a:lnTo>
                      <a:pt x="143" y="130"/>
                    </a:lnTo>
                    <a:lnTo>
                      <a:pt x="145" y="130"/>
                    </a:lnTo>
                    <a:lnTo>
                      <a:pt x="148" y="128"/>
                    </a:lnTo>
                    <a:lnTo>
                      <a:pt x="152" y="128"/>
                    </a:lnTo>
                    <a:lnTo>
                      <a:pt x="154" y="130"/>
                    </a:lnTo>
                    <a:lnTo>
                      <a:pt x="148" y="130"/>
                    </a:lnTo>
                    <a:lnTo>
                      <a:pt x="148" y="134"/>
                    </a:lnTo>
                    <a:lnTo>
                      <a:pt x="150" y="136"/>
                    </a:lnTo>
                    <a:lnTo>
                      <a:pt x="154" y="138"/>
                    </a:lnTo>
                    <a:lnTo>
                      <a:pt x="154" y="142"/>
                    </a:lnTo>
                    <a:lnTo>
                      <a:pt x="150" y="140"/>
                    </a:lnTo>
                    <a:lnTo>
                      <a:pt x="148" y="140"/>
                    </a:lnTo>
                    <a:lnTo>
                      <a:pt x="146" y="136"/>
                    </a:lnTo>
                    <a:lnTo>
                      <a:pt x="145" y="136"/>
                    </a:lnTo>
                    <a:lnTo>
                      <a:pt x="141" y="138"/>
                    </a:lnTo>
                    <a:lnTo>
                      <a:pt x="145" y="142"/>
                    </a:lnTo>
                    <a:lnTo>
                      <a:pt x="141" y="142"/>
                    </a:lnTo>
                    <a:lnTo>
                      <a:pt x="137" y="144"/>
                    </a:lnTo>
                    <a:lnTo>
                      <a:pt x="137" y="145"/>
                    </a:lnTo>
                    <a:lnTo>
                      <a:pt x="141" y="147"/>
                    </a:lnTo>
                    <a:lnTo>
                      <a:pt x="145" y="145"/>
                    </a:lnTo>
                    <a:lnTo>
                      <a:pt x="146" y="147"/>
                    </a:lnTo>
                    <a:lnTo>
                      <a:pt x="150" y="147"/>
                    </a:lnTo>
                    <a:lnTo>
                      <a:pt x="150" y="149"/>
                    </a:lnTo>
                    <a:lnTo>
                      <a:pt x="152" y="151"/>
                    </a:lnTo>
                    <a:lnTo>
                      <a:pt x="152" y="153"/>
                    </a:lnTo>
                    <a:lnTo>
                      <a:pt x="148" y="149"/>
                    </a:lnTo>
                    <a:lnTo>
                      <a:pt x="145" y="149"/>
                    </a:lnTo>
                    <a:lnTo>
                      <a:pt x="143" y="151"/>
                    </a:lnTo>
                    <a:lnTo>
                      <a:pt x="137" y="153"/>
                    </a:lnTo>
                    <a:lnTo>
                      <a:pt x="137" y="155"/>
                    </a:lnTo>
                    <a:lnTo>
                      <a:pt x="133" y="155"/>
                    </a:lnTo>
                    <a:lnTo>
                      <a:pt x="133" y="155"/>
                    </a:lnTo>
                    <a:lnTo>
                      <a:pt x="130" y="159"/>
                    </a:lnTo>
                    <a:lnTo>
                      <a:pt x="126" y="159"/>
                    </a:lnTo>
                    <a:lnTo>
                      <a:pt x="126" y="159"/>
                    </a:lnTo>
                    <a:lnTo>
                      <a:pt x="130" y="159"/>
                    </a:lnTo>
                    <a:lnTo>
                      <a:pt x="130" y="164"/>
                    </a:lnTo>
                    <a:lnTo>
                      <a:pt x="128" y="164"/>
                    </a:lnTo>
                    <a:lnTo>
                      <a:pt x="128" y="164"/>
                    </a:lnTo>
                    <a:lnTo>
                      <a:pt x="126" y="164"/>
                    </a:lnTo>
                    <a:lnTo>
                      <a:pt x="128" y="166"/>
                    </a:lnTo>
                    <a:lnTo>
                      <a:pt x="128" y="166"/>
                    </a:lnTo>
                    <a:lnTo>
                      <a:pt x="124" y="166"/>
                    </a:lnTo>
                    <a:lnTo>
                      <a:pt x="124" y="166"/>
                    </a:lnTo>
                    <a:lnTo>
                      <a:pt x="122" y="166"/>
                    </a:lnTo>
                    <a:lnTo>
                      <a:pt x="124" y="168"/>
                    </a:lnTo>
                    <a:lnTo>
                      <a:pt x="124" y="170"/>
                    </a:lnTo>
                    <a:lnTo>
                      <a:pt x="124" y="172"/>
                    </a:lnTo>
                    <a:lnTo>
                      <a:pt x="126" y="172"/>
                    </a:lnTo>
                    <a:lnTo>
                      <a:pt x="124" y="174"/>
                    </a:lnTo>
                    <a:lnTo>
                      <a:pt x="122" y="174"/>
                    </a:lnTo>
                    <a:lnTo>
                      <a:pt x="120" y="172"/>
                    </a:lnTo>
                    <a:lnTo>
                      <a:pt x="120" y="176"/>
                    </a:lnTo>
                    <a:lnTo>
                      <a:pt x="118" y="177"/>
                    </a:lnTo>
                    <a:lnTo>
                      <a:pt x="120" y="177"/>
                    </a:lnTo>
                    <a:lnTo>
                      <a:pt x="126" y="179"/>
                    </a:lnTo>
                    <a:lnTo>
                      <a:pt x="126" y="181"/>
                    </a:lnTo>
                    <a:lnTo>
                      <a:pt x="130" y="183"/>
                    </a:lnTo>
                    <a:lnTo>
                      <a:pt x="130" y="181"/>
                    </a:lnTo>
                    <a:lnTo>
                      <a:pt x="130" y="183"/>
                    </a:lnTo>
                    <a:lnTo>
                      <a:pt x="130" y="185"/>
                    </a:lnTo>
                    <a:lnTo>
                      <a:pt x="126" y="185"/>
                    </a:lnTo>
                    <a:lnTo>
                      <a:pt x="124" y="183"/>
                    </a:lnTo>
                    <a:lnTo>
                      <a:pt x="120" y="185"/>
                    </a:lnTo>
                    <a:lnTo>
                      <a:pt x="116" y="185"/>
                    </a:lnTo>
                    <a:lnTo>
                      <a:pt x="116" y="189"/>
                    </a:lnTo>
                    <a:lnTo>
                      <a:pt x="120" y="189"/>
                    </a:lnTo>
                    <a:lnTo>
                      <a:pt x="120" y="189"/>
                    </a:lnTo>
                    <a:lnTo>
                      <a:pt x="122" y="191"/>
                    </a:lnTo>
                    <a:lnTo>
                      <a:pt x="122" y="194"/>
                    </a:lnTo>
                    <a:lnTo>
                      <a:pt x="120" y="193"/>
                    </a:lnTo>
                    <a:lnTo>
                      <a:pt x="118" y="193"/>
                    </a:lnTo>
                    <a:lnTo>
                      <a:pt x="116" y="194"/>
                    </a:lnTo>
                    <a:lnTo>
                      <a:pt x="116" y="196"/>
                    </a:lnTo>
                    <a:lnTo>
                      <a:pt x="116" y="198"/>
                    </a:lnTo>
                    <a:lnTo>
                      <a:pt x="118" y="200"/>
                    </a:lnTo>
                    <a:lnTo>
                      <a:pt x="118" y="202"/>
                    </a:lnTo>
                    <a:lnTo>
                      <a:pt x="116" y="202"/>
                    </a:lnTo>
                    <a:lnTo>
                      <a:pt x="114" y="200"/>
                    </a:lnTo>
                    <a:lnTo>
                      <a:pt x="113" y="200"/>
                    </a:lnTo>
                    <a:lnTo>
                      <a:pt x="113" y="204"/>
                    </a:lnTo>
                    <a:lnTo>
                      <a:pt x="116" y="206"/>
                    </a:lnTo>
                    <a:lnTo>
                      <a:pt x="116" y="206"/>
                    </a:lnTo>
                    <a:lnTo>
                      <a:pt x="116" y="209"/>
                    </a:lnTo>
                    <a:lnTo>
                      <a:pt x="113" y="206"/>
                    </a:lnTo>
                    <a:lnTo>
                      <a:pt x="111" y="208"/>
                    </a:lnTo>
                    <a:lnTo>
                      <a:pt x="111" y="209"/>
                    </a:lnTo>
                    <a:lnTo>
                      <a:pt x="113" y="209"/>
                    </a:lnTo>
                    <a:lnTo>
                      <a:pt x="111" y="213"/>
                    </a:lnTo>
                    <a:lnTo>
                      <a:pt x="113" y="215"/>
                    </a:lnTo>
                    <a:lnTo>
                      <a:pt x="114" y="215"/>
                    </a:lnTo>
                    <a:lnTo>
                      <a:pt x="116" y="213"/>
                    </a:lnTo>
                    <a:lnTo>
                      <a:pt x="118" y="213"/>
                    </a:lnTo>
                    <a:lnTo>
                      <a:pt x="116" y="219"/>
                    </a:lnTo>
                    <a:lnTo>
                      <a:pt x="114" y="219"/>
                    </a:lnTo>
                    <a:lnTo>
                      <a:pt x="111" y="223"/>
                    </a:lnTo>
                    <a:lnTo>
                      <a:pt x="109" y="223"/>
                    </a:lnTo>
                    <a:lnTo>
                      <a:pt x="109" y="223"/>
                    </a:lnTo>
                    <a:lnTo>
                      <a:pt x="109" y="223"/>
                    </a:lnTo>
                    <a:lnTo>
                      <a:pt x="105" y="225"/>
                    </a:lnTo>
                    <a:lnTo>
                      <a:pt x="103" y="226"/>
                    </a:lnTo>
                    <a:lnTo>
                      <a:pt x="105" y="228"/>
                    </a:lnTo>
                    <a:lnTo>
                      <a:pt x="103" y="230"/>
                    </a:lnTo>
                    <a:lnTo>
                      <a:pt x="99" y="230"/>
                    </a:lnTo>
                    <a:lnTo>
                      <a:pt x="98" y="234"/>
                    </a:lnTo>
                    <a:lnTo>
                      <a:pt x="98" y="236"/>
                    </a:lnTo>
                    <a:lnTo>
                      <a:pt x="99" y="236"/>
                    </a:lnTo>
                    <a:lnTo>
                      <a:pt x="98" y="238"/>
                    </a:lnTo>
                    <a:lnTo>
                      <a:pt x="98" y="240"/>
                    </a:lnTo>
                    <a:lnTo>
                      <a:pt x="94" y="240"/>
                    </a:lnTo>
                    <a:lnTo>
                      <a:pt x="94" y="238"/>
                    </a:lnTo>
                    <a:lnTo>
                      <a:pt x="92" y="238"/>
                    </a:lnTo>
                    <a:lnTo>
                      <a:pt x="90" y="240"/>
                    </a:lnTo>
                    <a:lnTo>
                      <a:pt x="88" y="240"/>
                    </a:lnTo>
                    <a:lnTo>
                      <a:pt x="88" y="240"/>
                    </a:lnTo>
                    <a:lnTo>
                      <a:pt x="86" y="243"/>
                    </a:lnTo>
                    <a:lnTo>
                      <a:pt x="86" y="243"/>
                    </a:lnTo>
                    <a:lnTo>
                      <a:pt x="86" y="247"/>
                    </a:lnTo>
                    <a:lnTo>
                      <a:pt x="84" y="247"/>
                    </a:lnTo>
                    <a:lnTo>
                      <a:pt x="81" y="247"/>
                    </a:lnTo>
                    <a:lnTo>
                      <a:pt x="81" y="253"/>
                    </a:lnTo>
                    <a:lnTo>
                      <a:pt x="79" y="253"/>
                    </a:lnTo>
                    <a:lnTo>
                      <a:pt x="79" y="253"/>
                    </a:lnTo>
                    <a:lnTo>
                      <a:pt x="79" y="258"/>
                    </a:lnTo>
                    <a:lnTo>
                      <a:pt x="75" y="260"/>
                    </a:lnTo>
                    <a:lnTo>
                      <a:pt x="73" y="262"/>
                    </a:lnTo>
                    <a:lnTo>
                      <a:pt x="75" y="264"/>
                    </a:lnTo>
                    <a:lnTo>
                      <a:pt x="79" y="262"/>
                    </a:lnTo>
                    <a:lnTo>
                      <a:pt x="79" y="262"/>
                    </a:lnTo>
                    <a:lnTo>
                      <a:pt x="79" y="264"/>
                    </a:lnTo>
                    <a:lnTo>
                      <a:pt x="75" y="266"/>
                    </a:lnTo>
                    <a:lnTo>
                      <a:pt x="75" y="270"/>
                    </a:lnTo>
                    <a:lnTo>
                      <a:pt x="79" y="272"/>
                    </a:lnTo>
                    <a:lnTo>
                      <a:pt x="84" y="270"/>
                    </a:lnTo>
                    <a:lnTo>
                      <a:pt x="86" y="270"/>
                    </a:lnTo>
                    <a:lnTo>
                      <a:pt x="92" y="264"/>
                    </a:lnTo>
                    <a:lnTo>
                      <a:pt x="92" y="260"/>
                    </a:lnTo>
                    <a:lnTo>
                      <a:pt x="90" y="262"/>
                    </a:lnTo>
                    <a:lnTo>
                      <a:pt x="92" y="258"/>
                    </a:lnTo>
                    <a:lnTo>
                      <a:pt x="92" y="255"/>
                    </a:lnTo>
                    <a:lnTo>
                      <a:pt x="94" y="253"/>
                    </a:lnTo>
                    <a:lnTo>
                      <a:pt x="96" y="253"/>
                    </a:lnTo>
                    <a:lnTo>
                      <a:pt x="99" y="253"/>
                    </a:lnTo>
                    <a:lnTo>
                      <a:pt x="99" y="253"/>
                    </a:lnTo>
                    <a:lnTo>
                      <a:pt x="96" y="257"/>
                    </a:lnTo>
                    <a:lnTo>
                      <a:pt x="96" y="258"/>
                    </a:lnTo>
                    <a:lnTo>
                      <a:pt x="99" y="260"/>
                    </a:lnTo>
                    <a:lnTo>
                      <a:pt x="99" y="262"/>
                    </a:lnTo>
                    <a:lnTo>
                      <a:pt x="96" y="262"/>
                    </a:lnTo>
                    <a:lnTo>
                      <a:pt x="90" y="268"/>
                    </a:lnTo>
                    <a:lnTo>
                      <a:pt x="94" y="270"/>
                    </a:lnTo>
                    <a:lnTo>
                      <a:pt x="92" y="274"/>
                    </a:lnTo>
                    <a:lnTo>
                      <a:pt x="92" y="277"/>
                    </a:lnTo>
                    <a:lnTo>
                      <a:pt x="88" y="274"/>
                    </a:lnTo>
                    <a:lnTo>
                      <a:pt x="86" y="274"/>
                    </a:lnTo>
                    <a:lnTo>
                      <a:pt x="84" y="274"/>
                    </a:lnTo>
                    <a:lnTo>
                      <a:pt x="81" y="274"/>
                    </a:lnTo>
                    <a:lnTo>
                      <a:pt x="79" y="277"/>
                    </a:lnTo>
                    <a:lnTo>
                      <a:pt x="79" y="279"/>
                    </a:lnTo>
                    <a:lnTo>
                      <a:pt x="75" y="281"/>
                    </a:lnTo>
                    <a:lnTo>
                      <a:pt x="75" y="277"/>
                    </a:lnTo>
                    <a:lnTo>
                      <a:pt x="79" y="277"/>
                    </a:lnTo>
                    <a:lnTo>
                      <a:pt x="75" y="274"/>
                    </a:lnTo>
                    <a:lnTo>
                      <a:pt x="75" y="272"/>
                    </a:lnTo>
                    <a:lnTo>
                      <a:pt x="75" y="268"/>
                    </a:lnTo>
                    <a:lnTo>
                      <a:pt x="71" y="268"/>
                    </a:lnTo>
                    <a:lnTo>
                      <a:pt x="69" y="270"/>
                    </a:lnTo>
                    <a:lnTo>
                      <a:pt x="66" y="272"/>
                    </a:lnTo>
                    <a:lnTo>
                      <a:pt x="66" y="274"/>
                    </a:lnTo>
                    <a:lnTo>
                      <a:pt x="71" y="274"/>
                    </a:lnTo>
                    <a:lnTo>
                      <a:pt x="66" y="277"/>
                    </a:lnTo>
                    <a:lnTo>
                      <a:pt x="64" y="274"/>
                    </a:lnTo>
                    <a:lnTo>
                      <a:pt x="60" y="274"/>
                    </a:lnTo>
                    <a:lnTo>
                      <a:pt x="56" y="277"/>
                    </a:lnTo>
                    <a:lnTo>
                      <a:pt x="58" y="277"/>
                    </a:lnTo>
                    <a:lnTo>
                      <a:pt x="60" y="277"/>
                    </a:lnTo>
                    <a:lnTo>
                      <a:pt x="62" y="279"/>
                    </a:lnTo>
                    <a:lnTo>
                      <a:pt x="58" y="281"/>
                    </a:lnTo>
                    <a:lnTo>
                      <a:pt x="56" y="283"/>
                    </a:lnTo>
                    <a:lnTo>
                      <a:pt x="54" y="281"/>
                    </a:lnTo>
                    <a:lnTo>
                      <a:pt x="50" y="281"/>
                    </a:lnTo>
                    <a:lnTo>
                      <a:pt x="50" y="283"/>
                    </a:lnTo>
                    <a:lnTo>
                      <a:pt x="54" y="285"/>
                    </a:lnTo>
                    <a:lnTo>
                      <a:pt x="60" y="285"/>
                    </a:lnTo>
                    <a:lnTo>
                      <a:pt x="58" y="289"/>
                    </a:lnTo>
                    <a:lnTo>
                      <a:pt x="62" y="289"/>
                    </a:lnTo>
                    <a:lnTo>
                      <a:pt x="62" y="292"/>
                    </a:lnTo>
                    <a:lnTo>
                      <a:pt x="56" y="290"/>
                    </a:lnTo>
                    <a:lnTo>
                      <a:pt x="56" y="287"/>
                    </a:lnTo>
                    <a:lnTo>
                      <a:pt x="54" y="287"/>
                    </a:lnTo>
                    <a:lnTo>
                      <a:pt x="50" y="285"/>
                    </a:lnTo>
                    <a:lnTo>
                      <a:pt x="50" y="283"/>
                    </a:lnTo>
                    <a:lnTo>
                      <a:pt x="49" y="283"/>
                    </a:lnTo>
                    <a:lnTo>
                      <a:pt x="49" y="285"/>
                    </a:lnTo>
                    <a:lnTo>
                      <a:pt x="50" y="290"/>
                    </a:lnTo>
                    <a:lnTo>
                      <a:pt x="54" y="292"/>
                    </a:lnTo>
                    <a:lnTo>
                      <a:pt x="56" y="292"/>
                    </a:lnTo>
                    <a:lnTo>
                      <a:pt x="58" y="294"/>
                    </a:lnTo>
                    <a:lnTo>
                      <a:pt x="54" y="294"/>
                    </a:lnTo>
                    <a:lnTo>
                      <a:pt x="50" y="292"/>
                    </a:lnTo>
                    <a:lnTo>
                      <a:pt x="47" y="287"/>
                    </a:lnTo>
                    <a:lnTo>
                      <a:pt x="41" y="289"/>
                    </a:lnTo>
                    <a:lnTo>
                      <a:pt x="41" y="287"/>
                    </a:lnTo>
                    <a:lnTo>
                      <a:pt x="37" y="287"/>
                    </a:lnTo>
                    <a:lnTo>
                      <a:pt x="35" y="285"/>
                    </a:lnTo>
                    <a:lnTo>
                      <a:pt x="34" y="287"/>
                    </a:lnTo>
                    <a:lnTo>
                      <a:pt x="34" y="290"/>
                    </a:lnTo>
                    <a:lnTo>
                      <a:pt x="32" y="292"/>
                    </a:lnTo>
                    <a:lnTo>
                      <a:pt x="35" y="294"/>
                    </a:lnTo>
                    <a:lnTo>
                      <a:pt x="41" y="292"/>
                    </a:lnTo>
                    <a:lnTo>
                      <a:pt x="41" y="294"/>
                    </a:lnTo>
                    <a:lnTo>
                      <a:pt x="39" y="296"/>
                    </a:lnTo>
                    <a:lnTo>
                      <a:pt x="41" y="296"/>
                    </a:lnTo>
                    <a:lnTo>
                      <a:pt x="47" y="294"/>
                    </a:lnTo>
                    <a:lnTo>
                      <a:pt x="49" y="294"/>
                    </a:lnTo>
                    <a:lnTo>
                      <a:pt x="47" y="296"/>
                    </a:lnTo>
                    <a:lnTo>
                      <a:pt x="41" y="298"/>
                    </a:lnTo>
                    <a:lnTo>
                      <a:pt x="39" y="302"/>
                    </a:lnTo>
                    <a:lnTo>
                      <a:pt x="35" y="302"/>
                    </a:lnTo>
                    <a:lnTo>
                      <a:pt x="32" y="296"/>
                    </a:lnTo>
                    <a:lnTo>
                      <a:pt x="30" y="296"/>
                    </a:lnTo>
                    <a:lnTo>
                      <a:pt x="30" y="298"/>
                    </a:lnTo>
                    <a:lnTo>
                      <a:pt x="26" y="296"/>
                    </a:lnTo>
                    <a:lnTo>
                      <a:pt x="24" y="298"/>
                    </a:lnTo>
                    <a:lnTo>
                      <a:pt x="24" y="296"/>
                    </a:lnTo>
                    <a:lnTo>
                      <a:pt x="20" y="298"/>
                    </a:lnTo>
                    <a:lnTo>
                      <a:pt x="20" y="298"/>
                    </a:lnTo>
                    <a:lnTo>
                      <a:pt x="26" y="298"/>
                    </a:lnTo>
                    <a:lnTo>
                      <a:pt x="30" y="302"/>
                    </a:lnTo>
                    <a:lnTo>
                      <a:pt x="34" y="304"/>
                    </a:lnTo>
                    <a:lnTo>
                      <a:pt x="34" y="307"/>
                    </a:lnTo>
                    <a:lnTo>
                      <a:pt x="34" y="309"/>
                    </a:lnTo>
                    <a:lnTo>
                      <a:pt x="32" y="311"/>
                    </a:lnTo>
                    <a:lnTo>
                      <a:pt x="30" y="309"/>
                    </a:lnTo>
                    <a:lnTo>
                      <a:pt x="30" y="304"/>
                    </a:lnTo>
                    <a:lnTo>
                      <a:pt x="30" y="304"/>
                    </a:lnTo>
                    <a:lnTo>
                      <a:pt x="26" y="304"/>
                    </a:lnTo>
                    <a:lnTo>
                      <a:pt x="26" y="307"/>
                    </a:lnTo>
                    <a:lnTo>
                      <a:pt x="26" y="307"/>
                    </a:lnTo>
                    <a:lnTo>
                      <a:pt x="20" y="307"/>
                    </a:lnTo>
                    <a:lnTo>
                      <a:pt x="17" y="309"/>
                    </a:lnTo>
                    <a:lnTo>
                      <a:pt x="20" y="311"/>
                    </a:lnTo>
                    <a:lnTo>
                      <a:pt x="17" y="313"/>
                    </a:lnTo>
                    <a:lnTo>
                      <a:pt x="17" y="313"/>
                    </a:lnTo>
                    <a:lnTo>
                      <a:pt x="15" y="309"/>
                    </a:lnTo>
                    <a:lnTo>
                      <a:pt x="9" y="309"/>
                    </a:lnTo>
                    <a:lnTo>
                      <a:pt x="11" y="313"/>
                    </a:lnTo>
                    <a:lnTo>
                      <a:pt x="9" y="315"/>
                    </a:lnTo>
                    <a:lnTo>
                      <a:pt x="9" y="311"/>
                    </a:lnTo>
                    <a:lnTo>
                      <a:pt x="5" y="307"/>
                    </a:lnTo>
                    <a:lnTo>
                      <a:pt x="5" y="309"/>
                    </a:lnTo>
                    <a:lnTo>
                      <a:pt x="5" y="311"/>
                    </a:lnTo>
                    <a:lnTo>
                      <a:pt x="7" y="315"/>
                    </a:lnTo>
                    <a:lnTo>
                      <a:pt x="5" y="317"/>
                    </a:lnTo>
                    <a:lnTo>
                      <a:pt x="7" y="319"/>
                    </a:lnTo>
                    <a:lnTo>
                      <a:pt x="11" y="317"/>
                    </a:lnTo>
                    <a:lnTo>
                      <a:pt x="17" y="319"/>
                    </a:lnTo>
                    <a:lnTo>
                      <a:pt x="20" y="321"/>
                    </a:lnTo>
                    <a:lnTo>
                      <a:pt x="26" y="321"/>
                    </a:lnTo>
                    <a:lnTo>
                      <a:pt x="26" y="319"/>
                    </a:lnTo>
                    <a:lnTo>
                      <a:pt x="30" y="319"/>
                    </a:lnTo>
                    <a:lnTo>
                      <a:pt x="26" y="322"/>
                    </a:lnTo>
                    <a:lnTo>
                      <a:pt x="20" y="322"/>
                    </a:lnTo>
                    <a:lnTo>
                      <a:pt x="20" y="322"/>
                    </a:lnTo>
                    <a:lnTo>
                      <a:pt x="15" y="321"/>
                    </a:lnTo>
                    <a:lnTo>
                      <a:pt x="11" y="321"/>
                    </a:lnTo>
                    <a:lnTo>
                      <a:pt x="9" y="321"/>
                    </a:lnTo>
                    <a:lnTo>
                      <a:pt x="5" y="322"/>
                    </a:lnTo>
                    <a:lnTo>
                      <a:pt x="2" y="322"/>
                    </a:lnTo>
                    <a:lnTo>
                      <a:pt x="2" y="324"/>
                    </a:lnTo>
                    <a:lnTo>
                      <a:pt x="7" y="328"/>
                    </a:lnTo>
                    <a:lnTo>
                      <a:pt x="5" y="328"/>
                    </a:lnTo>
                    <a:lnTo>
                      <a:pt x="9" y="332"/>
                    </a:lnTo>
                    <a:lnTo>
                      <a:pt x="11" y="328"/>
                    </a:lnTo>
                    <a:lnTo>
                      <a:pt x="17" y="328"/>
                    </a:lnTo>
                    <a:lnTo>
                      <a:pt x="13" y="332"/>
                    </a:lnTo>
                    <a:lnTo>
                      <a:pt x="7" y="332"/>
                    </a:lnTo>
                    <a:lnTo>
                      <a:pt x="5" y="332"/>
                    </a:lnTo>
                    <a:lnTo>
                      <a:pt x="5" y="332"/>
                    </a:lnTo>
                    <a:lnTo>
                      <a:pt x="5" y="332"/>
                    </a:lnTo>
                    <a:lnTo>
                      <a:pt x="5" y="334"/>
                    </a:lnTo>
                    <a:lnTo>
                      <a:pt x="9" y="334"/>
                    </a:lnTo>
                    <a:lnTo>
                      <a:pt x="5" y="336"/>
                    </a:lnTo>
                    <a:lnTo>
                      <a:pt x="5" y="336"/>
                    </a:lnTo>
                    <a:lnTo>
                      <a:pt x="5" y="338"/>
                    </a:lnTo>
                    <a:lnTo>
                      <a:pt x="5" y="341"/>
                    </a:lnTo>
                    <a:lnTo>
                      <a:pt x="7" y="341"/>
                    </a:lnTo>
                    <a:lnTo>
                      <a:pt x="11" y="341"/>
                    </a:lnTo>
                    <a:lnTo>
                      <a:pt x="15" y="341"/>
                    </a:lnTo>
                    <a:lnTo>
                      <a:pt x="20" y="338"/>
                    </a:lnTo>
                    <a:lnTo>
                      <a:pt x="24" y="341"/>
                    </a:lnTo>
                    <a:lnTo>
                      <a:pt x="26" y="341"/>
                    </a:lnTo>
                    <a:lnTo>
                      <a:pt x="26" y="338"/>
                    </a:lnTo>
                    <a:lnTo>
                      <a:pt x="26" y="336"/>
                    </a:lnTo>
                    <a:lnTo>
                      <a:pt x="30" y="336"/>
                    </a:lnTo>
                    <a:lnTo>
                      <a:pt x="30" y="338"/>
                    </a:lnTo>
                    <a:lnTo>
                      <a:pt x="34" y="338"/>
                    </a:lnTo>
                    <a:lnTo>
                      <a:pt x="37" y="334"/>
                    </a:lnTo>
                    <a:lnTo>
                      <a:pt x="39" y="334"/>
                    </a:lnTo>
                    <a:lnTo>
                      <a:pt x="37" y="336"/>
                    </a:lnTo>
                    <a:lnTo>
                      <a:pt x="35" y="338"/>
                    </a:lnTo>
                    <a:lnTo>
                      <a:pt x="39" y="341"/>
                    </a:lnTo>
                    <a:lnTo>
                      <a:pt x="41" y="338"/>
                    </a:lnTo>
                    <a:lnTo>
                      <a:pt x="41" y="336"/>
                    </a:lnTo>
                    <a:lnTo>
                      <a:pt x="41" y="332"/>
                    </a:lnTo>
                    <a:lnTo>
                      <a:pt x="41" y="334"/>
                    </a:lnTo>
                    <a:lnTo>
                      <a:pt x="47" y="338"/>
                    </a:lnTo>
                    <a:lnTo>
                      <a:pt x="41" y="341"/>
                    </a:lnTo>
                    <a:lnTo>
                      <a:pt x="39" y="341"/>
                    </a:lnTo>
                    <a:lnTo>
                      <a:pt x="35" y="343"/>
                    </a:lnTo>
                    <a:lnTo>
                      <a:pt x="37" y="345"/>
                    </a:lnTo>
                    <a:lnTo>
                      <a:pt x="35" y="347"/>
                    </a:lnTo>
                    <a:lnTo>
                      <a:pt x="32" y="349"/>
                    </a:lnTo>
                    <a:lnTo>
                      <a:pt x="32" y="347"/>
                    </a:lnTo>
                    <a:lnTo>
                      <a:pt x="34" y="345"/>
                    </a:lnTo>
                    <a:lnTo>
                      <a:pt x="32" y="341"/>
                    </a:lnTo>
                    <a:lnTo>
                      <a:pt x="30" y="341"/>
                    </a:lnTo>
                    <a:lnTo>
                      <a:pt x="26" y="345"/>
                    </a:lnTo>
                    <a:lnTo>
                      <a:pt x="26" y="347"/>
                    </a:lnTo>
                    <a:lnTo>
                      <a:pt x="24" y="343"/>
                    </a:lnTo>
                    <a:lnTo>
                      <a:pt x="20" y="341"/>
                    </a:lnTo>
                    <a:lnTo>
                      <a:pt x="17" y="343"/>
                    </a:lnTo>
                    <a:lnTo>
                      <a:pt x="13" y="341"/>
                    </a:lnTo>
                    <a:lnTo>
                      <a:pt x="9" y="345"/>
                    </a:lnTo>
                    <a:lnTo>
                      <a:pt x="5" y="345"/>
                    </a:lnTo>
                    <a:lnTo>
                      <a:pt x="5" y="343"/>
                    </a:lnTo>
                    <a:lnTo>
                      <a:pt x="2" y="343"/>
                    </a:lnTo>
                    <a:lnTo>
                      <a:pt x="5" y="347"/>
                    </a:lnTo>
                    <a:lnTo>
                      <a:pt x="5" y="349"/>
                    </a:lnTo>
                    <a:lnTo>
                      <a:pt x="5" y="351"/>
                    </a:lnTo>
                    <a:lnTo>
                      <a:pt x="7" y="349"/>
                    </a:lnTo>
                    <a:lnTo>
                      <a:pt x="9" y="347"/>
                    </a:lnTo>
                    <a:lnTo>
                      <a:pt x="11" y="347"/>
                    </a:lnTo>
                    <a:lnTo>
                      <a:pt x="9" y="351"/>
                    </a:lnTo>
                    <a:lnTo>
                      <a:pt x="9" y="353"/>
                    </a:lnTo>
                    <a:lnTo>
                      <a:pt x="7" y="353"/>
                    </a:lnTo>
                    <a:lnTo>
                      <a:pt x="5" y="353"/>
                    </a:lnTo>
                    <a:lnTo>
                      <a:pt x="5" y="358"/>
                    </a:lnTo>
                    <a:lnTo>
                      <a:pt x="9" y="360"/>
                    </a:lnTo>
                    <a:lnTo>
                      <a:pt x="15" y="353"/>
                    </a:lnTo>
                    <a:lnTo>
                      <a:pt x="17" y="353"/>
                    </a:lnTo>
                    <a:lnTo>
                      <a:pt x="17" y="356"/>
                    </a:lnTo>
                    <a:lnTo>
                      <a:pt x="17" y="360"/>
                    </a:lnTo>
                    <a:lnTo>
                      <a:pt x="11" y="362"/>
                    </a:lnTo>
                    <a:lnTo>
                      <a:pt x="13" y="362"/>
                    </a:lnTo>
                    <a:lnTo>
                      <a:pt x="15" y="362"/>
                    </a:lnTo>
                    <a:lnTo>
                      <a:pt x="15" y="366"/>
                    </a:lnTo>
                    <a:lnTo>
                      <a:pt x="17" y="368"/>
                    </a:lnTo>
                    <a:lnTo>
                      <a:pt x="15" y="371"/>
                    </a:lnTo>
                    <a:lnTo>
                      <a:pt x="17" y="371"/>
                    </a:lnTo>
                    <a:lnTo>
                      <a:pt x="17" y="368"/>
                    </a:lnTo>
                    <a:lnTo>
                      <a:pt x="20" y="366"/>
                    </a:lnTo>
                    <a:lnTo>
                      <a:pt x="20" y="362"/>
                    </a:lnTo>
                    <a:lnTo>
                      <a:pt x="30" y="360"/>
                    </a:lnTo>
                    <a:lnTo>
                      <a:pt x="32" y="360"/>
                    </a:lnTo>
                    <a:lnTo>
                      <a:pt x="34" y="360"/>
                    </a:lnTo>
                    <a:lnTo>
                      <a:pt x="32" y="362"/>
                    </a:lnTo>
                    <a:lnTo>
                      <a:pt x="30" y="362"/>
                    </a:lnTo>
                    <a:lnTo>
                      <a:pt x="30" y="368"/>
                    </a:lnTo>
                    <a:lnTo>
                      <a:pt x="30" y="370"/>
                    </a:lnTo>
                    <a:lnTo>
                      <a:pt x="26" y="368"/>
                    </a:lnTo>
                    <a:lnTo>
                      <a:pt x="26" y="366"/>
                    </a:lnTo>
                    <a:lnTo>
                      <a:pt x="26" y="366"/>
                    </a:lnTo>
                    <a:lnTo>
                      <a:pt x="24" y="368"/>
                    </a:lnTo>
                    <a:lnTo>
                      <a:pt x="20" y="368"/>
                    </a:lnTo>
                    <a:lnTo>
                      <a:pt x="24" y="370"/>
                    </a:lnTo>
                    <a:lnTo>
                      <a:pt x="20" y="373"/>
                    </a:lnTo>
                    <a:lnTo>
                      <a:pt x="17" y="373"/>
                    </a:lnTo>
                    <a:lnTo>
                      <a:pt x="17" y="377"/>
                    </a:lnTo>
                    <a:lnTo>
                      <a:pt x="20" y="377"/>
                    </a:lnTo>
                    <a:lnTo>
                      <a:pt x="26" y="377"/>
                    </a:lnTo>
                    <a:lnTo>
                      <a:pt x="26" y="379"/>
                    </a:lnTo>
                    <a:lnTo>
                      <a:pt x="20" y="381"/>
                    </a:lnTo>
                    <a:lnTo>
                      <a:pt x="20" y="383"/>
                    </a:lnTo>
                    <a:lnTo>
                      <a:pt x="20" y="385"/>
                    </a:lnTo>
                    <a:lnTo>
                      <a:pt x="17" y="383"/>
                    </a:lnTo>
                    <a:lnTo>
                      <a:pt x="15" y="383"/>
                    </a:lnTo>
                    <a:lnTo>
                      <a:pt x="15" y="387"/>
                    </a:lnTo>
                    <a:lnTo>
                      <a:pt x="13" y="383"/>
                    </a:lnTo>
                    <a:lnTo>
                      <a:pt x="11" y="385"/>
                    </a:lnTo>
                    <a:lnTo>
                      <a:pt x="7" y="387"/>
                    </a:lnTo>
                    <a:lnTo>
                      <a:pt x="9" y="392"/>
                    </a:lnTo>
                    <a:lnTo>
                      <a:pt x="15" y="396"/>
                    </a:lnTo>
                    <a:lnTo>
                      <a:pt x="15" y="392"/>
                    </a:lnTo>
                    <a:lnTo>
                      <a:pt x="17" y="396"/>
                    </a:lnTo>
                    <a:lnTo>
                      <a:pt x="17" y="392"/>
                    </a:lnTo>
                    <a:lnTo>
                      <a:pt x="17" y="392"/>
                    </a:lnTo>
                    <a:lnTo>
                      <a:pt x="20" y="387"/>
                    </a:lnTo>
                    <a:lnTo>
                      <a:pt x="24" y="392"/>
                    </a:lnTo>
                    <a:lnTo>
                      <a:pt x="20" y="392"/>
                    </a:lnTo>
                    <a:lnTo>
                      <a:pt x="24" y="396"/>
                    </a:lnTo>
                    <a:lnTo>
                      <a:pt x="24" y="398"/>
                    </a:lnTo>
                    <a:lnTo>
                      <a:pt x="20" y="400"/>
                    </a:lnTo>
                    <a:lnTo>
                      <a:pt x="24" y="405"/>
                    </a:lnTo>
                    <a:lnTo>
                      <a:pt x="26" y="403"/>
                    </a:lnTo>
                    <a:lnTo>
                      <a:pt x="30" y="402"/>
                    </a:lnTo>
                    <a:lnTo>
                      <a:pt x="30" y="403"/>
                    </a:lnTo>
                    <a:lnTo>
                      <a:pt x="26" y="403"/>
                    </a:lnTo>
                    <a:lnTo>
                      <a:pt x="26" y="405"/>
                    </a:lnTo>
                    <a:lnTo>
                      <a:pt x="26" y="409"/>
                    </a:lnTo>
                    <a:lnTo>
                      <a:pt x="26" y="411"/>
                    </a:lnTo>
                    <a:lnTo>
                      <a:pt x="20" y="405"/>
                    </a:lnTo>
                    <a:lnTo>
                      <a:pt x="17" y="405"/>
                    </a:lnTo>
                    <a:lnTo>
                      <a:pt x="17" y="405"/>
                    </a:lnTo>
                    <a:lnTo>
                      <a:pt x="13" y="405"/>
                    </a:lnTo>
                    <a:lnTo>
                      <a:pt x="13" y="407"/>
                    </a:lnTo>
                    <a:lnTo>
                      <a:pt x="11" y="409"/>
                    </a:lnTo>
                    <a:lnTo>
                      <a:pt x="17" y="417"/>
                    </a:lnTo>
                    <a:lnTo>
                      <a:pt x="20" y="417"/>
                    </a:lnTo>
                    <a:lnTo>
                      <a:pt x="26" y="422"/>
                    </a:lnTo>
                    <a:lnTo>
                      <a:pt x="30" y="424"/>
                    </a:lnTo>
                    <a:lnTo>
                      <a:pt x="32" y="426"/>
                    </a:lnTo>
                    <a:lnTo>
                      <a:pt x="30" y="428"/>
                    </a:lnTo>
                    <a:lnTo>
                      <a:pt x="34" y="430"/>
                    </a:lnTo>
                    <a:lnTo>
                      <a:pt x="35" y="430"/>
                    </a:lnTo>
                    <a:lnTo>
                      <a:pt x="34" y="426"/>
                    </a:lnTo>
                    <a:lnTo>
                      <a:pt x="37" y="426"/>
                    </a:lnTo>
                    <a:lnTo>
                      <a:pt x="39" y="428"/>
                    </a:lnTo>
                    <a:lnTo>
                      <a:pt x="39" y="428"/>
                    </a:lnTo>
                    <a:lnTo>
                      <a:pt x="41" y="434"/>
                    </a:lnTo>
                    <a:lnTo>
                      <a:pt x="45" y="432"/>
                    </a:lnTo>
                    <a:lnTo>
                      <a:pt x="45" y="432"/>
                    </a:lnTo>
                    <a:lnTo>
                      <a:pt x="49" y="430"/>
                    </a:lnTo>
                    <a:lnTo>
                      <a:pt x="50" y="426"/>
                    </a:lnTo>
                    <a:lnTo>
                      <a:pt x="54" y="426"/>
                    </a:lnTo>
                    <a:lnTo>
                      <a:pt x="54" y="424"/>
                    </a:lnTo>
                    <a:lnTo>
                      <a:pt x="56" y="424"/>
                    </a:lnTo>
                    <a:lnTo>
                      <a:pt x="56" y="428"/>
                    </a:lnTo>
                    <a:lnTo>
                      <a:pt x="58" y="428"/>
                    </a:lnTo>
                    <a:lnTo>
                      <a:pt x="66" y="420"/>
                    </a:lnTo>
                    <a:lnTo>
                      <a:pt x="66" y="420"/>
                    </a:lnTo>
                    <a:lnTo>
                      <a:pt x="62" y="417"/>
                    </a:lnTo>
                    <a:lnTo>
                      <a:pt x="67" y="420"/>
                    </a:lnTo>
                    <a:lnTo>
                      <a:pt x="71" y="415"/>
                    </a:lnTo>
                    <a:lnTo>
                      <a:pt x="71" y="415"/>
                    </a:lnTo>
                    <a:lnTo>
                      <a:pt x="73" y="413"/>
                    </a:lnTo>
                    <a:lnTo>
                      <a:pt x="73" y="409"/>
                    </a:lnTo>
                    <a:lnTo>
                      <a:pt x="75" y="407"/>
                    </a:lnTo>
                    <a:lnTo>
                      <a:pt x="79" y="407"/>
                    </a:lnTo>
                    <a:lnTo>
                      <a:pt x="79" y="405"/>
                    </a:lnTo>
                    <a:lnTo>
                      <a:pt x="75" y="402"/>
                    </a:lnTo>
                    <a:lnTo>
                      <a:pt x="79" y="398"/>
                    </a:lnTo>
                    <a:lnTo>
                      <a:pt x="75" y="396"/>
                    </a:lnTo>
                    <a:lnTo>
                      <a:pt x="71" y="392"/>
                    </a:lnTo>
                    <a:lnTo>
                      <a:pt x="71" y="390"/>
                    </a:lnTo>
                    <a:lnTo>
                      <a:pt x="73" y="392"/>
                    </a:lnTo>
                    <a:lnTo>
                      <a:pt x="75" y="396"/>
                    </a:lnTo>
                    <a:lnTo>
                      <a:pt x="79" y="400"/>
                    </a:lnTo>
                    <a:lnTo>
                      <a:pt x="79" y="402"/>
                    </a:lnTo>
                    <a:lnTo>
                      <a:pt x="81" y="402"/>
                    </a:lnTo>
                    <a:lnTo>
                      <a:pt x="81" y="403"/>
                    </a:lnTo>
                    <a:lnTo>
                      <a:pt x="84" y="405"/>
                    </a:lnTo>
                    <a:lnTo>
                      <a:pt x="86" y="403"/>
                    </a:lnTo>
                    <a:lnTo>
                      <a:pt x="84" y="402"/>
                    </a:lnTo>
                    <a:lnTo>
                      <a:pt x="84" y="402"/>
                    </a:lnTo>
                    <a:lnTo>
                      <a:pt x="84" y="398"/>
                    </a:lnTo>
                    <a:lnTo>
                      <a:pt x="88" y="402"/>
                    </a:lnTo>
                    <a:lnTo>
                      <a:pt x="88" y="402"/>
                    </a:lnTo>
                    <a:lnTo>
                      <a:pt x="92" y="398"/>
                    </a:lnTo>
                    <a:lnTo>
                      <a:pt x="94" y="396"/>
                    </a:lnTo>
                    <a:lnTo>
                      <a:pt x="94" y="392"/>
                    </a:lnTo>
                    <a:lnTo>
                      <a:pt x="90" y="390"/>
                    </a:lnTo>
                    <a:lnTo>
                      <a:pt x="88" y="387"/>
                    </a:lnTo>
                    <a:lnTo>
                      <a:pt x="90" y="387"/>
                    </a:lnTo>
                    <a:lnTo>
                      <a:pt x="92" y="385"/>
                    </a:lnTo>
                    <a:lnTo>
                      <a:pt x="94" y="385"/>
                    </a:lnTo>
                    <a:lnTo>
                      <a:pt x="94" y="383"/>
                    </a:lnTo>
                    <a:lnTo>
                      <a:pt x="92" y="381"/>
                    </a:lnTo>
                    <a:lnTo>
                      <a:pt x="92" y="377"/>
                    </a:lnTo>
                    <a:lnTo>
                      <a:pt x="96" y="375"/>
                    </a:lnTo>
                    <a:lnTo>
                      <a:pt x="98" y="379"/>
                    </a:lnTo>
                    <a:lnTo>
                      <a:pt x="96" y="381"/>
                    </a:lnTo>
                    <a:lnTo>
                      <a:pt x="98" y="387"/>
                    </a:lnTo>
                    <a:lnTo>
                      <a:pt x="96" y="390"/>
                    </a:lnTo>
                    <a:lnTo>
                      <a:pt x="98" y="392"/>
                    </a:lnTo>
                    <a:lnTo>
                      <a:pt x="99" y="396"/>
                    </a:lnTo>
                    <a:lnTo>
                      <a:pt x="103" y="398"/>
                    </a:lnTo>
                    <a:lnTo>
                      <a:pt x="105" y="398"/>
                    </a:lnTo>
                    <a:lnTo>
                      <a:pt x="109" y="400"/>
                    </a:lnTo>
                    <a:lnTo>
                      <a:pt x="109" y="402"/>
                    </a:lnTo>
                    <a:lnTo>
                      <a:pt x="109" y="402"/>
                    </a:lnTo>
                    <a:lnTo>
                      <a:pt x="111" y="407"/>
                    </a:lnTo>
                    <a:lnTo>
                      <a:pt x="113" y="402"/>
                    </a:lnTo>
                    <a:lnTo>
                      <a:pt x="113" y="392"/>
                    </a:lnTo>
                    <a:lnTo>
                      <a:pt x="109" y="387"/>
                    </a:lnTo>
                    <a:lnTo>
                      <a:pt x="111" y="383"/>
                    </a:lnTo>
                    <a:lnTo>
                      <a:pt x="114" y="383"/>
                    </a:lnTo>
                    <a:lnTo>
                      <a:pt x="113" y="379"/>
                    </a:lnTo>
                    <a:lnTo>
                      <a:pt x="113" y="375"/>
                    </a:lnTo>
                    <a:lnTo>
                      <a:pt x="118" y="375"/>
                    </a:lnTo>
                    <a:lnTo>
                      <a:pt x="120" y="371"/>
                    </a:lnTo>
                    <a:lnTo>
                      <a:pt x="120" y="368"/>
                    </a:lnTo>
                    <a:lnTo>
                      <a:pt x="124" y="362"/>
                    </a:lnTo>
                    <a:lnTo>
                      <a:pt x="120" y="360"/>
                    </a:lnTo>
                    <a:lnTo>
                      <a:pt x="118" y="351"/>
                    </a:lnTo>
                    <a:lnTo>
                      <a:pt x="114" y="343"/>
                    </a:lnTo>
                    <a:lnTo>
                      <a:pt x="116" y="341"/>
                    </a:lnTo>
                    <a:lnTo>
                      <a:pt x="124" y="338"/>
                    </a:lnTo>
                    <a:lnTo>
                      <a:pt x="124" y="332"/>
                    </a:lnTo>
                    <a:lnTo>
                      <a:pt x="126" y="328"/>
                    </a:lnTo>
                    <a:lnTo>
                      <a:pt x="120" y="321"/>
                    </a:lnTo>
                    <a:lnTo>
                      <a:pt x="114" y="319"/>
                    </a:lnTo>
                    <a:lnTo>
                      <a:pt x="114" y="311"/>
                    </a:lnTo>
                    <a:lnTo>
                      <a:pt x="114" y="304"/>
                    </a:lnTo>
                    <a:lnTo>
                      <a:pt x="114" y="298"/>
                    </a:lnTo>
                    <a:lnTo>
                      <a:pt x="113" y="292"/>
                    </a:lnTo>
                    <a:lnTo>
                      <a:pt x="114" y="287"/>
                    </a:lnTo>
                    <a:lnTo>
                      <a:pt x="113" y="277"/>
                    </a:lnTo>
                    <a:lnTo>
                      <a:pt x="111" y="268"/>
                    </a:lnTo>
                    <a:lnTo>
                      <a:pt x="113" y="258"/>
                    </a:lnTo>
                    <a:lnTo>
                      <a:pt x="116" y="253"/>
                    </a:lnTo>
                    <a:lnTo>
                      <a:pt x="120" y="249"/>
                    </a:lnTo>
                    <a:lnTo>
                      <a:pt x="126" y="249"/>
                    </a:lnTo>
                    <a:lnTo>
                      <a:pt x="133" y="249"/>
                    </a:lnTo>
                    <a:lnTo>
                      <a:pt x="133" y="247"/>
                    </a:lnTo>
                    <a:lnTo>
                      <a:pt x="133" y="240"/>
                    </a:lnTo>
                    <a:lnTo>
                      <a:pt x="133" y="236"/>
                    </a:lnTo>
                    <a:lnTo>
                      <a:pt x="133" y="232"/>
                    </a:lnTo>
                    <a:lnTo>
                      <a:pt x="139" y="215"/>
                    </a:lnTo>
                    <a:lnTo>
                      <a:pt x="139" y="208"/>
                    </a:lnTo>
                    <a:lnTo>
                      <a:pt x="141" y="198"/>
                    </a:lnTo>
                    <a:lnTo>
                      <a:pt x="143" y="194"/>
                    </a:lnTo>
                    <a:lnTo>
                      <a:pt x="143" y="189"/>
                    </a:lnTo>
                    <a:lnTo>
                      <a:pt x="141" y="185"/>
                    </a:lnTo>
                    <a:lnTo>
                      <a:pt x="141" y="183"/>
                    </a:lnTo>
                    <a:lnTo>
                      <a:pt x="146" y="179"/>
                    </a:lnTo>
                    <a:lnTo>
                      <a:pt x="154" y="177"/>
                    </a:lnTo>
                    <a:lnTo>
                      <a:pt x="154" y="176"/>
                    </a:lnTo>
                    <a:lnTo>
                      <a:pt x="154" y="172"/>
                    </a:lnTo>
                    <a:lnTo>
                      <a:pt x="160" y="164"/>
                    </a:lnTo>
                    <a:lnTo>
                      <a:pt x="167" y="155"/>
                    </a:lnTo>
                    <a:lnTo>
                      <a:pt x="167" y="151"/>
                    </a:lnTo>
                    <a:lnTo>
                      <a:pt x="167" y="145"/>
                    </a:lnTo>
                    <a:lnTo>
                      <a:pt x="163" y="144"/>
                    </a:lnTo>
                    <a:lnTo>
                      <a:pt x="163" y="134"/>
                    </a:lnTo>
                    <a:lnTo>
                      <a:pt x="167" y="134"/>
                    </a:lnTo>
                    <a:lnTo>
                      <a:pt x="167" y="130"/>
                    </a:lnTo>
                    <a:lnTo>
                      <a:pt x="169" y="125"/>
                    </a:lnTo>
                    <a:lnTo>
                      <a:pt x="171" y="125"/>
                    </a:lnTo>
                    <a:lnTo>
                      <a:pt x="175" y="119"/>
                    </a:lnTo>
                    <a:lnTo>
                      <a:pt x="178" y="115"/>
                    </a:lnTo>
                    <a:lnTo>
                      <a:pt x="182" y="117"/>
                    </a:lnTo>
                    <a:lnTo>
                      <a:pt x="184" y="119"/>
                    </a:lnTo>
                    <a:lnTo>
                      <a:pt x="188" y="119"/>
                    </a:lnTo>
                    <a:lnTo>
                      <a:pt x="188" y="117"/>
                    </a:lnTo>
                    <a:lnTo>
                      <a:pt x="188" y="113"/>
                    </a:lnTo>
                    <a:lnTo>
                      <a:pt x="188" y="110"/>
                    </a:lnTo>
                    <a:lnTo>
                      <a:pt x="188" y="108"/>
                    </a:lnTo>
                    <a:lnTo>
                      <a:pt x="192" y="106"/>
                    </a:lnTo>
                    <a:lnTo>
                      <a:pt x="188" y="104"/>
                    </a:lnTo>
                    <a:lnTo>
                      <a:pt x="188" y="100"/>
                    </a:lnTo>
                    <a:lnTo>
                      <a:pt x="194" y="100"/>
                    </a:lnTo>
                    <a:lnTo>
                      <a:pt x="199" y="100"/>
                    </a:lnTo>
                    <a:lnTo>
                      <a:pt x="205" y="100"/>
                    </a:lnTo>
                    <a:lnTo>
                      <a:pt x="209" y="104"/>
                    </a:lnTo>
                    <a:lnTo>
                      <a:pt x="212" y="104"/>
                    </a:lnTo>
                    <a:lnTo>
                      <a:pt x="216" y="104"/>
                    </a:lnTo>
                    <a:lnTo>
                      <a:pt x="216" y="104"/>
                    </a:lnTo>
                    <a:lnTo>
                      <a:pt x="218" y="106"/>
                    </a:lnTo>
                    <a:lnTo>
                      <a:pt x="218" y="100"/>
                    </a:lnTo>
                    <a:lnTo>
                      <a:pt x="216" y="96"/>
                    </a:lnTo>
                    <a:lnTo>
                      <a:pt x="216" y="91"/>
                    </a:lnTo>
                    <a:lnTo>
                      <a:pt x="220" y="91"/>
                    </a:lnTo>
                    <a:lnTo>
                      <a:pt x="218" y="87"/>
                    </a:lnTo>
                    <a:lnTo>
                      <a:pt x="216" y="85"/>
                    </a:lnTo>
                    <a:lnTo>
                      <a:pt x="216" y="81"/>
                    </a:lnTo>
                    <a:lnTo>
                      <a:pt x="220" y="83"/>
                    </a:lnTo>
                    <a:lnTo>
                      <a:pt x="224" y="81"/>
                    </a:lnTo>
                    <a:lnTo>
                      <a:pt x="226" y="81"/>
                    </a:lnTo>
                    <a:lnTo>
                      <a:pt x="226" y="81"/>
                    </a:lnTo>
                    <a:lnTo>
                      <a:pt x="226" y="79"/>
                    </a:lnTo>
                    <a:lnTo>
                      <a:pt x="227" y="81"/>
                    </a:lnTo>
                    <a:lnTo>
                      <a:pt x="229" y="79"/>
                    </a:lnTo>
                    <a:lnTo>
                      <a:pt x="227" y="78"/>
                    </a:lnTo>
                    <a:lnTo>
                      <a:pt x="229" y="76"/>
                    </a:lnTo>
                    <a:lnTo>
                      <a:pt x="231" y="72"/>
                    </a:lnTo>
                    <a:lnTo>
                      <a:pt x="235" y="72"/>
                    </a:lnTo>
                    <a:lnTo>
                      <a:pt x="237" y="76"/>
                    </a:lnTo>
                    <a:lnTo>
                      <a:pt x="246" y="83"/>
                    </a:lnTo>
                    <a:lnTo>
                      <a:pt x="246" y="87"/>
                    </a:lnTo>
                    <a:lnTo>
                      <a:pt x="250" y="91"/>
                    </a:lnTo>
                    <a:lnTo>
                      <a:pt x="256" y="95"/>
                    </a:lnTo>
                    <a:lnTo>
                      <a:pt x="261" y="95"/>
                    </a:lnTo>
                    <a:lnTo>
                      <a:pt x="267" y="89"/>
                    </a:lnTo>
                    <a:lnTo>
                      <a:pt x="271" y="87"/>
                    </a:lnTo>
                    <a:lnTo>
                      <a:pt x="274" y="87"/>
                    </a:lnTo>
                    <a:lnTo>
                      <a:pt x="280" y="91"/>
                    </a:lnTo>
                    <a:lnTo>
                      <a:pt x="284" y="91"/>
                    </a:lnTo>
                    <a:lnTo>
                      <a:pt x="288" y="87"/>
                    </a:lnTo>
                    <a:lnTo>
                      <a:pt x="290" y="87"/>
                    </a:lnTo>
                    <a:lnTo>
                      <a:pt x="291" y="83"/>
                    </a:lnTo>
                    <a:lnTo>
                      <a:pt x="295" y="83"/>
                    </a:lnTo>
                    <a:lnTo>
                      <a:pt x="297" y="81"/>
                    </a:lnTo>
                    <a:lnTo>
                      <a:pt x="299" y="79"/>
                    </a:lnTo>
                    <a:lnTo>
                      <a:pt x="297" y="76"/>
                    </a:lnTo>
                    <a:lnTo>
                      <a:pt x="295" y="70"/>
                    </a:lnTo>
                    <a:lnTo>
                      <a:pt x="297" y="61"/>
                    </a:lnTo>
                    <a:lnTo>
                      <a:pt x="299" y="59"/>
                    </a:lnTo>
                    <a:lnTo>
                      <a:pt x="297" y="55"/>
                    </a:lnTo>
                    <a:lnTo>
                      <a:pt x="299" y="53"/>
                    </a:lnTo>
                    <a:lnTo>
                      <a:pt x="301" y="49"/>
                    </a:lnTo>
                    <a:lnTo>
                      <a:pt x="301" y="47"/>
                    </a:lnTo>
                    <a:lnTo>
                      <a:pt x="305" y="46"/>
                    </a:lnTo>
                    <a:lnTo>
                      <a:pt x="310" y="46"/>
                    </a:lnTo>
                    <a:lnTo>
                      <a:pt x="314" y="46"/>
                    </a:lnTo>
                    <a:lnTo>
                      <a:pt x="314" y="46"/>
                    </a:lnTo>
                    <a:lnTo>
                      <a:pt x="316" y="42"/>
                    </a:lnTo>
                    <a:lnTo>
                      <a:pt x="325" y="42"/>
                    </a:lnTo>
                    <a:lnTo>
                      <a:pt x="329" y="46"/>
                    </a:lnTo>
                    <a:lnTo>
                      <a:pt x="331" y="49"/>
                    </a:lnTo>
                    <a:lnTo>
                      <a:pt x="335" y="51"/>
                    </a:lnTo>
                    <a:lnTo>
                      <a:pt x="338" y="53"/>
                    </a:lnTo>
                    <a:lnTo>
                      <a:pt x="346" y="53"/>
                    </a:lnTo>
                    <a:lnTo>
                      <a:pt x="346" y="57"/>
                    </a:lnTo>
                    <a:lnTo>
                      <a:pt x="350" y="61"/>
                    </a:lnTo>
                    <a:lnTo>
                      <a:pt x="350" y="66"/>
                    </a:lnTo>
                    <a:lnTo>
                      <a:pt x="346" y="70"/>
                    </a:lnTo>
                    <a:lnTo>
                      <a:pt x="346" y="78"/>
                    </a:lnTo>
                    <a:lnTo>
                      <a:pt x="346" y="78"/>
                    </a:lnTo>
                    <a:lnTo>
                      <a:pt x="346" y="78"/>
                    </a:lnTo>
                    <a:lnTo>
                      <a:pt x="346" y="78"/>
                    </a:lnTo>
                    <a:close/>
                    <a:moveTo>
                      <a:pt x="15" y="398"/>
                    </a:moveTo>
                    <a:lnTo>
                      <a:pt x="17" y="402"/>
                    </a:lnTo>
                    <a:lnTo>
                      <a:pt x="15" y="402"/>
                    </a:lnTo>
                    <a:lnTo>
                      <a:pt x="15" y="398"/>
                    </a:lnTo>
                    <a:lnTo>
                      <a:pt x="15" y="398"/>
                    </a:lnTo>
                    <a:lnTo>
                      <a:pt x="15" y="398"/>
                    </a:lnTo>
                    <a:lnTo>
                      <a:pt x="15" y="398"/>
                    </a:lnTo>
                    <a:close/>
                    <a:moveTo>
                      <a:pt x="5" y="379"/>
                    </a:moveTo>
                    <a:lnTo>
                      <a:pt x="5" y="379"/>
                    </a:lnTo>
                    <a:lnTo>
                      <a:pt x="9" y="377"/>
                    </a:lnTo>
                    <a:lnTo>
                      <a:pt x="11" y="379"/>
                    </a:lnTo>
                    <a:lnTo>
                      <a:pt x="9" y="383"/>
                    </a:lnTo>
                    <a:lnTo>
                      <a:pt x="5" y="379"/>
                    </a:lnTo>
                    <a:lnTo>
                      <a:pt x="5" y="379"/>
                    </a:lnTo>
                    <a:lnTo>
                      <a:pt x="5" y="379"/>
                    </a:lnTo>
                    <a:lnTo>
                      <a:pt x="5" y="379"/>
                    </a:lnTo>
                    <a:close/>
                    <a:moveTo>
                      <a:pt x="13" y="371"/>
                    </a:moveTo>
                    <a:lnTo>
                      <a:pt x="13" y="373"/>
                    </a:lnTo>
                    <a:lnTo>
                      <a:pt x="11" y="373"/>
                    </a:lnTo>
                    <a:lnTo>
                      <a:pt x="13" y="371"/>
                    </a:lnTo>
                    <a:lnTo>
                      <a:pt x="13" y="371"/>
                    </a:lnTo>
                    <a:lnTo>
                      <a:pt x="13" y="371"/>
                    </a:lnTo>
                    <a:lnTo>
                      <a:pt x="13" y="371"/>
                    </a:lnTo>
                    <a:close/>
                    <a:moveTo>
                      <a:pt x="9" y="370"/>
                    </a:moveTo>
                    <a:lnTo>
                      <a:pt x="9" y="371"/>
                    </a:lnTo>
                    <a:lnTo>
                      <a:pt x="5" y="371"/>
                    </a:lnTo>
                    <a:lnTo>
                      <a:pt x="9" y="370"/>
                    </a:lnTo>
                    <a:lnTo>
                      <a:pt x="9" y="370"/>
                    </a:lnTo>
                    <a:lnTo>
                      <a:pt x="9" y="370"/>
                    </a:lnTo>
                    <a:lnTo>
                      <a:pt x="9" y="370"/>
                    </a:lnTo>
                    <a:close/>
                    <a:moveTo>
                      <a:pt x="5" y="356"/>
                    </a:moveTo>
                    <a:lnTo>
                      <a:pt x="0" y="353"/>
                    </a:lnTo>
                    <a:lnTo>
                      <a:pt x="5" y="351"/>
                    </a:lnTo>
                    <a:lnTo>
                      <a:pt x="5" y="351"/>
                    </a:lnTo>
                    <a:lnTo>
                      <a:pt x="5" y="356"/>
                    </a:lnTo>
                    <a:lnTo>
                      <a:pt x="5" y="356"/>
                    </a:lnTo>
                    <a:lnTo>
                      <a:pt x="5" y="356"/>
                    </a:lnTo>
                    <a:lnTo>
                      <a:pt x="5" y="356"/>
                    </a:lnTo>
                    <a:close/>
                    <a:moveTo>
                      <a:pt x="2" y="358"/>
                    </a:moveTo>
                    <a:lnTo>
                      <a:pt x="5" y="358"/>
                    </a:lnTo>
                    <a:lnTo>
                      <a:pt x="5" y="360"/>
                    </a:lnTo>
                    <a:lnTo>
                      <a:pt x="2" y="358"/>
                    </a:lnTo>
                    <a:lnTo>
                      <a:pt x="2" y="358"/>
                    </a:lnTo>
                    <a:lnTo>
                      <a:pt x="2" y="358"/>
                    </a:lnTo>
                    <a:lnTo>
                      <a:pt x="2" y="358"/>
                    </a:lnTo>
                    <a:close/>
                    <a:moveTo>
                      <a:pt x="9" y="362"/>
                    </a:moveTo>
                    <a:lnTo>
                      <a:pt x="9" y="362"/>
                    </a:lnTo>
                    <a:lnTo>
                      <a:pt x="11" y="366"/>
                    </a:lnTo>
                    <a:lnTo>
                      <a:pt x="11" y="368"/>
                    </a:lnTo>
                    <a:lnTo>
                      <a:pt x="9" y="362"/>
                    </a:lnTo>
                    <a:lnTo>
                      <a:pt x="9" y="362"/>
                    </a:lnTo>
                    <a:lnTo>
                      <a:pt x="9" y="362"/>
                    </a:lnTo>
                    <a:lnTo>
                      <a:pt x="9" y="362"/>
                    </a:lnTo>
                    <a:close/>
                    <a:moveTo>
                      <a:pt x="5" y="366"/>
                    </a:moveTo>
                    <a:lnTo>
                      <a:pt x="0" y="362"/>
                    </a:lnTo>
                    <a:lnTo>
                      <a:pt x="5" y="362"/>
                    </a:lnTo>
                    <a:lnTo>
                      <a:pt x="5" y="366"/>
                    </a:lnTo>
                    <a:lnTo>
                      <a:pt x="5" y="366"/>
                    </a:lnTo>
                    <a:lnTo>
                      <a:pt x="5" y="366"/>
                    </a:lnTo>
                    <a:lnTo>
                      <a:pt x="5" y="366"/>
                    </a:lnTo>
                    <a:close/>
                    <a:moveTo>
                      <a:pt x="0" y="345"/>
                    </a:moveTo>
                    <a:lnTo>
                      <a:pt x="0" y="347"/>
                    </a:lnTo>
                    <a:lnTo>
                      <a:pt x="0" y="349"/>
                    </a:lnTo>
                    <a:lnTo>
                      <a:pt x="2" y="347"/>
                    </a:lnTo>
                    <a:lnTo>
                      <a:pt x="0" y="345"/>
                    </a:lnTo>
                    <a:lnTo>
                      <a:pt x="0" y="345"/>
                    </a:lnTo>
                    <a:lnTo>
                      <a:pt x="0" y="345"/>
                    </a:lnTo>
                    <a:lnTo>
                      <a:pt x="0" y="345"/>
                    </a:lnTo>
                    <a:close/>
                    <a:moveTo>
                      <a:pt x="0" y="319"/>
                    </a:moveTo>
                    <a:lnTo>
                      <a:pt x="5" y="321"/>
                    </a:lnTo>
                    <a:lnTo>
                      <a:pt x="0" y="322"/>
                    </a:lnTo>
                    <a:lnTo>
                      <a:pt x="0" y="319"/>
                    </a:lnTo>
                    <a:lnTo>
                      <a:pt x="0" y="319"/>
                    </a:lnTo>
                    <a:lnTo>
                      <a:pt x="0" y="319"/>
                    </a:lnTo>
                    <a:lnTo>
                      <a:pt x="0" y="319"/>
                    </a:lnTo>
                    <a:close/>
                    <a:moveTo>
                      <a:pt x="0" y="311"/>
                    </a:moveTo>
                    <a:lnTo>
                      <a:pt x="5" y="315"/>
                    </a:lnTo>
                    <a:lnTo>
                      <a:pt x="2" y="317"/>
                    </a:lnTo>
                    <a:lnTo>
                      <a:pt x="0" y="311"/>
                    </a:lnTo>
                    <a:lnTo>
                      <a:pt x="0" y="311"/>
                    </a:lnTo>
                    <a:lnTo>
                      <a:pt x="0" y="311"/>
                    </a:lnTo>
                    <a:lnTo>
                      <a:pt x="0" y="311"/>
                    </a:lnTo>
                    <a:close/>
                    <a:moveTo>
                      <a:pt x="11" y="304"/>
                    </a:moveTo>
                    <a:lnTo>
                      <a:pt x="13" y="307"/>
                    </a:lnTo>
                    <a:lnTo>
                      <a:pt x="9" y="307"/>
                    </a:lnTo>
                    <a:lnTo>
                      <a:pt x="11" y="304"/>
                    </a:lnTo>
                    <a:lnTo>
                      <a:pt x="11" y="304"/>
                    </a:lnTo>
                    <a:lnTo>
                      <a:pt x="11" y="304"/>
                    </a:lnTo>
                    <a:lnTo>
                      <a:pt x="11" y="304"/>
                    </a:lnTo>
                    <a:close/>
                    <a:moveTo>
                      <a:pt x="15" y="302"/>
                    </a:moveTo>
                    <a:lnTo>
                      <a:pt x="17" y="302"/>
                    </a:lnTo>
                    <a:lnTo>
                      <a:pt x="17" y="307"/>
                    </a:lnTo>
                    <a:lnTo>
                      <a:pt x="15" y="307"/>
                    </a:lnTo>
                    <a:lnTo>
                      <a:pt x="15" y="302"/>
                    </a:lnTo>
                    <a:lnTo>
                      <a:pt x="15" y="302"/>
                    </a:lnTo>
                    <a:lnTo>
                      <a:pt x="15" y="302"/>
                    </a:lnTo>
                    <a:lnTo>
                      <a:pt x="15" y="302"/>
                    </a:lnTo>
                    <a:close/>
                    <a:moveTo>
                      <a:pt x="49" y="279"/>
                    </a:moveTo>
                    <a:lnTo>
                      <a:pt x="49" y="279"/>
                    </a:lnTo>
                    <a:lnTo>
                      <a:pt x="50" y="277"/>
                    </a:lnTo>
                    <a:lnTo>
                      <a:pt x="50" y="279"/>
                    </a:lnTo>
                    <a:lnTo>
                      <a:pt x="50" y="281"/>
                    </a:lnTo>
                    <a:lnTo>
                      <a:pt x="49" y="279"/>
                    </a:lnTo>
                    <a:lnTo>
                      <a:pt x="49" y="279"/>
                    </a:lnTo>
                    <a:lnTo>
                      <a:pt x="49" y="279"/>
                    </a:lnTo>
                    <a:lnTo>
                      <a:pt x="49" y="279"/>
                    </a:lnTo>
                    <a:close/>
                    <a:moveTo>
                      <a:pt x="49" y="274"/>
                    </a:moveTo>
                    <a:lnTo>
                      <a:pt x="49" y="274"/>
                    </a:lnTo>
                    <a:lnTo>
                      <a:pt x="49" y="274"/>
                    </a:lnTo>
                    <a:lnTo>
                      <a:pt x="45" y="272"/>
                    </a:lnTo>
                    <a:lnTo>
                      <a:pt x="49" y="272"/>
                    </a:lnTo>
                    <a:lnTo>
                      <a:pt x="49" y="274"/>
                    </a:lnTo>
                    <a:lnTo>
                      <a:pt x="49" y="274"/>
                    </a:lnTo>
                    <a:lnTo>
                      <a:pt x="49" y="274"/>
                    </a:lnTo>
                    <a:lnTo>
                      <a:pt x="49" y="274"/>
                    </a:lnTo>
                    <a:close/>
                    <a:moveTo>
                      <a:pt x="50" y="266"/>
                    </a:moveTo>
                    <a:lnTo>
                      <a:pt x="58" y="260"/>
                    </a:lnTo>
                    <a:lnTo>
                      <a:pt x="60" y="262"/>
                    </a:lnTo>
                    <a:lnTo>
                      <a:pt x="56" y="266"/>
                    </a:lnTo>
                    <a:lnTo>
                      <a:pt x="50" y="266"/>
                    </a:lnTo>
                    <a:lnTo>
                      <a:pt x="50" y="266"/>
                    </a:lnTo>
                    <a:lnTo>
                      <a:pt x="50" y="266"/>
                    </a:lnTo>
                    <a:lnTo>
                      <a:pt x="50" y="266"/>
                    </a:lnTo>
                    <a:close/>
                    <a:moveTo>
                      <a:pt x="54" y="274"/>
                    </a:moveTo>
                    <a:lnTo>
                      <a:pt x="54" y="270"/>
                    </a:lnTo>
                    <a:lnTo>
                      <a:pt x="58" y="270"/>
                    </a:lnTo>
                    <a:lnTo>
                      <a:pt x="60" y="268"/>
                    </a:lnTo>
                    <a:lnTo>
                      <a:pt x="62" y="266"/>
                    </a:lnTo>
                    <a:lnTo>
                      <a:pt x="66" y="270"/>
                    </a:lnTo>
                    <a:lnTo>
                      <a:pt x="62" y="272"/>
                    </a:lnTo>
                    <a:lnTo>
                      <a:pt x="58" y="272"/>
                    </a:lnTo>
                    <a:lnTo>
                      <a:pt x="54" y="274"/>
                    </a:lnTo>
                    <a:lnTo>
                      <a:pt x="54" y="274"/>
                    </a:lnTo>
                    <a:lnTo>
                      <a:pt x="54" y="274"/>
                    </a:lnTo>
                    <a:lnTo>
                      <a:pt x="54" y="274"/>
                    </a:lnTo>
                    <a:lnTo>
                      <a:pt x="54" y="274"/>
                    </a:lnTo>
                    <a:close/>
                    <a:moveTo>
                      <a:pt x="99" y="219"/>
                    </a:moveTo>
                    <a:lnTo>
                      <a:pt x="103" y="219"/>
                    </a:lnTo>
                    <a:lnTo>
                      <a:pt x="105" y="215"/>
                    </a:lnTo>
                    <a:lnTo>
                      <a:pt x="103" y="223"/>
                    </a:lnTo>
                    <a:lnTo>
                      <a:pt x="99" y="219"/>
                    </a:lnTo>
                    <a:lnTo>
                      <a:pt x="99" y="219"/>
                    </a:lnTo>
                    <a:lnTo>
                      <a:pt x="99" y="219"/>
                    </a:lnTo>
                    <a:lnTo>
                      <a:pt x="99" y="219"/>
                    </a:lnTo>
                    <a:close/>
                    <a:moveTo>
                      <a:pt x="98" y="228"/>
                    </a:moveTo>
                    <a:lnTo>
                      <a:pt x="96" y="226"/>
                    </a:lnTo>
                    <a:lnTo>
                      <a:pt x="92" y="226"/>
                    </a:lnTo>
                    <a:lnTo>
                      <a:pt x="96" y="223"/>
                    </a:lnTo>
                    <a:lnTo>
                      <a:pt x="99" y="223"/>
                    </a:lnTo>
                    <a:lnTo>
                      <a:pt x="103" y="223"/>
                    </a:lnTo>
                    <a:lnTo>
                      <a:pt x="99" y="226"/>
                    </a:lnTo>
                    <a:lnTo>
                      <a:pt x="98" y="228"/>
                    </a:lnTo>
                    <a:lnTo>
                      <a:pt x="98" y="228"/>
                    </a:lnTo>
                    <a:lnTo>
                      <a:pt x="98" y="228"/>
                    </a:lnTo>
                    <a:lnTo>
                      <a:pt x="98" y="228"/>
                    </a:lnTo>
                    <a:close/>
                    <a:moveTo>
                      <a:pt x="105" y="198"/>
                    </a:moveTo>
                    <a:lnTo>
                      <a:pt x="109" y="198"/>
                    </a:lnTo>
                    <a:lnTo>
                      <a:pt x="109" y="202"/>
                    </a:lnTo>
                    <a:lnTo>
                      <a:pt x="105" y="204"/>
                    </a:lnTo>
                    <a:lnTo>
                      <a:pt x="105" y="200"/>
                    </a:lnTo>
                    <a:lnTo>
                      <a:pt x="105" y="198"/>
                    </a:lnTo>
                    <a:lnTo>
                      <a:pt x="105" y="198"/>
                    </a:lnTo>
                    <a:lnTo>
                      <a:pt x="105" y="198"/>
                    </a:lnTo>
                    <a:lnTo>
                      <a:pt x="105" y="198"/>
                    </a:lnTo>
                    <a:close/>
                    <a:moveTo>
                      <a:pt x="113" y="191"/>
                    </a:moveTo>
                    <a:lnTo>
                      <a:pt x="114" y="189"/>
                    </a:lnTo>
                    <a:lnTo>
                      <a:pt x="118" y="189"/>
                    </a:lnTo>
                    <a:lnTo>
                      <a:pt x="113" y="193"/>
                    </a:lnTo>
                    <a:lnTo>
                      <a:pt x="113" y="191"/>
                    </a:lnTo>
                    <a:lnTo>
                      <a:pt x="113" y="191"/>
                    </a:lnTo>
                    <a:lnTo>
                      <a:pt x="113" y="191"/>
                    </a:lnTo>
                    <a:lnTo>
                      <a:pt x="113" y="191"/>
                    </a:lnTo>
                    <a:close/>
                    <a:moveTo>
                      <a:pt x="111" y="185"/>
                    </a:moveTo>
                    <a:lnTo>
                      <a:pt x="113" y="181"/>
                    </a:lnTo>
                    <a:lnTo>
                      <a:pt x="114" y="185"/>
                    </a:lnTo>
                    <a:lnTo>
                      <a:pt x="111" y="189"/>
                    </a:lnTo>
                    <a:lnTo>
                      <a:pt x="111" y="185"/>
                    </a:lnTo>
                    <a:lnTo>
                      <a:pt x="111" y="185"/>
                    </a:lnTo>
                    <a:lnTo>
                      <a:pt x="111" y="185"/>
                    </a:lnTo>
                    <a:lnTo>
                      <a:pt x="111" y="185"/>
                    </a:lnTo>
                    <a:close/>
                    <a:moveTo>
                      <a:pt x="133" y="151"/>
                    </a:moveTo>
                    <a:lnTo>
                      <a:pt x="133" y="149"/>
                    </a:lnTo>
                    <a:lnTo>
                      <a:pt x="135" y="149"/>
                    </a:lnTo>
                    <a:lnTo>
                      <a:pt x="133" y="153"/>
                    </a:lnTo>
                    <a:lnTo>
                      <a:pt x="133" y="151"/>
                    </a:lnTo>
                    <a:lnTo>
                      <a:pt x="133" y="151"/>
                    </a:lnTo>
                    <a:lnTo>
                      <a:pt x="133" y="151"/>
                    </a:lnTo>
                    <a:lnTo>
                      <a:pt x="133" y="151"/>
                    </a:lnTo>
                    <a:close/>
                    <a:moveTo>
                      <a:pt x="111" y="130"/>
                    </a:moveTo>
                    <a:lnTo>
                      <a:pt x="113" y="134"/>
                    </a:lnTo>
                    <a:lnTo>
                      <a:pt x="111" y="136"/>
                    </a:lnTo>
                    <a:lnTo>
                      <a:pt x="109" y="134"/>
                    </a:lnTo>
                    <a:lnTo>
                      <a:pt x="111" y="130"/>
                    </a:lnTo>
                    <a:lnTo>
                      <a:pt x="111" y="130"/>
                    </a:lnTo>
                    <a:lnTo>
                      <a:pt x="111" y="130"/>
                    </a:lnTo>
                    <a:lnTo>
                      <a:pt x="111" y="130"/>
                    </a:lnTo>
                    <a:close/>
                    <a:moveTo>
                      <a:pt x="116" y="121"/>
                    </a:moveTo>
                    <a:lnTo>
                      <a:pt x="113" y="125"/>
                    </a:lnTo>
                    <a:lnTo>
                      <a:pt x="113" y="121"/>
                    </a:lnTo>
                    <a:lnTo>
                      <a:pt x="116" y="117"/>
                    </a:lnTo>
                    <a:lnTo>
                      <a:pt x="116" y="121"/>
                    </a:lnTo>
                    <a:lnTo>
                      <a:pt x="116" y="121"/>
                    </a:lnTo>
                    <a:lnTo>
                      <a:pt x="116" y="121"/>
                    </a:lnTo>
                    <a:lnTo>
                      <a:pt x="116" y="121"/>
                    </a:lnTo>
                    <a:close/>
                    <a:moveTo>
                      <a:pt x="120" y="121"/>
                    </a:moveTo>
                    <a:lnTo>
                      <a:pt x="118" y="117"/>
                    </a:lnTo>
                    <a:lnTo>
                      <a:pt x="120" y="115"/>
                    </a:lnTo>
                    <a:lnTo>
                      <a:pt x="122" y="117"/>
                    </a:lnTo>
                    <a:lnTo>
                      <a:pt x="120" y="121"/>
                    </a:lnTo>
                    <a:lnTo>
                      <a:pt x="120" y="121"/>
                    </a:lnTo>
                    <a:lnTo>
                      <a:pt x="120" y="121"/>
                    </a:lnTo>
                    <a:lnTo>
                      <a:pt x="120" y="121"/>
                    </a:lnTo>
                    <a:close/>
                    <a:moveTo>
                      <a:pt x="130" y="112"/>
                    </a:moveTo>
                    <a:lnTo>
                      <a:pt x="130" y="115"/>
                    </a:lnTo>
                    <a:lnTo>
                      <a:pt x="124" y="121"/>
                    </a:lnTo>
                    <a:lnTo>
                      <a:pt x="126" y="113"/>
                    </a:lnTo>
                    <a:lnTo>
                      <a:pt x="130" y="112"/>
                    </a:lnTo>
                    <a:lnTo>
                      <a:pt x="130" y="112"/>
                    </a:lnTo>
                    <a:lnTo>
                      <a:pt x="130" y="112"/>
                    </a:lnTo>
                    <a:lnTo>
                      <a:pt x="130" y="112"/>
                    </a:lnTo>
                    <a:close/>
                    <a:moveTo>
                      <a:pt x="135" y="104"/>
                    </a:moveTo>
                    <a:lnTo>
                      <a:pt x="139" y="100"/>
                    </a:lnTo>
                    <a:lnTo>
                      <a:pt x="141" y="104"/>
                    </a:lnTo>
                    <a:lnTo>
                      <a:pt x="135" y="104"/>
                    </a:lnTo>
                    <a:lnTo>
                      <a:pt x="135" y="104"/>
                    </a:lnTo>
                    <a:lnTo>
                      <a:pt x="135" y="104"/>
                    </a:lnTo>
                    <a:lnTo>
                      <a:pt x="135" y="104"/>
                    </a:lnTo>
                    <a:close/>
                    <a:moveTo>
                      <a:pt x="141" y="104"/>
                    </a:moveTo>
                    <a:lnTo>
                      <a:pt x="141" y="112"/>
                    </a:lnTo>
                    <a:lnTo>
                      <a:pt x="137" y="110"/>
                    </a:lnTo>
                    <a:lnTo>
                      <a:pt x="133" y="113"/>
                    </a:lnTo>
                    <a:lnTo>
                      <a:pt x="133" y="110"/>
                    </a:lnTo>
                    <a:lnTo>
                      <a:pt x="141" y="104"/>
                    </a:lnTo>
                    <a:lnTo>
                      <a:pt x="141" y="104"/>
                    </a:lnTo>
                    <a:lnTo>
                      <a:pt x="141" y="104"/>
                    </a:lnTo>
                    <a:lnTo>
                      <a:pt x="141" y="104"/>
                    </a:lnTo>
                    <a:close/>
                    <a:moveTo>
                      <a:pt x="143" y="87"/>
                    </a:moveTo>
                    <a:lnTo>
                      <a:pt x="145" y="91"/>
                    </a:lnTo>
                    <a:lnTo>
                      <a:pt x="145" y="96"/>
                    </a:lnTo>
                    <a:lnTo>
                      <a:pt x="139" y="100"/>
                    </a:lnTo>
                    <a:lnTo>
                      <a:pt x="137" y="96"/>
                    </a:lnTo>
                    <a:lnTo>
                      <a:pt x="143" y="95"/>
                    </a:lnTo>
                    <a:lnTo>
                      <a:pt x="139" y="95"/>
                    </a:lnTo>
                    <a:lnTo>
                      <a:pt x="135" y="96"/>
                    </a:lnTo>
                    <a:lnTo>
                      <a:pt x="133" y="96"/>
                    </a:lnTo>
                    <a:lnTo>
                      <a:pt x="135" y="91"/>
                    </a:lnTo>
                    <a:lnTo>
                      <a:pt x="139" y="91"/>
                    </a:lnTo>
                    <a:lnTo>
                      <a:pt x="141" y="89"/>
                    </a:lnTo>
                    <a:lnTo>
                      <a:pt x="141" y="87"/>
                    </a:lnTo>
                    <a:lnTo>
                      <a:pt x="143" y="87"/>
                    </a:lnTo>
                    <a:lnTo>
                      <a:pt x="143" y="87"/>
                    </a:lnTo>
                    <a:lnTo>
                      <a:pt x="143" y="87"/>
                    </a:lnTo>
                    <a:lnTo>
                      <a:pt x="143" y="87"/>
                    </a:lnTo>
                    <a:close/>
                    <a:moveTo>
                      <a:pt x="148" y="89"/>
                    </a:moveTo>
                    <a:lnTo>
                      <a:pt x="146" y="87"/>
                    </a:lnTo>
                    <a:lnTo>
                      <a:pt x="146" y="81"/>
                    </a:lnTo>
                    <a:lnTo>
                      <a:pt x="152" y="78"/>
                    </a:lnTo>
                    <a:lnTo>
                      <a:pt x="152" y="76"/>
                    </a:lnTo>
                    <a:lnTo>
                      <a:pt x="154" y="72"/>
                    </a:lnTo>
                    <a:lnTo>
                      <a:pt x="158" y="76"/>
                    </a:lnTo>
                    <a:lnTo>
                      <a:pt x="154" y="79"/>
                    </a:lnTo>
                    <a:lnTo>
                      <a:pt x="154" y="83"/>
                    </a:lnTo>
                    <a:lnTo>
                      <a:pt x="148" y="89"/>
                    </a:lnTo>
                    <a:lnTo>
                      <a:pt x="148" y="89"/>
                    </a:lnTo>
                    <a:lnTo>
                      <a:pt x="148" y="89"/>
                    </a:lnTo>
                    <a:lnTo>
                      <a:pt x="148" y="89"/>
                    </a:lnTo>
                    <a:close/>
                    <a:moveTo>
                      <a:pt x="160" y="91"/>
                    </a:moveTo>
                    <a:lnTo>
                      <a:pt x="163" y="96"/>
                    </a:lnTo>
                    <a:lnTo>
                      <a:pt x="158" y="104"/>
                    </a:lnTo>
                    <a:lnTo>
                      <a:pt x="154" y="104"/>
                    </a:lnTo>
                    <a:lnTo>
                      <a:pt x="152" y="108"/>
                    </a:lnTo>
                    <a:lnTo>
                      <a:pt x="150" y="106"/>
                    </a:lnTo>
                    <a:lnTo>
                      <a:pt x="150" y="104"/>
                    </a:lnTo>
                    <a:lnTo>
                      <a:pt x="146" y="110"/>
                    </a:lnTo>
                    <a:lnTo>
                      <a:pt x="145" y="110"/>
                    </a:lnTo>
                    <a:lnTo>
                      <a:pt x="145" y="104"/>
                    </a:lnTo>
                    <a:lnTo>
                      <a:pt x="146" y="104"/>
                    </a:lnTo>
                    <a:lnTo>
                      <a:pt x="146" y="100"/>
                    </a:lnTo>
                    <a:lnTo>
                      <a:pt x="148" y="96"/>
                    </a:lnTo>
                    <a:lnTo>
                      <a:pt x="148" y="95"/>
                    </a:lnTo>
                    <a:lnTo>
                      <a:pt x="154" y="87"/>
                    </a:lnTo>
                    <a:lnTo>
                      <a:pt x="150" y="96"/>
                    </a:lnTo>
                    <a:lnTo>
                      <a:pt x="152" y="100"/>
                    </a:lnTo>
                    <a:lnTo>
                      <a:pt x="154" y="96"/>
                    </a:lnTo>
                    <a:lnTo>
                      <a:pt x="160" y="96"/>
                    </a:lnTo>
                    <a:lnTo>
                      <a:pt x="158" y="91"/>
                    </a:lnTo>
                    <a:lnTo>
                      <a:pt x="158" y="89"/>
                    </a:lnTo>
                    <a:lnTo>
                      <a:pt x="160" y="91"/>
                    </a:lnTo>
                    <a:lnTo>
                      <a:pt x="160" y="91"/>
                    </a:lnTo>
                    <a:lnTo>
                      <a:pt x="160" y="91"/>
                    </a:lnTo>
                    <a:lnTo>
                      <a:pt x="160" y="91"/>
                    </a:lnTo>
                    <a:close/>
                    <a:moveTo>
                      <a:pt x="158" y="87"/>
                    </a:moveTo>
                    <a:lnTo>
                      <a:pt x="158" y="85"/>
                    </a:lnTo>
                    <a:lnTo>
                      <a:pt x="160" y="85"/>
                    </a:lnTo>
                    <a:lnTo>
                      <a:pt x="163" y="87"/>
                    </a:lnTo>
                    <a:lnTo>
                      <a:pt x="163" y="89"/>
                    </a:lnTo>
                    <a:lnTo>
                      <a:pt x="158" y="87"/>
                    </a:lnTo>
                    <a:lnTo>
                      <a:pt x="158" y="87"/>
                    </a:lnTo>
                    <a:lnTo>
                      <a:pt x="158" y="87"/>
                    </a:lnTo>
                    <a:lnTo>
                      <a:pt x="158" y="87"/>
                    </a:lnTo>
                    <a:close/>
                    <a:moveTo>
                      <a:pt x="169" y="91"/>
                    </a:moveTo>
                    <a:lnTo>
                      <a:pt x="171" y="89"/>
                    </a:lnTo>
                    <a:lnTo>
                      <a:pt x="173" y="91"/>
                    </a:lnTo>
                    <a:lnTo>
                      <a:pt x="169" y="91"/>
                    </a:lnTo>
                    <a:lnTo>
                      <a:pt x="169" y="91"/>
                    </a:lnTo>
                    <a:lnTo>
                      <a:pt x="169" y="91"/>
                    </a:lnTo>
                    <a:lnTo>
                      <a:pt x="169" y="91"/>
                    </a:lnTo>
                    <a:close/>
                    <a:moveTo>
                      <a:pt x="182" y="72"/>
                    </a:moveTo>
                    <a:lnTo>
                      <a:pt x="182" y="76"/>
                    </a:lnTo>
                    <a:lnTo>
                      <a:pt x="182" y="78"/>
                    </a:lnTo>
                    <a:lnTo>
                      <a:pt x="178" y="78"/>
                    </a:lnTo>
                    <a:lnTo>
                      <a:pt x="177" y="79"/>
                    </a:lnTo>
                    <a:lnTo>
                      <a:pt x="173" y="79"/>
                    </a:lnTo>
                    <a:lnTo>
                      <a:pt x="171" y="85"/>
                    </a:lnTo>
                    <a:lnTo>
                      <a:pt x="169" y="85"/>
                    </a:lnTo>
                    <a:lnTo>
                      <a:pt x="169" y="81"/>
                    </a:lnTo>
                    <a:lnTo>
                      <a:pt x="167" y="81"/>
                    </a:lnTo>
                    <a:lnTo>
                      <a:pt x="169" y="76"/>
                    </a:lnTo>
                    <a:lnTo>
                      <a:pt x="167" y="76"/>
                    </a:lnTo>
                    <a:lnTo>
                      <a:pt x="167" y="72"/>
                    </a:lnTo>
                    <a:lnTo>
                      <a:pt x="173" y="72"/>
                    </a:lnTo>
                    <a:lnTo>
                      <a:pt x="167" y="70"/>
                    </a:lnTo>
                    <a:lnTo>
                      <a:pt x="171" y="66"/>
                    </a:lnTo>
                    <a:lnTo>
                      <a:pt x="173" y="66"/>
                    </a:lnTo>
                    <a:lnTo>
                      <a:pt x="173" y="64"/>
                    </a:lnTo>
                    <a:lnTo>
                      <a:pt x="178" y="64"/>
                    </a:lnTo>
                    <a:lnTo>
                      <a:pt x="178" y="66"/>
                    </a:lnTo>
                    <a:lnTo>
                      <a:pt x="182" y="70"/>
                    </a:lnTo>
                    <a:lnTo>
                      <a:pt x="182" y="72"/>
                    </a:lnTo>
                    <a:lnTo>
                      <a:pt x="182" y="72"/>
                    </a:lnTo>
                    <a:lnTo>
                      <a:pt x="182" y="72"/>
                    </a:lnTo>
                    <a:lnTo>
                      <a:pt x="182" y="72"/>
                    </a:lnTo>
                    <a:close/>
                    <a:moveTo>
                      <a:pt x="182" y="63"/>
                    </a:moveTo>
                    <a:lnTo>
                      <a:pt x="188" y="63"/>
                    </a:lnTo>
                    <a:lnTo>
                      <a:pt x="188" y="59"/>
                    </a:lnTo>
                    <a:lnTo>
                      <a:pt x="192" y="59"/>
                    </a:lnTo>
                    <a:lnTo>
                      <a:pt x="194" y="55"/>
                    </a:lnTo>
                    <a:lnTo>
                      <a:pt x="195" y="59"/>
                    </a:lnTo>
                    <a:lnTo>
                      <a:pt x="194" y="63"/>
                    </a:lnTo>
                    <a:lnTo>
                      <a:pt x="194" y="66"/>
                    </a:lnTo>
                    <a:lnTo>
                      <a:pt x="188" y="66"/>
                    </a:lnTo>
                    <a:lnTo>
                      <a:pt x="186" y="66"/>
                    </a:lnTo>
                    <a:lnTo>
                      <a:pt x="182" y="63"/>
                    </a:lnTo>
                    <a:lnTo>
                      <a:pt x="182" y="63"/>
                    </a:lnTo>
                    <a:lnTo>
                      <a:pt x="182" y="63"/>
                    </a:lnTo>
                    <a:lnTo>
                      <a:pt x="182" y="63"/>
                    </a:lnTo>
                    <a:close/>
                    <a:moveTo>
                      <a:pt x="197" y="42"/>
                    </a:moveTo>
                    <a:lnTo>
                      <a:pt x="195" y="40"/>
                    </a:lnTo>
                    <a:lnTo>
                      <a:pt x="199" y="36"/>
                    </a:lnTo>
                    <a:lnTo>
                      <a:pt x="197" y="42"/>
                    </a:lnTo>
                    <a:lnTo>
                      <a:pt x="197" y="42"/>
                    </a:lnTo>
                    <a:lnTo>
                      <a:pt x="197" y="42"/>
                    </a:lnTo>
                    <a:lnTo>
                      <a:pt x="197" y="42"/>
                    </a:lnTo>
                    <a:close/>
                    <a:moveTo>
                      <a:pt x="192" y="47"/>
                    </a:moveTo>
                    <a:lnTo>
                      <a:pt x="192" y="46"/>
                    </a:lnTo>
                    <a:lnTo>
                      <a:pt x="195" y="42"/>
                    </a:lnTo>
                    <a:lnTo>
                      <a:pt x="194" y="46"/>
                    </a:lnTo>
                    <a:lnTo>
                      <a:pt x="194" y="46"/>
                    </a:lnTo>
                    <a:lnTo>
                      <a:pt x="192" y="47"/>
                    </a:lnTo>
                    <a:lnTo>
                      <a:pt x="192" y="47"/>
                    </a:lnTo>
                    <a:lnTo>
                      <a:pt x="192" y="47"/>
                    </a:lnTo>
                    <a:lnTo>
                      <a:pt x="192" y="47"/>
                    </a:lnTo>
                    <a:close/>
                    <a:moveTo>
                      <a:pt x="203" y="55"/>
                    </a:moveTo>
                    <a:lnTo>
                      <a:pt x="203" y="49"/>
                    </a:lnTo>
                    <a:lnTo>
                      <a:pt x="205" y="53"/>
                    </a:lnTo>
                    <a:lnTo>
                      <a:pt x="203" y="55"/>
                    </a:lnTo>
                    <a:lnTo>
                      <a:pt x="203" y="55"/>
                    </a:lnTo>
                    <a:lnTo>
                      <a:pt x="203" y="55"/>
                    </a:lnTo>
                    <a:lnTo>
                      <a:pt x="203" y="55"/>
                    </a:lnTo>
                    <a:close/>
                    <a:moveTo>
                      <a:pt x="201" y="53"/>
                    </a:moveTo>
                    <a:lnTo>
                      <a:pt x="199" y="55"/>
                    </a:lnTo>
                    <a:lnTo>
                      <a:pt x="197" y="55"/>
                    </a:lnTo>
                    <a:lnTo>
                      <a:pt x="192" y="51"/>
                    </a:lnTo>
                    <a:lnTo>
                      <a:pt x="197" y="46"/>
                    </a:lnTo>
                    <a:lnTo>
                      <a:pt x="199" y="47"/>
                    </a:lnTo>
                    <a:lnTo>
                      <a:pt x="203" y="47"/>
                    </a:lnTo>
                    <a:lnTo>
                      <a:pt x="203" y="47"/>
                    </a:lnTo>
                    <a:lnTo>
                      <a:pt x="201" y="51"/>
                    </a:lnTo>
                    <a:lnTo>
                      <a:pt x="201" y="53"/>
                    </a:lnTo>
                    <a:lnTo>
                      <a:pt x="201" y="53"/>
                    </a:lnTo>
                    <a:lnTo>
                      <a:pt x="201" y="53"/>
                    </a:lnTo>
                    <a:lnTo>
                      <a:pt x="201" y="53"/>
                    </a:lnTo>
                    <a:close/>
                    <a:moveTo>
                      <a:pt x="210" y="46"/>
                    </a:moveTo>
                    <a:lnTo>
                      <a:pt x="209" y="46"/>
                    </a:lnTo>
                    <a:lnTo>
                      <a:pt x="205" y="46"/>
                    </a:lnTo>
                    <a:lnTo>
                      <a:pt x="205" y="42"/>
                    </a:lnTo>
                    <a:lnTo>
                      <a:pt x="203" y="36"/>
                    </a:lnTo>
                    <a:lnTo>
                      <a:pt x="205" y="36"/>
                    </a:lnTo>
                    <a:lnTo>
                      <a:pt x="207" y="42"/>
                    </a:lnTo>
                    <a:lnTo>
                      <a:pt x="210" y="42"/>
                    </a:lnTo>
                    <a:lnTo>
                      <a:pt x="210" y="46"/>
                    </a:lnTo>
                    <a:lnTo>
                      <a:pt x="210" y="46"/>
                    </a:lnTo>
                    <a:lnTo>
                      <a:pt x="210" y="46"/>
                    </a:lnTo>
                    <a:lnTo>
                      <a:pt x="210" y="46"/>
                    </a:lnTo>
                    <a:close/>
                    <a:moveTo>
                      <a:pt x="220" y="51"/>
                    </a:moveTo>
                    <a:lnTo>
                      <a:pt x="218" y="47"/>
                    </a:lnTo>
                    <a:lnTo>
                      <a:pt x="216" y="46"/>
                    </a:lnTo>
                    <a:lnTo>
                      <a:pt x="216" y="42"/>
                    </a:lnTo>
                    <a:lnTo>
                      <a:pt x="216" y="36"/>
                    </a:lnTo>
                    <a:lnTo>
                      <a:pt x="222" y="42"/>
                    </a:lnTo>
                    <a:lnTo>
                      <a:pt x="220" y="46"/>
                    </a:lnTo>
                    <a:lnTo>
                      <a:pt x="222" y="47"/>
                    </a:lnTo>
                    <a:lnTo>
                      <a:pt x="220" y="51"/>
                    </a:lnTo>
                    <a:lnTo>
                      <a:pt x="220" y="51"/>
                    </a:lnTo>
                    <a:lnTo>
                      <a:pt x="220" y="51"/>
                    </a:lnTo>
                    <a:lnTo>
                      <a:pt x="220" y="51"/>
                    </a:lnTo>
                    <a:close/>
                    <a:moveTo>
                      <a:pt x="248" y="36"/>
                    </a:moveTo>
                    <a:lnTo>
                      <a:pt x="246" y="36"/>
                    </a:lnTo>
                    <a:lnTo>
                      <a:pt x="241" y="34"/>
                    </a:lnTo>
                    <a:lnTo>
                      <a:pt x="242" y="32"/>
                    </a:lnTo>
                    <a:lnTo>
                      <a:pt x="246" y="32"/>
                    </a:lnTo>
                    <a:lnTo>
                      <a:pt x="248" y="34"/>
                    </a:lnTo>
                    <a:lnTo>
                      <a:pt x="248" y="36"/>
                    </a:lnTo>
                    <a:lnTo>
                      <a:pt x="248" y="36"/>
                    </a:lnTo>
                    <a:lnTo>
                      <a:pt x="248" y="36"/>
                    </a:lnTo>
                    <a:lnTo>
                      <a:pt x="248" y="36"/>
                    </a:lnTo>
                    <a:close/>
                    <a:moveTo>
                      <a:pt x="252" y="34"/>
                    </a:moveTo>
                    <a:lnTo>
                      <a:pt x="248" y="29"/>
                    </a:lnTo>
                    <a:lnTo>
                      <a:pt x="256" y="23"/>
                    </a:lnTo>
                    <a:lnTo>
                      <a:pt x="256" y="27"/>
                    </a:lnTo>
                    <a:lnTo>
                      <a:pt x="254" y="31"/>
                    </a:lnTo>
                    <a:lnTo>
                      <a:pt x="252" y="34"/>
                    </a:lnTo>
                    <a:lnTo>
                      <a:pt x="252" y="34"/>
                    </a:lnTo>
                    <a:lnTo>
                      <a:pt x="252" y="34"/>
                    </a:lnTo>
                    <a:lnTo>
                      <a:pt x="252" y="34"/>
                    </a:lnTo>
                    <a:close/>
                    <a:moveTo>
                      <a:pt x="246" y="27"/>
                    </a:moveTo>
                    <a:lnTo>
                      <a:pt x="242" y="27"/>
                    </a:lnTo>
                    <a:lnTo>
                      <a:pt x="237" y="25"/>
                    </a:lnTo>
                    <a:lnTo>
                      <a:pt x="235" y="21"/>
                    </a:lnTo>
                    <a:lnTo>
                      <a:pt x="237" y="23"/>
                    </a:lnTo>
                    <a:lnTo>
                      <a:pt x="241" y="19"/>
                    </a:lnTo>
                    <a:lnTo>
                      <a:pt x="242" y="23"/>
                    </a:lnTo>
                    <a:lnTo>
                      <a:pt x="246" y="19"/>
                    </a:lnTo>
                    <a:lnTo>
                      <a:pt x="248" y="19"/>
                    </a:lnTo>
                    <a:lnTo>
                      <a:pt x="254" y="15"/>
                    </a:lnTo>
                    <a:lnTo>
                      <a:pt x="254" y="17"/>
                    </a:lnTo>
                    <a:lnTo>
                      <a:pt x="246" y="27"/>
                    </a:lnTo>
                    <a:lnTo>
                      <a:pt x="246" y="27"/>
                    </a:lnTo>
                    <a:lnTo>
                      <a:pt x="246" y="27"/>
                    </a:lnTo>
                    <a:lnTo>
                      <a:pt x="246" y="27"/>
                    </a:lnTo>
                    <a:close/>
                    <a:moveTo>
                      <a:pt x="256" y="19"/>
                    </a:moveTo>
                    <a:lnTo>
                      <a:pt x="256" y="19"/>
                    </a:lnTo>
                    <a:lnTo>
                      <a:pt x="261" y="17"/>
                    </a:lnTo>
                    <a:lnTo>
                      <a:pt x="267" y="19"/>
                    </a:lnTo>
                    <a:lnTo>
                      <a:pt x="265" y="23"/>
                    </a:lnTo>
                    <a:lnTo>
                      <a:pt x="259" y="25"/>
                    </a:lnTo>
                    <a:lnTo>
                      <a:pt x="259" y="21"/>
                    </a:lnTo>
                    <a:lnTo>
                      <a:pt x="256" y="19"/>
                    </a:lnTo>
                    <a:lnTo>
                      <a:pt x="256" y="19"/>
                    </a:lnTo>
                    <a:lnTo>
                      <a:pt x="256" y="19"/>
                    </a:lnTo>
                    <a:lnTo>
                      <a:pt x="256" y="19"/>
                    </a:lnTo>
                    <a:close/>
                    <a:moveTo>
                      <a:pt x="267" y="12"/>
                    </a:moveTo>
                    <a:lnTo>
                      <a:pt x="265" y="12"/>
                    </a:lnTo>
                    <a:lnTo>
                      <a:pt x="265" y="12"/>
                    </a:lnTo>
                    <a:lnTo>
                      <a:pt x="261" y="10"/>
                    </a:lnTo>
                    <a:lnTo>
                      <a:pt x="265" y="8"/>
                    </a:lnTo>
                    <a:lnTo>
                      <a:pt x="267" y="12"/>
                    </a:lnTo>
                    <a:lnTo>
                      <a:pt x="267" y="12"/>
                    </a:lnTo>
                    <a:lnTo>
                      <a:pt x="267" y="12"/>
                    </a:lnTo>
                    <a:lnTo>
                      <a:pt x="267" y="12"/>
                    </a:lnTo>
                    <a:close/>
                    <a:moveTo>
                      <a:pt x="274" y="2"/>
                    </a:moveTo>
                    <a:lnTo>
                      <a:pt x="271" y="2"/>
                    </a:lnTo>
                    <a:lnTo>
                      <a:pt x="273" y="2"/>
                    </a:lnTo>
                    <a:lnTo>
                      <a:pt x="274" y="2"/>
                    </a:lnTo>
                    <a:lnTo>
                      <a:pt x="274" y="2"/>
                    </a:lnTo>
                    <a:lnTo>
                      <a:pt x="274" y="2"/>
                    </a:lnTo>
                    <a:lnTo>
                      <a:pt x="274" y="2"/>
                    </a:lnTo>
                    <a:lnTo>
                      <a:pt x="274" y="2"/>
                    </a:lnTo>
                    <a:close/>
                    <a:moveTo>
                      <a:pt x="280" y="8"/>
                    </a:moveTo>
                    <a:lnTo>
                      <a:pt x="280" y="6"/>
                    </a:lnTo>
                    <a:lnTo>
                      <a:pt x="282" y="2"/>
                    </a:lnTo>
                    <a:lnTo>
                      <a:pt x="284" y="2"/>
                    </a:lnTo>
                    <a:lnTo>
                      <a:pt x="286" y="2"/>
                    </a:lnTo>
                    <a:lnTo>
                      <a:pt x="286" y="0"/>
                    </a:lnTo>
                    <a:lnTo>
                      <a:pt x="288" y="2"/>
                    </a:lnTo>
                    <a:lnTo>
                      <a:pt x="291" y="2"/>
                    </a:lnTo>
                    <a:lnTo>
                      <a:pt x="290" y="6"/>
                    </a:lnTo>
                    <a:lnTo>
                      <a:pt x="291" y="6"/>
                    </a:lnTo>
                    <a:lnTo>
                      <a:pt x="291" y="10"/>
                    </a:lnTo>
                    <a:lnTo>
                      <a:pt x="288" y="12"/>
                    </a:lnTo>
                    <a:lnTo>
                      <a:pt x="284" y="8"/>
                    </a:lnTo>
                    <a:lnTo>
                      <a:pt x="280" y="8"/>
                    </a:lnTo>
                    <a:lnTo>
                      <a:pt x="280" y="8"/>
                    </a:lnTo>
                    <a:lnTo>
                      <a:pt x="280" y="8"/>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6" name="Freeform 8"/>
              <p:cNvSpPr>
                <a:spLocks noEditPoints="1"/>
              </p:cNvSpPr>
              <p:nvPr/>
            </p:nvSpPr>
            <p:spPr bwMode="auto">
              <a:xfrm>
                <a:off x="2954" y="1532"/>
                <a:ext cx="179" cy="418"/>
              </a:xfrm>
              <a:custGeom>
                <a:avLst/>
                <a:gdLst/>
                <a:ahLst/>
                <a:cxnLst>
                  <a:cxn ang="0">
                    <a:pos x="6" y="302"/>
                  </a:cxn>
                  <a:cxn ang="0">
                    <a:pos x="19" y="281"/>
                  </a:cxn>
                  <a:cxn ang="0">
                    <a:pos x="21" y="247"/>
                  </a:cxn>
                  <a:cxn ang="0">
                    <a:pos x="9" y="205"/>
                  </a:cxn>
                  <a:cxn ang="0">
                    <a:pos x="28" y="168"/>
                  </a:cxn>
                  <a:cxn ang="0">
                    <a:pos x="36" y="117"/>
                  </a:cxn>
                  <a:cxn ang="0">
                    <a:pos x="49" y="94"/>
                  </a:cxn>
                  <a:cxn ang="0">
                    <a:pos x="58" y="53"/>
                  </a:cxn>
                  <a:cxn ang="0">
                    <a:pos x="75" y="36"/>
                  </a:cxn>
                  <a:cxn ang="0">
                    <a:pos x="85" y="25"/>
                  </a:cxn>
                  <a:cxn ang="0">
                    <a:pos x="107" y="23"/>
                  </a:cxn>
                  <a:cxn ang="0">
                    <a:pos x="115" y="10"/>
                  </a:cxn>
                  <a:cxn ang="0">
                    <a:pos x="122" y="4"/>
                  </a:cxn>
                  <a:cxn ang="0">
                    <a:pos x="154" y="25"/>
                  </a:cxn>
                  <a:cxn ang="0">
                    <a:pos x="164" y="40"/>
                  </a:cxn>
                  <a:cxn ang="0">
                    <a:pos x="168" y="64"/>
                  </a:cxn>
                  <a:cxn ang="0">
                    <a:pos x="173" y="96"/>
                  </a:cxn>
                  <a:cxn ang="0">
                    <a:pos x="173" y="109"/>
                  </a:cxn>
                  <a:cxn ang="0">
                    <a:pos x="158" y="111"/>
                  </a:cxn>
                  <a:cxn ang="0">
                    <a:pos x="143" y="113"/>
                  </a:cxn>
                  <a:cxn ang="0">
                    <a:pos x="143" y="128"/>
                  </a:cxn>
                  <a:cxn ang="0">
                    <a:pos x="143" y="132"/>
                  </a:cxn>
                  <a:cxn ang="0">
                    <a:pos x="143" y="149"/>
                  </a:cxn>
                  <a:cxn ang="0">
                    <a:pos x="137" y="166"/>
                  </a:cxn>
                  <a:cxn ang="0">
                    <a:pos x="122" y="185"/>
                  </a:cxn>
                  <a:cxn ang="0">
                    <a:pos x="111" y="196"/>
                  </a:cxn>
                  <a:cxn ang="0">
                    <a:pos x="102" y="200"/>
                  </a:cxn>
                  <a:cxn ang="0">
                    <a:pos x="92" y="217"/>
                  </a:cxn>
                  <a:cxn ang="0">
                    <a:pos x="87" y="237"/>
                  </a:cxn>
                  <a:cxn ang="0">
                    <a:pos x="87" y="253"/>
                  </a:cxn>
                  <a:cxn ang="0">
                    <a:pos x="92" y="270"/>
                  </a:cxn>
                  <a:cxn ang="0">
                    <a:pos x="109" y="281"/>
                  </a:cxn>
                  <a:cxn ang="0">
                    <a:pos x="109" y="305"/>
                  </a:cxn>
                  <a:cxn ang="0">
                    <a:pos x="92" y="303"/>
                  </a:cxn>
                  <a:cxn ang="0">
                    <a:pos x="77" y="305"/>
                  </a:cxn>
                  <a:cxn ang="0">
                    <a:pos x="90" y="309"/>
                  </a:cxn>
                  <a:cxn ang="0">
                    <a:pos x="111" y="315"/>
                  </a:cxn>
                  <a:cxn ang="0">
                    <a:pos x="100" y="318"/>
                  </a:cxn>
                  <a:cxn ang="0">
                    <a:pos x="90" y="330"/>
                  </a:cxn>
                  <a:cxn ang="0">
                    <a:pos x="85" y="335"/>
                  </a:cxn>
                  <a:cxn ang="0">
                    <a:pos x="87" y="352"/>
                  </a:cxn>
                  <a:cxn ang="0">
                    <a:pos x="87" y="375"/>
                  </a:cxn>
                  <a:cxn ang="0">
                    <a:pos x="72" y="398"/>
                  </a:cxn>
                  <a:cxn ang="0">
                    <a:pos x="53" y="411"/>
                  </a:cxn>
                  <a:cxn ang="0">
                    <a:pos x="32" y="413"/>
                  </a:cxn>
                  <a:cxn ang="0">
                    <a:pos x="32" y="390"/>
                  </a:cxn>
                  <a:cxn ang="0">
                    <a:pos x="15" y="369"/>
                  </a:cxn>
                  <a:cxn ang="0">
                    <a:pos x="9" y="349"/>
                  </a:cxn>
                  <a:cxn ang="0">
                    <a:pos x="6" y="339"/>
                  </a:cxn>
                  <a:cxn ang="0">
                    <a:pos x="0" y="330"/>
                  </a:cxn>
                  <a:cxn ang="0">
                    <a:pos x="109" y="309"/>
                  </a:cxn>
                  <a:cxn ang="0">
                    <a:pos x="109" y="309"/>
                  </a:cxn>
                  <a:cxn ang="0">
                    <a:pos x="6" y="345"/>
                  </a:cxn>
                  <a:cxn ang="0">
                    <a:pos x="128" y="335"/>
                  </a:cxn>
                  <a:cxn ang="0">
                    <a:pos x="128" y="354"/>
                  </a:cxn>
                  <a:cxn ang="0">
                    <a:pos x="126" y="352"/>
                  </a:cxn>
                  <a:cxn ang="0">
                    <a:pos x="122" y="369"/>
                  </a:cxn>
                  <a:cxn ang="0">
                    <a:pos x="126" y="354"/>
                  </a:cxn>
                  <a:cxn ang="0">
                    <a:pos x="111" y="366"/>
                  </a:cxn>
                  <a:cxn ang="0">
                    <a:pos x="115" y="381"/>
                  </a:cxn>
                  <a:cxn ang="0">
                    <a:pos x="90" y="394"/>
                  </a:cxn>
                  <a:cxn ang="0">
                    <a:pos x="90" y="373"/>
                  </a:cxn>
                </a:cxnLst>
                <a:rect l="0" t="0" r="r" b="b"/>
                <a:pathLst>
                  <a:path w="179" h="418">
                    <a:moveTo>
                      <a:pt x="4" y="320"/>
                    </a:moveTo>
                    <a:lnTo>
                      <a:pt x="6" y="320"/>
                    </a:lnTo>
                    <a:lnTo>
                      <a:pt x="6" y="326"/>
                    </a:lnTo>
                    <a:lnTo>
                      <a:pt x="9" y="320"/>
                    </a:lnTo>
                    <a:lnTo>
                      <a:pt x="9" y="309"/>
                    </a:lnTo>
                    <a:lnTo>
                      <a:pt x="6" y="305"/>
                    </a:lnTo>
                    <a:lnTo>
                      <a:pt x="6" y="302"/>
                    </a:lnTo>
                    <a:lnTo>
                      <a:pt x="9" y="302"/>
                    </a:lnTo>
                    <a:lnTo>
                      <a:pt x="9" y="298"/>
                    </a:lnTo>
                    <a:lnTo>
                      <a:pt x="9" y="294"/>
                    </a:lnTo>
                    <a:lnTo>
                      <a:pt x="13" y="294"/>
                    </a:lnTo>
                    <a:lnTo>
                      <a:pt x="15" y="290"/>
                    </a:lnTo>
                    <a:lnTo>
                      <a:pt x="15" y="286"/>
                    </a:lnTo>
                    <a:lnTo>
                      <a:pt x="19" y="281"/>
                    </a:lnTo>
                    <a:lnTo>
                      <a:pt x="15" y="279"/>
                    </a:lnTo>
                    <a:lnTo>
                      <a:pt x="13" y="270"/>
                    </a:lnTo>
                    <a:lnTo>
                      <a:pt x="9" y="262"/>
                    </a:lnTo>
                    <a:lnTo>
                      <a:pt x="13" y="260"/>
                    </a:lnTo>
                    <a:lnTo>
                      <a:pt x="19" y="256"/>
                    </a:lnTo>
                    <a:lnTo>
                      <a:pt x="19" y="251"/>
                    </a:lnTo>
                    <a:lnTo>
                      <a:pt x="21" y="247"/>
                    </a:lnTo>
                    <a:lnTo>
                      <a:pt x="15" y="239"/>
                    </a:lnTo>
                    <a:lnTo>
                      <a:pt x="9" y="237"/>
                    </a:lnTo>
                    <a:lnTo>
                      <a:pt x="9" y="230"/>
                    </a:lnTo>
                    <a:lnTo>
                      <a:pt x="9" y="222"/>
                    </a:lnTo>
                    <a:lnTo>
                      <a:pt x="9" y="217"/>
                    </a:lnTo>
                    <a:lnTo>
                      <a:pt x="9" y="211"/>
                    </a:lnTo>
                    <a:lnTo>
                      <a:pt x="9" y="205"/>
                    </a:lnTo>
                    <a:lnTo>
                      <a:pt x="9" y="196"/>
                    </a:lnTo>
                    <a:lnTo>
                      <a:pt x="6" y="187"/>
                    </a:lnTo>
                    <a:lnTo>
                      <a:pt x="9" y="177"/>
                    </a:lnTo>
                    <a:lnTo>
                      <a:pt x="13" y="172"/>
                    </a:lnTo>
                    <a:lnTo>
                      <a:pt x="15" y="168"/>
                    </a:lnTo>
                    <a:lnTo>
                      <a:pt x="21" y="168"/>
                    </a:lnTo>
                    <a:lnTo>
                      <a:pt x="28" y="168"/>
                    </a:lnTo>
                    <a:lnTo>
                      <a:pt x="28" y="166"/>
                    </a:lnTo>
                    <a:lnTo>
                      <a:pt x="28" y="158"/>
                    </a:lnTo>
                    <a:lnTo>
                      <a:pt x="28" y="155"/>
                    </a:lnTo>
                    <a:lnTo>
                      <a:pt x="28" y="151"/>
                    </a:lnTo>
                    <a:lnTo>
                      <a:pt x="34" y="134"/>
                    </a:lnTo>
                    <a:lnTo>
                      <a:pt x="34" y="126"/>
                    </a:lnTo>
                    <a:lnTo>
                      <a:pt x="36" y="117"/>
                    </a:lnTo>
                    <a:lnTo>
                      <a:pt x="38" y="113"/>
                    </a:lnTo>
                    <a:lnTo>
                      <a:pt x="38" y="108"/>
                    </a:lnTo>
                    <a:lnTo>
                      <a:pt x="36" y="104"/>
                    </a:lnTo>
                    <a:lnTo>
                      <a:pt x="36" y="102"/>
                    </a:lnTo>
                    <a:lnTo>
                      <a:pt x="41" y="98"/>
                    </a:lnTo>
                    <a:lnTo>
                      <a:pt x="47" y="96"/>
                    </a:lnTo>
                    <a:lnTo>
                      <a:pt x="49" y="94"/>
                    </a:lnTo>
                    <a:lnTo>
                      <a:pt x="49" y="91"/>
                    </a:lnTo>
                    <a:lnTo>
                      <a:pt x="55" y="83"/>
                    </a:lnTo>
                    <a:lnTo>
                      <a:pt x="60" y="74"/>
                    </a:lnTo>
                    <a:lnTo>
                      <a:pt x="62" y="70"/>
                    </a:lnTo>
                    <a:lnTo>
                      <a:pt x="60" y="64"/>
                    </a:lnTo>
                    <a:lnTo>
                      <a:pt x="58" y="62"/>
                    </a:lnTo>
                    <a:lnTo>
                      <a:pt x="58" y="53"/>
                    </a:lnTo>
                    <a:lnTo>
                      <a:pt x="60" y="53"/>
                    </a:lnTo>
                    <a:lnTo>
                      <a:pt x="62" y="49"/>
                    </a:lnTo>
                    <a:lnTo>
                      <a:pt x="64" y="45"/>
                    </a:lnTo>
                    <a:lnTo>
                      <a:pt x="66" y="43"/>
                    </a:lnTo>
                    <a:lnTo>
                      <a:pt x="68" y="38"/>
                    </a:lnTo>
                    <a:lnTo>
                      <a:pt x="72" y="34"/>
                    </a:lnTo>
                    <a:lnTo>
                      <a:pt x="75" y="36"/>
                    </a:lnTo>
                    <a:lnTo>
                      <a:pt x="77" y="38"/>
                    </a:lnTo>
                    <a:lnTo>
                      <a:pt x="81" y="38"/>
                    </a:lnTo>
                    <a:lnTo>
                      <a:pt x="83" y="36"/>
                    </a:lnTo>
                    <a:lnTo>
                      <a:pt x="81" y="32"/>
                    </a:lnTo>
                    <a:lnTo>
                      <a:pt x="83" y="28"/>
                    </a:lnTo>
                    <a:lnTo>
                      <a:pt x="83" y="28"/>
                    </a:lnTo>
                    <a:lnTo>
                      <a:pt x="85" y="25"/>
                    </a:lnTo>
                    <a:lnTo>
                      <a:pt x="81" y="23"/>
                    </a:lnTo>
                    <a:lnTo>
                      <a:pt x="83" y="19"/>
                    </a:lnTo>
                    <a:lnTo>
                      <a:pt x="87" y="19"/>
                    </a:lnTo>
                    <a:lnTo>
                      <a:pt x="92" y="19"/>
                    </a:lnTo>
                    <a:lnTo>
                      <a:pt x="98" y="19"/>
                    </a:lnTo>
                    <a:lnTo>
                      <a:pt x="102" y="23"/>
                    </a:lnTo>
                    <a:lnTo>
                      <a:pt x="107" y="23"/>
                    </a:lnTo>
                    <a:lnTo>
                      <a:pt x="109" y="23"/>
                    </a:lnTo>
                    <a:lnTo>
                      <a:pt x="111" y="23"/>
                    </a:lnTo>
                    <a:lnTo>
                      <a:pt x="111" y="25"/>
                    </a:lnTo>
                    <a:lnTo>
                      <a:pt x="111" y="19"/>
                    </a:lnTo>
                    <a:lnTo>
                      <a:pt x="111" y="15"/>
                    </a:lnTo>
                    <a:lnTo>
                      <a:pt x="111" y="11"/>
                    </a:lnTo>
                    <a:lnTo>
                      <a:pt x="115" y="10"/>
                    </a:lnTo>
                    <a:lnTo>
                      <a:pt x="111" y="6"/>
                    </a:lnTo>
                    <a:lnTo>
                      <a:pt x="111" y="4"/>
                    </a:lnTo>
                    <a:lnTo>
                      <a:pt x="109" y="0"/>
                    </a:lnTo>
                    <a:lnTo>
                      <a:pt x="115" y="2"/>
                    </a:lnTo>
                    <a:lnTo>
                      <a:pt x="117" y="0"/>
                    </a:lnTo>
                    <a:lnTo>
                      <a:pt x="119" y="0"/>
                    </a:lnTo>
                    <a:lnTo>
                      <a:pt x="122" y="4"/>
                    </a:lnTo>
                    <a:lnTo>
                      <a:pt x="126" y="6"/>
                    </a:lnTo>
                    <a:lnTo>
                      <a:pt x="134" y="15"/>
                    </a:lnTo>
                    <a:lnTo>
                      <a:pt x="137" y="19"/>
                    </a:lnTo>
                    <a:lnTo>
                      <a:pt x="145" y="19"/>
                    </a:lnTo>
                    <a:lnTo>
                      <a:pt x="145" y="19"/>
                    </a:lnTo>
                    <a:lnTo>
                      <a:pt x="151" y="19"/>
                    </a:lnTo>
                    <a:lnTo>
                      <a:pt x="154" y="25"/>
                    </a:lnTo>
                    <a:lnTo>
                      <a:pt x="154" y="28"/>
                    </a:lnTo>
                    <a:lnTo>
                      <a:pt x="158" y="28"/>
                    </a:lnTo>
                    <a:lnTo>
                      <a:pt x="158" y="28"/>
                    </a:lnTo>
                    <a:lnTo>
                      <a:pt x="160" y="32"/>
                    </a:lnTo>
                    <a:lnTo>
                      <a:pt x="164" y="32"/>
                    </a:lnTo>
                    <a:lnTo>
                      <a:pt x="166" y="36"/>
                    </a:lnTo>
                    <a:lnTo>
                      <a:pt x="164" y="40"/>
                    </a:lnTo>
                    <a:lnTo>
                      <a:pt x="164" y="45"/>
                    </a:lnTo>
                    <a:lnTo>
                      <a:pt x="162" y="49"/>
                    </a:lnTo>
                    <a:lnTo>
                      <a:pt x="164" y="53"/>
                    </a:lnTo>
                    <a:lnTo>
                      <a:pt x="168" y="53"/>
                    </a:lnTo>
                    <a:lnTo>
                      <a:pt x="169" y="57"/>
                    </a:lnTo>
                    <a:lnTo>
                      <a:pt x="168" y="59"/>
                    </a:lnTo>
                    <a:lnTo>
                      <a:pt x="168" y="64"/>
                    </a:lnTo>
                    <a:lnTo>
                      <a:pt x="171" y="68"/>
                    </a:lnTo>
                    <a:lnTo>
                      <a:pt x="171" y="74"/>
                    </a:lnTo>
                    <a:lnTo>
                      <a:pt x="171" y="77"/>
                    </a:lnTo>
                    <a:lnTo>
                      <a:pt x="171" y="79"/>
                    </a:lnTo>
                    <a:lnTo>
                      <a:pt x="171" y="87"/>
                    </a:lnTo>
                    <a:lnTo>
                      <a:pt x="169" y="91"/>
                    </a:lnTo>
                    <a:lnTo>
                      <a:pt x="173" y="96"/>
                    </a:lnTo>
                    <a:lnTo>
                      <a:pt x="177" y="96"/>
                    </a:lnTo>
                    <a:lnTo>
                      <a:pt x="177" y="104"/>
                    </a:lnTo>
                    <a:lnTo>
                      <a:pt x="179" y="104"/>
                    </a:lnTo>
                    <a:lnTo>
                      <a:pt x="179" y="109"/>
                    </a:lnTo>
                    <a:lnTo>
                      <a:pt x="179" y="109"/>
                    </a:lnTo>
                    <a:lnTo>
                      <a:pt x="177" y="109"/>
                    </a:lnTo>
                    <a:lnTo>
                      <a:pt x="173" y="109"/>
                    </a:lnTo>
                    <a:lnTo>
                      <a:pt x="173" y="108"/>
                    </a:lnTo>
                    <a:lnTo>
                      <a:pt x="168" y="109"/>
                    </a:lnTo>
                    <a:lnTo>
                      <a:pt x="166" y="109"/>
                    </a:lnTo>
                    <a:lnTo>
                      <a:pt x="164" y="111"/>
                    </a:lnTo>
                    <a:lnTo>
                      <a:pt x="160" y="111"/>
                    </a:lnTo>
                    <a:lnTo>
                      <a:pt x="158" y="108"/>
                    </a:lnTo>
                    <a:lnTo>
                      <a:pt x="158" y="111"/>
                    </a:lnTo>
                    <a:lnTo>
                      <a:pt x="154" y="108"/>
                    </a:lnTo>
                    <a:lnTo>
                      <a:pt x="153" y="108"/>
                    </a:lnTo>
                    <a:lnTo>
                      <a:pt x="153" y="111"/>
                    </a:lnTo>
                    <a:lnTo>
                      <a:pt x="151" y="117"/>
                    </a:lnTo>
                    <a:lnTo>
                      <a:pt x="149" y="117"/>
                    </a:lnTo>
                    <a:lnTo>
                      <a:pt x="145" y="113"/>
                    </a:lnTo>
                    <a:lnTo>
                      <a:pt x="143" y="113"/>
                    </a:lnTo>
                    <a:lnTo>
                      <a:pt x="145" y="117"/>
                    </a:lnTo>
                    <a:lnTo>
                      <a:pt x="149" y="119"/>
                    </a:lnTo>
                    <a:lnTo>
                      <a:pt x="145" y="123"/>
                    </a:lnTo>
                    <a:lnTo>
                      <a:pt x="143" y="123"/>
                    </a:lnTo>
                    <a:lnTo>
                      <a:pt x="139" y="124"/>
                    </a:lnTo>
                    <a:lnTo>
                      <a:pt x="143" y="126"/>
                    </a:lnTo>
                    <a:lnTo>
                      <a:pt x="143" y="128"/>
                    </a:lnTo>
                    <a:lnTo>
                      <a:pt x="141" y="128"/>
                    </a:lnTo>
                    <a:lnTo>
                      <a:pt x="141" y="126"/>
                    </a:lnTo>
                    <a:lnTo>
                      <a:pt x="137" y="126"/>
                    </a:lnTo>
                    <a:lnTo>
                      <a:pt x="137" y="126"/>
                    </a:lnTo>
                    <a:lnTo>
                      <a:pt x="139" y="128"/>
                    </a:lnTo>
                    <a:lnTo>
                      <a:pt x="141" y="128"/>
                    </a:lnTo>
                    <a:lnTo>
                      <a:pt x="143" y="132"/>
                    </a:lnTo>
                    <a:lnTo>
                      <a:pt x="141" y="132"/>
                    </a:lnTo>
                    <a:lnTo>
                      <a:pt x="139" y="141"/>
                    </a:lnTo>
                    <a:lnTo>
                      <a:pt x="139" y="143"/>
                    </a:lnTo>
                    <a:lnTo>
                      <a:pt x="136" y="143"/>
                    </a:lnTo>
                    <a:lnTo>
                      <a:pt x="139" y="147"/>
                    </a:lnTo>
                    <a:lnTo>
                      <a:pt x="143" y="147"/>
                    </a:lnTo>
                    <a:lnTo>
                      <a:pt x="143" y="149"/>
                    </a:lnTo>
                    <a:lnTo>
                      <a:pt x="141" y="151"/>
                    </a:lnTo>
                    <a:lnTo>
                      <a:pt x="143" y="153"/>
                    </a:lnTo>
                    <a:lnTo>
                      <a:pt x="145" y="153"/>
                    </a:lnTo>
                    <a:lnTo>
                      <a:pt x="143" y="158"/>
                    </a:lnTo>
                    <a:lnTo>
                      <a:pt x="139" y="158"/>
                    </a:lnTo>
                    <a:lnTo>
                      <a:pt x="137" y="162"/>
                    </a:lnTo>
                    <a:lnTo>
                      <a:pt x="137" y="166"/>
                    </a:lnTo>
                    <a:lnTo>
                      <a:pt x="134" y="173"/>
                    </a:lnTo>
                    <a:lnTo>
                      <a:pt x="134" y="173"/>
                    </a:lnTo>
                    <a:lnTo>
                      <a:pt x="130" y="177"/>
                    </a:lnTo>
                    <a:lnTo>
                      <a:pt x="126" y="173"/>
                    </a:lnTo>
                    <a:lnTo>
                      <a:pt x="126" y="177"/>
                    </a:lnTo>
                    <a:lnTo>
                      <a:pt x="128" y="181"/>
                    </a:lnTo>
                    <a:lnTo>
                      <a:pt x="122" y="185"/>
                    </a:lnTo>
                    <a:lnTo>
                      <a:pt x="121" y="189"/>
                    </a:lnTo>
                    <a:lnTo>
                      <a:pt x="119" y="189"/>
                    </a:lnTo>
                    <a:lnTo>
                      <a:pt x="119" y="185"/>
                    </a:lnTo>
                    <a:lnTo>
                      <a:pt x="115" y="185"/>
                    </a:lnTo>
                    <a:lnTo>
                      <a:pt x="115" y="189"/>
                    </a:lnTo>
                    <a:lnTo>
                      <a:pt x="115" y="192"/>
                    </a:lnTo>
                    <a:lnTo>
                      <a:pt x="111" y="196"/>
                    </a:lnTo>
                    <a:lnTo>
                      <a:pt x="111" y="192"/>
                    </a:lnTo>
                    <a:lnTo>
                      <a:pt x="109" y="192"/>
                    </a:lnTo>
                    <a:lnTo>
                      <a:pt x="109" y="196"/>
                    </a:lnTo>
                    <a:lnTo>
                      <a:pt x="107" y="196"/>
                    </a:lnTo>
                    <a:lnTo>
                      <a:pt x="105" y="196"/>
                    </a:lnTo>
                    <a:lnTo>
                      <a:pt x="102" y="196"/>
                    </a:lnTo>
                    <a:lnTo>
                      <a:pt x="102" y="200"/>
                    </a:lnTo>
                    <a:lnTo>
                      <a:pt x="104" y="200"/>
                    </a:lnTo>
                    <a:lnTo>
                      <a:pt x="104" y="204"/>
                    </a:lnTo>
                    <a:lnTo>
                      <a:pt x="98" y="207"/>
                    </a:lnTo>
                    <a:lnTo>
                      <a:pt x="94" y="205"/>
                    </a:lnTo>
                    <a:lnTo>
                      <a:pt x="94" y="209"/>
                    </a:lnTo>
                    <a:lnTo>
                      <a:pt x="96" y="211"/>
                    </a:lnTo>
                    <a:lnTo>
                      <a:pt x="92" y="217"/>
                    </a:lnTo>
                    <a:lnTo>
                      <a:pt x="87" y="217"/>
                    </a:lnTo>
                    <a:lnTo>
                      <a:pt x="85" y="217"/>
                    </a:lnTo>
                    <a:lnTo>
                      <a:pt x="90" y="221"/>
                    </a:lnTo>
                    <a:lnTo>
                      <a:pt x="90" y="226"/>
                    </a:lnTo>
                    <a:lnTo>
                      <a:pt x="87" y="226"/>
                    </a:lnTo>
                    <a:lnTo>
                      <a:pt x="90" y="232"/>
                    </a:lnTo>
                    <a:lnTo>
                      <a:pt x="87" y="237"/>
                    </a:lnTo>
                    <a:lnTo>
                      <a:pt x="90" y="239"/>
                    </a:lnTo>
                    <a:lnTo>
                      <a:pt x="90" y="243"/>
                    </a:lnTo>
                    <a:lnTo>
                      <a:pt x="87" y="241"/>
                    </a:lnTo>
                    <a:lnTo>
                      <a:pt x="87" y="243"/>
                    </a:lnTo>
                    <a:lnTo>
                      <a:pt x="87" y="247"/>
                    </a:lnTo>
                    <a:lnTo>
                      <a:pt x="87" y="251"/>
                    </a:lnTo>
                    <a:lnTo>
                      <a:pt x="87" y="253"/>
                    </a:lnTo>
                    <a:lnTo>
                      <a:pt x="87" y="254"/>
                    </a:lnTo>
                    <a:lnTo>
                      <a:pt x="87" y="254"/>
                    </a:lnTo>
                    <a:lnTo>
                      <a:pt x="87" y="260"/>
                    </a:lnTo>
                    <a:lnTo>
                      <a:pt x="87" y="264"/>
                    </a:lnTo>
                    <a:lnTo>
                      <a:pt x="87" y="266"/>
                    </a:lnTo>
                    <a:lnTo>
                      <a:pt x="90" y="268"/>
                    </a:lnTo>
                    <a:lnTo>
                      <a:pt x="92" y="270"/>
                    </a:lnTo>
                    <a:lnTo>
                      <a:pt x="92" y="271"/>
                    </a:lnTo>
                    <a:lnTo>
                      <a:pt x="94" y="271"/>
                    </a:lnTo>
                    <a:lnTo>
                      <a:pt x="96" y="275"/>
                    </a:lnTo>
                    <a:lnTo>
                      <a:pt x="100" y="271"/>
                    </a:lnTo>
                    <a:lnTo>
                      <a:pt x="102" y="271"/>
                    </a:lnTo>
                    <a:lnTo>
                      <a:pt x="104" y="277"/>
                    </a:lnTo>
                    <a:lnTo>
                      <a:pt x="109" y="281"/>
                    </a:lnTo>
                    <a:lnTo>
                      <a:pt x="109" y="285"/>
                    </a:lnTo>
                    <a:lnTo>
                      <a:pt x="115" y="286"/>
                    </a:lnTo>
                    <a:lnTo>
                      <a:pt x="115" y="288"/>
                    </a:lnTo>
                    <a:lnTo>
                      <a:pt x="117" y="292"/>
                    </a:lnTo>
                    <a:lnTo>
                      <a:pt x="115" y="298"/>
                    </a:lnTo>
                    <a:lnTo>
                      <a:pt x="111" y="303"/>
                    </a:lnTo>
                    <a:lnTo>
                      <a:pt x="109" y="305"/>
                    </a:lnTo>
                    <a:lnTo>
                      <a:pt x="104" y="309"/>
                    </a:lnTo>
                    <a:lnTo>
                      <a:pt x="102" y="305"/>
                    </a:lnTo>
                    <a:lnTo>
                      <a:pt x="102" y="305"/>
                    </a:lnTo>
                    <a:lnTo>
                      <a:pt x="96" y="303"/>
                    </a:lnTo>
                    <a:lnTo>
                      <a:pt x="94" y="302"/>
                    </a:lnTo>
                    <a:lnTo>
                      <a:pt x="94" y="303"/>
                    </a:lnTo>
                    <a:lnTo>
                      <a:pt x="92" y="303"/>
                    </a:lnTo>
                    <a:lnTo>
                      <a:pt x="90" y="302"/>
                    </a:lnTo>
                    <a:lnTo>
                      <a:pt x="87" y="302"/>
                    </a:lnTo>
                    <a:lnTo>
                      <a:pt x="87" y="303"/>
                    </a:lnTo>
                    <a:lnTo>
                      <a:pt x="85" y="305"/>
                    </a:lnTo>
                    <a:lnTo>
                      <a:pt x="83" y="303"/>
                    </a:lnTo>
                    <a:lnTo>
                      <a:pt x="81" y="305"/>
                    </a:lnTo>
                    <a:lnTo>
                      <a:pt x="77" y="305"/>
                    </a:lnTo>
                    <a:lnTo>
                      <a:pt x="75" y="305"/>
                    </a:lnTo>
                    <a:lnTo>
                      <a:pt x="75" y="305"/>
                    </a:lnTo>
                    <a:lnTo>
                      <a:pt x="81" y="309"/>
                    </a:lnTo>
                    <a:lnTo>
                      <a:pt x="83" y="309"/>
                    </a:lnTo>
                    <a:lnTo>
                      <a:pt x="83" y="305"/>
                    </a:lnTo>
                    <a:lnTo>
                      <a:pt x="87" y="305"/>
                    </a:lnTo>
                    <a:lnTo>
                      <a:pt x="90" y="309"/>
                    </a:lnTo>
                    <a:lnTo>
                      <a:pt x="92" y="309"/>
                    </a:lnTo>
                    <a:lnTo>
                      <a:pt x="94" y="311"/>
                    </a:lnTo>
                    <a:lnTo>
                      <a:pt x="98" y="309"/>
                    </a:lnTo>
                    <a:lnTo>
                      <a:pt x="100" y="311"/>
                    </a:lnTo>
                    <a:lnTo>
                      <a:pt x="104" y="309"/>
                    </a:lnTo>
                    <a:lnTo>
                      <a:pt x="109" y="309"/>
                    </a:lnTo>
                    <a:lnTo>
                      <a:pt x="111" y="315"/>
                    </a:lnTo>
                    <a:lnTo>
                      <a:pt x="111" y="317"/>
                    </a:lnTo>
                    <a:lnTo>
                      <a:pt x="109" y="318"/>
                    </a:lnTo>
                    <a:lnTo>
                      <a:pt x="105" y="318"/>
                    </a:lnTo>
                    <a:lnTo>
                      <a:pt x="102" y="324"/>
                    </a:lnTo>
                    <a:lnTo>
                      <a:pt x="100" y="322"/>
                    </a:lnTo>
                    <a:lnTo>
                      <a:pt x="102" y="320"/>
                    </a:lnTo>
                    <a:lnTo>
                      <a:pt x="100" y="318"/>
                    </a:lnTo>
                    <a:lnTo>
                      <a:pt x="98" y="320"/>
                    </a:lnTo>
                    <a:lnTo>
                      <a:pt x="98" y="322"/>
                    </a:lnTo>
                    <a:lnTo>
                      <a:pt x="96" y="322"/>
                    </a:lnTo>
                    <a:lnTo>
                      <a:pt x="94" y="326"/>
                    </a:lnTo>
                    <a:lnTo>
                      <a:pt x="92" y="330"/>
                    </a:lnTo>
                    <a:lnTo>
                      <a:pt x="90" y="328"/>
                    </a:lnTo>
                    <a:lnTo>
                      <a:pt x="90" y="330"/>
                    </a:lnTo>
                    <a:lnTo>
                      <a:pt x="87" y="332"/>
                    </a:lnTo>
                    <a:lnTo>
                      <a:pt x="87" y="332"/>
                    </a:lnTo>
                    <a:lnTo>
                      <a:pt x="87" y="332"/>
                    </a:lnTo>
                    <a:lnTo>
                      <a:pt x="85" y="334"/>
                    </a:lnTo>
                    <a:lnTo>
                      <a:pt x="87" y="334"/>
                    </a:lnTo>
                    <a:lnTo>
                      <a:pt x="90" y="335"/>
                    </a:lnTo>
                    <a:lnTo>
                      <a:pt x="85" y="335"/>
                    </a:lnTo>
                    <a:lnTo>
                      <a:pt x="90" y="339"/>
                    </a:lnTo>
                    <a:lnTo>
                      <a:pt x="90" y="341"/>
                    </a:lnTo>
                    <a:lnTo>
                      <a:pt x="87" y="345"/>
                    </a:lnTo>
                    <a:lnTo>
                      <a:pt x="90" y="349"/>
                    </a:lnTo>
                    <a:lnTo>
                      <a:pt x="87" y="351"/>
                    </a:lnTo>
                    <a:lnTo>
                      <a:pt x="83" y="349"/>
                    </a:lnTo>
                    <a:lnTo>
                      <a:pt x="87" y="352"/>
                    </a:lnTo>
                    <a:lnTo>
                      <a:pt x="85" y="356"/>
                    </a:lnTo>
                    <a:lnTo>
                      <a:pt x="87" y="358"/>
                    </a:lnTo>
                    <a:lnTo>
                      <a:pt x="85" y="360"/>
                    </a:lnTo>
                    <a:lnTo>
                      <a:pt x="87" y="364"/>
                    </a:lnTo>
                    <a:lnTo>
                      <a:pt x="85" y="369"/>
                    </a:lnTo>
                    <a:lnTo>
                      <a:pt x="85" y="373"/>
                    </a:lnTo>
                    <a:lnTo>
                      <a:pt x="87" y="375"/>
                    </a:lnTo>
                    <a:lnTo>
                      <a:pt x="87" y="377"/>
                    </a:lnTo>
                    <a:lnTo>
                      <a:pt x="85" y="386"/>
                    </a:lnTo>
                    <a:lnTo>
                      <a:pt x="83" y="390"/>
                    </a:lnTo>
                    <a:lnTo>
                      <a:pt x="81" y="398"/>
                    </a:lnTo>
                    <a:lnTo>
                      <a:pt x="77" y="403"/>
                    </a:lnTo>
                    <a:lnTo>
                      <a:pt x="73" y="399"/>
                    </a:lnTo>
                    <a:lnTo>
                      <a:pt x="72" y="398"/>
                    </a:lnTo>
                    <a:lnTo>
                      <a:pt x="68" y="399"/>
                    </a:lnTo>
                    <a:lnTo>
                      <a:pt x="60" y="398"/>
                    </a:lnTo>
                    <a:lnTo>
                      <a:pt x="60" y="398"/>
                    </a:lnTo>
                    <a:lnTo>
                      <a:pt x="58" y="403"/>
                    </a:lnTo>
                    <a:lnTo>
                      <a:pt x="53" y="403"/>
                    </a:lnTo>
                    <a:lnTo>
                      <a:pt x="49" y="409"/>
                    </a:lnTo>
                    <a:lnTo>
                      <a:pt x="53" y="411"/>
                    </a:lnTo>
                    <a:lnTo>
                      <a:pt x="53" y="415"/>
                    </a:lnTo>
                    <a:lnTo>
                      <a:pt x="49" y="418"/>
                    </a:lnTo>
                    <a:lnTo>
                      <a:pt x="43" y="415"/>
                    </a:lnTo>
                    <a:lnTo>
                      <a:pt x="36" y="418"/>
                    </a:lnTo>
                    <a:lnTo>
                      <a:pt x="32" y="418"/>
                    </a:lnTo>
                    <a:lnTo>
                      <a:pt x="30" y="415"/>
                    </a:lnTo>
                    <a:lnTo>
                      <a:pt x="32" y="413"/>
                    </a:lnTo>
                    <a:lnTo>
                      <a:pt x="30" y="403"/>
                    </a:lnTo>
                    <a:lnTo>
                      <a:pt x="28" y="403"/>
                    </a:lnTo>
                    <a:lnTo>
                      <a:pt x="25" y="399"/>
                    </a:lnTo>
                    <a:lnTo>
                      <a:pt x="25" y="398"/>
                    </a:lnTo>
                    <a:lnTo>
                      <a:pt x="25" y="398"/>
                    </a:lnTo>
                    <a:lnTo>
                      <a:pt x="28" y="394"/>
                    </a:lnTo>
                    <a:lnTo>
                      <a:pt x="32" y="390"/>
                    </a:lnTo>
                    <a:lnTo>
                      <a:pt x="30" y="386"/>
                    </a:lnTo>
                    <a:lnTo>
                      <a:pt x="28" y="388"/>
                    </a:lnTo>
                    <a:lnTo>
                      <a:pt x="25" y="384"/>
                    </a:lnTo>
                    <a:lnTo>
                      <a:pt x="23" y="381"/>
                    </a:lnTo>
                    <a:lnTo>
                      <a:pt x="19" y="379"/>
                    </a:lnTo>
                    <a:lnTo>
                      <a:pt x="19" y="375"/>
                    </a:lnTo>
                    <a:lnTo>
                      <a:pt x="15" y="369"/>
                    </a:lnTo>
                    <a:lnTo>
                      <a:pt x="13" y="366"/>
                    </a:lnTo>
                    <a:lnTo>
                      <a:pt x="13" y="360"/>
                    </a:lnTo>
                    <a:lnTo>
                      <a:pt x="9" y="360"/>
                    </a:lnTo>
                    <a:lnTo>
                      <a:pt x="6" y="358"/>
                    </a:lnTo>
                    <a:lnTo>
                      <a:pt x="9" y="356"/>
                    </a:lnTo>
                    <a:lnTo>
                      <a:pt x="9" y="352"/>
                    </a:lnTo>
                    <a:lnTo>
                      <a:pt x="9" y="349"/>
                    </a:lnTo>
                    <a:lnTo>
                      <a:pt x="9" y="345"/>
                    </a:lnTo>
                    <a:lnTo>
                      <a:pt x="13" y="343"/>
                    </a:lnTo>
                    <a:lnTo>
                      <a:pt x="9" y="341"/>
                    </a:lnTo>
                    <a:lnTo>
                      <a:pt x="9" y="339"/>
                    </a:lnTo>
                    <a:lnTo>
                      <a:pt x="9" y="339"/>
                    </a:lnTo>
                    <a:lnTo>
                      <a:pt x="6" y="339"/>
                    </a:lnTo>
                    <a:lnTo>
                      <a:pt x="6" y="339"/>
                    </a:lnTo>
                    <a:lnTo>
                      <a:pt x="9" y="343"/>
                    </a:lnTo>
                    <a:lnTo>
                      <a:pt x="6" y="345"/>
                    </a:lnTo>
                    <a:lnTo>
                      <a:pt x="6" y="339"/>
                    </a:lnTo>
                    <a:lnTo>
                      <a:pt x="6" y="339"/>
                    </a:lnTo>
                    <a:lnTo>
                      <a:pt x="0" y="339"/>
                    </a:lnTo>
                    <a:lnTo>
                      <a:pt x="0" y="332"/>
                    </a:lnTo>
                    <a:lnTo>
                      <a:pt x="0" y="330"/>
                    </a:lnTo>
                    <a:lnTo>
                      <a:pt x="0" y="322"/>
                    </a:lnTo>
                    <a:lnTo>
                      <a:pt x="4" y="320"/>
                    </a:lnTo>
                    <a:lnTo>
                      <a:pt x="4" y="320"/>
                    </a:lnTo>
                    <a:lnTo>
                      <a:pt x="4" y="320"/>
                    </a:lnTo>
                    <a:lnTo>
                      <a:pt x="4" y="320"/>
                    </a:lnTo>
                    <a:lnTo>
                      <a:pt x="4" y="320"/>
                    </a:lnTo>
                    <a:close/>
                    <a:moveTo>
                      <a:pt x="109" y="309"/>
                    </a:moveTo>
                    <a:lnTo>
                      <a:pt x="111" y="315"/>
                    </a:lnTo>
                    <a:lnTo>
                      <a:pt x="111" y="315"/>
                    </a:lnTo>
                    <a:lnTo>
                      <a:pt x="115" y="309"/>
                    </a:lnTo>
                    <a:lnTo>
                      <a:pt x="117" y="305"/>
                    </a:lnTo>
                    <a:lnTo>
                      <a:pt x="117" y="303"/>
                    </a:lnTo>
                    <a:lnTo>
                      <a:pt x="111" y="303"/>
                    </a:lnTo>
                    <a:lnTo>
                      <a:pt x="109" y="309"/>
                    </a:lnTo>
                    <a:lnTo>
                      <a:pt x="109" y="309"/>
                    </a:lnTo>
                    <a:lnTo>
                      <a:pt x="109" y="309"/>
                    </a:lnTo>
                    <a:lnTo>
                      <a:pt x="109" y="309"/>
                    </a:lnTo>
                    <a:close/>
                    <a:moveTo>
                      <a:pt x="6" y="345"/>
                    </a:moveTo>
                    <a:lnTo>
                      <a:pt x="6" y="349"/>
                    </a:lnTo>
                    <a:lnTo>
                      <a:pt x="6" y="349"/>
                    </a:lnTo>
                    <a:lnTo>
                      <a:pt x="6" y="345"/>
                    </a:lnTo>
                    <a:lnTo>
                      <a:pt x="6" y="345"/>
                    </a:lnTo>
                    <a:lnTo>
                      <a:pt x="6" y="345"/>
                    </a:lnTo>
                    <a:lnTo>
                      <a:pt x="6" y="345"/>
                    </a:lnTo>
                    <a:lnTo>
                      <a:pt x="6" y="345"/>
                    </a:lnTo>
                    <a:close/>
                    <a:moveTo>
                      <a:pt x="124" y="335"/>
                    </a:moveTo>
                    <a:lnTo>
                      <a:pt x="126" y="339"/>
                    </a:lnTo>
                    <a:lnTo>
                      <a:pt x="128" y="335"/>
                    </a:lnTo>
                    <a:lnTo>
                      <a:pt x="126" y="334"/>
                    </a:lnTo>
                    <a:lnTo>
                      <a:pt x="124" y="335"/>
                    </a:lnTo>
                    <a:lnTo>
                      <a:pt x="124" y="335"/>
                    </a:lnTo>
                    <a:lnTo>
                      <a:pt x="124" y="335"/>
                    </a:lnTo>
                    <a:lnTo>
                      <a:pt x="124" y="335"/>
                    </a:lnTo>
                    <a:close/>
                    <a:moveTo>
                      <a:pt x="126" y="352"/>
                    </a:moveTo>
                    <a:lnTo>
                      <a:pt x="128" y="354"/>
                    </a:lnTo>
                    <a:lnTo>
                      <a:pt x="130" y="351"/>
                    </a:lnTo>
                    <a:lnTo>
                      <a:pt x="134" y="351"/>
                    </a:lnTo>
                    <a:lnTo>
                      <a:pt x="130" y="349"/>
                    </a:lnTo>
                    <a:lnTo>
                      <a:pt x="128" y="349"/>
                    </a:lnTo>
                    <a:lnTo>
                      <a:pt x="126" y="352"/>
                    </a:lnTo>
                    <a:lnTo>
                      <a:pt x="126" y="352"/>
                    </a:lnTo>
                    <a:lnTo>
                      <a:pt x="126" y="352"/>
                    </a:lnTo>
                    <a:lnTo>
                      <a:pt x="126" y="352"/>
                    </a:lnTo>
                    <a:close/>
                    <a:moveTo>
                      <a:pt x="115" y="381"/>
                    </a:moveTo>
                    <a:lnTo>
                      <a:pt x="117" y="379"/>
                    </a:lnTo>
                    <a:lnTo>
                      <a:pt x="119" y="377"/>
                    </a:lnTo>
                    <a:lnTo>
                      <a:pt x="117" y="375"/>
                    </a:lnTo>
                    <a:lnTo>
                      <a:pt x="117" y="373"/>
                    </a:lnTo>
                    <a:lnTo>
                      <a:pt x="122" y="369"/>
                    </a:lnTo>
                    <a:lnTo>
                      <a:pt x="122" y="369"/>
                    </a:lnTo>
                    <a:lnTo>
                      <a:pt x="126" y="364"/>
                    </a:lnTo>
                    <a:lnTo>
                      <a:pt x="124" y="364"/>
                    </a:lnTo>
                    <a:lnTo>
                      <a:pt x="122" y="360"/>
                    </a:lnTo>
                    <a:lnTo>
                      <a:pt x="124" y="358"/>
                    </a:lnTo>
                    <a:lnTo>
                      <a:pt x="124" y="356"/>
                    </a:lnTo>
                    <a:lnTo>
                      <a:pt x="126" y="354"/>
                    </a:lnTo>
                    <a:lnTo>
                      <a:pt x="124" y="352"/>
                    </a:lnTo>
                    <a:lnTo>
                      <a:pt x="122" y="354"/>
                    </a:lnTo>
                    <a:lnTo>
                      <a:pt x="117" y="354"/>
                    </a:lnTo>
                    <a:lnTo>
                      <a:pt x="115" y="358"/>
                    </a:lnTo>
                    <a:lnTo>
                      <a:pt x="115" y="360"/>
                    </a:lnTo>
                    <a:lnTo>
                      <a:pt x="111" y="364"/>
                    </a:lnTo>
                    <a:lnTo>
                      <a:pt x="111" y="366"/>
                    </a:lnTo>
                    <a:lnTo>
                      <a:pt x="111" y="369"/>
                    </a:lnTo>
                    <a:lnTo>
                      <a:pt x="115" y="373"/>
                    </a:lnTo>
                    <a:lnTo>
                      <a:pt x="115" y="373"/>
                    </a:lnTo>
                    <a:lnTo>
                      <a:pt x="115" y="375"/>
                    </a:lnTo>
                    <a:lnTo>
                      <a:pt x="115" y="379"/>
                    </a:lnTo>
                    <a:lnTo>
                      <a:pt x="115" y="381"/>
                    </a:lnTo>
                    <a:lnTo>
                      <a:pt x="115" y="381"/>
                    </a:lnTo>
                    <a:lnTo>
                      <a:pt x="115" y="381"/>
                    </a:lnTo>
                    <a:lnTo>
                      <a:pt x="115" y="381"/>
                    </a:lnTo>
                    <a:close/>
                    <a:moveTo>
                      <a:pt x="87" y="390"/>
                    </a:moveTo>
                    <a:lnTo>
                      <a:pt x="87" y="394"/>
                    </a:lnTo>
                    <a:lnTo>
                      <a:pt x="87" y="398"/>
                    </a:lnTo>
                    <a:lnTo>
                      <a:pt x="87" y="398"/>
                    </a:lnTo>
                    <a:lnTo>
                      <a:pt x="90" y="394"/>
                    </a:lnTo>
                    <a:lnTo>
                      <a:pt x="90" y="390"/>
                    </a:lnTo>
                    <a:lnTo>
                      <a:pt x="92" y="383"/>
                    </a:lnTo>
                    <a:lnTo>
                      <a:pt x="94" y="377"/>
                    </a:lnTo>
                    <a:lnTo>
                      <a:pt x="94" y="373"/>
                    </a:lnTo>
                    <a:lnTo>
                      <a:pt x="92" y="369"/>
                    </a:lnTo>
                    <a:lnTo>
                      <a:pt x="90" y="373"/>
                    </a:lnTo>
                    <a:lnTo>
                      <a:pt x="90" y="373"/>
                    </a:lnTo>
                    <a:lnTo>
                      <a:pt x="90" y="381"/>
                    </a:lnTo>
                    <a:lnTo>
                      <a:pt x="87" y="381"/>
                    </a:lnTo>
                    <a:lnTo>
                      <a:pt x="87" y="390"/>
                    </a:lnTo>
                    <a:lnTo>
                      <a:pt x="87" y="390"/>
                    </a:lnTo>
                    <a:lnTo>
                      <a:pt x="87" y="390"/>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7" name="Freeform 9"/>
              <p:cNvSpPr>
                <a:spLocks noEditPoints="1"/>
              </p:cNvSpPr>
              <p:nvPr/>
            </p:nvSpPr>
            <p:spPr bwMode="auto">
              <a:xfrm>
                <a:off x="3075" y="1491"/>
                <a:ext cx="184" cy="331"/>
              </a:xfrm>
              <a:custGeom>
                <a:avLst/>
                <a:gdLst/>
                <a:ahLst/>
                <a:cxnLst>
                  <a:cxn ang="0">
                    <a:pos x="167" y="277"/>
                  </a:cxn>
                  <a:cxn ang="0">
                    <a:pos x="171" y="226"/>
                  </a:cxn>
                  <a:cxn ang="0">
                    <a:pos x="158" y="188"/>
                  </a:cxn>
                  <a:cxn ang="0">
                    <a:pos x="152" y="165"/>
                  </a:cxn>
                  <a:cxn ang="0">
                    <a:pos x="146" y="128"/>
                  </a:cxn>
                  <a:cxn ang="0">
                    <a:pos x="141" y="83"/>
                  </a:cxn>
                  <a:cxn ang="0">
                    <a:pos x="120" y="64"/>
                  </a:cxn>
                  <a:cxn ang="0">
                    <a:pos x="116" y="37"/>
                  </a:cxn>
                  <a:cxn ang="0">
                    <a:pos x="120" y="11"/>
                  </a:cxn>
                  <a:cxn ang="0">
                    <a:pos x="90" y="0"/>
                  </a:cxn>
                  <a:cxn ang="0">
                    <a:pos x="75" y="7"/>
                  </a:cxn>
                  <a:cxn ang="0">
                    <a:pos x="71" y="34"/>
                  </a:cxn>
                  <a:cxn ang="0">
                    <a:pos x="62" y="45"/>
                  </a:cxn>
                  <a:cxn ang="0">
                    <a:pos x="37" y="52"/>
                  </a:cxn>
                  <a:cxn ang="0">
                    <a:pos x="9" y="30"/>
                  </a:cxn>
                  <a:cxn ang="0">
                    <a:pos x="0" y="37"/>
                  </a:cxn>
                  <a:cxn ang="0">
                    <a:pos x="26" y="58"/>
                  </a:cxn>
                  <a:cxn ang="0">
                    <a:pos x="39" y="68"/>
                  </a:cxn>
                  <a:cxn ang="0">
                    <a:pos x="45" y="88"/>
                  </a:cxn>
                  <a:cxn ang="0">
                    <a:pos x="54" y="107"/>
                  </a:cxn>
                  <a:cxn ang="0">
                    <a:pos x="54" y="135"/>
                  </a:cxn>
                  <a:cxn ang="0">
                    <a:pos x="65" y="149"/>
                  </a:cxn>
                  <a:cxn ang="0">
                    <a:pos x="80" y="167"/>
                  </a:cxn>
                  <a:cxn ang="0">
                    <a:pos x="84" y="181"/>
                  </a:cxn>
                  <a:cxn ang="0">
                    <a:pos x="65" y="192"/>
                  </a:cxn>
                  <a:cxn ang="0">
                    <a:pos x="54" y="201"/>
                  </a:cxn>
                  <a:cxn ang="0">
                    <a:pos x="54" y="218"/>
                  </a:cxn>
                  <a:cxn ang="0">
                    <a:pos x="41" y="220"/>
                  </a:cxn>
                  <a:cxn ang="0">
                    <a:pos x="37" y="233"/>
                  </a:cxn>
                  <a:cxn ang="0">
                    <a:pos x="28" y="235"/>
                  </a:cxn>
                  <a:cxn ang="0">
                    <a:pos x="26" y="250"/>
                  </a:cxn>
                  <a:cxn ang="0">
                    <a:pos x="30" y="263"/>
                  </a:cxn>
                  <a:cxn ang="0">
                    <a:pos x="37" y="282"/>
                  </a:cxn>
                  <a:cxn ang="0">
                    <a:pos x="33" y="307"/>
                  </a:cxn>
                  <a:cxn ang="0">
                    <a:pos x="45" y="312"/>
                  </a:cxn>
                  <a:cxn ang="0">
                    <a:pos x="58" y="316"/>
                  </a:cxn>
                  <a:cxn ang="0">
                    <a:pos x="65" y="331"/>
                  </a:cxn>
                  <a:cxn ang="0">
                    <a:pos x="79" y="327"/>
                  </a:cxn>
                  <a:cxn ang="0">
                    <a:pos x="103" y="316"/>
                  </a:cxn>
                  <a:cxn ang="0">
                    <a:pos x="109" y="314"/>
                  </a:cxn>
                  <a:cxn ang="0">
                    <a:pos x="116" y="314"/>
                  </a:cxn>
                  <a:cxn ang="0">
                    <a:pos x="129" y="311"/>
                  </a:cxn>
                  <a:cxn ang="0">
                    <a:pos x="141" y="307"/>
                  </a:cxn>
                  <a:cxn ang="0">
                    <a:pos x="146" y="307"/>
                  </a:cxn>
                  <a:cxn ang="0">
                    <a:pos x="75" y="167"/>
                  </a:cxn>
                  <a:cxn ang="0">
                    <a:pos x="79" y="173"/>
                  </a:cxn>
                  <a:cxn ang="0">
                    <a:pos x="24" y="226"/>
                  </a:cxn>
                  <a:cxn ang="0">
                    <a:pos x="28" y="228"/>
                  </a:cxn>
                  <a:cxn ang="0">
                    <a:pos x="22" y="228"/>
                  </a:cxn>
                  <a:cxn ang="0">
                    <a:pos x="60" y="327"/>
                  </a:cxn>
                  <a:cxn ang="0">
                    <a:pos x="56" y="322"/>
                  </a:cxn>
                  <a:cxn ang="0">
                    <a:pos x="56" y="322"/>
                  </a:cxn>
                  <a:cxn ang="0">
                    <a:pos x="48" y="320"/>
                  </a:cxn>
                  <a:cxn ang="0">
                    <a:pos x="45" y="316"/>
                  </a:cxn>
                  <a:cxn ang="0">
                    <a:pos x="33" y="312"/>
                  </a:cxn>
                  <a:cxn ang="0">
                    <a:pos x="33" y="312"/>
                  </a:cxn>
                  <a:cxn ang="0">
                    <a:pos x="11" y="312"/>
                  </a:cxn>
                  <a:cxn ang="0">
                    <a:pos x="16" y="324"/>
                  </a:cxn>
                  <a:cxn ang="0">
                    <a:pos x="11" y="322"/>
                  </a:cxn>
                </a:cxnLst>
                <a:rect l="0" t="0" r="r" b="b"/>
                <a:pathLst>
                  <a:path w="184" h="331">
                    <a:moveTo>
                      <a:pt x="146" y="307"/>
                    </a:moveTo>
                    <a:lnTo>
                      <a:pt x="144" y="301"/>
                    </a:lnTo>
                    <a:lnTo>
                      <a:pt x="154" y="295"/>
                    </a:lnTo>
                    <a:lnTo>
                      <a:pt x="158" y="292"/>
                    </a:lnTo>
                    <a:lnTo>
                      <a:pt x="163" y="282"/>
                    </a:lnTo>
                    <a:lnTo>
                      <a:pt x="167" y="277"/>
                    </a:lnTo>
                    <a:lnTo>
                      <a:pt x="173" y="267"/>
                    </a:lnTo>
                    <a:lnTo>
                      <a:pt x="180" y="256"/>
                    </a:lnTo>
                    <a:lnTo>
                      <a:pt x="184" y="241"/>
                    </a:lnTo>
                    <a:lnTo>
                      <a:pt x="184" y="235"/>
                    </a:lnTo>
                    <a:lnTo>
                      <a:pt x="176" y="226"/>
                    </a:lnTo>
                    <a:lnTo>
                      <a:pt x="171" y="226"/>
                    </a:lnTo>
                    <a:lnTo>
                      <a:pt x="163" y="213"/>
                    </a:lnTo>
                    <a:lnTo>
                      <a:pt x="163" y="207"/>
                    </a:lnTo>
                    <a:lnTo>
                      <a:pt x="167" y="201"/>
                    </a:lnTo>
                    <a:lnTo>
                      <a:pt x="167" y="196"/>
                    </a:lnTo>
                    <a:lnTo>
                      <a:pt x="163" y="192"/>
                    </a:lnTo>
                    <a:lnTo>
                      <a:pt x="158" y="188"/>
                    </a:lnTo>
                    <a:lnTo>
                      <a:pt x="158" y="182"/>
                    </a:lnTo>
                    <a:lnTo>
                      <a:pt x="160" y="181"/>
                    </a:lnTo>
                    <a:lnTo>
                      <a:pt x="158" y="177"/>
                    </a:lnTo>
                    <a:lnTo>
                      <a:pt x="154" y="175"/>
                    </a:lnTo>
                    <a:lnTo>
                      <a:pt x="152" y="173"/>
                    </a:lnTo>
                    <a:lnTo>
                      <a:pt x="152" y="165"/>
                    </a:lnTo>
                    <a:lnTo>
                      <a:pt x="154" y="162"/>
                    </a:lnTo>
                    <a:lnTo>
                      <a:pt x="152" y="162"/>
                    </a:lnTo>
                    <a:lnTo>
                      <a:pt x="152" y="158"/>
                    </a:lnTo>
                    <a:lnTo>
                      <a:pt x="152" y="147"/>
                    </a:lnTo>
                    <a:lnTo>
                      <a:pt x="154" y="147"/>
                    </a:lnTo>
                    <a:lnTo>
                      <a:pt x="146" y="128"/>
                    </a:lnTo>
                    <a:lnTo>
                      <a:pt x="139" y="113"/>
                    </a:lnTo>
                    <a:lnTo>
                      <a:pt x="137" y="107"/>
                    </a:lnTo>
                    <a:lnTo>
                      <a:pt x="133" y="101"/>
                    </a:lnTo>
                    <a:lnTo>
                      <a:pt x="135" y="92"/>
                    </a:lnTo>
                    <a:lnTo>
                      <a:pt x="139" y="88"/>
                    </a:lnTo>
                    <a:lnTo>
                      <a:pt x="141" y="83"/>
                    </a:lnTo>
                    <a:lnTo>
                      <a:pt x="139" y="81"/>
                    </a:lnTo>
                    <a:lnTo>
                      <a:pt x="129" y="75"/>
                    </a:lnTo>
                    <a:lnTo>
                      <a:pt x="129" y="71"/>
                    </a:lnTo>
                    <a:lnTo>
                      <a:pt x="128" y="68"/>
                    </a:lnTo>
                    <a:lnTo>
                      <a:pt x="122" y="64"/>
                    </a:lnTo>
                    <a:lnTo>
                      <a:pt x="120" y="64"/>
                    </a:lnTo>
                    <a:lnTo>
                      <a:pt x="116" y="54"/>
                    </a:lnTo>
                    <a:lnTo>
                      <a:pt x="112" y="52"/>
                    </a:lnTo>
                    <a:lnTo>
                      <a:pt x="114" y="45"/>
                    </a:lnTo>
                    <a:lnTo>
                      <a:pt x="116" y="41"/>
                    </a:lnTo>
                    <a:lnTo>
                      <a:pt x="112" y="39"/>
                    </a:lnTo>
                    <a:lnTo>
                      <a:pt x="116" y="37"/>
                    </a:lnTo>
                    <a:lnTo>
                      <a:pt x="120" y="35"/>
                    </a:lnTo>
                    <a:lnTo>
                      <a:pt x="120" y="28"/>
                    </a:lnTo>
                    <a:lnTo>
                      <a:pt x="124" y="24"/>
                    </a:lnTo>
                    <a:lnTo>
                      <a:pt x="124" y="19"/>
                    </a:lnTo>
                    <a:lnTo>
                      <a:pt x="120" y="15"/>
                    </a:lnTo>
                    <a:lnTo>
                      <a:pt x="120" y="11"/>
                    </a:lnTo>
                    <a:lnTo>
                      <a:pt x="112" y="11"/>
                    </a:lnTo>
                    <a:lnTo>
                      <a:pt x="109" y="9"/>
                    </a:lnTo>
                    <a:lnTo>
                      <a:pt x="105" y="7"/>
                    </a:lnTo>
                    <a:lnTo>
                      <a:pt x="103" y="3"/>
                    </a:lnTo>
                    <a:lnTo>
                      <a:pt x="99" y="0"/>
                    </a:lnTo>
                    <a:lnTo>
                      <a:pt x="90" y="0"/>
                    </a:lnTo>
                    <a:lnTo>
                      <a:pt x="88" y="3"/>
                    </a:lnTo>
                    <a:lnTo>
                      <a:pt x="88" y="3"/>
                    </a:lnTo>
                    <a:lnTo>
                      <a:pt x="84" y="3"/>
                    </a:lnTo>
                    <a:lnTo>
                      <a:pt x="79" y="3"/>
                    </a:lnTo>
                    <a:lnTo>
                      <a:pt x="75" y="5"/>
                    </a:lnTo>
                    <a:lnTo>
                      <a:pt x="75" y="7"/>
                    </a:lnTo>
                    <a:lnTo>
                      <a:pt x="75" y="11"/>
                    </a:lnTo>
                    <a:lnTo>
                      <a:pt x="71" y="13"/>
                    </a:lnTo>
                    <a:lnTo>
                      <a:pt x="75" y="17"/>
                    </a:lnTo>
                    <a:lnTo>
                      <a:pt x="71" y="19"/>
                    </a:lnTo>
                    <a:lnTo>
                      <a:pt x="71" y="30"/>
                    </a:lnTo>
                    <a:lnTo>
                      <a:pt x="71" y="34"/>
                    </a:lnTo>
                    <a:lnTo>
                      <a:pt x="75" y="37"/>
                    </a:lnTo>
                    <a:lnTo>
                      <a:pt x="71" y="39"/>
                    </a:lnTo>
                    <a:lnTo>
                      <a:pt x="71" y="41"/>
                    </a:lnTo>
                    <a:lnTo>
                      <a:pt x="65" y="41"/>
                    </a:lnTo>
                    <a:lnTo>
                      <a:pt x="64" y="45"/>
                    </a:lnTo>
                    <a:lnTo>
                      <a:pt x="62" y="45"/>
                    </a:lnTo>
                    <a:lnTo>
                      <a:pt x="58" y="51"/>
                    </a:lnTo>
                    <a:lnTo>
                      <a:pt x="54" y="49"/>
                    </a:lnTo>
                    <a:lnTo>
                      <a:pt x="48" y="45"/>
                    </a:lnTo>
                    <a:lnTo>
                      <a:pt x="45" y="45"/>
                    </a:lnTo>
                    <a:lnTo>
                      <a:pt x="41" y="47"/>
                    </a:lnTo>
                    <a:lnTo>
                      <a:pt x="37" y="52"/>
                    </a:lnTo>
                    <a:lnTo>
                      <a:pt x="30" y="52"/>
                    </a:lnTo>
                    <a:lnTo>
                      <a:pt x="24" y="49"/>
                    </a:lnTo>
                    <a:lnTo>
                      <a:pt x="20" y="45"/>
                    </a:lnTo>
                    <a:lnTo>
                      <a:pt x="20" y="41"/>
                    </a:lnTo>
                    <a:lnTo>
                      <a:pt x="11" y="34"/>
                    </a:lnTo>
                    <a:lnTo>
                      <a:pt x="9" y="30"/>
                    </a:lnTo>
                    <a:lnTo>
                      <a:pt x="5" y="30"/>
                    </a:lnTo>
                    <a:lnTo>
                      <a:pt x="3" y="34"/>
                    </a:lnTo>
                    <a:lnTo>
                      <a:pt x="1" y="35"/>
                    </a:lnTo>
                    <a:lnTo>
                      <a:pt x="3" y="37"/>
                    </a:lnTo>
                    <a:lnTo>
                      <a:pt x="1" y="39"/>
                    </a:lnTo>
                    <a:lnTo>
                      <a:pt x="0" y="37"/>
                    </a:lnTo>
                    <a:lnTo>
                      <a:pt x="0" y="39"/>
                    </a:lnTo>
                    <a:lnTo>
                      <a:pt x="3" y="43"/>
                    </a:lnTo>
                    <a:lnTo>
                      <a:pt x="7" y="45"/>
                    </a:lnTo>
                    <a:lnTo>
                      <a:pt x="15" y="54"/>
                    </a:lnTo>
                    <a:lnTo>
                      <a:pt x="20" y="58"/>
                    </a:lnTo>
                    <a:lnTo>
                      <a:pt x="26" y="58"/>
                    </a:lnTo>
                    <a:lnTo>
                      <a:pt x="28" y="58"/>
                    </a:lnTo>
                    <a:lnTo>
                      <a:pt x="32" y="58"/>
                    </a:lnTo>
                    <a:lnTo>
                      <a:pt x="35" y="64"/>
                    </a:lnTo>
                    <a:lnTo>
                      <a:pt x="37" y="68"/>
                    </a:lnTo>
                    <a:lnTo>
                      <a:pt x="39" y="68"/>
                    </a:lnTo>
                    <a:lnTo>
                      <a:pt x="39" y="68"/>
                    </a:lnTo>
                    <a:lnTo>
                      <a:pt x="41" y="71"/>
                    </a:lnTo>
                    <a:lnTo>
                      <a:pt x="45" y="71"/>
                    </a:lnTo>
                    <a:lnTo>
                      <a:pt x="47" y="75"/>
                    </a:lnTo>
                    <a:lnTo>
                      <a:pt x="45" y="79"/>
                    </a:lnTo>
                    <a:lnTo>
                      <a:pt x="45" y="84"/>
                    </a:lnTo>
                    <a:lnTo>
                      <a:pt x="45" y="88"/>
                    </a:lnTo>
                    <a:lnTo>
                      <a:pt x="45" y="92"/>
                    </a:lnTo>
                    <a:lnTo>
                      <a:pt x="48" y="92"/>
                    </a:lnTo>
                    <a:lnTo>
                      <a:pt x="50" y="98"/>
                    </a:lnTo>
                    <a:lnTo>
                      <a:pt x="48" y="98"/>
                    </a:lnTo>
                    <a:lnTo>
                      <a:pt x="48" y="103"/>
                    </a:lnTo>
                    <a:lnTo>
                      <a:pt x="54" y="107"/>
                    </a:lnTo>
                    <a:lnTo>
                      <a:pt x="54" y="115"/>
                    </a:lnTo>
                    <a:lnTo>
                      <a:pt x="54" y="116"/>
                    </a:lnTo>
                    <a:lnTo>
                      <a:pt x="54" y="118"/>
                    </a:lnTo>
                    <a:lnTo>
                      <a:pt x="54" y="128"/>
                    </a:lnTo>
                    <a:lnTo>
                      <a:pt x="50" y="130"/>
                    </a:lnTo>
                    <a:lnTo>
                      <a:pt x="54" y="135"/>
                    </a:lnTo>
                    <a:lnTo>
                      <a:pt x="58" y="135"/>
                    </a:lnTo>
                    <a:lnTo>
                      <a:pt x="60" y="143"/>
                    </a:lnTo>
                    <a:lnTo>
                      <a:pt x="62" y="145"/>
                    </a:lnTo>
                    <a:lnTo>
                      <a:pt x="62" y="149"/>
                    </a:lnTo>
                    <a:lnTo>
                      <a:pt x="64" y="149"/>
                    </a:lnTo>
                    <a:lnTo>
                      <a:pt x="65" y="149"/>
                    </a:lnTo>
                    <a:lnTo>
                      <a:pt x="71" y="152"/>
                    </a:lnTo>
                    <a:lnTo>
                      <a:pt x="79" y="152"/>
                    </a:lnTo>
                    <a:lnTo>
                      <a:pt x="82" y="158"/>
                    </a:lnTo>
                    <a:lnTo>
                      <a:pt x="79" y="162"/>
                    </a:lnTo>
                    <a:lnTo>
                      <a:pt x="80" y="162"/>
                    </a:lnTo>
                    <a:lnTo>
                      <a:pt x="80" y="167"/>
                    </a:lnTo>
                    <a:lnTo>
                      <a:pt x="80" y="169"/>
                    </a:lnTo>
                    <a:lnTo>
                      <a:pt x="86" y="175"/>
                    </a:lnTo>
                    <a:lnTo>
                      <a:pt x="80" y="173"/>
                    </a:lnTo>
                    <a:lnTo>
                      <a:pt x="80" y="175"/>
                    </a:lnTo>
                    <a:lnTo>
                      <a:pt x="84" y="179"/>
                    </a:lnTo>
                    <a:lnTo>
                      <a:pt x="84" y="181"/>
                    </a:lnTo>
                    <a:lnTo>
                      <a:pt x="79" y="179"/>
                    </a:lnTo>
                    <a:lnTo>
                      <a:pt x="75" y="179"/>
                    </a:lnTo>
                    <a:lnTo>
                      <a:pt x="71" y="181"/>
                    </a:lnTo>
                    <a:lnTo>
                      <a:pt x="71" y="182"/>
                    </a:lnTo>
                    <a:lnTo>
                      <a:pt x="65" y="186"/>
                    </a:lnTo>
                    <a:lnTo>
                      <a:pt x="65" y="192"/>
                    </a:lnTo>
                    <a:lnTo>
                      <a:pt x="65" y="192"/>
                    </a:lnTo>
                    <a:lnTo>
                      <a:pt x="60" y="197"/>
                    </a:lnTo>
                    <a:lnTo>
                      <a:pt x="58" y="203"/>
                    </a:lnTo>
                    <a:lnTo>
                      <a:pt x="58" y="203"/>
                    </a:lnTo>
                    <a:lnTo>
                      <a:pt x="56" y="201"/>
                    </a:lnTo>
                    <a:lnTo>
                      <a:pt x="54" y="201"/>
                    </a:lnTo>
                    <a:lnTo>
                      <a:pt x="56" y="205"/>
                    </a:lnTo>
                    <a:lnTo>
                      <a:pt x="54" y="209"/>
                    </a:lnTo>
                    <a:lnTo>
                      <a:pt x="50" y="209"/>
                    </a:lnTo>
                    <a:lnTo>
                      <a:pt x="48" y="213"/>
                    </a:lnTo>
                    <a:lnTo>
                      <a:pt x="48" y="216"/>
                    </a:lnTo>
                    <a:lnTo>
                      <a:pt x="54" y="218"/>
                    </a:lnTo>
                    <a:lnTo>
                      <a:pt x="47" y="216"/>
                    </a:lnTo>
                    <a:lnTo>
                      <a:pt x="47" y="216"/>
                    </a:lnTo>
                    <a:lnTo>
                      <a:pt x="45" y="216"/>
                    </a:lnTo>
                    <a:lnTo>
                      <a:pt x="41" y="220"/>
                    </a:lnTo>
                    <a:lnTo>
                      <a:pt x="45" y="222"/>
                    </a:lnTo>
                    <a:lnTo>
                      <a:pt x="41" y="220"/>
                    </a:lnTo>
                    <a:lnTo>
                      <a:pt x="41" y="222"/>
                    </a:lnTo>
                    <a:lnTo>
                      <a:pt x="41" y="226"/>
                    </a:lnTo>
                    <a:lnTo>
                      <a:pt x="41" y="226"/>
                    </a:lnTo>
                    <a:lnTo>
                      <a:pt x="41" y="230"/>
                    </a:lnTo>
                    <a:lnTo>
                      <a:pt x="39" y="231"/>
                    </a:lnTo>
                    <a:lnTo>
                      <a:pt x="37" y="233"/>
                    </a:lnTo>
                    <a:lnTo>
                      <a:pt x="35" y="231"/>
                    </a:lnTo>
                    <a:lnTo>
                      <a:pt x="33" y="231"/>
                    </a:lnTo>
                    <a:lnTo>
                      <a:pt x="32" y="230"/>
                    </a:lnTo>
                    <a:lnTo>
                      <a:pt x="30" y="231"/>
                    </a:lnTo>
                    <a:lnTo>
                      <a:pt x="30" y="233"/>
                    </a:lnTo>
                    <a:lnTo>
                      <a:pt x="28" y="235"/>
                    </a:lnTo>
                    <a:lnTo>
                      <a:pt x="30" y="237"/>
                    </a:lnTo>
                    <a:lnTo>
                      <a:pt x="28" y="243"/>
                    </a:lnTo>
                    <a:lnTo>
                      <a:pt x="26" y="243"/>
                    </a:lnTo>
                    <a:lnTo>
                      <a:pt x="24" y="246"/>
                    </a:lnTo>
                    <a:lnTo>
                      <a:pt x="26" y="250"/>
                    </a:lnTo>
                    <a:lnTo>
                      <a:pt x="26" y="250"/>
                    </a:lnTo>
                    <a:lnTo>
                      <a:pt x="26" y="256"/>
                    </a:lnTo>
                    <a:lnTo>
                      <a:pt x="26" y="256"/>
                    </a:lnTo>
                    <a:lnTo>
                      <a:pt x="28" y="256"/>
                    </a:lnTo>
                    <a:lnTo>
                      <a:pt x="30" y="258"/>
                    </a:lnTo>
                    <a:lnTo>
                      <a:pt x="30" y="262"/>
                    </a:lnTo>
                    <a:lnTo>
                      <a:pt x="30" y="263"/>
                    </a:lnTo>
                    <a:lnTo>
                      <a:pt x="30" y="267"/>
                    </a:lnTo>
                    <a:lnTo>
                      <a:pt x="30" y="267"/>
                    </a:lnTo>
                    <a:lnTo>
                      <a:pt x="33" y="275"/>
                    </a:lnTo>
                    <a:lnTo>
                      <a:pt x="35" y="277"/>
                    </a:lnTo>
                    <a:lnTo>
                      <a:pt x="33" y="280"/>
                    </a:lnTo>
                    <a:lnTo>
                      <a:pt x="37" y="282"/>
                    </a:lnTo>
                    <a:lnTo>
                      <a:pt x="33" y="284"/>
                    </a:lnTo>
                    <a:lnTo>
                      <a:pt x="35" y="290"/>
                    </a:lnTo>
                    <a:lnTo>
                      <a:pt x="33" y="292"/>
                    </a:lnTo>
                    <a:lnTo>
                      <a:pt x="33" y="299"/>
                    </a:lnTo>
                    <a:lnTo>
                      <a:pt x="35" y="301"/>
                    </a:lnTo>
                    <a:lnTo>
                      <a:pt x="33" y="307"/>
                    </a:lnTo>
                    <a:lnTo>
                      <a:pt x="33" y="311"/>
                    </a:lnTo>
                    <a:lnTo>
                      <a:pt x="35" y="311"/>
                    </a:lnTo>
                    <a:lnTo>
                      <a:pt x="39" y="311"/>
                    </a:lnTo>
                    <a:lnTo>
                      <a:pt x="41" y="311"/>
                    </a:lnTo>
                    <a:lnTo>
                      <a:pt x="41" y="307"/>
                    </a:lnTo>
                    <a:lnTo>
                      <a:pt x="45" y="312"/>
                    </a:lnTo>
                    <a:lnTo>
                      <a:pt x="48" y="312"/>
                    </a:lnTo>
                    <a:lnTo>
                      <a:pt x="50" y="314"/>
                    </a:lnTo>
                    <a:lnTo>
                      <a:pt x="56" y="312"/>
                    </a:lnTo>
                    <a:lnTo>
                      <a:pt x="58" y="314"/>
                    </a:lnTo>
                    <a:lnTo>
                      <a:pt x="56" y="316"/>
                    </a:lnTo>
                    <a:lnTo>
                      <a:pt x="58" y="316"/>
                    </a:lnTo>
                    <a:lnTo>
                      <a:pt x="64" y="314"/>
                    </a:lnTo>
                    <a:lnTo>
                      <a:pt x="64" y="316"/>
                    </a:lnTo>
                    <a:lnTo>
                      <a:pt x="62" y="320"/>
                    </a:lnTo>
                    <a:lnTo>
                      <a:pt x="65" y="327"/>
                    </a:lnTo>
                    <a:lnTo>
                      <a:pt x="65" y="329"/>
                    </a:lnTo>
                    <a:lnTo>
                      <a:pt x="65" y="331"/>
                    </a:lnTo>
                    <a:lnTo>
                      <a:pt x="65" y="331"/>
                    </a:lnTo>
                    <a:lnTo>
                      <a:pt x="69" y="327"/>
                    </a:lnTo>
                    <a:lnTo>
                      <a:pt x="71" y="327"/>
                    </a:lnTo>
                    <a:lnTo>
                      <a:pt x="71" y="329"/>
                    </a:lnTo>
                    <a:lnTo>
                      <a:pt x="75" y="327"/>
                    </a:lnTo>
                    <a:lnTo>
                      <a:pt x="79" y="327"/>
                    </a:lnTo>
                    <a:lnTo>
                      <a:pt x="82" y="324"/>
                    </a:lnTo>
                    <a:lnTo>
                      <a:pt x="86" y="324"/>
                    </a:lnTo>
                    <a:lnTo>
                      <a:pt x="94" y="320"/>
                    </a:lnTo>
                    <a:lnTo>
                      <a:pt x="94" y="316"/>
                    </a:lnTo>
                    <a:lnTo>
                      <a:pt x="99" y="320"/>
                    </a:lnTo>
                    <a:lnTo>
                      <a:pt x="103" y="316"/>
                    </a:lnTo>
                    <a:lnTo>
                      <a:pt x="105" y="312"/>
                    </a:lnTo>
                    <a:lnTo>
                      <a:pt x="105" y="314"/>
                    </a:lnTo>
                    <a:lnTo>
                      <a:pt x="103" y="316"/>
                    </a:lnTo>
                    <a:lnTo>
                      <a:pt x="105" y="320"/>
                    </a:lnTo>
                    <a:lnTo>
                      <a:pt x="109" y="312"/>
                    </a:lnTo>
                    <a:lnTo>
                      <a:pt x="109" y="314"/>
                    </a:lnTo>
                    <a:lnTo>
                      <a:pt x="109" y="311"/>
                    </a:lnTo>
                    <a:lnTo>
                      <a:pt x="109" y="311"/>
                    </a:lnTo>
                    <a:lnTo>
                      <a:pt x="111" y="312"/>
                    </a:lnTo>
                    <a:lnTo>
                      <a:pt x="112" y="312"/>
                    </a:lnTo>
                    <a:lnTo>
                      <a:pt x="114" y="311"/>
                    </a:lnTo>
                    <a:lnTo>
                      <a:pt x="116" y="314"/>
                    </a:lnTo>
                    <a:lnTo>
                      <a:pt x="118" y="312"/>
                    </a:lnTo>
                    <a:lnTo>
                      <a:pt x="118" y="311"/>
                    </a:lnTo>
                    <a:lnTo>
                      <a:pt x="122" y="311"/>
                    </a:lnTo>
                    <a:lnTo>
                      <a:pt x="122" y="312"/>
                    </a:lnTo>
                    <a:lnTo>
                      <a:pt x="124" y="311"/>
                    </a:lnTo>
                    <a:lnTo>
                      <a:pt x="129" y="311"/>
                    </a:lnTo>
                    <a:lnTo>
                      <a:pt x="133" y="312"/>
                    </a:lnTo>
                    <a:lnTo>
                      <a:pt x="137" y="311"/>
                    </a:lnTo>
                    <a:lnTo>
                      <a:pt x="137" y="311"/>
                    </a:lnTo>
                    <a:lnTo>
                      <a:pt x="135" y="307"/>
                    </a:lnTo>
                    <a:lnTo>
                      <a:pt x="137" y="307"/>
                    </a:lnTo>
                    <a:lnTo>
                      <a:pt x="141" y="307"/>
                    </a:lnTo>
                    <a:lnTo>
                      <a:pt x="141" y="311"/>
                    </a:lnTo>
                    <a:lnTo>
                      <a:pt x="144" y="311"/>
                    </a:lnTo>
                    <a:lnTo>
                      <a:pt x="144" y="311"/>
                    </a:lnTo>
                    <a:lnTo>
                      <a:pt x="146" y="307"/>
                    </a:lnTo>
                    <a:lnTo>
                      <a:pt x="146" y="307"/>
                    </a:lnTo>
                    <a:lnTo>
                      <a:pt x="146" y="307"/>
                    </a:lnTo>
                    <a:lnTo>
                      <a:pt x="146" y="307"/>
                    </a:lnTo>
                    <a:close/>
                    <a:moveTo>
                      <a:pt x="79" y="173"/>
                    </a:moveTo>
                    <a:lnTo>
                      <a:pt x="75" y="175"/>
                    </a:lnTo>
                    <a:lnTo>
                      <a:pt x="71" y="175"/>
                    </a:lnTo>
                    <a:lnTo>
                      <a:pt x="71" y="171"/>
                    </a:lnTo>
                    <a:lnTo>
                      <a:pt x="75" y="167"/>
                    </a:lnTo>
                    <a:lnTo>
                      <a:pt x="79" y="169"/>
                    </a:lnTo>
                    <a:lnTo>
                      <a:pt x="79" y="171"/>
                    </a:lnTo>
                    <a:lnTo>
                      <a:pt x="75" y="171"/>
                    </a:lnTo>
                    <a:lnTo>
                      <a:pt x="79" y="173"/>
                    </a:lnTo>
                    <a:lnTo>
                      <a:pt x="79" y="173"/>
                    </a:lnTo>
                    <a:lnTo>
                      <a:pt x="79" y="173"/>
                    </a:lnTo>
                    <a:lnTo>
                      <a:pt x="79" y="173"/>
                    </a:lnTo>
                    <a:close/>
                    <a:moveTo>
                      <a:pt x="24" y="226"/>
                    </a:moveTo>
                    <a:lnTo>
                      <a:pt x="26" y="222"/>
                    </a:lnTo>
                    <a:lnTo>
                      <a:pt x="28" y="226"/>
                    </a:lnTo>
                    <a:lnTo>
                      <a:pt x="26" y="226"/>
                    </a:lnTo>
                    <a:lnTo>
                      <a:pt x="24" y="226"/>
                    </a:lnTo>
                    <a:lnTo>
                      <a:pt x="24" y="226"/>
                    </a:lnTo>
                    <a:lnTo>
                      <a:pt x="24" y="226"/>
                    </a:lnTo>
                    <a:lnTo>
                      <a:pt x="24" y="226"/>
                    </a:lnTo>
                    <a:close/>
                    <a:moveTo>
                      <a:pt x="22" y="228"/>
                    </a:moveTo>
                    <a:lnTo>
                      <a:pt x="26" y="230"/>
                    </a:lnTo>
                    <a:lnTo>
                      <a:pt x="28" y="228"/>
                    </a:lnTo>
                    <a:lnTo>
                      <a:pt x="28" y="231"/>
                    </a:lnTo>
                    <a:lnTo>
                      <a:pt x="24" y="233"/>
                    </a:lnTo>
                    <a:lnTo>
                      <a:pt x="22" y="231"/>
                    </a:lnTo>
                    <a:lnTo>
                      <a:pt x="22" y="228"/>
                    </a:lnTo>
                    <a:lnTo>
                      <a:pt x="22" y="228"/>
                    </a:lnTo>
                    <a:lnTo>
                      <a:pt x="22" y="228"/>
                    </a:lnTo>
                    <a:lnTo>
                      <a:pt x="22" y="228"/>
                    </a:lnTo>
                    <a:close/>
                    <a:moveTo>
                      <a:pt x="62" y="326"/>
                    </a:moveTo>
                    <a:lnTo>
                      <a:pt x="62" y="329"/>
                    </a:lnTo>
                    <a:lnTo>
                      <a:pt x="60" y="331"/>
                    </a:lnTo>
                    <a:lnTo>
                      <a:pt x="58" y="329"/>
                    </a:lnTo>
                    <a:lnTo>
                      <a:pt x="60" y="327"/>
                    </a:lnTo>
                    <a:lnTo>
                      <a:pt x="62" y="326"/>
                    </a:lnTo>
                    <a:lnTo>
                      <a:pt x="62" y="326"/>
                    </a:lnTo>
                    <a:lnTo>
                      <a:pt x="62" y="326"/>
                    </a:lnTo>
                    <a:lnTo>
                      <a:pt x="62" y="326"/>
                    </a:lnTo>
                    <a:close/>
                    <a:moveTo>
                      <a:pt x="56" y="322"/>
                    </a:moveTo>
                    <a:lnTo>
                      <a:pt x="56" y="322"/>
                    </a:lnTo>
                    <a:lnTo>
                      <a:pt x="58" y="324"/>
                    </a:lnTo>
                    <a:lnTo>
                      <a:pt x="56" y="324"/>
                    </a:lnTo>
                    <a:lnTo>
                      <a:pt x="56" y="322"/>
                    </a:lnTo>
                    <a:lnTo>
                      <a:pt x="56" y="322"/>
                    </a:lnTo>
                    <a:lnTo>
                      <a:pt x="56" y="322"/>
                    </a:lnTo>
                    <a:lnTo>
                      <a:pt x="56" y="322"/>
                    </a:lnTo>
                    <a:close/>
                    <a:moveTo>
                      <a:pt x="48" y="320"/>
                    </a:moveTo>
                    <a:lnTo>
                      <a:pt x="54" y="316"/>
                    </a:lnTo>
                    <a:lnTo>
                      <a:pt x="54" y="320"/>
                    </a:lnTo>
                    <a:lnTo>
                      <a:pt x="50" y="322"/>
                    </a:lnTo>
                    <a:lnTo>
                      <a:pt x="48" y="320"/>
                    </a:lnTo>
                    <a:lnTo>
                      <a:pt x="48" y="320"/>
                    </a:lnTo>
                    <a:lnTo>
                      <a:pt x="48" y="320"/>
                    </a:lnTo>
                    <a:lnTo>
                      <a:pt x="48" y="320"/>
                    </a:lnTo>
                    <a:lnTo>
                      <a:pt x="48" y="320"/>
                    </a:lnTo>
                    <a:close/>
                    <a:moveTo>
                      <a:pt x="41" y="311"/>
                    </a:moveTo>
                    <a:lnTo>
                      <a:pt x="45" y="314"/>
                    </a:lnTo>
                    <a:lnTo>
                      <a:pt x="45" y="316"/>
                    </a:lnTo>
                    <a:lnTo>
                      <a:pt x="41" y="314"/>
                    </a:lnTo>
                    <a:lnTo>
                      <a:pt x="41" y="311"/>
                    </a:lnTo>
                    <a:lnTo>
                      <a:pt x="41" y="311"/>
                    </a:lnTo>
                    <a:lnTo>
                      <a:pt x="41" y="311"/>
                    </a:lnTo>
                    <a:lnTo>
                      <a:pt x="41" y="311"/>
                    </a:lnTo>
                    <a:close/>
                    <a:moveTo>
                      <a:pt x="33" y="312"/>
                    </a:moveTo>
                    <a:lnTo>
                      <a:pt x="37" y="312"/>
                    </a:lnTo>
                    <a:lnTo>
                      <a:pt x="35" y="314"/>
                    </a:lnTo>
                    <a:lnTo>
                      <a:pt x="35" y="314"/>
                    </a:lnTo>
                    <a:lnTo>
                      <a:pt x="33" y="312"/>
                    </a:lnTo>
                    <a:lnTo>
                      <a:pt x="33" y="312"/>
                    </a:lnTo>
                    <a:lnTo>
                      <a:pt x="33" y="312"/>
                    </a:lnTo>
                    <a:lnTo>
                      <a:pt x="33" y="312"/>
                    </a:lnTo>
                    <a:close/>
                    <a:moveTo>
                      <a:pt x="9" y="320"/>
                    </a:moveTo>
                    <a:lnTo>
                      <a:pt x="11" y="320"/>
                    </a:lnTo>
                    <a:lnTo>
                      <a:pt x="15" y="320"/>
                    </a:lnTo>
                    <a:lnTo>
                      <a:pt x="11" y="316"/>
                    </a:lnTo>
                    <a:lnTo>
                      <a:pt x="11" y="312"/>
                    </a:lnTo>
                    <a:lnTo>
                      <a:pt x="15" y="312"/>
                    </a:lnTo>
                    <a:lnTo>
                      <a:pt x="20" y="316"/>
                    </a:lnTo>
                    <a:lnTo>
                      <a:pt x="20" y="320"/>
                    </a:lnTo>
                    <a:lnTo>
                      <a:pt x="16" y="320"/>
                    </a:lnTo>
                    <a:lnTo>
                      <a:pt x="16" y="322"/>
                    </a:lnTo>
                    <a:lnTo>
                      <a:pt x="16" y="324"/>
                    </a:lnTo>
                    <a:lnTo>
                      <a:pt x="20" y="324"/>
                    </a:lnTo>
                    <a:lnTo>
                      <a:pt x="20" y="327"/>
                    </a:lnTo>
                    <a:lnTo>
                      <a:pt x="20" y="329"/>
                    </a:lnTo>
                    <a:lnTo>
                      <a:pt x="16" y="326"/>
                    </a:lnTo>
                    <a:lnTo>
                      <a:pt x="11" y="324"/>
                    </a:lnTo>
                    <a:lnTo>
                      <a:pt x="11" y="322"/>
                    </a:lnTo>
                    <a:lnTo>
                      <a:pt x="7" y="320"/>
                    </a:lnTo>
                    <a:lnTo>
                      <a:pt x="9" y="320"/>
                    </a:lnTo>
                    <a:lnTo>
                      <a:pt x="9" y="320"/>
                    </a:lnTo>
                    <a:lnTo>
                      <a:pt x="9" y="320"/>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8" name="Freeform 10"/>
              <p:cNvSpPr>
                <a:spLocks/>
              </p:cNvSpPr>
              <p:nvPr/>
            </p:nvSpPr>
            <p:spPr bwMode="auto">
              <a:xfrm>
                <a:off x="2869" y="1960"/>
                <a:ext cx="158" cy="186"/>
              </a:xfrm>
              <a:custGeom>
                <a:avLst/>
                <a:gdLst/>
                <a:ahLst/>
                <a:cxnLst>
                  <a:cxn ang="0">
                    <a:pos x="57" y="4"/>
                  </a:cxn>
                  <a:cxn ang="0">
                    <a:pos x="66" y="11"/>
                  </a:cxn>
                  <a:cxn ang="0">
                    <a:pos x="70" y="19"/>
                  </a:cxn>
                  <a:cxn ang="0">
                    <a:pos x="78" y="15"/>
                  </a:cxn>
                  <a:cxn ang="0">
                    <a:pos x="87" y="17"/>
                  </a:cxn>
                  <a:cxn ang="0">
                    <a:pos x="79" y="24"/>
                  </a:cxn>
                  <a:cxn ang="0">
                    <a:pos x="89" y="28"/>
                  </a:cxn>
                  <a:cxn ang="0">
                    <a:pos x="104" y="20"/>
                  </a:cxn>
                  <a:cxn ang="0">
                    <a:pos x="110" y="13"/>
                  </a:cxn>
                  <a:cxn ang="0">
                    <a:pos x="110" y="17"/>
                  </a:cxn>
                  <a:cxn ang="0">
                    <a:pos x="117" y="17"/>
                  </a:cxn>
                  <a:cxn ang="0">
                    <a:pos x="128" y="24"/>
                  </a:cxn>
                  <a:cxn ang="0">
                    <a:pos x="138" y="30"/>
                  </a:cxn>
                  <a:cxn ang="0">
                    <a:pos x="147" y="43"/>
                  </a:cxn>
                  <a:cxn ang="0">
                    <a:pos x="147" y="60"/>
                  </a:cxn>
                  <a:cxn ang="0">
                    <a:pos x="151" y="73"/>
                  </a:cxn>
                  <a:cxn ang="0">
                    <a:pos x="157" y="88"/>
                  </a:cxn>
                  <a:cxn ang="0">
                    <a:pos x="151" y="100"/>
                  </a:cxn>
                  <a:cxn ang="0">
                    <a:pos x="138" y="103"/>
                  </a:cxn>
                  <a:cxn ang="0">
                    <a:pos x="123" y="111"/>
                  </a:cxn>
                  <a:cxn ang="0">
                    <a:pos x="108" y="115"/>
                  </a:cxn>
                  <a:cxn ang="0">
                    <a:pos x="115" y="128"/>
                  </a:cxn>
                  <a:cxn ang="0">
                    <a:pos x="126" y="141"/>
                  </a:cxn>
                  <a:cxn ang="0">
                    <a:pos x="138" y="162"/>
                  </a:cxn>
                  <a:cxn ang="0">
                    <a:pos x="123" y="171"/>
                  </a:cxn>
                  <a:cxn ang="0">
                    <a:pos x="126" y="182"/>
                  </a:cxn>
                  <a:cxn ang="0">
                    <a:pos x="110" y="181"/>
                  </a:cxn>
                  <a:cxn ang="0">
                    <a:pos x="96" y="182"/>
                  </a:cxn>
                  <a:cxn ang="0">
                    <a:pos x="83" y="182"/>
                  </a:cxn>
                  <a:cxn ang="0">
                    <a:pos x="70" y="182"/>
                  </a:cxn>
                  <a:cxn ang="0">
                    <a:pos x="59" y="181"/>
                  </a:cxn>
                  <a:cxn ang="0">
                    <a:pos x="53" y="177"/>
                  </a:cxn>
                  <a:cxn ang="0">
                    <a:pos x="44" y="181"/>
                  </a:cxn>
                  <a:cxn ang="0">
                    <a:pos x="34" y="179"/>
                  </a:cxn>
                  <a:cxn ang="0">
                    <a:pos x="36" y="162"/>
                  </a:cxn>
                  <a:cxn ang="0">
                    <a:pos x="38" y="147"/>
                  </a:cxn>
                  <a:cxn ang="0">
                    <a:pos x="23" y="145"/>
                  </a:cxn>
                  <a:cxn ang="0">
                    <a:pos x="14" y="141"/>
                  </a:cxn>
                  <a:cxn ang="0">
                    <a:pos x="8" y="132"/>
                  </a:cxn>
                  <a:cxn ang="0">
                    <a:pos x="6" y="117"/>
                  </a:cxn>
                  <a:cxn ang="0">
                    <a:pos x="2" y="101"/>
                  </a:cxn>
                  <a:cxn ang="0">
                    <a:pos x="2" y="86"/>
                  </a:cxn>
                  <a:cxn ang="0">
                    <a:pos x="15" y="79"/>
                  </a:cxn>
                  <a:cxn ang="0">
                    <a:pos x="19" y="68"/>
                  </a:cxn>
                  <a:cxn ang="0">
                    <a:pos x="14" y="64"/>
                  </a:cxn>
                  <a:cxn ang="0">
                    <a:pos x="23" y="54"/>
                  </a:cxn>
                  <a:cxn ang="0">
                    <a:pos x="25" y="47"/>
                  </a:cxn>
                  <a:cxn ang="0">
                    <a:pos x="19" y="39"/>
                  </a:cxn>
                  <a:cxn ang="0">
                    <a:pos x="34" y="37"/>
                  </a:cxn>
                  <a:cxn ang="0">
                    <a:pos x="38" y="39"/>
                  </a:cxn>
                  <a:cxn ang="0">
                    <a:pos x="42" y="43"/>
                  </a:cxn>
                  <a:cxn ang="0">
                    <a:pos x="44" y="34"/>
                  </a:cxn>
                  <a:cxn ang="0">
                    <a:pos x="57" y="30"/>
                  </a:cxn>
                  <a:cxn ang="0">
                    <a:pos x="57" y="30"/>
                  </a:cxn>
                  <a:cxn ang="0">
                    <a:pos x="53" y="22"/>
                  </a:cxn>
                  <a:cxn ang="0">
                    <a:pos x="44" y="13"/>
                  </a:cxn>
                  <a:cxn ang="0">
                    <a:pos x="47" y="5"/>
                  </a:cxn>
                  <a:cxn ang="0">
                    <a:pos x="44" y="0"/>
                  </a:cxn>
                </a:cxnLst>
                <a:rect l="0" t="0" r="r" b="b"/>
                <a:pathLst>
                  <a:path w="158" h="186">
                    <a:moveTo>
                      <a:pt x="44" y="0"/>
                    </a:moveTo>
                    <a:lnTo>
                      <a:pt x="47" y="0"/>
                    </a:lnTo>
                    <a:lnTo>
                      <a:pt x="57" y="4"/>
                    </a:lnTo>
                    <a:lnTo>
                      <a:pt x="57" y="4"/>
                    </a:lnTo>
                    <a:lnTo>
                      <a:pt x="61" y="4"/>
                    </a:lnTo>
                    <a:lnTo>
                      <a:pt x="64" y="5"/>
                    </a:lnTo>
                    <a:lnTo>
                      <a:pt x="68" y="5"/>
                    </a:lnTo>
                    <a:lnTo>
                      <a:pt x="66" y="11"/>
                    </a:lnTo>
                    <a:lnTo>
                      <a:pt x="64" y="13"/>
                    </a:lnTo>
                    <a:lnTo>
                      <a:pt x="64" y="15"/>
                    </a:lnTo>
                    <a:lnTo>
                      <a:pt x="68" y="17"/>
                    </a:lnTo>
                    <a:lnTo>
                      <a:pt x="70" y="19"/>
                    </a:lnTo>
                    <a:lnTo>
                      <a:pt x="72" y="17"/>
                    </a:lnTo>
                    <a:lnTo>
                      <a:pt x="74" y="15"/>
                    </a:lnTo>
                    <a:lnTo>
                      <a:pt x="76" y="13"/>
                    </a:lnTo>
                    <a:lnTo>
                      <a:pt x="78" y="15"/>
                    </a:lnTo>
                    <a:lnTo>
                      <a:pt x="81" y="19"/>
                    </a:lnTo>
                    <a:lnTo>
                      <a:pt x="83" y="19"/>
                    </a:lnTo>
                    <a:lnTo>
                      <a:pt x="83" y="15"/>
                    </a:lnTo>
                    <a:lnTo>
                      <a:pt x="87" y="17"/>
                    </a:lnTo>
                    <a:lnTo>
                      <a:pt x="87" y="20"/>
                    </a:lnTo>
                    <a:lnTo>
                      <a:pt x="83" y="22"/>
                    </a:lnTo>
                    <a:lnTo>
                      <a:pt x="83" y="22"/>
                    </a:lnTo>
                    <a:lnTo>
                      <a:pt x="79" y="24"/>
                    </a:lnTo>
                    <a:lnTo>
                      <a:pt x="83" y="26"/>
                    </a:lnTo>
                    <a:lnTo>
                      <a:pt x="83" y="26"/>
                    </a:lnTo>
                    <a:lnTo>
                      <a:pt x="89" y="26"/>
                    </a:lnTo>
                    <a:lnTo>
                      <a:pt x="89" y="28"/>
                    </a:lnTo>
                    <a:lnTo>
                      <a:pt x="93" y="28"/>
                    </a:lnTo>
                    <a:lnTo>
                      <a:pt x="96" y="24"/>
                    </a:lnTo>
                    <a:lnTo>
                      <a:pt x="98" y="20"/>
                    </a:lnTo>
                    <a:lnTo>
                      <a:pt x="104" y="20"/>
                    </a:lnTo>
                    <a:lnTo>
                      <a:pt x="104" y="19"/>
                    </a:lnTo>
                    <a:lnTo>
                      <a:pt x="108" y="17"/>
                    </a:lnTo>
                    <a:lnTo>
                      <a:pt x="108" y="15"/>
                    </a:lnTo>
                    <a:lnTo>
                      <a:pt x="110" y="13"/>
                    </a:lnTo>
                    <a:lnTo>
                      <a:pt x="115" y="13"/>
                    </a:lnTo>
                    <a:lnTo>
                      <a:pt x="111" y="15"/>
                    </a:lnTo>
                    <a:lnTo>
                      <a:pt x="110" y="17"/>
                    </a:lnTo>
                    <a:lnTo>
                      <a:pt x="110" y="17"/>
                    </a:lnTo>
                    <a:lnTo>
                      <a:pt x="108" y="19"/>
                    </a:lnTo>
                    <a:lnTo>
                      <a:pt x="108" y="20"/>
                    </a:lnTo>
                    <a:lnTo>
                      <a:pt x="111" y="17"/>
                    </a:lnTo>
                    <a:lnTo>
                      <a:pt x="117" y="17"/>
                    </a:lnTo>
                    <a:lnTo>
                      <a:pt x="119" y="17"/>
                    </a:lnTo>
                    <a:lnTo>
                      <a:pt x="119" y="19"/>
                    </a:lnTo>
                    <a:lnTo>
                      <a:pt x="123" y="19"/>
                    </a:lnTo>
                    <a:lnTo>
                      <a:pt x="128" y="24"/>
                    </a:lnTo>
                    <a:lnTo>
                      <a:pt x="132" y="22"/>
                    </a:lnTo>
                    <a:lnTo>
                      <a:pt x="134" y="26"/>
                    </a:lnTo>
                    <a:lnTo>
                      <a:pt x="134" y="30"/>
                    </a:lnTo>
                    <a:lnTo>
                      <a:pt x="138" y="30"/>
                    </a:lnTo>
                    <a:lnTo>
                      <a:pt x="138" y="30"/>
                    </a:lnTo>
                    <a:lnTo>
                      <a:pt x="143" y="34"/>
                    </a:lnTo>
                    <a:lnTo>
                      <a:pt x="147" y="34"/>
                    </a:lnTo>
                    <a:lnTo>
                      <a:pt x="147" y="43"/>
                    </a:lnTo>
                    <a:lnTo>
                      <a:pt x="147" y="47"/>
                    </a:lnTo>
                    <a:lnTo>
                      <a:pt x="140" y="51"/>
                    </a:lnTo>
                    <a:lnTo>
                      <a:pt x="140" y="52"/>
                    </a:lnTo>
                    <a:lnTo>
                      <a:pt x="147" y="60"/>
                    </a:lnTo>
                    <a:lnTo>
                      <a:pt x="147" y="64"/>
                    </a:lnTo>
                    <a:lnTo>
                      <a:pt x="149" y="68"/>
                    </a:lnTo>
                    <a:lnTo>
                      <a:pt x="149" y="68"/>
                    </a:lnTo>
                    <a:lnTo>
                      <a:pt x="151" y="73"/>
                    </a:lnTo>
                    <a:lnTo>
                      <a:pt x="149" y="75"/>
                    </a:lnTo>
                    <a:lnTo>
                      <a:pt x="153" y="85"/>
                    </a:lnTo>
                    <a:lnTo>
                      <a:pt x="155" y="86"/>
                    </a:lnTo>
                    <a:lnTo>
                      <a:pt x="157" y="88"/>
                    </a:lnTo>
                    <a:lnTo>
                      <a:pt x="158" y="98"/>
                    </a:lnTo>
                    <a:lnTo>
                      <a:pt x="157" y="100"/>
                    </a:lnTo>
                    <a:lnTo>
                      <a:pt x="153" y="100"/>
                    </a:lnTo>
                    <a:lnTo>
                      <a:pt x="151" y="100"/>
                    </a:lnTo>
                    <a:lnTo>
                      <a:pt x="143" y="100"/>
                    </a:lnTo>
                    <a:lnTo>
                      <a:pt x="143" y="103"/>
                    </a:lnTo>
                    <a:lnTo>
                      <a:pt x="143" y="105"/>
                    </a:lnTo>
                    <a:lnTo>
                      <a:pt x="138" y="103"/>
                    </a:lnTo>
                    <a:lnTo>
                      <a:pt x="134" y="103"/>
                    </a:lnTo>
                    <a:lnTo>
                      <a:pt x="132" y="107"/>
                    </a:lnTo>
                    <a:lnTo>
                      <a:pt x="126" y="107"/>
                    </a:lnTo>
                    <a:lnTo>
                      <a:pt x="123" y="111"/>
                    </a:lnTo>
                    <a:lnTo>
                      <a:pt x="121" y="113"/>
                    </a:lnTo>
                    <a:lnTo>
                      <a:pt x="113" y="118"/>
                    </a:lnTo>
                    <a:lnTo>
                      <a:pt x="110" y="117"/>
                    </a:lnTo>
                    <a:lnTo>
                      <a:pt x="108" y="115"/>
                    </a:lnTo>
                    <a:lnTo>
                      <a:pt x="106" y="117"/>
                    </a:lnTo>
                    <a:lnTo>
                      <a:pt x="106" y="118"/>
                    </a:lnTo>
                    <a:lnTo>
                      <a:pt x="111" y="122"/>
                    </a:lnTo>
                    <a:lnTo>
                      <a:pt x="115" y="128"/>
                    </a:lnTo>
                    <a:lnTo>
                      <a:pt x="115" y="132"/>
                    </a:lnTo>
                    <a:lnTo>
                      <a:pt x="117" y="135"/>
                    </a:lnTo>
                    <a:lnTo>
                      <a:pt x="121" y="137"/>
                    </a:lnTo>
                    <a:lnTo>
                      <a:pt x="126" y="141"/>
                    </a:lnTo>
                    <a:lnTo>
                      <a:pt x="128" y="145"/>
                    </a:lnTo>
                    <a:lnTo>
                      <a:pt x="138" y="152"/>
                    </a:lnTo>
                    <a:lnTo>
                      <a:pt x="138" y="156"/>
                    </a:lnTo>
                    <a:lnTo>
                      <a:pt x="138" y="162"/>
                    </a:lnTo>
                    <a:lnTo>
                      <a:pt x="134" y="162"/>
                    </a:lnTo>
                    <a:lnTo>
                      <a:pt x="132" y="164"/>
                    </a:lnTo>
                    <a:lnTo>
                      <a:pt x="128" y="165"/>
                    </a:lnTo>
                    <a:lnTo>
                      <a:pt x="123" y="171"/>
                    </a:lnTo>
                    <a:lnTo>
                      <a:pt x="123" y="173"/>
                    </a:lnTo>
                    <a:lnTo>
                      <a:pt x="128" y="177"/>
                    </a:lnTo>
                    <a:lnTo>
                      <a:pt x="128" y="181"/>
                    </a:lnTo>
                    <a:lnTo>
                      <a:pt x="126" y="182"/>
                    </a:lnTo>
                    <a:lnTo>
                      <a:pt x="123" y="179"/>
                    </a:lnTo>
                    <a:lnTo>
                      <a:pt x="117" y="181"/>
                    </a:lnTo>
                    <a:lnTo>
                      <a:pt x="113" y="179"/>
                    </a:lnTo>
                    <a:lnTo>
                      <a:pt x="110" y="181"/>
                    </a:lnTo>
                    <a:lnTo>
                      <a:pt x="104" y="182"/>
                    </a:lnTo>
                    <a:lnTo>
                      <a:pt x="102" y="182"/>
                    </a:lnTo>
                    <a:lnTo>
                      <a:pt x="98" y="182"/>
                    </a:lnTo>
                    <a:lnTo>
                      <a:pt x="96" y="182"/>
                    </a:lnTo>
                    <a:lnTo>
                      <a:pt x="93" y="182"/>
                    </a:lnTo>
                    <a:lnTo>
                      <a:pt x="87" y="182"/>
                    </a:lnTo>
                    <a:lnTo>
                      <a:pt x="81" y="182"/>
                    </a:lnTo>
                    <a:lnTo>
                      <a:pt x="83" y="182"/>
                    </a:lnTo>
                    <a:lnTo>
                      <a:pt x="81" y="186"/>
                    </a:lnTo>
                    <a:lnTo>
                      <a:pt x="76" y="186"/>
                    </a:lnTo>
                    <a:lnTo>
                      <a:pt x="74" y="182"/>
                    </a:lnTo>
                    <a:lnTo>
                      <a:pt x="70" y="182"/>
                    </a:lnTo>
                    <a:lnTo>
                      <a:pt x="68" y="182"/>
                    </a:lnTo>
                    <a:lnTo>
                      <a:pt x="66" y="182"/>
                    </a:lnTo>
                    <a:lnTo>
                      <a:pt x="64" y="182"/>
                    </a:lnTo>
                    <a:lnTo>
                      <a:pt x="59" y="181"/>
                    </a:lnTo>
                    <a:lnTo>
                      <a:pt x="57" y="179"/>
                    </a:lnTo>
                    <a:lnTo>
                      <a:pt x="57" y="181"/>
                    </a:lnTo>
                    <a:lnTo>
                      <a:pt x="53" y="181"/>
                    </a:lnTo>
                    <a:lnTo>
                      <a:pt x="53" y="177"/>
                    </a:lnTo>
                    <a:lnTo>
                      <a:pt x="47" y="179"/>
                    </a:lnTo>
                    <a:lnTo>
                      <a:pt x="47" y="181"/>
                    </a:lnTo>
                    <a:lnTo>
                      <a:pt x="47" y="182"/>
                    </a:lnTo>
                    <a:lnTo>
                      <a:pt x="44" y="181"/>
                    </a:lnTo>
                    <a:lnTo>
                      <a:pt x="38" y="182"/>
                    </a:lnTo>
                    <a:lnTo>
                      <a:pt x="36" y="182"/>
                    </a:lnTo>
                    <a:lnTo>
                      <a:pt x="36" y="182"/>
                    </a:lnTo>
                    <a:lnTo>
                      <a:pt x="34" y="179"/>
                    </a:lnTo>
                    <a:lnTo>
                      <a:pt x="30" y="177"/>
                    </a:lnTo>
                    <a:lnTo>
                      <a:pt x="30" y="171"/>
                    </a:lnTo>
                    <a:lnTo>
                      <a:pt x="32" y="164"/>
                    </a:lnTo>
                    <a:lnTo>
                      <a:pt x="36" y="162"/>
                    </a:lnTo>
                    <a:lnTo>
                      <a:pt x="36" y="158"/>
                    </a:lnTo>
                    <a:lnTo>
                      <a:pt x="38" y="152"/>
                    </a:lnTo>
                    <a:lnTo>
                      <a:pt x="42" y="149"/>
                    </a:lnTo>
                    <a:lnTo>
                      <a:pt x="38" y="147"/>
                    </a:lnTo>
                    <a:lnTo>
                      <a:pt x="34" y="147"/>
                    </a:lnTo>
                    <a:lnTo>
                      <a:pt x="30" y="145"/>
                    </a:lnTo>
                    <a:lnTo>
                      <a:pt x="27" y="147"/>
                    </a:lnTo>
                    <a:lnTo>
                      <a:pt x="23" y="145"/>
                    </a:lnTo>
                    <a:lnTo>
                      <a:pt x="21" y="145"/>
                    </a:lnTo>
                    <a:lnTo>
                      <a:pt x="17" y="147"/>
                    </a:lnTo>
                    <a:lnTo>
                      <a:pt x="14" y="143"/>
                    </a:lnTo>
                    <a:lnTo>
                      <a:pt x="14" y="141"/>
                    </a:lnTo>
                    <a:lnTo>
                      <a:pt x="12" y="139"/>
                    </a:lnTo>
                    <a:lnTo>
                      <a:pt x="12" y="139"/>
                    </a:lnTo>
                    <a:lnTo>
                      <a:pt x="12" y="132"/>
                    </a:lnTo>
                    <a:lnTo>
                      <a:pt x="8" y="132"/>
                    </a:lnTo>
                    <a:lnTo>
                      <a:pt x="8" y="128"/>
                    </a:lnTo>
                    <a:lnTo>
                      <a:pt x="2" y="122"/>
                    </a:lnTo>
                    <a:lnTo>
                      <a:pt x="2" y="122"/>
                    </a:lnTo>
                    <a:lnTo>
                      <a:pt x="6" y="117"/>
                    </a:lnTo>
                    <a:lnTo>
                      <a:pt x="2" y="113"/>
                    </a:lnTo>
                    <a:lnTo>
                      <a:pt x="2" y="111"/>
                    </a:lnTo>
                    <a:lnTo>
                      <a:pt x="0" y="105"/>
                    </a:lnTo>
                    <a:lnTo>
                      <a:pt x="2" y="101"/>
                    </a:lnTo>
                    <a:lnTo>
                      <a:pt x="0" y="101"/>
                    </a:lnTo>
                    <a:lnTo>
                      <a:pt x="2" y="98"/>
                    </a:lnTo>
                    <a:lnTo>
                      <a:pt x="2" y="92"/>
                    </a:lnTo>
                    <a:lnTo>
                      <a:pt x="2" y="86"/>
                    </a:lnTo>
                    <a:lnTo>
                      <a:pt x="6" y="83"/>
                    </a:lnTo>
                    <a:lnTo>
                      <a:pt x="8" y="79"/>
                    </a:lnTo>
                    <a:lnTo>
                      <a:pt x="12" y="79"/>
                    </a:lnTo>
                    <a:lnTo>
                      <a:pt x="15" y="79"/>
                    </a:lnTo>
                    <a:lnTo>
                      <a:pt x="19" y="77"/>
                    </a:lnTo>
                    <a:lnTo>
                      <a:pt x="17" y="73"/>
                    </a:lnTo>
                    <a:lnTo>
                      <a:pt x="19" y="73"/>
                    </a:lnTo>
                    <a:lnTo>
                      <a:pt x="19" y="68"/>
                    </a:lnTo>
                    <a:lnTo>
                      <a:pt x="21" y="68"/>
                    </a:lnTo>
                    <a:lnTo>
                      <a:pt x="19" y="64"/>
                    </a:lnTo>
                    <a:lnTo>
                      <a:pt x="14" y="64"/>
                    </a:lnTo>
                    <a:lnTo>
                      <a:pt x="14" y="64"/>
                    </a:lnTo>
                    <a:lnTo>
                      <a:pt x="15" y="60"/>
                    </a:lnTo>
                    <a:lnTo>
                      <a:pt x="19" y="62"/>
                    </a:lnTo>
                    <a:lnTo>
                      <a:pt x="23" y="60"/>
                    </a:lnTo>
                    <a:lnTo>
                      <a:pt x="23" y="54"/>
                    </a:lnTo>
                    <a:lnTo>
                      <a:pt x="23" y="52"/>
                    </a:lnTo>
                    <a:lnTo>
                      <a:pt x="25" y="49"/>
                    </a:lnTo>
                    <a:lnTo>
                      <a:pt x="25" y="49"/>
                    </a:lnTo>
                    <a:lnTo>
                      <a:pt x="25" y="47"/>
                    </a:lnTo>
                    <a:lnTo>
                      <a:pt x="25" y="47"/>
                    </a:lnTo>
                    <a:lnTo>
                      <a:pt x="25" y="43"/>
                    </a:lnTo>
                    <a:lnTo>
                      <a:pt x="21" y="43"/>
                    </a:lnTo>
                    <a:lnTo>
                      <a:pt x="19" y="39"/>
                    </a:lnTo>
                    <a:lnTo>
                      <a:pt x="19" y="37"/>
                    </a:lnTo>
                    <a:lnTo>
                      <a:pt x="29" y="34"/>
                    </a:lnTo>
                    <a:lnTo>
                      <a:pt x="30" y="34"/>
                    </a:lnTo>
                    <a:lnTo>
                      <a:pt x="34" y="37"/>
                    </a:lnTo>
                    <a:lnTo>
                      <a:pt x="34" y="39"/>
                    </a:lnTo>
                    <a:lnTo>
                      <a:pt x="38" y="43"/>
                    </a:lnTo>
                    <a:lnTo>
                      <a:pt x="38" y="43"/>
                    </a:lnTo>
                    <a:lnTo>
                      <a:pt x="38" y="39"/>
                    </a:lnTo>
                    <a:lnTo>
                      <a:pt x="38" y="37"/>
                    </a:lnTo>
                    <a:lnTo>
                      <a:pt x="38" y="34"/>
                    </a:lnTo>
                    <a:lnTo>
                      <a:pt x="44" y="39"/>
                    </a:lnTo>
                    <a:lnTo>
                      <a:pt x="42" y="43"/>
                    </a:lnTo>
                    <a:lnTo>
                      <a:pt x="47" y="47"/>
                    </a:lnTo>
                    <a:lnTo>
                      <a:pt x="44" y="43"/>
                    </a:lnTo>
                    <a:lnTo>
                      <a:pt x="44" y="39"/>
                    </a:lnTo>
                    <a:lnTo>
                      <a:pt x="44" y="34"/>
                    </a:lnTo>
                    <a:lnTo>
                      <a:pt x="47" y="30"/>
                    </a:lnTo>
                    <a:lnTo>
                      <a:pt x="47" y="30"/>
                    </a:lnTo>
                    <a:lnTo>
                      <a:pt x="53" y="34"/>
                    </a:lnTo>
                    <a:lnTo>
                      <a:pt x="57" y="30"/>
                    </a:lnTo>
                    <a:lnTo>
                      <a:pt x="61" y="37"/>
                    </a:lnTo>
                    <a:lnTo>
                      <a:pt x="70" y="39"/>
                    </a:lnTo>
                    <a:lnTo>
                      <a:pt x="62" y="34"/>
                    </a:lnTo>
                    <a:lnTo>
                      <a:pt x="57" y="30"/>
                    </a:lnTo>
                    <a:lnTo>
                      <a:pt x="53" y="30"/>
                    </a:lnTo>
                    <a:lnTo>
                      <a:pt x="47" y="28"/>
                    </a:lnTo>
                    <a:lnTo>
                      <a:pt x="47" y="24"/>
                    </a:lnTo>
                    <a:lnTo>
                      <a:pt x="53" y="22"/>
                    </a:lnTo>
                    <a:lnTo>
                      <a:pt x="47" y="20"/>
                    </a:lnTo>
                    <a:lnTo>
                      <a:pt x="47" y="17"/>
                    </a:lnTo>
                    <a:lnTo>
                      <a:pt x="44" y="17"/>
                    </a:lnTo>
                    <a:lnTo>
                      <a:pt x="44" y="13"/>
                    </a:lnTo>
                    <a:lnTo>
                      <a:pt x="47" y="13"/>
                    </a:lnTo>
                    <a:lnTo>
                      <a:pt x="53" y="13"/>
                    </a:lnTo>
                    <a:lnTo>
                      <a:pt x="47" y="9"/>
                    </a:lnTo>
                    <a:lnTo>
                      <a:pt x="47" y="5"/>
                    </a:lnTo>
                    <a:lnTo>
                      <a:pt x="47" y="5"/>
                    </a:lnTo>
                    <a:lnTo>
                      <a:pt x="44" y="5"/>
                    </a:lnTo>
                    <a:lnTo>
                      <a:pt x="44" y="0"/>
                    </a:lnTo>
                    <a:lnTo>
                      <a:pt x="44" y="0"/>
                    </a:lnTo>
                    <a:lnTo>
                      <a:pt x="44" y="0"/>
                    </a:lnTo>
                    <a:lnTo>
                      <a:pt x="44" y="0"/>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9" name="Freeform 11"/>
              <p:cNvSpPr>
                <a:spLocks/>
              </p:cNvSpPr>
              <p:nvPr/>
            </p:nvSpPr>
            <p:spPr bwMode="auto">
              <a:xfrm>
                <a:off x="3122" y="2124"/>
                <a:ext cx="163" cy="107"/>
              </a:xfrm>
              <a:custGeom>
                <a:avLst/>
                <a:gdLst/>
                <a:ahLst/>
                <a:cxnLst>
                  <a:cxn ang="0">
                    <a:pos x="41" y="5"/>
                  </a:cxn>
                  <a:cxn ang="0">
                    <a:pos x="47" y="3"/>
                  </a:cxn>
                  <a:cxn ang="0">
                    <a:pos x="60" y="9"/>
                  </a:cxn>
                  <a:cxn ang="0">
                    <a:pos x="64" y="13"/>
                  </a:cxn>
                  <a:cxn ang="0">
                    <a:pos x="75" y="13"/>
                  </a:cxn>
                  <a:cxn ang="0">
                    <a:pos x="82" y="9"/>
                  </a:cxn>
                  <a:cxn ang="0">
                    <a:pos x="99" y="5"/>
                  </a:cxn>
                  <a:cxn ang="0">
                    <a:pos x="113" y="9"/>
                  </a:cxn>
                  <a:cxn ang="0">
                    <a:pos x="122" y="20"/>
                  </a:cxn>
                  <a:cxn ang="0">
                    <a:pos x="133" y="34"/>
                  </a:cxn>
                  <a:cxn ang="0">
                    <a:pos x="133" y="54"/>
                  </a:cxn>
                  <a:cxn ang="0">
                    <a:pos x="141" y="66"/>
                  </a:cxn>
                  <a:cxn ang="0">
                    <a:pos x="152" y="67"/>
                  </a:cxn>
                  <a:cxn ang="0">
                    <a:pos x="160" y="64"/>
                  </a:cxn>
                  <a:cxn ang="0">
                    <a:pos x="163" y="69"/>
                  </a:cxn>
                  <a:cxn ang="0">
                    <a:pos x="163" y="73"/>
                  </a:cxn>
                  <a:cxn ang="0">
                    <a:pos x="158" y="79"/>
                  </a:cxn>
                  <a:cxn ang="0">
                    <a:pos x="150" y="82"/>
                  </a:cxn>
                  <a:cxn ang="0">
                    <a:pos x="150" y="88"/>
                  </a:cxn>
                  <a:cxn ang="0">
                    <a:pos x="146" y="98"/>
                  </a:cxn>
                  <a:cxn ang="0">
                    <a:pos x="145" y="101"/>
                  </a:cxn>
                  <a:cxn ang="0">
                    <a:pos x="139" y="98"/>
                  </a:cxn>
                  <a:cxn ang="0">
                    <a:pos x="133" y="96"/>
                  </a:cxn>
                  <a:cxn ang="0">
                    <a:pos x="122" y="94"/>
                  </a:cxn>
                  <a:cxn ang="0">
                    <a:pos x="105" y="99"/>
                  </a:cxn>
                  <a:cxn ang="0">
                    <a:pos x="99" y="103"/>
                  </a:cxn>
                  <a:cxn ang="0">
                    <a:pos x="90" y="103"/>
                  </a:cxn>
                  <a:cxn ang="0">
                    <a:pos x="82" y="103"/>
                  </a:cxn>
                  <a:cxn ang="0">
                    <a:pos x="75" y="103"/>
                  </a:cxn>
                  <a:cxn ang="0">
                    <a:pos x="64" y="103"/>
                  </a:cxn>
                  <a:cxn ang="0">
                    <a:pos x="60" y="101"/>
                  </a:cxn>
                  <a:cxn ang="0">
                    <a:pos x="50" y="103"/>
                  </a:cxn>
                  <a:cxn ang="0">
                    <a:pos x="50" y="99"/>
                  </a:cxn>
                  <a:cxn ang="0">
                    <a:pos x="49" y="94"/>
                  </a:cxn>
                  <a:cxn ang="0">
                    <a:pos x="41" y="90"/>
                  </a:cxn>
                  <a:cxn ang="0">
                    <a:pos x="45" y="82"/>
                  </a:cxn>
                  <a:cxn ang="0">
                    <a:pos x="35" y="86"/>
                  </a:cxn>
                  <a:cxn ang="0">
                    <a:pos x="28" y="86"/>
                  </a:cxn>
                  <a:cxn ang="0">
                    <a:pos x="20" y="79"/>
                  </a:cxn>
                  <a:cxn ang="0">
                    <a:pos x="22" y="75"/>
                  </a:cxn>
                  <a:cxn ang="0">
                    <a:pos x="11" y="67"/>
                  </a:cxn>
                  <a:cxn ang="0">
                    <a:pos x="5" y="58"/>
                  </a:cxn>
                  <a:cxn ang="0">
                    <a:pos x="0" y="54"/>
                  </a:cxn>
                  <a:cxn ang="0">
                    <a:pos x="9" y="50"/>
                  </a:cxn>
                  <a:cxn ang="0">
                    <a:pos x="13" y="47"/>
                  </a:cxn>
                  <a:cxn ang="0">
                    <a:pos x="17" y="39"/>
                  </a:cxn>
                  <a:cxn ang="0">
                    <a:pos x="28" y="18"/>
                  </a:cxn>
                  <a:cxn ang="0">
                    <a:pos x="35" y="11"/>
                  </a:cxn>
                  <a:cxn ang="0">
                    <a:pos x="39" y="5"/>
                  </a:cxn>
                  <a:cxn ang="0">
                    <a:pos x="39" y="5"/>
                  </a:cxn>
                </a:cxnLst>
                <a:rect l="0" t="0" r="r" b="b"/>
                <a:pathLst>
                  <a:path w="163" h="107">
                    <a:moveTo>
                      <a:pt x="39" y="5"/>
                    </a:moveTo>
                    <a:lnTo>
                      <a:pt x="41" y="5"/>
                    </a:lnTo>
                    <a:lnTo>
                      <a:pt x="43" y="3"/>
                    </a:lnTo>
                    <a:lnTo>
                      <a:pt x="47" y="3"/>
                    </a:lnTo>
                    <a:lnTo>
                      <a:pt x="54" y="5"/>
                    </a:lnTo>
                    <a:lnTo>
                      <a:pt x="60" y="9"/>
                    </a:lnTo>
                    <a:lnTo>
                      <a:pt x="64" y="9"/>
                    </a:lnTo>
                    <a:lnTo>
                      <a:pt x="64" y="13"/>
                    </a:lnTo>
                    <a:lnTo>
                      <a:pt x="69" y="15"/>
                    </a:lnTo>
                    <a:lnTo>
                      <a:pt x="75" y="13"/>
                    </a:lnTo>
                    <a:lnTo>
                      <a:pt x="79" y="11"/>
                    </a:lnTo>
                    <a:lnTo>
                      <a:pt x="82" y="9"/>
                    </a:lnTo>
                    <a:lnTo>
                      <a:pt x="94" y="5"/>
                    </a:lnTo>
                    <a:lnTo>
                      <a:pt x="99" y="5"/>
                    </a:lnTo>
                    <a:lnTo>
                      <a:pt x="111" y="0"/>
                    </a:lnTo>
                    <a:lnTo>
                      <a:pt x="113" y="9"/>
                    </a:lnTo>
                    <a:lnTo>
                      <a:pt x="120" y="17"/>
                    </a:lnTo>
                    <a:lnTo>
                      <a:pt x="122" y="20"/>
                    </a:lnTo>
                    <a:lnTo>
                      <a:pt x="129" y="28"/>
                    </a:lnTo>
                    <a:lnTo>
                      <a:pt x="133" y="34"/>
                    </a:lnTo>
                    <a:lnTo>
                      <a:pt x="135" y="37"/>
                    </a:lnTo>
                    <a:lnTo>
                      <a:pt x="133" y="54"/>
                    </a:lnTo>
                    <a:lnTo>
                      <a:pt x="137" y="62"/>
                    </a:lnTo>
                    <a:lnTo>
                      <a:pt x="141" y="66"/>
                    </a:lnTo>
                    <a:lnTo>
                      <a:pt x="146" y="67"/>
                    </a:lnTo>
                    <a:lnTo>
                      <a:pt x="152" y="67"/>
                    </a:lnTo>
                    <a:lnTo>
                      <a:pt x="154" y="66"/>
                    </a:lnTo>
                    <a:lnTo>
                      <a:pt x="160" y="64"/>
                    </a:lnTo>
                    <a:lnTo>
                      <a:pt x="163" y="67"/>
                    </a:lnTo>
                    <a:lnTo>
                      <a:pt x="163" y="69"/>
                    </a:lnTo>
                    <a:lnTo>
                      <a:pt x="163" y="71"/>
                    </a:lnTo>
                    <a:lnTo>
                      <a:pt x="163" y="73"/>
                    </a:lnTo>
                    <a:lnTo>
                      <a:pt x="163" y="79"/>
                    </a:lnTo>
                    <a:lnTo>
                      <a:pt x="158" y="79"/>
                    </a:lnTo>
                    <a:lnTo>
                      <a:pt x="152" y="79"/>
                    </a:lnTo>
                    <a:lnTo>
                      <a:pt x="150" y="82"/>
                    </a:lnTo>
                    <a:lnTo>
                      <a:pt x="148" y="86"/>
                    </a:lnTo>
                    <a:lnTo>
                      <a:pt x="150" y="88"/>
                    </a:lnTo>
                    <a:lnTo>
                      <a:pt x="150" y="94"/>
                    </a:lnTo>
                    <a:lnTo>
                      <a:pt x="146" y="98"/>
                    </a:lnTo>
                    <a:lnTo>
                      <a:pt x="148" y="101"/>
                    </a:lnTo>
                    <a:lnTo>
                      <a:pt x="145" y="101"/>
                    </a:lnTo>
                    <a:lnTo>
                      <a:pt x="143" y="99"/>
                    </a:lnTo>
                    <a:lnTo>
                      <a:pt x="139" y="98"/>
                    </a:lnTo>
                    <a:lnTo>
                      <a:pt x="135" y="99"/>
                    </a:lnTo>
                    <a:lnTo>
                      <a:pt x="133" y="96"/>
                    </a:lnTo>
                    <a:lnTo>
                      <a:pt x="128" y="94"/>
                    </a:lnTo>
                    <a:lnTo>
                      <a:pt x="122" y="94"/>
                    </a:lnTo>
                    <a:lnTo>
                      <a:pt x="116" y="94"/>
                    </a:lnTo>
                    <a:lnTo>
                      <a:pt x="105" y="99"/>
                    </a:lnTo>
                    <a:lnTo>
                      <a:pt x="103" y="103"/>
                    </a:lnTo>
                    <a:lnTo>
                      <a:pt x="99" y="103"/>
                    </a:lnTo>
                    <a:lnTo>
                      <a:pt x="97" y="103"/>
                    </a:lnTo>
                    <a:lnTo>
                      <a:pt x="90" y="103"/>
                    </a:lnTo>
                    <a:lnTo>
                      <a:pt x="86" y="103"/>
                    </a:lnTo>
                    <a:lnTo>
                      <a:pt x="82" y="103"/>
                    </a:lnTo>
                    <a:lnTo>
                      <a:pt x="79" y="103"/>
                    </a:lnTo>
                    <a:lnTo>
                      <a:pt x="75" y="103"/>
                    </a:lnTo>
                    <a:lnTo>
                      <a:pt x="69" y="107"/>
                    </a:lnTo>
                    <a:lnTo>
                      <a:pt x="64" y="103"/>
                    </a:lnTo>
                    <a:lnTo>
                      <a:pt x="64" y="103"/>
                    </a:lnTo>
                    <a:lnTo>
                      <a:pt x="60" y="101"/>
                    </a:lnTo>
                    <a:lnTo>
                      <a:pt x="56" y="101"/>
                    </a:lnTo>
                    <a:lnTo>
                      <a:pt x="50" y="103"/>
                    </a:lnTo>
                    <a:lnTo>
                      <a:pt x="49" y="101"/>
                    </a:lnTo>
                    <a:lnTo>
                      <a:pt x="50" y="99"/>
                    </a:lnTo>
                    <a:lnTo>
                      <a:pt x="50" y="96"/>
                    </a:lnTo>
                    <a:lnTo>
                      <a:pt x="49" y="94"/>
                    </a:lnTo>
                    <a:lnTo>
                      <a:pt x="43" y="94"/>
                    </a:lnTo>
                    <a:lnTo>
                      <a:pt x="41" y="90"/>
                    </a:lnTo>
                    <a:lnTo>
                      <a:pt x="41" y="86"/>
                    </a:lnTo>
                    <a:lnTo>
                      <a:pt x="45" y="82"/>
                    </a:lnTo>
                    <a:lnTo>
                      <a:pt x="39" y="82"/>
                    </a:lnTo>
                    <a:lnTo>
                      <a:pt x="35" y="86"/>
                    </a:lnTo>
                    <a:lnTo>
                      <a:pt x="33" y="82"/>
                    </a:lnTo>
                    <a:lnTo>
                      <a:pt x="28" y="86"/>
                    </a:lnTo>
                    <a:lnTo>
                      <a:pt x="26" y="82"/>
                    </a:lnTo>
                    <a:lnTo>
                      <a:pt x="20" y="79"/>
                    </a:lnTo>
                    <a:lnTo>
                      <a:pt x="20" y="79"/>
                    </a:lnTo>
                    <a:lnTo>
                      <a:pt x="22" y="75"/>
                    </a:lnTo>
                    <a:lnTo>
                      <a:pt x="17" y="69"/>
                    </a:lnTo>
                    <a:lnTo>
                      <a:pt x="11" y="67"/>
                    </a:lnTo>
                    <a:lnTo>
                      <a:pt x="11" y="64"/>
                    </a:lnTo>
                    <a:lnTo>
                      <a:pt x="5" y="58"/>
                    </a:lnTo>
                    <a:lnTo>
                      <a:pt x="5" y="54"/>
                    </a:lnTo>
                    <a:lnTo>
                      <a:pt x="0" y="54"/>
                    </a:lnTo>
                    <a:lnTo>
                      <a:pt x="5" y="50"/>
                    </a:lnTo>
                    <a:lnTo>
                      <a:pt x="9" y="50"/>
                    </a:lnTo>
                    <a:lnTo>
                      <a:pt x="9" y="47"/>
                    </a:lnTo>
                    <a:lnTo>
                      <a:pt x="13" y="47"/>
                    </a:lnTo>
                    <a:lnTo>
                      <a:pt x="17" y="43"/>
                    </a:lnTo>
                    <a:lnTo>
                      <a:pt x="17" y="39"/>
                    </a:lnTo>
                    <a:lnTo>
                      <a:pt x="24" y="30"/>
                    </a:lnTo>
                    <a:lnTo>
                      <a:pt x="28" y="18"/>
                    </a:lnTo>
                    <a:lnTo>
                      <a:pt x="30" y="11"/>
                    </a:lnTo>
                    <a:lnTo>
                      <a:pt x="35" y="11"/>
                    </a:lnTo>
                    <a:lnTo>
                      <a:pt x="39" y="5"/>
                    </a:lnTo>
                    <a:lnTo>
                      <a:pt x="39" y="5"/>
                    </a:lnTo>
                    <a:lnTo>
                      <a:pt x="39" y="5"/>
                    </a:lnTo>
                    <a:lnTo>
                      <a:pt x="39" y="5"/>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0" name="Freeform 12"/>
              <p:cNvSpPr>
                <a:spLocks/>
              </p:cNvSpPr>
              <p:nvPr/>
            </p:nvSpPr>
            <p:spPr bwMode="auto">
              <a:xfrm>
                <a:off x="3122" y="2124"/>
                <a:ext cx="163" cy="107"/>
              </a:xfrm>
              <a:custGeom>
                <a:avLst/>
                <a:gdLst/>
                <a:ahLst/>
                <a:cxnLst>
                  <a:cxn ang="0">
                    <a:pos x="41" y="5"/>
                  </a:cxn>
                  <a:cxn ang="0">
                    <a:pos x="47" y="3"/>
                  </a:cxn>
                  <a:cxn ang="0">
                    <a:pos x="60" y="9"/>
                  </a:cxn>
                  <a:cxn ang="0">
                    <a:pos x="64" y="13"/>
                  </a:cxn>
                  <a:cxn ang="0">
                    <a:pos x="75" y="13"/>
                  </a:cxn>
                  <a:cxn ang="0">
                    <a:pos x="82" y="9"/>
                  </a:cxn>
                  <a:cxn ang="0">
                    <a:pos x="99" y="5"/>
                  </a:cxn>
                  <a:cxn ang="0">
                    <a:pos x="113" y="9"/>
                  </a:cxn>
                  <a:cxn ang="0">
                    <a:pos x="122" y="20"/>
                  </a:cxn>
                  <a:cxn ang="0">
                    <a:pos x="133" y="34"/>
                  </a:cxn>
                  <a:cxn ang="0">
                    <a:pos x="133" y="54"/>
                  </a:cxn>
                  <a:cxn ang="0">
                    <a:pos x="141" y="66"/>
                  </a:cxn>
                  <a:cxn ang="0">
                    <a:pos x="152" y="67"/>
                  </a:cxn>
                  <a:cxn ang="0">
                    <a:pos x="160" y="64"/>
                  </a:cxn>
                  <a:cxn ang="0">
                    <a:pos x="163" y="69"/>
                  </a:cxn>
                  <a:cxn ang="0">
                    <a:pos x="163" y="73"/>
                  </a:cxn>
                  <a:cxn ang="0">
                    <a:pos x="158" y="79"/>
                  </a:cxn>
                  <a:cxn ang="0">
                    <a:pos x="150" y="82"/>
                  </a:cxn>
                  <a:cxn ang="0">
                    <a:pos x="150" y="88"/>
                  </a:cxn>
                  <a:cxn ang="0">
                    <a:pos x="146" y="98"/>
                  </a:cxn>
                  <a:cxn ang="0">
                    <a:pos x="145" y="101"/>
                  </a:cxn>
                  <a:cxn ang="0">
                    <a:pos x="139" y="98"/>
                  </a:cxn>
                  <a:cxn ang="0">
                    <a:pos x="133" y="96"/>
                  </a:cxn>
                  <a:cxn ang="0">
                    <a:pos x="122" y="94"/>
                  </a:cxn>
                  <a:cxn ang="0">
                    <a:pos x="105" y="99"/>
                  </a:cxn>
                  <a:cxn ang="0">
                    <a:pos x="99" y="103"/>
                  </a:cxn>
                  <a:cxn ang="0">
                    <a:pos x="90" y="103"/>
                  </a:cxn>
                  <a:cxn ang="0">
                    <a:pos x="82" y="103"/>
                  </a:cxn>
                  <a:cxn ang="0">
                    <a:pos x="75" y="103"/>
                  </a:cxn>
                  <a:cxn ang="0">
                    <a:pos x="64" y="103"/>
                  </a:cxn>
                  <a:cxn ang="0">
                    <a:pos x="60" y="101"/>
                  </a:cxn>
                  <a:cxn ang="0">
                    <a:pos x="50" y="103"/>
                  </a:cxn>
                  <a:cxn ang="0">
                    <a:pos x="50" y="99"/>
                  </a:cxn>
                  <a:cxn ang="0">
                    <a:pos x="49" y="94"/>
                  </a:cxn>
                  <a:cxn ang="0">
                    <a:pos x="41" y="90"/>
                  </a:cxn>
                  <a:cxn ang="0">
                    <a:pos x="45" y="82"/>
                  </a:cxn>
                  <a:cxn ang="0">
                    <a:pos x="35" y="86"/>
                  </a:cxn>
                  <a:cxn ang="0">
                    <a:pos x="28" y="86"/>
                  </a:cxn>
                  <a:cxn ang="0">
                    <a:pos x="20" y="79"/>
                  </a:cxn>
                  <a:cxn ang="0">
                    <a:pos x="22" y="75"/>
                  </a:cxn>
                  <a:cxn ang="0">
                    <a:pos x="11" y="67"/>
                  </a:cxn>
                  <a:cxn ang="0">
                    <a:pos x="5" y="58"/>
                  </a:cxn>
                  <a:cxn ang="0">
                    <a:pos x="0" y="54"/>
                  </a:cxn>
                  <a:cxn ang="0">
                    <a:pos x="9" y="50"/>
                  </a:cxn>
                  <a:cxn ang="0">
                    <a:pos x="13" y="47"/>
                  </a:cxn>
                  <a:cxn ang="0">
                    <a:pos x="17" y="39"/>
                  </a:cxn>
                  <a:cxn ang="0">
                    <a:pos x="28" y="18"/>
                  </a:cxn>
                  <a:cxn ang="0">
                    <a:pos x="35" y="11"/>
                  </a:cxn>
                  <a:cxn ang="0">
                    <a:pos x="39" y="5"/>
                  </a:cxn>
                  <a:cxn ang="0">
                    <a:pos x="39" y="5"/>
                  </a:cxn>
                </a:cxnLst>
                <a:rect l="0" t="0" r="r" b="b"/>
                <a:pathLst>
                  <a:path w="163" h="107">
                    <a:moveTo>
                      <a:pt x="39" y="5"/>
                    </a:moveTo>
                    <a:lnTo>
                      <a:pt x="41" y="5"/>
                    </a:lnTo>
                    <a:lnTo>
                      <a:pt x="43" y="3"/>
                    </a:lnTo>
                    <a:lnTo>
                      <a:pt x="47" y="3"/>
                    </a:lnTo>
                    <a:lnTo>
                      <a:pt x="54" y="5"/>
                    </a:lnTo>
                    <a:lnTo>
                      <a:pt x="60" y="9"/>
                    </a:lnTo>
                    <a:lnTo>
                      <a:pt x="64" y="9"/>
                    </a:lnTo>
                    <a:lnTo>
                      <a:pt x="64" y="13"/>
                    </a:lnTo>
                    <a:lnTo>
                      <a:pt x="69" y="15"/>
                    </a:lnTo>
                    <a:lnTo>
                      <a:pt x="75" y="13"/>
                    </a:lnTo>
                    <a:lnTo>
                      <a:pt x="79" y="11"/>
                    </a:lnTo>
                    <a:lnTo>
                      <a:pt x="82" y="9"/>
                    </a:lnTo>
                    <a:lnTo>
                      <a:pt x="94" y="5"/>
                    </a:lnTo>
                    <a:lnTo>
                      <a:pt x="99" y="5"/>
                    </a:lnTo>
                    <a:lnTo>
                      <a:pt x="111" y="0"/>
                    </a:lnTo>
                    <a:lnTo>
                      <a:pt x="113" y="9"/>
                    </a:lnTo>
                    <a:lnTo>
                      <a:pt x="120" y="17"/>
                    </a:lnTo>
                    <a:lnTo>
                      <a:pt x="122" y="20"/>
                    </a:lnTo>
                    <a:lnTo>
                      <a:pt x="129" y="28"/>
                    </a:lnTo>
                    <a:lnTo>
                      <a:pt x="133" y="34"/>
                    </a:lnTo>
                    <a:lnTo>
                      <a:pt x="135" y="37"/>
                    </a:lnTo>
                    <a:lnTo>
                      <a:pt x="133" y="54"/>
                    </a:lnTo>
                    <a:lnTo>
                      <a:pt x="137" y="62"/>
                    </a:lnTo>
                    <a:lnTo>
                      <a:pt x="141" y="66"/>
                    </a:lnTo>
                    <a:lnTo>
                      <a:pt x="146" y="67"/>
                    </a:lnTo>
                    <a:lnTo>
                      <a:pt x="152" y="67"/>
                    </a:lnTo>
                    <a:lnTo>
                      <a:pt x="154" y="66"/>
                    </a:lnTo>
                    <a:lnTo>
                      <a:pt x="160" y="64"/>
                    </a:lnTo>
                    <a:lnTo>
                      <a:pt x="163" y="67"/>
                    </a:lnTo>
                    <a:lnTo>
                      <a:pt x="163" y="69"/>
                    </a:lnTo>
                    <a:lnTo>
                      <a:pt x="163" y="71"/>
                    </a:lnTo>
                    <a:lnTo>
                      <a:pt x="163" y="73"/>
                    </a:lnTo>
                    <a:lnTo>
                      <a:pt x="163" y="79"/>
                    </a:lnTo>
                    <a:lnTo>
                      <a:pt x="158" y="79"/>
                    </a:lnTo>
                    <a:lnTo>
                      <a:pt x="152" y="79"/>
                    </a:lnTo>
                    <a:lnTo>
                      <a:pt x="150" y="82"/>
                    </a:lnTo>
                    <a:lnTo>
                      <a:pt x="148" y="86"/>
                    </a:lnTo>
                    <a:lnTo>
                      <a:pt x="150" y="88"/>
                    </a:lnTo>
                    <a:lnTo>
                      <a:pt x="150" y="94"/>
                    </a:lnTo>
                    <a:lnTo>
                      <a:pt x="146" y="98"/>
                    </a:lnTo>
                    <a:lnTo>
                      <a:pt x="148" y="101"/>
                    </a:lnTo>
                    <a:lnTo>
                      <a:pt x="145" y="101"/>
                    </a:lnTo>
                    <a:lnTo>
                      <a:pt x="143" y="99"/>
                    </a:lnTo>
                    <a:lnTo>
                      <a:pt x="139" y="98"/>
                    </a:lnTo>
                    <a:lnTo>
                      <a:pt x="135" y="99"/>
                    </a:lnTo>
                    <a:lnTo>
                      <a:pt x="133" y="96"/>
                    </a:lnTo>
                    <a:lnTo>
                      <a:pt x="128" y="94"/>
                    </a:lnTo>
                    <a:lnTo>
                      <a:pt x="122" y="94"/>
                    </a:lnTo>
                    <a:lnTo>
                      <a:pt x="116" y="94"/>
                    </a:lnTo>
                    <a:lnTo>
                      <a:pt x="105" y="99"/>
                    </a:lnTo>
                    <a:lnTo>
                      <a:pt x="103" y="103"/>
                    </a:lnTo>
                    <a:lnTo>
                      <a:pt x="99" y="103"/>
                    </a:lnTo>
                    <a:lnTo>
                      <a:pt x="97" y="103"/>
                    </a:lnTo>
                    <a:lnTo>
                      <a:pt x="90" y="103"/>
                    </a:lnTo>
                    <a:lnTo>
                      <a:pt x="86" y="103"/>
                    </a:lnTo>
                    <a:lnTo>
                      <a:pt x="82" y="103"/>
                    </a:lnTo>
                    <a:lnTo>
                      <a:pt x="79" y="103"/>
                    </a:lnTo>
                    <a:lnTo>
                      <a:pt x="75" y="103"/>
                    </a:lnTo>
                    <a:lnTo>
                      <a:pt x="69" y="107"/>
                    </a:lnTo>
                    <a:lnTo>
                      <a:pt x="64" y="103"/>
                    </a:lnTo>
                    <a:lnTo>
                      <a:pt x="64" y="103"/>
                    </a:lnTo>
                    <a:lnTo>
                      <a:pt x="60" y="101"/>
                    </a:lnTo>
                    <a:lnTo>
                      <a:pt x="56" y="101"/>
                    </a:lnTo>
                    <a:lnTo>
                      <a:pt x="50" y="103"/>
                    </a:lnTo>
                    <a:lnTo>
                      <a:pt x="49" y="101"/>
                    </a:lnTo>
                    <a:lnTo>
                      <a:pt x="50" y="99"/>
                    </a:lnTo>
                    <a:lnTo>
                      <a:pt x="50" y="96"/>
                    </a:lnTo>
                    <a:lnTo>
                      <a:pt x="49" y="94"/>
                    </a:lnTo>
                    <a:lnTo>
                      <a:pt x="43" y="94"/>
                    </a:lnTo>
                    <a:lnTo>
                      <a:pt x="41" y="90"/>
                    </a:lnTo>
                    <a:lnTo>
                      <a:pt x="41" y="86"/>
                    </a:lnTo>
                    <a:lnTo>
                      <a:pt x="45" y="82"/>
                    </a:lnTo>
                    <a:lnTo>
                      <a:pt x="39" y="82"/>
                    </a:lnTo>
                    <a:lnTo>
                      <a:pt x="35" y="86"/>
                    </a:lnTo>
                    <a:lnTo>
                      <a:pt x="33" y="82"/>
                    </a:lnTo>
                    <a:lnTo>
                      <a:pt x="28" y="86"/>
                    </a:lnTo>
                    <a:lnTo>
                      <a:pt x="26" y="82"/>
                    </a:lnTo>
                    <a:lnTo>
                      <a:pt x="20" y="79"/>
                    </a:lnTo>
                    <a:lnTo>
                      <a:pt x="20" y="79"/>
                    </a:lnTo>
                    <a:lnTo>
                      <a:pt x="22" y="75"/>
                    </a:lnTo>
                    <a:lnTo>
                      <a:pt x="17" y="69"/>
                    </a:lnTo>
                    <a:lnTo>
                      <a:pt x="11" y="67"/>
                    </a:lnTo>
                    <a:lnTo>
                      <a:pt x="11" y="64"/>
                    </a:lnTo>
                    <a:lnTo>
                      <a:pt x="5" y="58"/>
                    </a:lnTo>
                    <a:lnTo>
                      <a:pt x="5" y="54"/>
                    </a:lnTo>
                    <a:lnTo>
                      <a:pt x="0" y="54"/>
                    </a:lnTo>
                    <a:lnTo>
                      <a:pt x="5" y="50"/>
                    </a:lnTo>
                    <a:lnTo>
                      <a:pt x="9" y="50"/>
                    </a:lnTo>
                    <a:lnTo>
                      <a:pt x="9" y="47"/>
                    </a:lnTo>
                    <a:lnTo>
                      <a:pt x="13" y="47"/>
                    </a:lnTo>
                    <a:lnTo>
                      <a:pt x="17" y="43"/>
                    </a:lnTo>
                    <a:lnTo>
                      <a:pt x="17" y="39"/>
                    </a:lnTo>
                    <a:lnTo>
                      <a:pt x="24" y="30"/>
                    </a:lnTo>
                    <a:lnTo>
                      <a:pt x="28" y="18"/>
                    </a:lnTo>
                    <a:lnTo>
                      <a:pt x="30" y="11"/>
                    </a:lnTo>
                    <a:lnTo>
                      <a:pt x="35" y="11"/>
                    </a:lnTo>
                    <a:lnTo>
                      <a:pt x="39" y="5"/>
                    </a:lnTo>
                    <a:lnTo>
                      <a:pt x="39" y="5"/>
                    </a:lnTo>
                    <a:lnTo>
                      <a:pt x="39" y="5"/>
                    </a:lnTo>
                    <a:lnTo>
                      <a:pt x="39" y="5"/>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1" name="Freeform 13"/>
              <p:cNvSpPr>
                <a:spLocks/>
              </p:cNvSpPr>
              <p:nvPr/>
            </p:nvSpPr>
            <p:spPr bwMode="auto">
              <a:xfrm>
                <a:off x="3054" y="2120"/>
                <a:ext cx="105" cy="68"/>
              </a:xfrm>
              <a:custGeom>
                <a:avLst/>
                <a:gdLst/>
                <a:ahLst/>
                <a:cxnLst>
                  <a:cxn ang="0">
                    <a:pos x="68" y="58"/>
                  </a:cxn>
                  <a:cxn ang="0">
                    <a:pos x="71" y="54"/>
                  </a:cxn>
                  <a:cxn ang="0">
                    <a:pos x="75" y="54"/>
                  </a:cxn>
                  <a:cxn ang="0">
                    <a:pos x="77" y="51"/>
                  </a:cxn>
                  <a:cxn ang="0">
                    <a:pos x="81" y="51"/>
                  </a:cxn>
                  <a:cxn ang="0">
                    <a:pos x="83" y="47"/>
                  </a:cxn>
                  <a:cxn ang="0">
                    <a:pos x="83" y="43"/>
                  </a:cxn>
                  <a:cxn ang="0">
                    <a:pos x="92" y="34"/>
                  </a:cxn>
                  <a:cxn ang="0">
                    <a:pos x="96" y="22"/>
                  </a:cxn>
                  <a:cxn ang="0">
                    <a:pos x="98" y="15"/>
                  </a:cxn>
                  <a:cxn ang="0">
                    <a:pos x="103" y="15"/>
                  </a:cxn>
                  <a:cxn ang="0">
                    <a:pos x="105" y="9"/>
                  </a:cxn>
                  <a:cxn ang="0">
                    <a:pos x="103" y="7"/>
                  </a:cxn>
                  <a:cxn ang="0">
                    <a:pos x="98" y="4"/>
                  </a:cxn>
                  <a:cxn ang="0">
                    <a:pos x="96" y="0"/>
                  </a:cxn>
                  <a:cxn ang="0">
                    <a:pos x="88" y="2"/>
                  </a:cxn>
                  <a:cxn ang="0">
                    <a:pos x="83" y="0"/>
                  </a:cxn>
                  <a:cxn ang="0">
                    <a:pos x="77" y="2"/>
                  </a:cxn>
                  <a:cxn ang="0">
                    <a:pos x="71" y="0"/>
                  </a:cxn>
                  <a:cxn ang="0">
                    <a:pos x="68" y="0"/>
                  </a:cxn>
                  <a:cxn ang="0">
                    <a:pos x="64" y="4"/>
                  </a:cxn>
                  <a:cxn ang="0">
                    <a:pos x="58" y="7"/>
                  </a:cxn>
                  <a:cxn ang="0">
                    <a:pos x="58" y="13"/>
                  </a:cxn>
                  <a:cxn ang="0">
                    <a:pos x="54" y="7"/>
                  </a:cxn>
                  <a:cxn ang="0">
                    <a:pos x="49" y="9"/>
                  </a:cxn>
                  <a:cxn ang="0">
                    <a:pos x="43" y="13"/>
                  </a:cxn>
                  <a:cxn ang="0">
                    <a:pos x="43" y="15"/>
                  </a:cxn>
                  <a:cxn ang="0">
                    <a:pos x="34" y="17"/>
                  </a:cxn>
                  <a:cxn ang="0">
                    <a:pos x="26" y="19"/>
                  </a:cxn>
                  <a:cxn ang="0">
                    <a:pos x="21" y="17"/>
                  </a:cxn>
                  <a:cxn ang="0">
                    <a:pos x="9" y="9"/>
                  </a:cxn>
                  <a:cxn ang="0">
                    <a:pos x="9" y="13"/>
                  </a:cxn>
                  <a:cxn ang="0">
                    <a:pos x="9" y="17"/>
                  </a:cxn>
                  <a:cxn ang="0">
                    <a:pos x="9" y="21"/>
                  </a:cxn>
                  <a:cxn ang="0">
                    <a:pos x="0" y="21"/>
                  </a:cxn>
                  <a:cxn ang="0">
                    <a:pos x="0" y="22"/>
                  </a:cxn>
                  <a:cxn ang="0">
                    <a:pos x="4" y="26"/>
                  </a:cxn>
                  <a:cxn ang="0">
                    <a:pos x="2" y="30"/>
                  </a:cxn>
                  <a:cxn ang="0">
                    <a:pos x="2" y="34"/>
                  </a:cxn>
                  <a:cxn ang="0">
                    <a:pos x="4" y="38"/>
                  </a:cxn>
                  <a:cxn ang="0">
                    <a:pos x="0" y="41"/>
                  </a:cxn>
                  <a:cxn ang="0">
                    <a:pos x="0" y="41"/>
                  </a:cxn>
                  <a:cxn ang="0">
                    <a:pos x="4" y="47"/>
                  </a:cxn>
                  <a:cxn ang="0">
                    <a:pos x="5" y="53"/>
                  </a:cxn>
                  <a:cxn ang="0">
                    <a:pos x="7" y="53"/>
                  </a:cxn>
                  <a:cxn ang="0">
                    <a:pos x="15" y="58"/>
                  </a:cxn>
                  <a:cxn ang="0">
                    <a:pos x="19" y="62"/>
                  </a:cxn>
                  <a:cxn ang="0">
                    <a:pos x="22" y="66"/>
                  </a:cxn>
                  <a:cxn ang="0">
                    <a:pos x="32" y="66"/>
                  </a:cxn>
                  <a:cxn ang="0">
                    <a:pos x="39" y="68"/>
                  </a:cxn>
                  <a:cxn ang="0">
                    <a:pos x="43" y="66"/>
                  </a:cxn>
                  <a:cxn ang="0">
                    <a:pos x="43" y="66"/>
                  </a:cxn>
                  <a:cxn ang="0">
                    <a:pos x="45" y="62"/>
                  </a:cxn>
                  <a:cxn ang="0">
                    <a:pos x="51" y="62"/>
                  </a:cxn>
                  <a:cxn ang="0">
                    <a:pos x="53" y="62"/>
                  </a:cxn>
                  <a:cxn ang="0">
                    <a:pos x="54" y="58"/>
                  </a:cxn>
                  <a:cxn ang="0">
                    <a:pos x="58" y="56"/>
                  </a:cxn>
                  <a:cxn ang="0">
                    <a:pos x="62" y="56"/>
                  </a:cxn>
                  <a:cxn ang="0">
                    <a:pos x="64" y="58"/>
                  </a:cxn>
                  <a:cxn ang="0">
                    <a:pos x="68" y="58"/>
                  </a:cxn>
                  <a:cxn ang="0">
                    <a:pos x="68" y="58"/>
                  </a:cxn>
                  <a:cxn ang="0">
                    <a:pos x="68" y="58"/>
                  </a:cxn>
                </a:cxnLst>
                <a:rect l="0" t="0" r="r" b="b"/>
                <a:pathLst>
                  <a:path w="105" h="68">
                    <a:moveTo>
                      <a:pt x="68" y="58"/>
                    </a:moveTo>
                    <a:lnTo>
                      <a:pt x="71" y="54"/>
                    </a:lnTo>
                    <a:lnTo>
                      <a:pt x="75" y="54"/>
                    </a:lnTo>
                    <a:lnTo>
                      <a:pt x="77" y="51"/>
                    </a:lnTo>
                    <a:lnTo>
                      <a:pt x="81" y="51"/>
                    </a:lnTo>
                    <a:lnTo>
                      <a:pt x="83" y="47"/>
                    </a:lnTo>
                    <a:lnTo>
                      <a:pt x="83" y="43"/>
                    </a:lnTo>
                    <a:lnTo>
                      <a:pt x="92" y="34"/>
                    </a:lnTo>
                    <a:lnTo>
                      <a:pt x="96" y="22"/>
                    </a:lnTo>
                    <a:lnTo>
                      <a:pt x="98" y="15"/>
                    </a:lnTo>
                    <a:lnTo>
                      <a:pt x="103" y="15"/>
                    </a:lnTo>
                    <a:lnTo>
                      <a:pt x="105" y="9"/>
                    </a:lnTo>
                    <a:lnTo>
                      <a:pt x="103" y="7"/>
                    </a:lnTo>
                    <a:lnTo>
                      <a:pt x="98" y="4"/>
                    </a:lnTo>
                    <a:lnTo>
                      <a:pt x="96" y="0"/>
                    </a:lnTo>
                    <a:lnTo>
                      <a:pt x="88" y="2"/>
                    </a:lnTo>
                    <a:lnTo>
                      <a:pt x="83" y="0"/>
                    </a:lnTo>
                    <a:lnTo>
                      <a:pt x="77" y="2"/>
                    </a:lnTo>
                    <a:lnTo>
                      <a:pt x="71" y="0"/>
                    </a:lnTo>
                    <a:lnTo>
                      <a:pt x="68" y="0"/>
                    </a:lnTo>
                    <a:lnTo>
                      <a:pt x="64" y="4"/>
                    </a:lnTo>
                    <a:lnTo>
                      <a:pt x="58" y="7"/>
                    </a:lnTo>
                    <a:lnTo>
                      <a:pt x="58" y="13"/>
                    </a:lnTo>
                    <a:lnTo>
                      <a:pt x="54" y="7"/>
                    </a:lnTo>
                    <a:lnTo>
                      <a:pt x="49" y="9"/>
                    </a:lnTo>
                    <a:lnTo>
                      <a:pt x="43" y="13"/>
                    </a:lnTo>
                    <a:lnTo>
                      <a:pt x="43" y="15"/>
                    </a:lnTo>
                    <a:lnTo>
                      <a:pt x="34" y="17"/>
                    </a:lnTo>
                    <a:lnTo>
                      <a:pt x="26" y="19"/>
                    </a:lnTo>
                    <a:lnTo>
                      <a:pt x="21" y="17"/>
                    </a:lnTo>
                    <a:lnTo>
                      <a:pt x="9" y="9"/>
                    </a:lnTo>
                    <a:lnTo>
                      <a:pt x="9" y="13"/>
                    </a:lnTo>
                    <a:lnTo>
                      <a:pt x="9" y="17"/>
                    </a:lnTo>
                    <a:lnTo>
                      <a:pt x="9" y="21"/>
                    </a:lnTo>
                    <a:lnTo>
                      <a:pt x="0" y="21"/>
                    </a:lnTo>
                    <a:lnTo>
                      <a:pt x="0" y="22"/>
                    </a:lnTo>
                    <a:lnTo>
                      <a:pt x="4" y="26"/>
                    </a:lnTo>
                    <a:lnTo>
                      <a:pt x="2" y="30"/>
                    </a:lnTo>
                    <a:lnTo>
                      <a:pt x="2" y="34"/>
                    </a:lnTo>
                    <a:lnTo>
                      <a:pt x="4" y="38"/>
                    </a:lnTo>
                    <a:lnTo>
                      <a:pt x="0" y="41"/>
                    </a:lnTo>
                    <a:lnTo>
                      <a:pt x="0" y="41"/>
                    </a:lnTo>
                    <a:lnTo>
                      <a:pt x="4" y="47"/>
                    </a:lnTo>
                    <a:lnTo>
                      <a:pt x="5" y="53"/>
                    </a:lnTo>
                    <a:lnTo>
                      <a:pt x="7" y="53"/>
                    </a:lnTo>
                    <a:lnTo>
                      <a:pt x="15" y="58"/>
                    </a:lnTo>
                    <a:lnTo>
                      <a:pt x="19" y="62"/>
                    </a:lnTo>
                    <a:lnTo>
                      <a:pt x="22" y="66"/>
                    </a:lnTo>
                    <a:lnTo>
                      <a:pt x="32" y="66"/>
                    </a:lnTo>
                    <a:lnTo>
                      <a:pt x="39" y="68"/>
                    </a:lnTo>
                    <a:lnTo>
                      <a:pt x="43" y="66"/>
                    </a:lnTo>
                    <a:lnTo>
                      <a:pt x="43" y="66"/>
                    </a:lnTo>
                    <a:lnTo>
                      <a:pt x="45" y="62"/>
                    </a:lnTo>
                    <a:lnTo>
                      <a:pt x="51" y="62"/>
                    </a:lnTo>
                    <a:lnTo>
                      <a:pt x="53" y="62"/>
                    </a:lnTo>
                    <a:lnTo>
                      <a:pt x="54" y="58"/>
                    </a:lnTo>
                    <a:lnTo>
                      <a:pt x="58" y="56"/>
                    </a:lnTo>
                    <a:lnTo>
                      <a:pt x="62" y="56"/>
                    </a:lnTo>
                    <a:lnTo>
                      <a:pt x="64" y="58"/>
                    </a:lnTo>
                    <a:lnTo>
                      <a:pt x="68" y="58"/>
                    </a:lnTo>
                    <a:lnTo>
                      <a:pt x="68" y="58"/>
                    </a:lnTo>
                    <a:lnTo>
                      <a:pt x="68" y="58"/>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2" name="Freeform 14"/>
              <p:cNvSpPr>
                <a:spLocks/>
              </p:cNvSpPr>
              <p:nvPr/>
            </p:nvSpPr>
            <p:spPr bwMode="auto">
              <a:xfrm>
                <a:off x="3065" y="2097"/>
                <a:ext cx="89" cy="38"/>
              </a:xfrm>
              <a:custGeom>
                <a:avLst/>
                <a:gdLst/>
                <a:ahLst/>
                <a:cxnLst>
                  <a:cxn ang="0">
                    <a:pos x="0" y="30"/>
                  </a:cxn>
                  <a:cxn ang="0">
                    <a:pos x="11" y="36"/>
                  </a:cxn>
                  <a:cxn ang="0">
                    <a:pos x="19" y="38"/>
                  </a:cxn>
                  <a:cxn ang="0">
                    <a:pos x="25" y="36"/>
                  </a:cxn>
                  <a:cxn ang="0">
                    <a:pos x="32" y="34"/>
                  </a:cxn>
                  <a:cxn ang="0">
                    <a:pos x="34" y="32"/>
                  </a:cxn>
                  <a:cxn ang="0">
                    <a:pos x="40" y="30"/>
                  </a:cxn>
                  <a:cxn ang="0">
                    <a:pos x="43" y="27"/>
                  </a:cxn>
                  <a:cxn ang="0">
                    <a:pos x="49" y="32"/>
                  </a:cxn>
                  <a:cxn ang="0">
                    <a:pos x="49" y="28"/>
                  </a:cxn>
                  <a:cxn ang="0">
                    <a:pos x="53" y="25"/>
                  </a:cxn>
                  <a:cxn ang="0">
                    <a:pos x="57" y="21"/>
                  </a:cxn>
                  <a:cxn ang="0">
                    <a:pos x="62" y="21"/>
                  </a:cxn>
                  <a:cxn ang="0">
                    <a:pos x="66" y="23"/>
                  </a:cxn>
                  <a:cxn ang="0">
                    <a:pos x="74" y="21"/>
                  </a:cxn>
                  <a:cxn ang="0">
                    <a:pos x="77" y="23"/>
                  </a:cxn>
                  <a:cxn ang="0">
                    <a:pos x="85" y="19"/>
                  </a:cxn>
                  <a:cxn ang="0">
                    <a:pos x="85" y="13"/>
                  </a:cxn>
                  <a:cxn ang="0">
                    <a:pos x="89" y="6"/>
                  </a:cxn>
                  <a:cxn ang="0">
                    <a:pos x="87" y="6"/>
                  </a:cxn>
                  <a:cxn ang="0">
                    <a:pos x="81" y="2"/>
                  </a:cxn>
                  <a:cxn ang="0">
                    <a:pos x="74" y="2"/>
                  </a:cxn>
                  <a:cxn ang="0">
                    <a:pos x="72" y="2"/>
                  </a:cxn>
                  <a:cxn ang="0">
                    <a:pos x="68" y="0"/>
                  </a:cxn>
                  <a:cxn ang="0">
                    <a:pos x="66" y="2"/>
                  </a:cxn>
                  <a:cxn ang="0">
                    <a:pos x="62" y="4"/>
                  </a:cxn>
                  <a:cxn ang="0">
                    <a:pos x="62" y="2"/>
                  </a:cxn>
                  <a:cxn ang="0">
                    <a:pos x="57" y="2"/>
                  </a:cxn>
                  <a:cxn ang="0">
                    <a:pos x="55" y="2"/>
                  </a:cxn>
                  <a:cxn ang="0">
                    <a:pos x="51" y="2"/>
                  </a:cxn>
                  <a:cxn ang="0">
                    <a:pos x="49" y="6"/>
                  </a:cxn>
                  <a:cxn ang="0">
                    <a:pos x="47" y="6"/>
                  </a:cxn>
                  <a:cxn ang="0">
                    <a:pos x="43" y="6"/>
                  </a:cxn>
                  <a:cxn ang="0">
                    <a:pos x="43" y="6"/>
                  </a:cxn>
                  <a:cxn ang="0">
                    <a:pos x="36" y="6"/>
                  </a:cxn>
                  <a:cxn ang="0">
                    <a:pos x="32" y="10"/>
                  </a:cxn>
                  <a:cxn ang="0">
                    <a:pos x="28" y="10"/>
                  </a:cxn>
                  <a:cxn ang="0">
                    <a:pos x="25" y="13"/>
                  </a:cxn>
                  <a:cxn ang="0">
                    <a:pos x="19" y="13"/>
                  </a:cxn>
                  <a:cxn ang="0">
                    <a:pos x="11" y="17"/>
                  </a:cxn>
                  <a:cxn ang="0">
                    <a:pos x="10" y="15"/>
                  </a:cxn>
                  <a:cxn ang="0">
                    <a:pos x="4" y="15"/>
                  </a:cxn>
                  <a:cxn ang="0">
                    <a:pos x="0" y="19"/>
                  </a:cxn>
                  <a:cxn ang="0">
                    <a:pos x="0" y="19"/>
                  </a:cxn>
                  <a:cxn ang="0">
                    <a:pos x="0" y="23"/>
                  </a:cxn>
                  <a:cxn ang="0">
                    <a:pos x="0" y="30"/>
                  </a:cxn>
                  <a:cxn ang="0">
                    <a:pos x="0" y="30"/>
                  </a:cxn>
                  <a:cxn ang="0">
                    <a:pos x="0" y="30"/>
                  </a:cxn>
                </a:cxnLst>
                <a:rect l="0" t="0" r="r" b="b"/>
                <a:pathLst>
                  <a:path w="89" h="38">
                    <a:moveTo>
                      <a:pt x="0" y="30"/>
                    </a:moveTo>
                    <a:lnTo>
                      <a:pt x="11" y="36"/>
                    </a:lnTo>
                    <a:lnTo>
                      <a:pt x="19" y="38"/>
                    </a:lnTo>
                    <a:lnTo>
                      <a:pt x="25" y="36"/>
                    </a:lnTo>
                    <a:lnTo>
                      <a:pt x="32" y="34"/>
                    </a:lnTo>
                    <a:lnTo>
                      <a:pt x="34" y="32"/>
                    </a:lnTo>
                    <a:lnTo>
                      <a:pt x="40" y="30"/>
                    </a:lnTo>
                    <a:lnTo>
                      <a:pt x="43" y="27"/>
                    </a:lnTo>
                    <a:lnTo>
                      <a:pt x="49" y="32"/>
                    </a:lnTo>
                    <a:lnTo>
                      <a:pt x="49" y="28"/>
                    </a:lnTo>
                    <a:lnTo>
                      <a:pt x="53" y="25"/>
                    </a:lnTo>
                    <a:lnTo>
                      <a:pt x="57" y="21"/>
                    </a:lnTo>
                    <a:lnTo>
                      <a:pt x="62" y="21"/>
                    </a:lnTo>
                    <a:lnTo>
                      <a:pt x="66" y="23"/>
                    </a:lnTo>
                    <a:lnTo>
                      <a:pt x="74" y="21"/>
                    </a:lnTo>
                    <a:lnTo>
                      <a:pt x="77" y="23"/>
                    </a:lnTo>
                    <a:lnTo>
                      <a:pt x="85" y="19"/>
                    </a:lnTo>
                    <a:lnTo>
                      <a:pt x="85" y="13"/>
                    </a:lnTo>
                    <a:lnTo>
                      <a:pt x="89" y="6"/>
                    </a:lnTo>
                    <a:lnTo>
                      <a:pt x="87" y="6"/>
                    </a:lnTo>
                    <a:lnTo>
                      <a:pt x="81" y="2"/>
                    </a:lnTo>
                    <a:lnTo>
                      <a:pt x="74" y="2"/>
                    </a:lnTo>
                    <a:lnTo>
                      <a:pt x="72" y="2"/>
                    </a:lnTo>
                    <a:lnTo>
                      <a:pt x="68" y="0"/>
                    </a:lnTo>
                    <a:lnTo>
                      <a:pt x="66" y="2"/>
                    </a:lnTo>
                    <a:lnTo>
                      <a:pt x="62" y="4"/>
                    </a:lnTo>
                    <a:lnTo>
                      <a:pt x="62" y="2"/>
                    </a:lnTo>
                    <a:lnTo>
                      <a:pt x="57" y="2"/>
                    </a:lnTo>
                    <a:lnTo>
                      <a:pt x="55" y="2"/>
                    </a:lnTo>
                    <a:lnTo>
                      <a:pt x="51" y="2"/>
                    </a:lnTo>
                    <a:lnTo>
                      <a:pt x="49" y="6"/>
                    </a:lnTo>
                    <a:lnTo>
                      <a:pt x="47" y="6"/>
                    </a:lnTo>
                    <a:lnTo>
                      <a:pt x="43" y="6"/>
                    </a:lnTo>
                    <a:lnTo>
                      <a:pt x="43" y="6"/>
                    </a:lnTo>
                    <a:lnTo>
                      <a:pt x="36" y="6"/>
                    </a:lnTo>
                    <a:lnTo>
                      <a:pt x="32" y="10"/>
                    </a:lnTo>
                    <a:lnTo>
                      <a:pt x="28" y="10"/>
                    </a:lnTo>
                    <a:lnTo>
                      <a:pt x="25" y="13"/>
                    </a:lnTo>
                    <a:lnTo>
                      <a:pt x="19" y="13"/>
                    </a:lnTo>
                    <a:lnTo>
                      <a:pt x="11" y="17"/>
                    </a:lnTo>
                    <a:lnTo>
                      <a:pt x="10" y="15"/>
                    </a:lnTo>
                    <a:lnTo>
                      <a:pt x="4" y="15"/>
                    </a:lnTo>
                    <a:lnTo>
                      <a:pt x="0" y="19"/>
                    </a:lnTo>
                    <a:lnTo>
                      <a:pt x="0" y="19"/>
                    </a:lnTo>
                    <a:lnTo>
                      <a:pt x="0" y="23"/>
                    </a:lnTo>
                    <a:lnTo>
                      <a:pt x="0" y="30"/>
                    </a:lnTo>
                    <a:lnTo>
                      <a:pt x="0" y="30"/>
                    </a:lnTo>
                    <a:lnTo>
                      <a:pt x="0" y="30"/>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3" name="Freeform 15"/>
              <p:cNvSpPr>
                <a:spLocks/>
              </p:cNvSpPr>
              <p:nvPr/>
            </p:nvSpPr>
            <p:spPr bwMode="auto">
              <a:xfrm>
                <a:off x="2937" y="2109"/>
                <a:ext cx="128" cy="64"/>
              </a:xfrm>
              <a:custGeom>
                <a:avLst/>
                <a:gdLst/>
                <a:ahLst/>
                <a:cxnLst>
                  <a:cxn ang="0">
                    <a:pos x="79" y="60"/>
                  </a:cxn>
                  <a:cxn ang="0">
                    <a:pos x="89" y="64"/>
                  </a:cxn>
                  <a:cxn ang="0">
                    <a:pos x="96" y="60"/>
                  </a:cxn>
                  <a:cxn ang="0">
                    <a:pos x="104" y="60"/>
                  </a:cxn>
                  <a:cxn ang="0">
                    <a:pos x="113" y="54"/>
                  </a:cxn>
                  <a:cxn ang="0">
                    <a:pos x="122" y="49"/>
                  </a:cxn>
                  <a:cxn ang="0">
                    <a:pos x="121" y="41"/>
                  </a:cxn>
                  <a:cxn ang="0">
                    <a:pos x="119" y="33"/>
                  </a:cxn>
                  <a:cxn ang="0">
                    <a:pos x="128" y="33"/>
                  </a:cxn>
                  <a:cxn ang="0">
                    <a:pos x="128" y="24"/>
                  </a:cxn>
                  <a:cxn ang="0">
                    <a:pos x="126" y="9"/>
                  </a:cxn>
                  <a:cxn ang="0">
                    <a:pos x="115" y="3"/>
                  </a:cxn>
                  <a:cxn ang="0">
                    <a:pos x="107" y="5"/>
                  </a:cxn>
                  <a:cxn ang="0">
                    <a:pos x="94" y="1"/>
                  </a:cxn>
                  <a:cxn ang="0">
                    <a:pos x="89" y="3"/>
                  </a:cxn>
                  <a:cxn ang="0">
                    <a:pos x="89" y="7"/>
                  </a:cxn>
                  <a:cxn ang="0">
                    <a:pos x="81" y="11"/>
                  </a:cxn>
                  <a:cxn ang="0">
                    <a:pos x="68" y="5"/>
                  </a:cxn>
                  <a:cxn ang="0">
                    <a:pos x="68" y="13"/>
                  </a:cxn>
                  <a:cxn ang="0">
                    <a:pos x="64" y="15"/>
                  </a:cxn>
                  <a:cxn ang="0">
                    <a:pos x="55" y="24"/>
                  </a:cxn>
                  <a:cxn ang="0">
                    <a:pos x="60" y="28"/>
                  </a:cxn>
                  <a:cxn ang="0">
                    <a:pos x="58" y="33"/>
                  </a:cxn>
                  <a:cxn ang="0">
                    <a:pos x="49" y="33"/>
                  </a:cxn>
                  <a:cxn ang="0">
                    <a:pos x="42" y="33"/>
                  </a:cxn>
                  <a:cxn ang="0">
                    <a:pos x="34" y="35"/>
                  </a:cxn>
                  <a:cxn ang="0">
                    <a:pos x="28" y="35"/>
                  </a:cxn>
                  <a:cxn ang="0">
                    <a:pos x="21" y="33"/>
                  </a:cxn>
                  <a:cxn ang="0">
                    <a:pos x="17" y="35"/>
                  </a:cxn>
                  <a:cxn ang="0">
                    <a:pos x="10" y="37"/>
                  </a:cxn>
                  <a:cxn ang="0">
                    <a:pos x="4" y="35"/>
                  </a:cxn>
                  <a:cxn ang="0">
                    <a:pos x="0" y="35"/>
                  </a:cxn>
                  <a:cxn ang="0">
                    <a:pos x="2" y="41"/>
                  </a:cxn>
                  <a:cxn ang="0">
                    <a:pos x="6" y="47"/>
                  </a:cxn>
                  <a:cxn ang="0">
                    <a:pos x="11" y="45"/>
                  </a:cxn>
                  <a:cxn ang="0">
                    <a:pos x="17" y="47"/>
                  </a:cxn>
                  <a:cxn ang="0">
                    <a:pos x="21" y="49"/>
                  </a:cxn>
                  <a:cxn ang="0">
                    <a:pos x="28" y="52"/>
                  </a:cxn>
                  <a:cxn ang="0">
                    <a:pos x="40" y="47"/>
                  </a:cxn>
                  <a:cxn ang="0">
                    <a:pos x="47" y="50"/>
                  </a:cxn>
                  <a:cxn ang="0">
                    <a:pos x="66" y="58"/>
                  </a:cxn>
                  <a:cxn ang="0">
                    <a:pos x="75" y="60"/>
                  </a:cxn>
                  <a:cxn ang="0">
                    <a:pos x="75" y="60"/>
                  </a:cxn>
                </a:cxnLst>
                <a:rect l="0" t="0" r="r" b="b"/>
                <a:pathLst>
                  <a:path w="128" h="64">
                    <a:moveTo>
                      <a:pt x="75" y="60"/>
                    </a:moveTo>
                    <a:lnTo>
                      <a:pt x="79" y="60"/>
                    </a:lnTo>
                    <a:lnTo>
                      <a:pt x="85" y="60"/>
                    </a:lnTo>
                    <a:lnTo>
                      <a:pt x="89" y="64"/>
                    </a:lnTo>
                    <a:lnTo>
                      <a:pt x="92" y="60"/>
                    </a:lnTo>
                    <a:lnTo>
                      <a:pt x="96" y="60"/>
                    </a:lnTo>
                    <a:lnTo>
                      <a:pt x="102" y="60"/>
                    </a:lnTo>
                    <a:lnTo>
                      <a:pt x="104" y="60"/>
                    </a:lnTo>
                    <a:lnTo>
                      <a:pt x="104" y="60"/>
                    </a:lnTo>
                    <a:lnTo>
                      <a:pt x="113" y="54"/>
                    </a:lnTo>
                    <a:lnTo>
                      <a:pt x="119" y="52"/>
                    </a:lnTo>
                    <a:lnTo>
                      <a:pt x="122" y="49"/>
                    </a:lnTo>
                    <a:lnTo>
                      <a:pt x="121" y="45"/>
                    </a:lnTo>
                    <a:lnTo>
                      <a:pt x="121" y="41"/>
                    </a:lnTo>
                    <a:lnTo>
                      <a:pt x="122" y="37"/>
                    </a:lnTo>
                    <a:lnTo>
                      <a:pt x="119" y="33"/>
                    </a:lnTo>
                    <a:lnTo>
                      <a:pt x="119" y="33"/>
                    </a:lnTo>
                    <a:lnTo>
                      <a:pt x="128" y="33"/>
                    </a:lnTo>
                    <a:lnTo>
                      <a:pt x="128" y="28"/>
                    </a:lnTo>
                    <a:lnTo>
                      <a:pt x="128" y="24"/>
                    </a:lnTo>
                    <a:lnTo>
                      <a:pt x="126" y="15"/>
                    </a:lnTo>
                    <a:lnTo>
                      <a:pt x="126" y="9"/>
                    </a:lnTo>
                    <a:lnTo>
                      <a:pt x="119" y="7"/>
                    </a:lnTo>
                    <a:lnTo>
                      <a:pt x="115" y="3"/>
                    </a:lnTo>
                    <a:lnTo>
                      <a:pt x="111" y="5"/>
                    </a:lnTo>
                    <a:lnTo>
                      <a:pt x="107" y="5"/>
                    </a:lnTo>
                    <a:lnTo>
                      <a:pt x="102" y="1"/>
                    </a:lnTo>
                    <a:lnTo>
                      <a:pt x="94" y="1"/>
                    </a:lnTo>
                    <a:lnTo>
                      <a:pt x="90" y="0"/>
                    </a:lnTo>
                    <a:lnTo>
                      <a:pt x="89" y="3"/>
                    </a:lnTo>
                    <a:lnTo>
                      <a:pt x="89" y="5"/>
                    </a:lnTo>
                    <a:lnTo>
                      <a:pt x="89" y="7"/>
                    </a:lnTo>
                    <a:lnTo>
                      <a:pt x="83" y="9"/>
                    </a:lnTo>
                    <a:lnTo>
                      <a:pt x="81" y="11"/>
                    </a:lnTo>
                    <a:lnTo>
                      <a:pt x="72" y="5"/>
                    </a:lnTo>
                    <a:lnTo>
                      <a:pt x="68" y="5"/>
                    </a:lnTo>
                    <a:lnTo>
                      <a:pt x="68" y="7"/>
                    </a:lnTo>
                    <a:lnTo>
                      <a:pt x="68" y="13"/>
                    </a:lnTo>
                    <a:lnTo>
                      <a:pt x="66" y="13"/>
                    </a:lnTo>
                    <a:lnTo>
                      <a:pt x="64" y="15"/>
                    </a:lnTo>
                    <a:lnTo>
                      <a:pt x="60" y="18"/>
                    </a:lnTo>
                    <a:lnTo>
                      <a:pt x="55" y="24"/>
                    </a:lnTo>
                    <a:lnTo>
                      <a:pt x="55" y="26"/>
                    </a:lnTo>
                    <a:lnTo>
                      <a:pt x="60" y="28"/>
                    </a:lnTo>
                    <a:lnTo>
                      <a:pt x="60" y="33"/>
                    </a:lnTo>
                    <a:lnTo>
                      <a:pt x="58" y="33"/>
                    </a:lnTo>
                    <a:lnTo>
                      <a:pt x="55" y="30"/>
                    </a:lnTo>
                    <a:lnTo>
                      <a:pt x="49" y="33"/>
                    </a:lnTo>
                    <a:lnTo>
                      <a:pt x="45" y="30"/>
                    </a:lnTo>
                    <a:lnTo>
                      <a:pt x="42" y="33"/>
                    </a:lnTo>
                    <a:lnTo>
                      <a:pt x="36" y="35"/>
                    </a:lnTo>
                    <a:lnTo>
                      <a:pt x="34" y="35"/>
                    </a:lnTo>
                    <a:lnTo>
                      <a:pt x="30" y="35"/>
                    </a:lnTo>
                    <a:lnTo>
                      <a:pt x="28" y="35"/>
                    </a:lnTo>
                    <a:lnTo>
                      <a:pt x="25" y="33"/>
                    </a:lnTo>
                    <a:lnTo>
                      <a:pt x="21" y="33"/>
                    </a:lnTo>
                    <a:lnTo>
                      <a:pt x="15" y="33"/>
                    </a:lnTo>
                    <a:lnTo>
                      <a:pt x="17" y="35"/>
                    </a:lnTo>
                    <a:lnTo>
                      <a:pt x="15" y="37"/>
                    </a:lnTo>
                    <a:lnTo>
                      <a:pt x="10" y="37"/>
                    </a:lnTo>
                    <a:lnTo>
                      <a:pt x="8" y="33"/>
                    </a:lnTo>
                    <a:lnTo>
                      <a:pt x="4" y="35"/>
                    </a:lnTo>
                    <a:lnTo>
                      <a:pt x="2" y="35"/>
                    </a:lnTo>
                    <a:lnTo>
                      <a:pt x="0" y="35"/>
                    </a:lnTo>
                    <a:lnTo>
                      <a:pt x="4" y="37"/>
                    </a:lnTo>
                    <a:lnTo>
                      <a:pt x="2" y="41"/>
                    </a:lnTo>
                    <a:lnTo>
                      <a:pt x="6" y="43"/>
                    </a:lnTo>
                    <a:lnTo>
                      <a:pt x="6" y="47"/>
                    </a:lnTo>
                    <a:lnTo>
                      <a:pt x="8" y="47"/>
                    </a:lnTo>
                    <a:lnTo>
                      <a:pt x="11" y="45"/>
                    </a:lnTo>
                    <a:lnTo>
                      <a:pt x="15" y="49"/>
                    </a:lnTo>
                    <a:lnTo>
                      <a:pt x="17" y="47"/>
                    </a:lnTo>
                    <a:lnTo>
                      <a:pt x="21" y="47"/>
                    </a:lnTo>
                    <a:lnTo>
                      <a:pt x="21" y="49"/>
                    </a:lnTo>
                    <a:lnTo>
                      <a:pt x="21" y="49"/>
                    </a:lnTo>
                    <a:lnTo>
                      <a:pt x="28" y="52"/>
                    </a:lnTo>
                    <a:lnTo>
                      <a:pt x="36" y="47"/>
                    </a:lnTo>
                    <a:lnTo>
                      <a:pt x="40" y="47"/>
                    </a:lnTo>
                    <a:lnTo>
                      <a:pt x="47" y="47"/>
                    </a:lnTo>
                    <a:lnTo>
                      <a:pt x="47" y="50"/>
                    </a:lnTo>
                    <a:lnTo>
                      <a:pt x="57" y="56"/>
                    </a:lnTo>
                    <a:lnTo>
                      <a:pt x="66" y="58"/>
                    </a:lnTo>
                    <a:lnTo>
                      <a:pt x="74" y="58"/>
                    </a:lnTo>
                    <a:lnTo>
                      <a:pt x="75" y="60"/>
                    </a:lnTo>
                    <a:lnTo>
                      <a:pt x="75" y="60"/>
                    </a:lnTo>
                    <a:lnTo>
                      <a:pt x="75" y="60"/>
                    </a:lnTo>
                    <a:lnTo>
                      <a:pt x="75" y="60"/>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4" name="Freeform 16"/>
              <p:cNvSpPr>
                <a:spLocks/>
              </p:cNvSpPr>
              <p:nvPr/>
            </p:nvSpPr>
            <p:spPr bwMode="auto">
              <a:xfrm>
                <a:off x="3007" y="1960"/>
                <a:ext cx="173" cy="143"/>
              </a:xfrm>
              <a:custGeom>
                <a:avLst/>
                <a:gdLst/>
                <a:ahLst/>
                <a:cxnLst>
                  <a:cxn ang="0">
                    <a:pos x="107" y="143"/>
                  </a:cxn>
                  <a:cxn ang="0">
                    <a:pos x="111" y="139"/>
                  </a:cxn>
                  <a:cxn ang="0">
                    <a:pos x="116" y="139"/>
                  </a:cxn>
                  <a:cxn ang="0">
                    <a:pos x="124" y="143"/>
                  </a:cxn>
                  <a:cxn ang="0">
                    <a:pos x="128" y="137"/>
                  </a:cxn>
                  <a:cxn ang="0">
                    <a:pos x="133" y="139"/>
                  </a:cxn>
                  <a:cxn ang="0">
                    <a:pos x="148" y="143"/>
                  </a:cxn>
                  <a:cxn ang="0">
                    <a:pos x="154" y="137"/>
                  </a:cxn>
                  <a:cxn ang="0">
                    <a:pos x="164" y="120"/>
                  </a:cxn>
                  <a:cxn ang="0">
                    <a:pos x="167" y="113"/>
                  </a:cxn>
                  <a:cxn ang="0">
                    <a:pos x="173" y="107"/>
                  </a:cxn>
                  <a:cxn ang="0">
                    <a:pos x="173" y="101"/>
                  </a:cxn>
                  <a:cxn ang="0">
                    <a:pos x="167" y="98"/>
                  </a:cxn>
                  <a:cxn ang="0">
                    <a:pos x="164" y="88"/>
                  </a:cxn>
                  <a:cxn ang="0">
                    <a:pos x="164" y="75"/>
                  </a:cxn>
                  <a:cxn ang="0">
                    <a:pos x="160" y="64"/>
                  </a:cxn>
                  <a:cxn ang="0">
                    <a:pos x="164" y="58"/>
                  </a:cxn>
                  <a:cxn ang="0">
                    <a:pos x="164" y="45"/>
                  </a:cxn>
                  <a:cxn ang="0">
                    <a:pos x="160" y="36"/>
                  </a:cxn>
                  <a:cxn ang="0">
                    <a:pos x="154" y="24"/>
                  </a:cxn>
                  <a:cxn ang="0">
                    <a:pos x="152" y="11"/>
                  </a:cxn>
                  <a:cxn ang="0">
                    <a:pos x="147" y="7"/>
                  </a:cxn>
                  <a:cxn ang="0">
                    <a:pos x="98" y="9"/>
                  </a:cxn>
                  <a:cxn ang="0">
                    <a:pos x="88" y="15"/>
                  </a:cxn>
                  <a:cxn ang="0">
                    <a:pos x="81" y="15"/>
                  </a:cxn>
                  <a:cxn ang="0">
                    <a:pos x="92" y="7"/>
                  </a:cxn>
                  <a:cxn ang="0">
                    <a:pos x="86" y="11"/>
                  </a:cxn>
                  <a:cxn ang="0">
                    <a:pos x="71" y="13"/>
                  </a:cxn>
                  <a:cxn ang="0">
                    <a:pos x="69" y="5"/>
                  </a:cxn>
                  <a:cxn ang="0">
                    <a:pos x="77" y="7"/>
                  </a:cxn>
                  <a:cxn ang="0">
                    <a:pos x="71" y="2"/>
                  </a:cxn>
                  <a:cxn ang="0">
                    <a:pos x="56" y="5"/>
                  </a:cxn>
                  <a:cxn ang="0">
                    <a:pos x="43" y="5"/>
                  </a:cxn>
                  <a:cxn ang="0">
                    <a:pos x="34" y="11"/>
                  </a:cxn>
                  <a:cxn ang="0">
                    <a:pos x="32" y="19"/>
                  </a:cxn>
                  <a:cxn ang="0">
                    <a:pos x="17" y="20"/>
                  </a:cxn>
                  <a:cxn ang="0">
                    <a:pos x="9" y="26"/>
                  </a:cxn>
                  <a:cxn ang="0">
                    <a:pos x="5" y="32"/>
                  </a:cxn>
                  <a:cxn ang="0">
                    <a:pos x="5" y="34"/>
                  </a:cxn>
                  <a:cxn ang="0">
                    <a:pos x="5" y="49"/>
                  </a:cxn>
                  <a:cxn ang="0">
                    <a:pos x="0" y="54"/>
                  </a:cxn>
                  <a:cxn ang="0">
                    <a:pos x="5" y="64"/>
                  </a:cxn>
                  <a:cxn ang="0">
                    <a:pos x="9" y="69"/>
                  </a:cxn>
                  <a:cxn ang="0">
                    <a:pos x="9" y="75"/>
                  </a:cxn>
                  <a:cxn ang="0">
                    <a:pos x="15" y="88"/>
                  </a:cxn>
                  <a:cxn ang="0">
                    <a:pos x="19" y="100"/>
                  </a:cxn>
                  <a:cxn ang="0">
                    <a:pos x="19" y="103"/>
                  </a:cxn>
                  <a:cxn ang="0">
                    <a:pos x="22" y="103"/>
                  </a:cxn>
                  <a:cxn ang="0">
                    <a:pos x="32" y="103"/>
                  </a:cxn>
                  <a:cxn ang="0">
                    <a:pos x="34" y="109"/>
                  </a:cxn>
                  <a:cxn ang="0">
                    <a:pos x="41" y="109"/>
                  </a:cxn>
                  <a:cxn ang="0">
                    <a:pos x="39" y="115"/>
                  </a:cxn>
                  <a:cxn ang="0">
                    <a:pos x="41" y="120"/>
                  </a:cxn>
                  <a:cxn ang="0">
                    <a:pos x="47" y="118"/>
                  </a:cxn>
                  <a:cxn ang="0">
                    <a:pos x="43" y="113"/>
                  </a:cxn>
                  <a:cxn ang="0">
                    <a:pos x="54" y="117"/>
                  </a:cxn>
                  <a:cxn ang="0">
                    <a:pos x="58" y="120"/>
                  </a:cxn>
                  <a:cxn ang="0">
                    <a:pos x="69" y="122"/>
                  </a:cxn>
                  <a:cxn ang="0">
                    <a:pos x="88" y="132"/>
                  </a:cxn>
                  <a:cxn ang="0">
                    <a:pos x="94" y="137"/>
                  </a:cxn>
                  <a:cxn ang="0">
                    <a:pos x="101" y="137"/>
                  </a:cxn>
                  <a:cxn ang="0">
                    <a:pos x="103" y="143"/>
                  </a:cxn>
                  <a:cxn ang="0">
                    <a:pos x="103" y="143"/>
                  </a:cxn>
                </a:cxnLst>
                <a:rect l="0" t="0" r="r" b="b"/>
                <a:pathLst>
                  <a:path w="173" h="143">
                    <a:moveTo>
                      <a:pt x="103" y="143"/>
                    </a:moveTo>
                    <a:lnTo>
                      <a:pt x="107" y="143"/>
                    </a:lnTo>
                    <a:lnTo>
                      <a:pt x="109" y="143"/>
                    </a:lnTo>
                    <a:lnTo>
                      <a:pt x="111" y="139"/>
                    </a:lnTo>
                    <a:lnTo>
                      <a:pt x="115" y="139"/>
                    </a:lnTo>
                    <a:lnTo>
                      <a:pt x="116" y="139"/>
                    </a:lnTo>
                    <a:lnTo>
                      <a:pt x="122" y="139"/>
                    </a:lnTo>
                    <a:lnTo>
                      <a:pt x="124" y="143"/>
                    </a:lnTo>
                    <a:lnTo>
                      <a:pt x="128" y="139"/>
                    </a:lnTo>
                    <a:lnTo>
                      <a:pt x="128" y="137"/>
                    </a:lnTo>
                    <a:lnTo>
                      <a:pt x="133" y="139"/>
                    </a:lnTo>
                    <a:lnTo>
                      <a:pt x="133" y="139"/>
                    </a:lnTo>
                    <a:lnTo>
                      <a:pt x="141" y="139"/>
                    </a:lnTo>
                    <a:lnTo>
                      <a:pt x="148" y="143"/>
                    </a:lnTo>
                    <a:lnTo>
                      <a:pt x="154" y="143"/>
                    </a:lnTo>
                    <a:lnTo>
                      <a:pt x="154" y="137"/>
                    </a:lnTo>
                    <a:lnTo>
                      <a:pt x="152" y="133"/>
                    </a:lnTo>
                    <a:lnTo>
                      <a:pt x="164" y="120"/>
                    </a:lnTo>
                    <a:lnTo>
                      <a:pt x="167" y="115"/>
                    </a:lnTo>
                    <a:lnTo>
                      <a:pt x="167" y="113"/>
                    </a:lnTo>
                    <a:lnTo>
                      <a:pt x="173" y="113"/>
                    </a:lnTo>
                    <a:lnTo>
                      <a:pt x="173" y="107"/>
                    </a:lnTo>
                    <a:lnTo>
                      <a:pt x="173" y="105"/>
                    </a:lnTo>
                    <a:lnTo>
                      <a:pt x="173" y="101"/>
                    </a:lnTo>
                    <a:lnTo>
                      <a:pt x="173" y="100"/>
                    </a:lnTo>
                    <a:lnTo>
                      <a:pt x="167" y="98"/>
                    </a:lnTo>
                    <a:lnTo>
                      <a:pt x="167" y="90"/>
                    </a:lnTo>
                    <a:lnTo>
                      <a:pt x="164" y="88"/>
                    </a:lnTo>
                    <a:lnTo>
                      <a:pt x="164" y="79"/>
                    </a:lnTo>
                    <a:lnTo>
                      <a:pt x="164" y="75"/>
                    </a:lnTo>
                    <a:lnTo>
                      <a:pt x="160" y="69"/>
                    </a:lnTo>
                    <a:lnTo>
                      <a:pt x="160" y="64"/>
                    </a:lnTo>
                    <a:lnTo>
                      <a:pt x="162" y="58"/>
                    </a:lnTo>
                    <a:lnTo>
                      <a:pt x="164" y="58"/>
                    </a:lnTo>
                    <a:lnTo>
                      <a:pt x="164" y="47"/>
                    </a:lnTo>
                    <a:lnTo>
                      <a:pt x="164" y="45"/>
                    </a:lnTo>
                    <a:lnTo>
                      <a:pt x="164" y="41"/>
                    </a:lnTo>
                    <a:lnTo>
                      <a:pt x="160" y="36"/>
                    </a:lnTo>
                    <a:lnTo>
                      <a:pt x="158" y="26"/>
                    </a:lnTo>
                    <a:lnTo>
                      <a:pt x="154" y="24"/>
                    </a:lnTo>
                    <a:lnTo>
                      <a:pt x="154" y="19"/>
                    </a:lnTo>
                    <a:lnTo>
                      <a:pt x="152" y="11"/>
                    </a:lnTo>
                    <a:lnTo>
                      <a:pt x="148" y="11"/>
                    </a:lnTo>
                    <a:lnTo>
                      <a:pt x="147" y="7"/>
                    </a:lnTo>
                    <a:lnTo>
                      <a:pt x="120" y="11"/>
                    </a:lnTo>
                    <a:lnTo>
                      <a:pt x="98" y="9"/>
                    </a:lnTo>
                    <a:lnTo>
                      <a:pt x="94" y="9"/>
                    </a:lnTo>
                    <a:lnTo>
                      <a:pt x="88" y="15"/>
                    </a:lnTo>
                    <a:lnTo>
                      <a:pt x="83" y="17"/>
                    </a:lnTo>
                    <a:lnTo>
                      <a:pt x="81" y="15"/>
                    </a:lnTo>
                    <a:lnTo>
                      <a:pt x="86" y="13"/>
                    </a:lnTo>
                    <a:lnTo>
                      <a:pt x="92" y="7"/>
                    </a:lnTo>
                    <a:lnTo>
                      <a:pt x="88" y="7"/>
                    </a:lnTo>
                    <a:lnTo>
                      <a:pt x="86" y="11"/>
                    </a:lnTo>
                    <a:lnTo>
                      <a:pt x="79" y="15"/>
                    </a:lnTo>
                    <a:lnTo>
                      <a:pt x="71" y="13"/>
                    </a:lnTo>
                    <a:lnTo>
                      <a:pt x="69" y="7"/>
                    </a:lnTo>
                    <a:lnTo>
                      <a:pt x="69" y="5"/>
                    </a:lnTo>
                    <a:lnTo>
                      <a:pt x="75" y="5"/>
                    </a:lnTo>
                    <a:lnTo>
                      <a:pt x="77" y="7"/>
                    </a:lnTo>
                    <a:lnTo>
                      <a:pt x="77" y="5"/>
                    </a:lnTo>
                    <a:lnTo>
                      <a:pt x="71" y="2"/>
                    </a:lnTo>
                    <a:lnTo>
                      <a:pt x="62" y="0"/>
                    </a:lnTo>
                    <a:lnTo>
                      <a:pt x="56" y="5"/>
                    </a:lnTo>
                    <a:lnTo>
                      <a:pt x="49" y="5"/>
                    </a:lnTo>
                    <a:lnTo>
                      <a:pt x="43" y="5"/>
                    </a:lnTo>
                    <a:lnTo>
                      <a:pt x="41" y="11"/>
                    </a:lnTo>
                    <a:lnTo>
                      <a:pt x="34" y="11"/>
                    </a:lnTo>
                    <a:lnTo>
                      <a:pt x="32" y="15"/>
                    </a:lnTo>
                    <a:lnTo>
                      <a:pt x="32" y="19"/>
                    </a:lnTo>
                    <a:lnTo>
                      <a:pt x="26" y="19"/>
                    </a:lnTo>
                    <a:lnTo>
                      <a:pt x="17" y="20"/>
                    </a:lnTo>
                    <a:lnTo>
                      <a:pt x="11" y="24"/>
                    </a:lnTo>
                    <a:lnTo>
                      <a:pt x="9" y="26"/>
                    </a:lnTo>
                    <a:lnTo>
                      <a:pt x="7" y="32"/>
                    </a:lnTo>
                    <a:lnTo>
                      <a:pt x="5" y="32"/>
                    </a:lnTo>
                    <a:lnTo>
                      <a:pt x="7" y="34"/>
                    </a:lnTo>
                    <a:lnTo>
                      <a:pt x="5" y="34"/>
                    </a:lnTo>
                    <a:lnTo>
                      <a:pt x="7" y="43"/>
                    </a:lnTo>
                    <a:lnTo>
                      <a:pt x="5" y="49"/>
                    </a:lnTo>
                    <a:lnTo>
                      <a:pt x="0" y="51"/>
                    </a:lnTo>
                    <a:lnTo>
                      <a:pt x="0" y="54"/>
                    </a:lnTo>
                    <a:lnTo>
                      <a:pt x="7" y="60"/>
                    </a:lnTo>
                    <a:lnTo>
                      <a:pt x="5" y="64"/>
                    </a:lnTo>
                    <a:lnTo>
                      <a:pt x="9" y="68"/>
                    </a:lnTo>
                    <a:lnTo>
                      <a:pt x="9" y="69"/>
                    </a:lnTo>
                    <a:lnTo>
                      <a:pt x="11" y="75"/>
                    </a:lnTo>
                    <a:lnTo>
                      <a:pt x="9" y="75"/>
                    </a:lnTo>
                    <a:lnTo>
                      <a:pt x="13" y="85"/>
                    </a:lnTo>
                    <a:lnTo>
                      <a:pt x="15" y="88"/>
                    </a:lnTo>
                    <a:lnTo>
                      <a:pt x="17" y="88"/>
                    </a:lnTo>
                    <a:lnTo>
                      <a:pt x="19" y="100"/>
                    </a:lnTo>
                    <a:lnTo>
                      <a:pt x="17" y="101"/>
                    </a:lnTo>
                    <a:lnTo>
                      <a:pt x="19" y="103"/>
                    </a:lnTo>
                    <a:lnTo>
                      <a:pt x="19" y="101"/>
                    </a:lnTo>
                    <a:lnTo>
                      <a:pt x="22" y="103"/>
                    </a:lnTo>
                    <a:lnTo>
                      <a:pt x="22" y="101"/>
                    </a:lnTo>
                    <a:lnTo>
                      <a:pt x="32" y="103"/>
                    </a:lnTo>
                    <a:lnTo>
                      <a:pt x="32" y="105"/>
                    </a:lnTo>
                    <a:lnTo>
                      <a:pt x="34" y="109"/>
                    </a:lnTo>
                    <a:lnTo>
                      <a:pt x="37" y="109"/>
                    </a:lnTo>
                    <a:lnTo>
                      <a:pt x="41" y="109"/>
                    </a:lnTo>
                    <a:lnTo>
                      <a:pt x="39" y="113"/>
                    </a:lnTo>
                    <a:lnTo>
                      <a:pt x="39" y="115"/>
                    </a:lnTo>
                    <a:lnTo>
                      <a:pt x="41" y="117"/>
                    </a:lnTo>
                    <a:lnTo>
                      <a:pt x="41" y="120"/>
                    </a:lnTo>
                    <a:lnTo>
                      <a:pt x="45" y="120"/>
                    </a:lnTo>
                    <a:lnTo>
                      <a:pt x="47" y="118"/>
                    </a:lnTo>
                    <a:lnTo>
                      <a:pt x="49" y="118"/>
                    </a:lnTo>
                    <a:lnTo>
                      <a:pt x="43" y="113"/>
                    </a:lnTo>
                    <a:lnTo>
                      <a:pt x="45" y="113"/>
                    </a:lnTo>
                    <a:lnTo>
                      <a:pt x="54" y="117"/>
                    </a:lnTo>
                    <a:lnTo>
                      <a:pt x="58" y="117"/>
                    </a:lnTo>
                    <a:lnTo>
                      <a:pt x="58" y="120"/>
                    </a:lnTo>
                    <a:lnTo>
                      <a:pt x="62" y="122"/>
                    </a:lnTo>
                    <a:lnTo>
                      <a:pt x="69" y="122"/>
                    </a:lnTo>
                    <a:lnTo>
                      <a:pt x="75" y="124"/>
                    </a:lnTo>
                    <a:lnTo>
                      <a:pt x="88" y="132"/>
                    </a:lnTo>
                    <a:lnTo>
                      <a:pt x="92" y="137"/>
                    </a:lnTo>
                    <a:lnTo>
                      <a:pt x="94" y="137"/>
                    </a:lnTo>
                    <a:lnTo>
                      <a:pt x="94" y="137"/>
                    </a:lnTo>
                    <a:lnTo>
                      <a:pt x="101" y="137"/>
                    </a:lnTo>
                    <a:lnTo>
                      <a:pt x="103" y="137"/>
                    </a:lnTo>
                    <a:lnTo>
                      <a:pt x="103" y="143"/>
                    </a:lnTo>
                    <a:lnTo>
                      <a:pt x="103" y="143"/>
                    </a:lnTo>
                    <a:lnTo>
                      <a:pt x="103" y="143"/>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5" name="Freeform 17"/>
              <p:cNvSpPr>
                <a:spLocks/>
              </p:cNvSpPr>
              <p:nvPr/>
            </p:nvSpPr>
            <p:spPr bwMode="auto">
              <a:xfrm>
                <a:off x="2975" y="2061"/>
                <a:ext cx="137" cy="59"/>
              </a:xfrm>
              <a:custGeom>
                <a:avLst/>
                <a:gdLst/>
                <a:ahLst/>
                <a:cxnLst>
                  <a:cxn ang="0">
                    <a:pos x="51" y="2"/>
                  </a:cxn>
                  <a:cxn ang="0">
                    <a:pos x="54" y="2"/>
                  </a:cxn>
                  <a:cxn ang="0">
                    <a:pos x="66" y="2"/>
                  </a:cxn>
                  <a:cxn ang="0">
                    <a:pos x="68" y="8"/>
                  </a:cxn>
                  <a:cxn ang="0">
                    <a:pos x="75" y="10"/>
                  </a:cxn>
                  <a:cxn ang="0">
                    <a:pos x="73" y="14"/>
                  </a:cxn>
                  <a:cxn ang="0">
                    <a:pos x="75" y="19"/>
                  </a:cxn>
                  <a:cxn ang="0">
                    <a:pos x="81" y="17"/>
                  </a:cxn>
                  <a:cxn ang="0">
                    <a:pos x="77" y="14"/>
                  </a:cxn>
                  <a:cxn ang="0">
                    <a:pos x="86" y="17"/>
                  </a:cxn>
                  <a:cxn ang="0">
                    <a:pos x="92" y="19"/>
                  </a:cxn>
                  <a:cxn ang="0">
                    <a:pos x="103" y="21"/>
                  </a:cxn>
                  <a:cxn ang="0">
                    <a:pos x="120" y="31"/>
                  </a:cxn>
                  <a:cxn ang="0">
                    <a:pos x="126" y="38"/>
                  </a:cxn>
                  <a:cxn ang="0">
                    <a:pos x="133" y="36"/>
                  </a:cxn>
                  <a:cxn ang="0">
                    <a:pos x="137" y="42"/>
                  </a:cxn>
                  <a:cxn ang="0">
                    <a:pos x="126" y="46"/>
                  </a:cxn>
                  <a:cxn ang="0">
                    <a:pos x="116" y="51"/>
                  </a:cxn>
                  <a:cxn ang="0">
                    <a:pos x="101" y="55"/>
                  </a:cxn>
                  <a:cxn ang="0">
                    <a:pos x="94" y="53"/>
                  </a:cxn>
                  <a:cxn ang="0">
                    <a:pos x="81" y="55"/>
                  </a:cxn>
                  <a:cxn ang="0">
                    <a:pos x="75" y="53"/>
                  </a:cxn>
                  <a:cxn ang="0">
                    <a:pos x="64" y="49"/>
                  </a:cxn>
                  <a:cxn ang="0">
                    <a:pos x="52" y="48"/>
                  </a:cxn>
                  <a:cxn ang="0">
                    <a:pos x="51" y="53"/>
                  </a:cxn>
                  <a:cxn ang="0">
                    <a:pos x="45" y="57"/>
                  </a:cxn>
                  <a:cxn ang="0">
                    <a:pos x="34" y="53"/>
                  </a:cxn>
                  <a:cxn ang="0">
                    <a:pos x="32" y="53"/>
                  </a:cxn>
                  <a:cxn ang="0">
                    <a:pos x="20" y="42"/>
                  </a:cxn>
                  <a:cxn ang="0">
                    <a:pos x="11" y="36"/>
                  </a:cxn>
                  <a:cxn ang="0">
                    <a:pos x="7" y="29"/>
                  </a:cxn>
                  <a:cxn ang="0">
                    <a:pos x="0" y="19"/>
                  </a:cxn>
                  <a:cxn ang="0">
                    <a:pos x="2" y="14"/>
                  </a:cxn>
                  <a:cxn ang="0">
                    <a:pos x="7" y="17"/>
                  </a:cxn>
                  <a:cxn ang="0">
                    <a:pos x="15" y="12"/>
                  </a:cxn>
                  <a:cxn ang="0">
                    <a:pos x="24" y="8"/>
                  </a:cxn>
                  <a:cxn ang="0">
                    <a:pos x="32" y="4"/>
                  </a:cxn>
                  <a:cxn ang="0">
                    <a:pos x="37" y="4"/>
                  </a:cxn>
                  <a:cxn ang="0">
                    <a:pos x="45" y="0"/>
                  </a:cxn>
                  <a:cxn ang="0">
                    <a:pos x="51" y="0"/>
                  </a:cxn>
                  <a:cxn ang="0">
                    <a:pos x="51" y="0"/>
                  </a:cxn>
                </a:cxnLst>
                <a:rect l="0" t="0" r="r" b="b"/>
                <a:pathLst>
                  <a:path w="137" h="59">
                    <a:moveTo>
                      <a:pt x="51" y="0"/>
                    </a:moveTo>
                    <a:lnTo>
                      <a:pt x="51" y="2"/>
                    </a:lnTo>
                    <a:lnTo>
                      <a:pt x="52" y="0"/>
                    </a:lnTo>
                    <a:lnTo>
                      <a:pt x="54" y="2"/>
                    </a:lnTo>
                    <a:lnTo>
                      <a:pt x="56" y="0"/>
                    </a:lnTo>
                    <a:lnTo>
                      <a:pt x="66" y="2"/>
                    </a:lnTo>
                    <a:lnTo>
                      <a:pt x="66" y="4"/>
                    </a:lnTo>
                    <a:lnTo>
                      <a:pt x="68" y="8"/>
                    </a:lnTo>
                    <a:lnTo>
                      <a:pt x="71" y="8"/>
                    </a:lnTo>
                    <a:lnTo>
                      <a:pt x="75" y="10"/>
                    </a:lnTo>
                    <a:lnTo>
                      <a:pt x="73" y="14"/>
                    </a:lnTo>
                    <a:lnTo>
                      <a:pt x="73" y="14"/>
                    </a:lnTo>
                    <a:lnTo>
                      <a:pt x="75" y="17"/>
                    </a:lnTo>
                    <a:lnTo>
                      <a:pt x="75" y="19"/>
                    </a:lnTo>
                    <a:lnTo>
                      <a:pt x="77" y="19"/>
                    </a:lnTo>
                    <a:lnTo>
                      <a:pt x="81" y="17"/>
                    </a:lnTo>
                    <a:lnTo>
                      <a:pt x="81" y="17"/>
                    </a:lnTo>
                    <a:lnTo>
                      <a:pt x="77" y="14"/>
                    </a:lnTo>
                    <a:lnTo>
                      <a:pt x="77" y="14"/>
                    </a:lnTo>
                    <a:lnTo>
                      <a:pt x="86" y="17"/>
                    </a:lnTo>
                    <a:lnTo>
                      <a:pt x="92" y="17"/>
                    </a:lnTo>
                    <a:lnTo>
                      <a:pt x="92" y="19"/>
                    </a:lnTo>
                    <a:lnTo>
                      <a:pt x="96" y="21"/>
                    </a:lnTo>
                    <a:lnTo>
                      <a:pt x="103" y="21"/>
                    </a:lnTo>
                    <a:lnTo>
                      <a:pt x="109" y="23"/>
                    </a:lnTo>
                    <a:lnTo>
                      <a:pt x="120" y="31"/>
                    </a:lnTo>
                    <a:lnTo>
                      <a:pt x="126" y="38"/>
                    </a:lnTo>
                    <a:lnTo>
                      <a:pt x="126" y="38"/>
                    </a:lnTo>
                    <a:lnTo>
                      <a:pt x="128" y="36"/>
                    </a:lnTo>
                    <a:lnTo>
                      <a:pt x="133" y="36"/>
                    </a:lnTo>
                    <a:lnTo>
                      <a:pt x="137" y="38"/>
                    </a:lnTo>
                    <a:lnTo>
                      <a:pt x="137" y="42"/>
                    </a:lnTo>
                    <a:lnTo>
                      <a:pt x="128" y="42"/>
                    </a:lnTo>
                    <a:lnTo>
                      <a:pt x="126" y="46"/>
                    </a:lnTo>
                    <a:lnTo>
                      <a:pt x="120" y="46"/>
                    </a:lnTo>
                    <a:lnTo>
                      <a:pt x="116" y="51"/>
                    </a:lnTo>
                    <a:lnTo>
                      <a:pt x="109" y="51"/>
                    </a:lnTo>
                    <a:lnTo>
                      <a:pt x="101" y="55"/>
                    </a:lnTo>
                    <a:lnTo>
                      <a:pt x="100" y="53"/>
                    </a:lnTo>
                    <a:lnTo>
                      <a:pt x="94" y="53"/>
                    </a:lnTo>
                    <a:lnTo>
                      <a:pt x="90" y="57"/>
                    </a:lnTo>
                    <a:lnTo>
                      <a:pt x="81" y="55"/>
                    </a:lnTo>
                    <a:lnTo>
                      <a:pt x="77" y="51"/>
                    </a:lnTo>
                    <a:lnTo>
                      <a:pt x="75" y="53"/>
                    </a:lnTo>
                    <a:lnTo>
                      <a:pt x="69" y="53"/>
                    </a:lnTo>
                    <a:lnTo>
                      <a:pt x="64" y="49"/>
                    </a:lnTo>
                    <a:lnTo>
                      <a:pt x="56" y="49"/>
                    </a:lnTo>
                    <a:lnTo>
                      <a:pt x="52" y="48"/>
                    </a:lnTo>
                    <a:lnTo>
                      <a:pt x="51" y="51"/>
                    </a:lnTo>
                    <a:lnTo>
                      <a:pt x="51" y="53"/>
                    </a:lnTo>
                    <a:lnTo>
                      <a:pt x="51" y="55"/>
                    </a:lnTo>
                    <a:lnTo>
                      <a:pt x="45" y="57"/>
                    </a:lnTo>
                    <a:lnTo>
                      <a:pt x="41" y="59"/>
                    </a:lnTo>
                    <a:lnTo>
                      <a:pt x="34" y="53"/>
                    </a:lnTo>
                    <a:lnTo>
                      <a:pt x="30" y="53"/>
                    </a:lnTo>
                    <a:lnTo>
                      <a:pt x="32" y="53"/>
                    </a:lnTo>
                    <a:lnTo>
                      <a:pt x="22" y="44"/>
                    </a:lnTo>
                    <a:lnTo>
                      <a:pt x="20" y="42"/>
                    </a:lnTo>
                    <a:lnTo>
                      <a:pt x="15" y="38"/>
                    </a:lnTo>
                    <a:lnTo>
                      <a:pt x="11" y="36"/>
                    </a:lnTo>
                    <a:lnTo>
                      <a:pt x="7" y="32"/>
                    </a:lnTo>
                    <a:lnTo>
                      <a:pt x="7" y="29"/>
                    </a:lnTo>
                    <a:lnTo>
                      <a:pt x="5" y="21"/>
                    </a:lnTo>
                    <a:lnTo>
                      <a:pt x="0" y="19"/>
                    </a:lnTo>
                    <a:lnTo>
                      <a:pt x="0" y="17"/>
                    </a:lnTo>
                    <a:lnTo>
                      <a:pt x="2" y="14"/>
                    </a:lnTo>
                    <a:lnTo>
                      <a:pt x="2" y="17"/>
                    </a:lnTo>
                    <a:lnTo>
                      <a:pt x="7" y="17"/>
                    </a:lnTo>
                    <a:lnTo>
                      <a:pt x="15" y="14"/>
                    </a:lnTo>
                    <a:lnTo>
                      <a:pt x="15" y="12"/>
                    </a:lnTo>
                    <a:lnTo>
                      <a:pt x="20" y="8"/>
                    </a:lnTo>
                    <a:lnTo>
                      <a:pt x="24" y="8"/>
                    </a:lnTo>
                    <a:lnTo>
                      <a:pt x="26" y="4"/>
                    </a:lnTo>
                    <a:lnTo>
                      <a:pt x="32" y="4"/>
                    </a:lnTo>
                    <a:lnTo>
                      <a:pt x="36" y="6"/>
                    </a:lnTo>
                    <a:lnTo>
                      <a:pt x="37" y="4"/>
                    </a:lnTo>
                    <a:lnTo>
                      <a:pt x="37" y="0"/>
                    </a:lnTo>
                    <a:lnTo>
                      <a:pt x="45" y="0"/>
                    </a:lnTo>
                    <a:lnTo>
                      <a:pt x="47" y="0"/>
                    </a:lnTo>
                    <a:lnTo>
                      <a:pt x="51" y="0"/>
                    </a:lnTo>
                    <a:lnTo>
                      <a:pt x="51" y="0"/>
                    </a:lnTo>
                    <a:lnTo>
                      <a:pt x="51" y="0"/>
                    </a:lnTo>
                    <a:lnTo>
                      <a:pt x="51" y="0"/>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6" name="Freeform 18"/>
              <p:cNvSpPr>
                <a:spLocks/>
              </p:cNvSpPr>
              <p:nvPr/>
            </p:nvSpPr>
            <p:spPr bwMode="auto">
              <a:xfrm>
                <a:off x="2875" y="2135"/>
                <a:ext cx="85" cy="47"/>
              </a:xfrm>
              <a:custGeom>
                <a:avLst/>
                <a:gdLst/>
                <a:ahLst/>
                <a:cxnLst>
                  <a:cxn ang="0">
                    <a:pos x="36" y="7"/>
                  </a:cxn>
                  <a:cxn ang="0">
                    <a:pos x="43" y="6"/>
                  </a:cxn>
                  <a:cxn ang="0">
                    <a:pos x="45" y="2"/>
                  </a:cxn>
                  <a:cxn ang="0">
                    <a:pos x="49" y="4"/>
                  </a:cxn>
                  <a:cxn ang="0">
                    <a:pos x="55" y="2"/>
                  </a:cxn>
                  <a:cxn ang="0">
                    <a:pos x="60" y="7"/>
                  </a:cxn>
                  <a:cxn ang="0">
                    <a:pos x="64" y="11"/>
                  </a:cxn>
                  <a:cxn ang="0">
                    <a:pos x="68" y="17"/>
                  </a:cxn>
                  <a:cxn ang="0">
                    <a:pos x="73" y="15"/>
                  </a:cxn>
                  <a:cxn ang="0">
                    <a:pos x="81" y="17"/>
                  </a:cxn>
                  <a:cxn ang="0">
                    <a:pos x="85" y="19"/>
                  </a:cxn>
                  <a:cxn ang="0">
                    <a:pos x="83" y="30"/>
                  </a:cxn>
                  <a:cxn ang="0">
                    <a:pos x="73" y="39"/>
                  </a:cxn>
                  <a:cxn ang="0">
                    <a:pos x="68" y="36"/>
                  </a:cxn>
                  <a:cxn ang="0">
                    <a:pos x="58" y="39"/>
                  </a:cxn>
                  <a:cxn ang="0">
                    <a:pos x="55" y="41"/>
                  </a:cxn>
                  <a:cxn ang="0">
                    <a:pos x="49" y="36"/>
                  </a:cxn>
                  <a:cxn ang="0">
                    <a:pos x="38" y="43"/>
                  </a:cxn>
                  <a:cxn ang="0">
                    <a:pos x="24" y="47"/>
                  </a:cxn>
                  <a:cxn ang="0">
                    <a:pos x="23" y="41"/>
                  </a:cxn>
                  <a:cxn ang="0">
                    <a:pos x="19" y="36"/>
                  </a:cxn>
                  <a:cxn ang="0">
                    <a:pos x="9" y="30"/>
                  </a:cxn>
                  <a:cxn ang="0">
                    <a:pos x="9" y="39"/>
                  </a:cxn>
                  <a:cxn ang="0">
                    <a:pos x="0" y="39"/>
                  </a:cxn>
                  <a:cxn ang="0">
                    <a:pos x="2" y="36"/>
                  </a:cxn>
                  <a:cxn ang="0">
                    <a:pos x="4" y="34"/>
                  </a:cxn>
                  <a:cxn ang="0">
                    <a:pos x="9" y="19"/>
                  </a:cxn>
                  <a:cxn ang="0">
                    <a:pos x="15" y="15"/>
                  </a:cxn>
                  <a:cxn ang="0">
                    <a:pos x="19" y="9"/>
                  </a:cxn>
                  <a:cxn ang="0">
                    <a:pos x="19" y="6"/>
                  </a:cxn>
                  <a:cxn ang="0">
                    <a:pos x="23" y="7"/>
                  </a:cxn>
                  <a:cxn ang="0">
                    <a:pos x="32" y="6"/>
                  </a:cxn>
                  <a:cxn ang="0">
                    <a:pos x="32" y="6"/>
                  </a:cxn>
                </a:cxnLst>
                <a:rect l="0" t="0" r="r" b="b"/>
                <a:pathLst>
                  <a:path w="85" h="47">
                    <a:moveTo>
                      <a:pt x="32" y="6"/>
                    </a:moveTo>
                    <a:lnTo>
                      <a:pt x="36" y="7"/>
                    </a:lnTo>
                    <a:lnTo>
                      <a:pt x="40" y="4"/>
                    </a:lnTo>
                    <a:lnTo>
                      <a:pt x="43" y="6"/>
                    </a:lnTo>
                    <a:lnTo>
                      <a:pt x="45" y="4"/>
                    </a:lnTo>
                    <a:lnTo>
                      <a:pt x="45" y="2"/>
                    </a:lnTo>
                    <a:lnTo>
                      <a:pt x="49" y="0"/>
                    </a:lnTo>
                    <a:lnTo>
                      <a:pt x="49" y="4"/>
                    </a:lnTo>
                    <a:lnTo>
                      <a:pt x="53" y="4"/>
                    </a:lnTo>
                    <a:lnTo>
                      <a:pt x="55" y="2"/>
                    </a:lnTo>
                    <a:lnTo>
                      <a:pt x="55" y="4"/>
                    </a:lnTo>
                    <a:lnTo>
                      <a:pt x="60" y="7"/>
                    </a:lnTo>
                    <a:lnTo>
                      <a:pt x="68" y="9"/>
                    </a:lnTo>
                    <a:lnTo>
                      <a:pt x="64" y="11"/>
                    </a:lnTo>
                    <a:lnTo>
                      <a:pt x="64" y="15"/>
                    </a:lnTo>
                    <a:lnTo>
                      <a:pt x="68" y="17"/>
                    </a:lnTo>
                    <a:lnTo>
                      <a:pt x="70" y="17"/>
                    </a:lnTo>
                    <a:lnTo>
                      <a:pt x="73" y="15"/>
                    </a:lnTo>
                    <a:lnTo>
                      <a:pt x="77" y="19"/>
                    </a:lnTo>
                    <a:lnTo>
                      <a:pt x="81" y="17"/>
                    </a:lnTo>
                    <a:lnTo>
                      <a:pt x="83" y="17"/>
                    </a:lnTo>
                    <a:lnTo>
                      <a:pt x="85" y="19"/>
                    </a:lnTo>
                    <a:lnTo>
                      <a:pt x="81" y="24"/>
                    </a:lnTo>
                    <a:lnTo>
                      <a:pt x="83" y="30"/>
                    </a:lnTo>
                    <a:lnTo>
                      <a:pt x="75" y="30"/>
                    </a:lnTo>
                    <a:lnTo>
                      <a:pt x="73" y="39"/>
                    </a:lnTo>
                    <a:lnTo>
                      <a:pt x="72" y="36"/>
                    </a:lnTo>
                    <a:lnTo>
                      <a:pt x="68" y="36"/>
                    </a:lnTo>
                    <a:lnTo>
                      <a:pt x="58" y="34"/>
                    </a:lnTo>
                    <a:lnTo>
                      <a:pt x="58" y="39"/>
                    </a:lnTo>
                    <a:lnTo>
                      <a:pt x="55" y="45"/>
                    </a:lnTo>
                    <a:lnTo>
                      <a:pt x="55" y="41"/>
                    </a:lnTo>
                    <a:lnTo>
                      <a:pt x="49" y="39"/>
                    </a:lnTo>
                    <a:lnTo>
                      <a:pt x="49" y="36"/>
                    </a:lnTo>
                    <a:lnTo>
                      <a:pt x="45" y="30"/>
                    </a:lnTo>
                    <a:lnTo>
                      <a:pt x="38" y="43"/>
                    </a:lnTo>
                    <a:lnTo>
                      <a:pt x="32" y="41"/>
                    </a:lnTo>
                    <a:lnTo>
                      <a:pt x="24" y="47"/>
                    </a:lnTo>
                    <a:lnTo>
                      <a:pt x="23" y="45"/>
                    </a:lnTo>
                    <a:lnTo>
                      <a:pt x="23" y="41"/>
                    </a:lnTo>
                    <a:lnTo>
                      <a:pt x="19" y="39"/>
                    </a:lnTo>
                    <a:lnTo>
                      <a:pt x="19" y="36"/>
                    </a:lnTo>
                    <a:lnTo>
                      <a:pt x="15" y="34"/>
                    </a:lnTo>
                    <a:lnTo>
                      <a:pt x="9" y="30"/>
                    </a:lnTo>
                    <a:lnTo>
                      <a:pt x="8" y="36"/>
                    </a:lnTo>
                    <a:lnTo>
                      <a:pt x="9" y="39"/>
                    </a:lnTo>
                    <a:lnTo>
                      <a:pt x="4" y="39"/>
                    </a:lnTo>
                    <a:lnTo>
                      <a:pt x="0" y="39"/>
                    </a:lnTo>
                    <a:lnTo>
                      <a:pt x="0" y="36"/>
                    </a:lnTo>
                    <a:lnTo>
                      <a:pt x="2" y="36"/>
                    </a:lnTo>
                    <a:lnTo>
                      <a:pt x="4" y="36"/>
                    </a:lnTo>
                    <a:lnTo>
                      <a:pt x="4" y="34"/>
                    </a:lnTo>
                    <a:lnTo>
                      <a:pt x="6" y="28"/>
                    </a:lnTo>
                    <a:lnTo>
                      <a:pt x="9" y="19"/>
                    </a:lnTo>
                    <a:lnTo>
                      <a:pt x="13" y="19"/>
                    </a:lnTo>
                    <a:lnTo>
                      <a:pt x="15" y="15"/>
                    </a:lnTo>
                    <a:lnTo>
                      <a:pt x="19" y="11"/>
                    </a:lnTo>
                    <a:lnTo>
                      <a:pt x="19" y="9"/>
                    </a:lnTo>
                    <a:lnTo>
                      <a:pt x="13" y="7"/>
                    </a:lnTo>
                    <a:lnTo>
                      <a:pt x="19" y="6"/>
                    </a:lnTo>
                    <a:lnTo>
                      <a:pt x="23" y="4"/>
                    </a:lnTo>
                    <a:lnTo>
                      <a:pt x="23" y="7"/>
                    </a:lnTo>
                    <a:lnTo>
                      <a:pt x="28" y="7"/>
                    </a:lnTo>
                    <a:lnTo>
                      <a:pt x="32" y="6"/>
                    </a:lnTo>
                    <a:lnTo>
                      <a:pt x="32" y="6"/>
                    </a:lnTo>
                    <a:lnTo>
                      <a:pt x="32" y="6"/>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7" name="Freeform 19"/>
              <p:cNvSpPr>
                <a:spLocks noEditPoints="1"/>
              </p:cNvSpPr>
              <p:nvPr/>
            </p:nvSpPr>
            <p:spPr bwMode="auto">
              <a:xfrm>
                <a:off x="2828" y="2003"/>
                <a:ext cx="68" cy="58"/>
              </a:xfrm>
              <a:custGeom>
                <a:avLst/>
                <a:gdLst/>
                <a:ahLst/>
                <a:cxnLst>
                  <a:cxn ang="0">
                    <a:pos x="43" y="55"/>
                  </a:cxn>
                  <a:cxn ang="0">
                    <a:pos x="43" y="43"/>
                  </a:cxn>
                  <a:cxn ang="0">
                    <a:pos x="49" y="36"/>
                  </a:cxn>
                  <a:cxn ang="0">
                    <a:pos x="58" y="36"/>
                  </a:cxn>
                  <a:cxn ang="0">
                    <a:pos x="60" y="30"/>
                  </a:cxn>
                  <a:cxn ang="0">
                    <a:pos x="60" y="25"/>
                  </a:cxn>
                  <a:cxn ang="0">
                    <a:pos x="60" y="21"/>
                  </a:cxn>
                  <a:cxn ang="0">
                    <a:pos x="56" y="21"/>
                  </a:cxn>
                  <a:cxn ang="0">
                    <a:pos x="60" y="19"/>
                  </a:cxn>
                  <a:cxn ang="0">
                    <a:pos x="66" y="11"/>
                  </a:cxn>
                  <a:cxn ang="0">
                    <a:pos x="68" y="6"/>
                  </a:cxn>
                  <a:cxn ang="0">
                    <a:pos x="68" y="6"/>
                  </a:cxn>
                  <a:cxn ang="0">
                    <a:pos x="60" y="2"/>
                  </a:cxn>
                  <a:cxn ang="0">
                    <a:pos x="51" y="0"/>
                  </a:cxn>
                  <a:cxn ang="0">
                    <a:pos x="43" y="2"/>
                  </a:cxn>
                  <a:cxn ang="0">
                    <a:pos x="36" y="2"/>
                  </a:cxn>
                  <a:cxn ang="0">
                    <a:pos x="24" y="11"/>
                  </a:cxn>
                  <a:cxn ang="0">
                    <a:pos x="19" y="11"/>
                  </a:cxn>
                  <a:cxn ang="0">
                    <a:pos x="17" y="19"/>
                  </a:cxn>
                  <a:cxn ang="0">
                    <a:pos x="17" y="26"/>
                  </a:cxn>
                  <a:cxn ang="0">
                    <a:pos x="13" y="32"/>
                  </a:cxn>
                  <a:cxn ang="0">
                    <a:pos x="9" y="36"/>
                  </a:cxn>
                  <a:cxn ang="0">
                    <a:pos x="19" y="40"/>
                  </a:cxn>
                  <a:cxn ang="0">
                    <a:pos x="13" y="43"/>
                  </a:cxn>
                  <a:cxn ang="0">
                    <a:pos x="13" y="45"/>
                  </a:cxn>
                  <a:cxn ang="0">
                    <a:pos x="17" y="47"/>
                  </a:cxn>
                  <a:cxn ang="0">
                    <a:pos x="9" y="43"/>
                  </a:cxn>
                  <a:cxn ang="0">
                    <a:pos x="2" y="43"/>
                  </a:cxn>
                  <a:cxn ang="0">
                    <a:pos x="7" y="45"/>
                  </a:cxn>
                  <a:cxn ang="0">
                    <a:pos x="9" y="49"/>
                  </a:cxn>
                  <a:cxn ang="0">
                    <a:pos x="9" y="49"/>
                  </a:cxn>
                  <a:cxn ang="0">
                    <a:pos x="4" y="47"/>
                  </a:cxn>
                  <a:cxn ang="0">
                    <a:pos x="0" y="47"/>
                  </a:cxn>
                  <a:cxn ang="0">
                    <a:pos x="4" y="51"/>
                  </a:cxn>
                  <a:cxn ang="0">
                    <a:pos x="9" y="55"/>
                  </a:cxn>
                  <a:cxn ang="0">
                    <a:pos x="13" y="51"/>
                  </a:cxn>
                  <a:cxn ang="0">
                    <a:pos x="19" y="49"/>
                  </a:cxn>
                  <a:cxn ang="0">
                    <a:pos x="24" y="47"/>
                  </a:cxn>
                  <a:cxn ang="0">
                    <a:pos x="30" y="49"/>
                  </a:cxn>
                  <a:cxn ang="0">
                    <a:pos x="38" y="51"/>
                  </a:cxn>
                  <a:cxn ang="0">
                    <a:pos x="39" y="55"/>
                  </a:cxn>
                  <a:cxn ang="0">
                    <a:pos x="41" y="58"/>
                  </a:cxn>
                  <a:cxn ang="0">
                    <a:pos x="41" y="58"/>
                  </a:cxn>
                  <a:cxn ang="0">
                    <a:pos x="9" y="40"/>
                  </a:cxn>
                  <a:cxn ang="0">
                    <a:pos x="9" y="43"/>
                  </a:cxn>
                  <a:cxn ang="0">
                    <a:pos x="4" y="43"/>
                  </a:cxn>
                  <a:cxn ang="0">
                    <a:pos x="4" y="43"/>
                  </a:cxn>
                  <a:cxn ang="0">
                    <a:pos x="7" y="40"/>
                  </a:cxn>
                  <a:cxn ang="0">
                    <a:pos x="13" y="40"/>
                  </a:cxn>
                  <a:cxn ang="0">
                    <a:pos x="9" y="40"/>
                  </a:cxn>
                  <a:cxn ang="0">
                    <a:pos x="9" y="40"/>
                  </a:cxn>
                  <a:cxn ang="0">
                    <a:pos x="7" y="40"/>
                  </a:cxn>
                </a:cxnLst>
                <a:rect l="0" t="0" r="r" b="b"/>
                <a:pathLst>
                  <a:path w="68" h="58">
                    <a:moveTo>
                      <a:pt x="41" y="58"/>
                    </a:moveTo>
                    <a:lnTo>
                      <a:pt x="43" y="55"/>
                    </a:lnTo>
                    <a:lnTo>
                      <a:pt x="45" y="47"/>
                    </a:lnTo>
                    <a:lnTo>
                      <a:pt x="43" y="43"/>
                    </a:lnTo>
                    <a:lnTo>
                      <a:pt x="47" y="40"/>
                    </a:lnTo>
                    <a:lnTo>
                      <a:pt x="49" y="36"/>
                    </a:lnTo>
                    <a:lnTo>
                      <a:pt x="55" y="36"/>
                    </a:lnTo>
                    <a:lnTo>
                      <a:pt x="58" y="36"/>
                    </a:lnTo>
                    <a:lnTo>
                      <a:pt x="60" y="34"/>
                    </a:lnTo>
                    <a:lnTo>
                      <a:pt x="60" y="30"/>
                    </a:lnTo>
                    <a:lnTo>
                      <a:pt x="60" y="30"/>
                    </a:lnTo>
                    <a:lnTo>
                      <a:pt x="60" y="25"/>
                    </a:lnTo>
                    <a:lnTo>
                      <a:pt x="64" y="25"/>
                    </a:lnTo>
                    <a:lnTo>
                      <a:pt x="60" y="21"/>
                    </a:lnTo>
                    <a:lnTo>
                      <a:pt x="56" y="21"/>
                    </a:lnTo>
                    <a:lnTo>
                      <a:pt x="56" y="21"/>
                    </a:lnTo>
                    <a:lnTo>
                      <a:pt x="58" y="17"/>
                    </a:lnTo>
                    <a:lnTo>
                      <a:pt x="60" y="19"/>
                    </a:lnTo>
                    <a:lnTo>
                      <a:pt x="66" y="17"/>
                    </a:lnTo>
                    <a:lnTo>
                      <a:pt x="66" y="11"/>
                    </a:lnTo>
                    <a:lnTo>
                      <a:pt x="66" y="9"/>
                    </a:lnTo>
                    <a:lnTo>
                      <a:pt x="68" y="6"/>
                    </a:lnTo>
                    <a:lnTo>
                      <a:pt x="68" y="6"/>
                    </a:lnTo>
                    <a:lnTo>
                      <a:pt x="68" y="6"/>
                    </a:lnTo>
                    <a:lnTo>
                      <a:pt x="64" y="6"/>
                    </a:lnTo>
                    <a:lnTo>
                      <a:pt x="60" y="2"/>
                    </a:lnTo>
                    <a:lnTo>
                      <a:pt x="56" y="0"/>
                    </a:lnTo>
                    <a:lnTo>
                      <a:pt x="51" y="0"/>
                    </a:lnTo>
                    <a:lnTo>
                      <a:pt x="47" y="2"/>
                    </a:lnTo>
                    <a:lnTo>
                      <a:pt x="43" y="2"/>
                    </a:lnTo>
                    <a:lnTo>
                      <a:pt x="41" y="2"/>
                    </a:lnTo>
                    <a:lnTo>
                      <a:pt x="36" y="2"/>
                    </a:lnTo>
                    <a:lnTo>
                      <a:pt x="32" y="6"/>
                    </a:lnTo>
                    <a:lnTo>
                      <a:pt x="24" y="11"/>
                    </a:lnTo>
                    <a:lnTo>
                      <a:pt x="23" y="9"/>
                    </a:lnTo>
                    <a:lnTo>
                      <a:pt x="19" y="11"/>
                    </a:lnTo>
                    <a:lnTo>
                      <a:pt x="19" y="15"/>
                    </a:lnTo>
                    <a:lnTo>
                      <a:pt x="17" y="19"/>
                    </a:lnTo>
                    <a:lnTo>
                      <a:pt x="19" y="21"/>
                    </a:lnTo>
                    <a:lnTo>
                      <a:pt x="17" y="26"/>
                    </a:lnTo>
                    <a:lnTo>
                      <a:pt x="13" y="28"/>
                    </a:lnTo>
                    <a:lnTo>
                      <a:pt x="13" y="32"/>
                    </a:lnTo>
                    <a:lnTo>
                      <a:pt x="9" y="34"/>
                    </a:lnTo>
                    <a:lnTo>
                      <a:pt x="9" y="36"/>
                    </a:lnTo>
                    <a:lnTo>
                      <a:pt x="13" y="40"/>
                    </a:lnTo>
                    <a:lnTo>
                      <a:pt x="19" y="40"/>
                    </a:lnTo>
                    <a:lnTo>
                      <a:pt x="13" y="40"/>
                    </a:lnTo>
                    <a:lnTo>
                      <a:pt x="13" y="43"/>
                    </a:lnTo>
                    <a:lnTo>
                      <a:pt x="9" y="43"/>
                    </a:lnTo>
                    <a:lnTo>
                      <a:pt x="13" y="45"/>
                    </a:lnTo>
                    <a:lnTo>
                      <a:pt x="17" y="45"/>
                    </a:lnTo>
                    <a:lnTo>
                      <a:pt x="17" y="47"/>
                    </a:lnTo>
                    <a:lnTo>
                      <a:pt x="13" y="47"/>
                    </a:lnTo>
                    <a:lnTo>
                      <a:pt x="9" y="43"/>
                    </a:lnTo>
                    <a:lnTo>
                      <a:pt x="4" y="43"/>
                    </a:lnTo>
                    <a:lnTo>
                      <a:pt x="2" y="43"/>
                    </a:lnTo>
                    <a:lnTo>
                      <a:pt x="4" y="45"/>
                    </a:lnTo>
                    <a:lnTo>
                      <a:pt x="7" y="45"/>
                    </a:lnTo>
                    <a:lnTo>
                      <a:pt x="9" y="49"/>
                    </a:lnTo>
                    <a:lnTo>
                      <a:pt x="9" y="49"/>
                    </a:lnTo>
                    <a:lnTo>
                      <a:pt x="13" y="51"/>
                    </a:lnTo>
                    <a:lnTo>
                      <a:pt x="9" y="49"/>
                    </a:lnTo>
                    <a:lnTo>
                      <a:pt x="9" y="49"/>
                    </a:lnTo>
                    <a:lnTo>
                      <a:pt x="4" y="47"/>
                    </a:lnTo>
                    <a:lnTo>
                      <a:pt x="0" y="47"/>
                    </a:lnTo>
                    <a:lnTo>
                      <a:pt x="0" y="47"/>
                    </a:lnTo>
                    <a:lnTo>
                      <a:pt x="2" y="49"/>
                    </a:lnTo>
                    <a:lnTo>
                      <a:pt x="4" y="51"/>
                    </a:lnTo>
                    <a:lnTo>
                      <a:pt x="7" y="51"/>
                    </a:lnTo>
                    <a:lnTo>
                      <a:pt x="9" y="55"/>
                    </a:lnTo>
                    <a:lnTo>
                      <a:pt x="9" y="51"/>
                    </a:lnTo>
                    <a:lnTo>
                      <a:pt x="13" y="51"/>
                    </a:lnTo>
                    <a:lnTo>
                      <a:pt x="13" y="49"/>
                    </a:lnTo>
                    <a:lnTo>
                      <a:pt x="19" y="49"/>
                    </a:lnTo>
                    <a:lnTo>
                      <a:pt x="19" y="47"/>
                    </a:lnTo>
                    <a:lnTo>
                      <a:pt x="24" y="47"/>
                    </a:lnTo>
                    <a:lnTo>
                      <a:pt x="28" y="49"/>
                    </a:lnTo>
                    <a:lnTo>
                      <a:pt x="30" y="49"/>
                    </a:lnTo>
                    <a:lnTo>
                      <a:pt x="32" y="51"/>
                    </a:lnTo>
                    <a:lnTo>
                      <a:pt x="38" y="51"/>
                    </a:lnTo>
                    <a:lnTo>
                      <a:pt x="39" y="55"/>
                    </a:lnTo>
                    <a:lnTo>
                      <a:pt x="39" y="55"/>
                    </a:lnTo>
                    <a:lnTo>
                      <a:pt x="41" y="58"/>
                    </a:lnTo>
                    <a:lnTo>
                      <a:pt x="41" y="58"/>
                    </a:lnTo>
                    <a:lnTo>
                      <a:pt x="41" y="58"/>
                    </a:lnTo>
                    <a:lnTo>
                      <a:pt x="41" y="58"/>
                    </a:lnTo>
                    <a:close/>
                    <a:moveTo>
                      <a:pt x="4" y="43"/>
                    </a:moveTo>
                    <a:lnTo>
                      <a:pt x="9" y="40"/>
                    </a:lnTo>
                    <a:lnTo>
                      <a:pt x="9" y="43"/>
                    </a:lnTo>
                    <a:lnTo>
                      <a:pt x="9" y="43"/>
                    </a:lnTo>
                    <a:lnTo>
                      <a:pt x="9" y="43"/>
                    </a:lnTo>
                    <a:lnTo>
                      <a:pt x="4" y="43"/>
                    </a:lnTo>
                    <a:lnTo>
                      <a:pt x="4" y="43"/>
                    </a:lnTo>
                    <a:lnTo>
                      <a:pt x="4" y="43"/>
                    </a:lnTo>
                    <a:lnTo>
                      <a:pt x="4" y="43"/>
                    </a:lnTo>
                    <a:close/>
                    <a:moveTo>
                      <a:pt x="7" y="40"/>
                    </a:moveTo>
                    <a:lnTo>
                      <a:pt x="9" y="40"/>
                    </a:lnTo>
                    <a:lnTo>
                      <a:pt x="13" y="40"/>
                    </a:lnTo>
                    <a:lnTo>
                      <a:pt x="13" y="40"/>
                    </a:lnTo>
                    <a:lnTo>
                      <a:pt x="9" y="40"/>
                    </a:lnTo>
                    <a:lnTo>
                      <a:pt x="9" y="40"/>
                    </a:lnTo>
                    <a:lnTo>
                      <a:pt x="9" y="40"/>
                    </a:lnTo>
                    <a:lnTo>
                      <a:pt x="7" y="40"/>
                    </a:lnTo>
                    <a:lnTo>
                      <a:pt x="7" y="40"/>
                    </a:lnTo>
                    <a:lnTo>
                      <a:pt x="7" y="40"/>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8" name="Freeform 20"/>
              <p:cNvSpPr>
                <a:spLocks/>
              </p:cNvSpPr>
              <p:nvPr/>
            </p:nvSpPr>
            <p:spPr bwMode="auto">
              <a:xfrm>
                <a:off x="2822" y="2050"/>
                <a:ext cx="53" cy="43"/>
              </a:xfrm>
              <a:custGeom>
                <a:avLst/>
                <a:gdLst/>
                <a:ahLst/>
                <a:cxnLst>
                  <a:cxn ang="0">
                    <a:pos x="49" y="28"/>
                  </a:cxn>
                  <a:cxn ang="0">
                    <a:pos x="53" y="25"/>
                  </a:cxn>
                  <a:cxn ang="0">
                    <a:pos x="49" y="21"/>
                  </a:cxn>
                  <a:cxn ang="0">
                    <a:pos x="49" y="19"/>
                  </a:cxn>
                  <a:cxn ang="0">
                    <a:pos x="47" y="13"/>
                  </a:cxn>
                  <a:cxn ang="0">
                    <a:pos x="49" y="10"/>
                  </a:cxn>
                  <a:cxn ang="0">
                    <a:pos x="45" y="8"/>
                  </a:cxn>
                  <a:cxn ang="0">
                    <a:pos x="45" y="6"/>
                  </a:cxn>
                  <a:cxn ang="0">
                    <a:pos x="44" y="2"/>
                  </a:cxn>
                  <a:cxn ang="0">
                    <a:pos x="38" y="2"/>
                  </a:cxn>
                  <a:cxn ang="0">
                    <a:pos x="36" y="2"/>
                  </a:cxn>
                  <a:cxn ang="0">
                    <a:pos x="34" y="2"/>
                  </a:cxn>
                  <a:cxn ang="0">
                    <a:pos x="30" y="0"/>
                  </a:cxn>
                  <a:cxn ang="0">
                    <a:pos x="25" y="0"/>
                  </a:cxn>
                  <a:cxn ang="0">
                    <a:pos x="25" y="2"/>
                  </a:cxn>
                  <a:cxn ang="0">
                    <a:pos x="21" y="2"/>
                  </a:cxn>
                  <a:cxn ang="0">
                    <a:pos x="21" y="2"/>
                  </a:cxn>
                  <a:cxn ang="0">
                    <a:pos x="17" y="2"/>
                  </a:cxn>
                  <a:cxn ang="0">
                    <a:pos x="15" y="6"/>
                  </a:cxn>
                  <a:cxn ang="0">
                    <a:pos x="13" y="2"/>
                  </a:cxn>
                  <a:cxn ang="0">
                    <a:pos x="10" y="2"/>
                  </a:cxn>
                  <a:cxn ang="0">
                    <a:pos x="10" y="2"/>
                  </a:cxn>
                  <a:cxn ang="0">
                    <a:pos x="6" y="0"/>
                  </a:cxn>
                  <a:cxn ang="0">
                    <a:pos x="4" y="2"/>
                  </a:cxn>
                  <a:cxn ang="0">
                    <a:pos x="0" y="8"/>
                  </a:cxn>
                  <a:cxn ang="0">
                    <a:pos x="4" y="10"/>
                  </a:cxn>
                  <a:cxn ang="0">
                    <a:pos x="4" y="15"/>
                  </a:cxn>
                  <a:cxn ang="0">
                    <a:pos x="6" y="17"/>
                  </a:cxn>
                  <a:cxn ang="0">
                    <a:pos x="10" y="21"/>
                  </a:cxn>
                  <a:cxn ang="0">
                    <a:pos x="13" y="25"/>
                  </a:cxn>
                  <a:cxn ang="0">
                    <a:pos x="15" y="25"/>
                  </a:cxn>
                  <a:cxn ang="0">
                    <a:pos x="17" y="25"/>
                  </a:cxn>
                  <a:cxn ang="0">
                    <a:pos x="21" y="27"/>
                  </a:cxn>
                  <a:cxn ang="0">
                    <a:pos x="21" y="32"/>
                  </a:cxn>
                  <a:cxn ang="0">
                    <a:pos x="25" y="34"/>
                  </a:cxn>
                  <a:cxn ang="0">
                    <a:pos x="25" y="32"/>
                  </a:cxn>
                  <a:cxn ang="0">
                    <a:pos x="29" y="32"/>
                  </a:cxn>
                  <a:cxn ang="0">
                    <a:pos x="29" y="34"/>
                  </a:cxn>
                  <a:cxn ang="0">
                    <a:pos x="34" y="36"/>
                  </a:cxn>
                  <a:cxn ang="0">
                    <a:pos x="36" y="40"/>
                  </a:cxn>
                  <a:cxn ang="0">
                    <a:pos x="40" y="40"/>
                  </a:cxn>
                  <a:cxn ang="0">
                    <a:pos x="44" y="43"/>
                  </a:cxn>
                  <a:cxn ang="0">
                    <a:pos x="45" y="40"/>
                  </a:cxn>
                  <a:cxn ang="0">
                    <a:pos x="49" y="40"/>
                  </a:cxn>
                  <a:cxn ang="0">
                    <a:pos x="49" y="40"/>
                  </a:cxn>
                  <a:cxn ang="0">
                    <a:pos x="47" y="40"/>
                  </a:cxn>
                  <a:cxn ang="0">
                    <a:pos x="47" y="36"/>
                  </a:cxn>
                  <a:cxn ang="0">
                    <a:pos x="45" y="34"/>
                  </a:cxn>
                  <a:cxn ang="0">
                    <a:pos x="47" y="32"/>
                  </a:cxn>
                  <a:cxn ang="0">
                    <a:pos x="49" y="28"/>
                  </a:cxn>
                  <a:cxn ang="0">
                    <a:pos x="49" y="28"/>
                  </a:cxn>
                  <a:cxn ang="0">
                    <a:pos x="49" y="28"/>
                  </a:cxn>
                  <a:cxn ang="0">
                    <a:pos x="49" y="28"/>
                  </a:cxn>
                </a:cxnLst>
                <a:rect l="0" t="0" r="r" b="b"/>
                <a:pathLst>
                  <a:path w="53" h="43">
                    <a:moveTo>
                      <a:pt x="49" y="28"/>
                    </a:moveTo>
                    <a:lnTo>
                      <a:pt x="53" y="25"/>
                    </a:lnTo>
                    <a:lnTo>
                      <a:pt x="49" y="21"/>
                    </a:lnTo>
                    <a:lnTo>
                      <a:pt x="49" y="19"/>
                    </a:lnTo>
                    <a:lnTo>
                      <a:pt x="47" y="13"/>
                    </a:lnTo>
                    <a:lnTo>
                      <a:pt x="49" y="10"/>
                    </a:lnTo>
                    <a:lnTo>
                      <a:pt x="45" y="8"/>
                    </a:lnTo>
                    <a:lnTo>
                      <a:pt x="45" y="6"/>
                    </a:lnTo>
                    <a:lnTo>
                      <a:pt x="44" y="2"/>
                    </a:lnTo>
                    <a:lnTo>
                      <a:pt x="38" y="2"/>
                    </a:lnTo>
                    <a:lnTo>
                      <a:pt x="36" y="2"/>
                    </a:lnTo>
                    <a:lnTo>
                      <a:pt x="34" y="2"/>
                    </a:lnTo>
                    <a:lnTo>
                      <a:pt x="30" y="0"/>
                    </a:lnTo>
                    <a:lnTo>
                      <a:pt x="25" y="0"/>
                    </a:lnTo>
                    <a:lnTo>
                      <a:pt x="25" y="2"/>
                    </a:lnTo>
                    <a:lnTo>
                      <a:pt x="21" y="2"/>
                    </a:lnTo>
                    <a:lnTo>
                      <a:pt x="21" y="2"/>
                    </a:lnTo>
                    <a:lnTo>
                      <a:pt x="17" y="2"/>
                    </a:lnTo>
                    <a:lnTo>
                      <a:pt x="15" y="6"/>
                    </a:lnTo>
                    <a:lnTo>
                      <a:pt x="13" y="2"/>
                    </a:lnTo>
                    <a:lnTo>
                      <a:pt x="10" y="2"/>
                    </a:lnTo>
                    <a:lnTo>
                      <a:pt x="10" y="2"/>
                    </a:lnTo>
                    <a:lnTo>
                      <a:pt x="6" y="0"/>
                    </a:lnTo>
                    <a:lnTo>
                      <a:pt x="4" y="2"/>
                    </a:lnTo>
                    <a:lnTo>
                      <a:pt x="0" y="8"/>
                    </a:lnTo>
                    <a:lnTo>
                      <a:pt x="4" y="10"/>
                    </a:lnTo>
                    <a:lnTo>
                      <a:pt x="4" y="15"/>
                    </a:lnTo>
                    <a:lnTo>
                      <a:pt x="6" y="17"/>
                    </a:lnTo>
                    <a:lnTo>
                      <a:pt x="10" y="21"/>
                    </a:lnTo>
                    <a:lnTo>
                      <a:pt x="13" y="25"/>
                    </a:lnTo>
                    <a:lnTo>
                      <a:pt x="15" y="25"/>
                    </a:lnTo>
                    <a:lnTo>
                      <a:pt x="17" y="25"/>
                    </a:lnTo>
                    <a:lnTo>
                      <a:pt x="21" y="27"/>
                    </a:lnTo>
                    <a:lnTo>
                      <a:pt x="21" y="32"/>
                    </a:lnTo>
                    <a:lnTo>
                      <a:pt x="25" y="34"/>
                    </a:lnTo>
                    <a:lnTo>
                      <a:pt x="25" y="32"/>
                    </a:lnTo>
                    <a:lnTo>
                      <a:pt x="29" y="32"/>
                    </a:lnTo>
                    <a:lnTo>
                      <a:pt x="29" y="34"/>
                    </a:lnTo>
                    <a:lnTo>
                      <a:pt x="34" y="36"/>
                    </a:lnTo>
                    <a:lnTo>
                      <a:pt x="36" y="40"/>
                    </a:lnTo>
                    <a:lnTo>
                      <a:pt x="40" y="40"/>
                    </a:lnTo>
                    <a:lnTo>
                      <a:pt x="44" y="43"/>
                    </a:lnTo>
                    <a:lnTo>
                      <a:pt x="45" y="40"/>
                    </a:lnTo>
                    <a:lnTo>
                      <a:pt x="49" y="40"/>
                    </a:lnTo>
                    <a:lnTo>
                      <a:pt x="49" y="40"/>
                    </a:lnTo>
                    <a:lnTo>
                      <a:pt x="47" y="40"/>
                    </a:lnTo>
                    <a:lnTo>
                      <a:pt x="47" y="36"/>
                    </a:lnTo>
                    <a:lnTo>
                      <a:pt x="45" y="34"/>
                    </a:lnTo>
                    <a:lnTo>
                      <a:pt x="47" y="32"/>
                    </a:lnTo>
                    <a:lnTo>
                      <a:pt x="49" y="28"/>
                    </a:lnTo>
                    <a:lnTo>
                      <a:pt x="49" y="28"/>
                    </a:lnTo>
                    <a:lnTo>
                      <a:pt x="49" y="28"/>
                    </a:lnTo>
                    <a:lnTo>
                      <a:pt x="49" y="28"/>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9" name="Freeform 21"/>
              <p:cNvSpPr>
                <a:spLocks/>
              </p:cNvSpPr>
              <p:nvPr/>
            </p:nvSpPr>
            <p:spPr bwMode="auto">
              <a:xfrm>
                <a:off x="2869" y="2082"/>
                <a:ext cx="12" cy="15"/>
              </a:xfrm>
              <a:custGeom>
                <a:avLst/>
                <a:gdLst/>
                <a:ahLst/>
                <a:cxnLst>
                  <a:cxn ang="0">
                    <a:pos x="4" y="11"/>
                  </a:cxn>
                  <a:cxn ang="0">
                    <a:pos x="4" y="10"/>
                  </a:cxn>
                  <a:cxn ang="0">
                    <a:pos x="2" y="10"/>
                  </a:cxn>
                  <a:cxn ang="0">
                    <a:pos x="2" y="6"/>
                  </a:cxn>
                  <a:cxn ang="0">
                    <a:pos x="0" y="6"/>
                  </a:cxn>
                  <a:cxn ang="0">
                    <a:pos x="2" y="2"/>
                  </a:cxn>
                  <a:cxn ang="0">
                    <a:pos x="4" y="0"/>
                  </a:cxn>
                  <a:cxn ang="0">
                    <a:pos x="4" y="0"/>
                  </a:cxn>
                  <a:cxn ang="0">
                    <a:pos x="8" y="6"/>
                  </a:cxn>
                  <a:cxn ang="0">
                    <a:pos x="8" y="10"/>
                  </a:cxn>
                  <a:cxn ang="0">
                    <a:pos x="12" y="10"/>
                  </a:cxn>
                  <a:cxn ang="0">
                    <a:pos x="12" y="15"/>
                  </a:cxn>
                  <a:cxn ang="0">
                    <a:pos x="8" y="15"/>
                  </a:cxn>
                  <a:cxn ang="0">
                    <a:pos x="4" y="15"/>
                  </a:cxn>
                  <a:cxn ang="0">
                    <a:pos x="4" y="11"/>
                  </a:cxn>
                  <a:cxn ang="0">
                    <a:pos x="4" y="11"/>
                  </a:cxn>
                  <a:cxn ang="0">
                    <a:pos x="4" y="11"/>
                  </a:cxn>
                  <a:cxn ang="0">
                    <a:pos x="4" y="11"/>
                  </a:cxn>
                </a:cxnLst>
                <a:rect l="0" t="0" r="r" b="b"/>
                <a:pathLst>
                  <a:path w="12" h="15">
                    <a:moveTo>
                      <a:pt x="4" y="11"/>
                    </a:moveTo>
                    <a:lnTo>
                      <a:pt x="4" y="10"/>
                    </a:lnTo>
                    <a:lnTo>
                      <a:pt x="2" y="10"/>
                    </a:lnTo>
                    <a:lnTo>
                      <a:pt x="2" y="6"/>
                    </a:lnTo>
                    <a:lnTo>
                      <a:pt x="0" y="6"/>
                    </a:lnTo>
                    <a:lnTo>
                      <a:pt x="2" y="2"/>
                    </a:lnTo>
                    <a:lnTo>
                      <a:pt x="4" y="0"/>
                    </a:lnTo>
                    <a:lnTo>
                      <a:pt x="4" y="0"/>
                    </a:lnTo>
                    <a:lnTo>
                      <a:pt x="8" y="6"/>
                    </a:lnTo>
                    <a:lnTo>
                      <a:pt x="8" y="10"/>
                    </a:lnTo>
                    <a:lnTo>
                      <a:pt x="12" y="10"/>
                    </a:lnTo>
                    <a:lnTo>
                      <a:pt x="12" y="15"/>
                    </a:lnTo>
                    <a:lnTo>
                      <a:pt x="8" y="15"/>
                    </a:lnTo>
                    <a:lnTo>
                      <a:pt x="4" y="15"/>
                    </a:lnTo>
                    <a:lnTo>
                      <a:pt x="4" y="11"/>
                    </a:lnTo>
                    <a:lnTo>
                      <a:pt x="4" y="11"/>
                    </a:lnTo>
                    <a:lnTo>
                      <a:pt x="4" y="11"/>
                    </a:lnTo>
                    <a:lnTo>
                      <a:pt x="4" y="11"/>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0" name="Freeform 22"/>
              <p:cNvSpPr>
                <a:spLocks/>
              </p:cNvSpPr>
              <p:nvPr/>
            </p:nvSpPr>
            <p:spPr bwMode="auto">
              <a:xfrm>
                <a:off x="2606" y="1950"/>
                <a:ext cx="73" cy="95"/>
              </a:xfrm>
              <a:custGeom>
                <a:avLst/>
                <a:gdLst/>
                <a:ahLst/>
                <a:cxnLst>
                  <a:cxn ang="0">
                    <a:pos x="30" y="91"/>
                  </a:cxn>
                  <a:cxn ang="0">
                    <a:pos x="36" y="87"/>
                  </a:cxn>
                  <a:cxn ang="0">
                    <a:pos x="41" y="85"/>
                  </a:cxn>
                  <a:cxn ang="0">
                    <a:pos x="56" y="79"/>
                  </a:cxn>
                  <a:cxn ang="0">
                    <a:pos x="60" y="78"/>
                  </a:cxn>
                  <a:cxn ang="0">
                    <a:pos x="64" y="76"/>
                  </a:cxn>
                  <a:cxn ang="0">
                    <a:pos x="69" y="68"/>
                  </a:cxn>
                  <a:cxn ang="0">
                    <a:pos x="71" y="53"/>
                  </a:cxn>
                  <a:cxn ang="0">
                    <a:pos x="71" y="46"/>
                  </a:cxn>
                  <a:cxn ang="0">
                    <a:pos x="68" y="38"/>
                  </a:cxn>
                  <a:cxn ang="0">
                    <a:pos x="68" y="32"/>
                  </a:cxn>
                  <a:cxn ang="0">
                    <a:pos x="56" y="23"/>
                  </a:cxn>
                  <a:cxn ang="0">
                    <a:pos x="51" y="30"/>
                  </a:cxn>
                  <a:cxn ang="0">
                    <a:pos x="51" y="15"/>
                  </a:cxn>
                  <a:cxn ang="0">
                    <a:pos x="56" y="8"/>
                  </a:cxn>
                  <a:cxn ang="0">
                    <a:pos x="60" y="4"/>
                  </a:cxn>
                  <a:cxn ang="0">
                    <a:pos x="56" y="0"/>
                  </a:cxn>
                  <a:cxn ang="0">
                    <a:pos x="49" y="10"/>
                  </a:cxn>
                  <a:cxn ang="0">
                    <a:pos x="49" y="4"/>
                  </a:cxn>
                  <a:cxn ang="0">
                    <a:pos x="45" y="4"/>
                  </a:cxn>
                  <a:cxn ang="0">
                    <a:pos x="39" y="6"/>
                  </a:cxn>
                  <a:cxn ang="0">
                    <a:pos x="39" y="12"/>
                  </a:cxn>
                  <a:cxn ang="0">
                    <a:pos x="36" y="14"/>
                  </a:cxn>
                  <a:cxn ang="0">
                    <a:pos x="36" y="19"/>
                  </a:cxn>
                  <a:cxn ang="0">
                    <a:pos x="41" y="19"/>
                  </a:cxn>
                  <a:cxn ang="0">
                    <a:pos x="36" y="25"/>
                  </a:cxn>
                  <a:cxn ang="0">
                    <a:pos x="24" y="29"/>
                  </a:cxn>
                  <a:cxn ang="0">
                    <a:pos x="15" y="25"/>
                  </a:cxn>
                  <a:cxn ang="0">
                    <a:pos x="11" y="27"/>
                  </a:cxn>
                  <a:cxn ang="0">
                    <a:pos x="15" y="32"/>
                  </a:cxn>
                  <a:cxn ang="0">
                    <a:pos x="5" y="32"/>
                  </a:cxn>
                  <a:cxn ang="0">
                    <a:pos x="17" y="38"/>
                  </a:cxn>
                  <a:cxn ang="0">
                    <a:pos x="15" y="42"/>
                  </a:cxn>
                  <a:cxn ang="0">
                    <a:pos x="5" y="46"/>
                  </a:cxn>
                  <a:cxn ang="0">
                    <a:pos x="9" y="47"/>
                  </a:cxn>
                  <a:cxn ang="0">
                    <a:pos x="26" y="51"/>
                  </a:cxn>
                  <a:cxn ang="0">
                    <a:pos x="17" y="59"/>
                  </a:cxn>
                  <a:cxn ang="0">
                    <a:pos x="9" y="68"/>
                  </a:cxn>
                  <a:cxn ang="0">
                    <a:pos x="17" y="66"/>
                  </a:cxn>
                  <a:cxn ang="0">
                    <a:pos x="24" y="64"/>
                  </a:cxn>
                  <a:cxn ang="0">
                    <a:pos x="15" y="68"/>
                  </a:cxn>
                  <a:cxn ang="0">
                    <a:pos x="9" y="72"/>
                  </a:cxn>
                  <a:cxn ang="0">
                    <a:pos x="9" y="76"/>
                  </a:cxn>
                  <a:cxn ang="0">
                    <a:pos x="2" y="76"/>
                  </a:cxn>
                  <a:cxn ang="0">
                    <a:pos x="9" y="78"/>
                  </a:cxn>
                  <a:cxn ang="0">
                    <a:pos x="2" y="85"/>
                  </a:cxn>
                  <a:cxn ang="0">
                    <a:pos x="15" y="85"/>
                  </a:cxn>
                  <a:cxn ang="0">
                    <a:pos x="9" y="91"/>
                  </a:cxn>
                  <a:cxn ang="0">
                    <a:pos x="9" y="91"/>
                  </a:cxn>
                  <a:cxn ang="0">
                    <a:pos x="15" y="95"/>
                  </a:cxn>
                  <a:cxn ang="0">
                    <a:pos x="17" y="95"/>
                  </a:cxn>
                </a:cxnLst>
                <a:rect l="0" t="0" r="r" b="b"/>
                <a:pathLst>
                  <a:path w="73" h="95">
                    <a:moveTo>
                      <a:pt x="17" y="95"/>
                    </a:moveTo>
                    <a:lnTo>
                      <a:pt x="24" y="95"/>
                    </a:lnTo>
                    <a:lnTo>
                      <a:pt x="30" y="91"/>
                    </a:lnTo>
                    <a:lnTo>
                      <a:pt x="36" y="87"/>
                    </a:lnTo>
                    <a:lnTo>
                      <a:pt x="34" y="85"/>
                    </a:lnTo>
                    <a:lnTo>
                      <a:pt x="36" y="87"/>
                    </a:lnTo>
                    <a:lnTo>
                      <a:pt x="36" y="87"/>
                    </a:lnTo>
                    <a:lnTo>
                      <a:pt x="39" y="87"/>
                    </a:lnTo>
                    <a:lnTo>
                      <a:pt x="41" y="85"/>
                    </a:lnTo>
                    <a:lnTo>
                      <a:pt x="45" y="85"/>
                    </a:lnTo>
                    <a:lnTo>
                      <a:pt x="45" y="81"/>
                    </a:lnTo>
                    <a:lnTo>
                      <a:pt x="56" y="79"/>
                    </a:lnTo>
                    <a:lnTo>
                      <a:pt x="58" y="78"/>
                    </a:lnTo>
                    <a:lnTo>
                      <a:pt x="58" y="79"/>
                    </a:lnTo>
                    <a:lnTo>
                      <a:pt x="60" y="78"/>
                    </a:lnTo>
                    <a:lnTo>
                      <a:pt x="64" y="79"/>
                    </a:lnTo>
                    <a:lnTo>
                      <a:pt x="68" y="79"/>
                    </a:lnTo>
                    <a:lnTo>
                      <a:pt x="64" y="76"/>
                    </a:lnTo>
                    <a:lnTo>
                      <a:pt x="66" y="72"/>
                    </a:lnTo>
                    <a:lnTo>
                      <a:pt x="69" y="70"/>
                    </a:lnTo>
                    <a:lnTo>
                      <a:pt x="69" y="68"/>
                    </a:lnTo>
                    <a:lnTo>
                      <a:pt x="71" y="64"/>
                    </a:lnTo>
                    <a:lnTo>
                      <a:pt x="73" y="61"/>
                    </a:lnTo>
                    <a:lnTo>
                      <a:pt x="71" y="53"/>
                    </a:lnTo>
                    <a:lnTo>
                      <a:pt x="69" y="51"/>
                    </a:lnTo>
                    <a:lnTo>
                      <a:pt x="71" y="49"/>
                    </a:lnTo>
                    <a:lnTo>
                      <a:pt x="71" y="46"/>
                    </a:lnTo>
                    <a:lnTo>
                      <a:pt x="69" y="42"/>
                    </a:lnTo>
                    <a:lnTo>
                      <a:pt x="69" y="38"/>
                    </a:lnTo>
                    <a:lnTo>
                      <a:pt x="68" y="38"/>
                    </a:lnTo>
                    <a:lnTo>
                      <a:pt x="69" y="34"/>
                    </a:lnTo>
                    <a:lnTo>
                      <a:pt x="71" y="34"/>
                    </a:lnTo>
                    <a:lnTo>
                      <a:pt x="68" y="32"/>
                    </a:lnTo>
                    <a:lnTo>
                      <a:pt x="64" y="32"/>
                    </a:lnTo>
                    <a:lnTo>
                      <a:pt x="60" y="25"/>
                    </a:lnTo>
                    <a:lnTo>
                      <a:pt x="56" y="23"/>
                    </a:lnTo>
                    <a:lnTo>
                      <a:pt x="54" y="25"/>
                    </a:lnTo>
                    <a:lnTo>
                      <a:pt x="51" y="29"/>
                    </a:lnTo>
                    <a:lnTo>
                      <a:pt x="51" y="30"/>
                    </a:lnTo>
                    <a:lnTo>
                      <a:pt x="41" y="23"/>
                    </a:lnTo>
                    <a:lnTo>
                      <a:pt x="47" y="15"/>
                    </a:lnTo>
                    <a:lnTo>
                      <a:pt x="51" y="15"/>
                    </a:lnTo>
                    <a:lnTo>
                      <a:pt x="51" y="12"/>
                    </a:lnTo>
                    <a:lnTo>
                      <a:pt x="54" y="10"/>
                    </a:lnTo>
                    <a:lnTo>
                      <a:pt x="56" y="8"/>
                    </a:lnTo>
                    <a:lnTo>
                      <a:pt x="54" y="8"/>
                    </a:lnTo>
                    <a:lnTo>
                      <a:pt x="58" y="6"/>
                    </a:lnTo>
                    <a:lnTo>
                      <a:pt x="60" y="4"/>
                    </a:lnTo>
                    <a:lnTo>
                      <a:pt x="56" y="0"/>
                    </a:lnTo>
                    <a:lnTo>
                      <a:pt x="54" y="0"/>
                    </a:lnTo>
                    <a:lnTo>
                      <a:pt x="56" y="0"/>
                    </a:lnTo>
                    <a:lnTo>
                      <a:pt x="51" y="0"/>
                    </a:lnTo>
                    <a:lnTo>
                      <a:pt x="51" y="6"/>
                    </a:lnTo>
                    <a:lnTo>
                      <a:pt x="49" y="10"/>
                    </a:lnTo>
                    <a:lnTo>
                      <a:pt x="51" y="8"/>
                    </a:lnTo>
                    <a:lnTo>
                      <a:pt x="51" y="6"/>
                    </a:lnTo>
                    <a:lnTo>
                      <a:pt x="49" y="4"/>
                    </a:lnTo>
                    <a:lnTo>
                      <a:pt x="47" y="4"/>
                    </a:lnTo>
                    <a:lnTo>
                      <a:pt x="49" y="4"/>
                    </a:lnTo>
                    <a:lnTo>
                      <a:pt x="45" y="4"/>
                    </a:lnTo>
                    <a:lnTo>
                      <a:pt x="43" y="4"/>
                    </a:lnTo>
                    <a:lnTo>
                      <a:pt x="39" y="4"/>
                    </a:lnTo>
                    <a:lnTo>
                      <a:pt x="39" y="6"/>
                    </a:lnTo>
                    <a:lnTo>
                      <a:pt x="39" y="8"/>
                    </a:lnTo>
                    <a:lnTo>
                      <a:pt x="36" y="10"/>
                    </a:lnTo>
                    <a:lnTo>
                      <a:pt x="39" y="12"/>
                    </a:lnTo>
                    <a:lnTo>
                      <a:pt x="39" y="14"/>
                    </a:lnTo>
                    <a:lnTo>
                      <a:pt x="36" y="14"/>
                    </a:lnTo>
                    <a:lnTo>
                      <a:pt x="36" y="14"/>
                    </a:lnTo>
                    <a:lnTo>
                      <a:pt x="34" y="15"/>
                    </a:lnTo>
                    <a:lnTo>
                      <a:pt x="34" y="19"/>
                    </a:lnTo>
                    <a:lnTo>
                      <a:pt x="36" y="19"/>
                    </a:lnTo>
                    <a:lnTo>
                      <a:pt x="36" y="19"/>
                    </a:lnTo>
                    <a:lnTo>
                      <a:pt x="39" y="19"/>
                    </a:lnTo>
                    <a:lnTo>
                      <a:pt x="41" y="19"/>
                    </a:lnTo>
                    <a:lnTo>
                      <a:pt x="39" y="21"/>
                    </a:lnTo>
                    <a:lnTo>
                      <a:pt x="34" y="23"/>
                    </a:lnTo>
                    <a:lnTo>
                      <a:pt x="36" y="25"/>
                    </a:lnTo>
                    <a:lnTo>
                      <a:pt x="30" y="27"/>
                    </a:lnTo>
                    <a:lnTo>
                      <a:pt x="26" y="25"/>
                    </a:lnTo>
                    <a:lnTo>
                      <a:pt x="24" y="29"/>
                    </a:lnTo>
                    <a:lnTo>
                      <a:pt x="22" y="25"/>
                    </a:lnTo>
                    <a:lnTo>
                      <a:pt x="15" y="23"/>
                    </a:lnTo>
                    <a:lnTo>
                      <a:pt x="15" y="25"/>
                    </a:lnTo>
                    <a:lnTo>
                      <a:pt x="9" y="23"/>
                    </a:lnTo>
                    <a:lnTo>
                      <a:pt x="9" y="29"/>
                    </a:lnTo>
                    <a:lnTo>
                      <a:pt x="11" y="27"/>
                    </a:lnTo>
                    <a:lnTo>
                      <a:pt x="11" y="29"/>
                    </a:lnTo>
                    <a:lnTo>
                      <a:pt x="15" y="30"/>
                    </a:lnTo>
                    <a:lnTo>
                      <a:pt x="15" y="32"/>
                    </a:lnTo>
                    <a:lnTo>
                      <a:pt x="11" y="34"/>
                    </a:lnTo>
                    <a:lnTo>
                      <a:pt x="11" y="32"/>
                    </a:lnTo>
                    <a:lnTo>
                      <a:pt x="5" y="32"/>
                    </a:lnTo>
                    <a:lnTo>
                      <a:pt x="11" y="34"/>
                    </a:lnTo>
                    <a:lnTo>
                      <a:pt x="15" y="34"/>
                    </a:lnTo>
                    <a:lnTo>
                      <a:pt x="17" y="38"/>
                    </a:lnTo>
                    <a:lnTo>
                      <a:pt x="11" y="38"/>
                    </a:lnTo>
                    <a:lnTo>
                      <a:pt x="11" y="40"/>
                    </a:lnTo>
                    <a:lnTo>
                      <a:pt x="15" y="42"/>
                    </a:lnTo>
                    <a:lnTo>
                      <a:pt x="9" y="42"/>
                    </a:lnTo>
                    <a:lnTo>
                      <a:pt x="9" y="44"/>
                    </a:lnTo>
                    <a:lnTo>
                      <a:pt x="5" y="46"/>
                    </a:lnTo>
                    <a:lnTo>
                      <a:pt x="9" y="47"/>
                    </a:lnTo>
                    <a:lnTo>
                      <a:pt x="11" y="46"/>
                    </a:lnTo>
                    <a:lnTo>
                      <a:pt x="9" y="47"/>
                    </a:lnTo>
                    <a:lnTo>
                      <a:pt x="15" y="47"/>
                    </a:lnTo>
                    <a:lnTo>
                      <a:pt x="15" y="51"/>
                    </a:lnTo>
                    <a:lnTo>
                      <a:pt x="26" y="51"/>
                    </a:lnTo>
                    <a:lnTo>
                      <a:pt x="22" y="53"/>
                    </a:lnTo>
                    <a:lnTo>
                      <a:pt x="21" y="53"/>
                    </a:lnTo>
                    <a:lnTo>
                      <a:pt x="17" y="59"/>
                    </a:lnTo>
                    <a:lnTo>
                      <a:pt x="19" y="59"/>
                    </a:lnTo>
                    <a:lnTo>
                      <a:pt x="15" y="62"/>
                    </a:lnTo>
                    <a:lnTo>
                      <a:pt x="9" y="68"/>
                    </a:lnTo>
                    <a:lnTo>
                      <a:pt x="11" y="68"/>
                    </a:lnTo>
                    <a:lnTo>
                      <a:pt x="15" y="64"/>
                    </a:lnTo>
                    <a:lnTo>
                      <a:pt x="17" y="66"/>
                    </a:lnTo>
                    <a:lnTo>
                      <a:pt x="22" y="66"/>
                    </a:lnTo>
                    <a:lnTo>
                      <a:pt x="24" y="64"/>
                    </a:lnTo>
                    <a:lnTo>
                      <a:pt x="24" y="64"/>
                    </a:lnTo>
                    <a:lnTo>
                      <a:pt x="26" y="66"/>
                    </a:lnTo>
                    <a:lnTo>
                      <a:pt x="21" y="68"/>
                    </a:lnTo>
                    <a:lnTo>
                      <a:pt x="15" y="68"/>
                    </a:lnTo>
                    <a:lnTo>
                      <a:pt x="15" y="70"/>
                    </a:lnTo>
                    <a:lnTo>
                      <a:pt x="9" y="72"/>
                    </a:lnTo>
                    <a:lnTo>
                      <a:pt x="9" y="72"/>
                    </a:lnTo>
                    <a:lnTo>
                      <a:pt x="9" y="76"/>
                    </a:lnTo>
                    <a:lnTo>
                      <a:pt x="11" y="76"/>
                    </a:lnTo>
                    <a:lnTo>
                      <a:pt x="9" y="76"/>
                    </a:lnTo>
                    <a:lnTo>
                      <a:pt x="5" y="72"/>
                    </a:lnTo>
                    <a:lnTo>
                      <a:pt x="5" y="76"/>
                    </a:lnTo>
                    <a:lnTo>
                      <a:pt x="2" y="76"/>
                    </a:lnTo>
                    <a:lnTo>
                      <a:pt x="0" y="76"/>
                    </a:lnTo>
                    <a:lnTo>
                      <a:pt x="0" y="78"/>
                    </a:lnTo>
                    <a:lnTo>
                      <a:pt x="9" y="78"/>
                    </a:lnTo>
                    <a:lnTo>
                      <a:pt x="5" y="79"/>
                    </a:lnTo>
                    <a:lnTo>
                      <a:pt x="2" y="81"/>
                    </a:lnTo>
                    <a:lnTo>
                      <a:pt x="2" y="85"/>
                    </a:lnTo>
                    <a:lnTo>
                      <a:pt x="2" y="85"/>
                    </a:lnTo>
                    <a:lnTo>
                      <a:pt x="5" y="87"/>
                    </a:lnTo>
                    <a:lnTo>
                      <a:pt x="15" y="85"/>
                    </a:lnTo>
                    <a:lnTo>
                      <a:pt x="5" y="87"/>
                    </a:lnTo>
                    <a:lnTo>
                      <a:pt x="2" y="91"/>
                    </a:lnTo>
                    <a:lnTo>
                      <a:pt x="9" y="91"/>
                    </a:lnTo>
                    <a:lnTo>
                      <a:pt x="15" y="87"/>
                    </a:lnTo>
                    <a:lnTo>
                      <a:pt x="15" y="91"/>
                    </a:lnTo>
                    <a:lnTo>
                      <a:pt x="9" y="91"/>
                    </a:lnTo>
                    <a:lnTo>
                      <a:pt x="11" y="91"/>
                    </a:lnTo>
                    <a:lnTo>
                      <a:pt x="9" y="95"/>
                    </a:lnTo>
                    <a:lnTo>
                      <a:pt x="15" y="95"/>
                    </a:lnTo>
                    <a:lnTo>
                      <a:pt x="17" y="95"/>
                    </a:lnTo>
                    <a:lnTo>
                      <a:pt x="17" y="95"/>
                    </a:lnTo>
                    <a:lnTo>
                      <a:pt x="17" y="95"/>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1" name="Freeform 23"/>
              <p:cNvSpPr>
                <a:spLocks noEditPoints="1"/>
              </p:cNvSpPr>
              <p:nvPr/>
            </p:nvSpPr>
            <p:spPr bwMode="auto">
              <a:xfrm>
                <a:off x="2647" y="1796"/>
                <a:ext cx="158" cy="297"/>
              </a:xfrm>
              <a:custGeom>
                <a:avLst/>
                <a:gdLst/>
                <a:ahLst/>
                <a:cxnLst>
                  <a:cxn ang="0">
                    <a:pos x="10" y="166"/>
                  </a:cxn>
                  <a:cxn ang="0">
                    <a:pos x="42" y="173"/>
                  </a:cxn>
                  <a:cxn ang="0">
                    <a:pos x="30" y="190"/>
                  </a:cxn>
                  <a:cxn ang="0">
                    <a:pos x="115" y="6"/>
                  </a:cxn>
                  <a:cxn ang="0">
                    <a:pos x="106" y="13"/>
                  </a:cxn>
                  <a:cxn ang="0">
                    <a:pos x="111" y="11"/>
                  </a:cxn>
                  <a:cxn ang="0">
                    <a:pos x="111" y="15"/>
                  </a:cxn>
                  <a:cxn ang="0">
                    <a:pos x="147" y="254"/>
                  </a:cxn>
                  <a:cxn ang="0">
                    <a:pos x="111" y="281"/>
                  </a:cxn>
                  <a:cxn ang="0">
                    <a:pos x="47" y="141"/>
                  </a:cxn>
                  <a:cxn ang="0">
                    <a:pos x="21" y="126"/>
                  </a:cxn>
                  <a:cxn ang="0">
                    <a:pos x="34" y="115"/>
                  </a:cxn>
                  <a:cxn ang="0">
                    <a:pos x="28" y="111"/>
                  </a:cxn>
                  <a:cxn ang="0">
                    <a:pos x="76" y="60"/>
                  </a:cxn>
                  <a:cxn ang="0">
                    <a:pos x="72" y="64"/>
                  </a:cxn>
                  <a:cxn ang="0">
                    <a:pos x="25" y="83"/>
                  </a:cxn>
                  <a:cxn ang="0">
                    <a:pos x="21" y="87"/>
                  </a:cxn>
                  <a:cxn ang="0">
                    <a:pos x="19" y="96"/>
                  </a:cxn>
                  <a:cxn ang="0">
                    <a:pos x="19" y="100"/>
                  </a:cxn>
                  <a:cxn ang="0">
                    <a:pos x="13" y="111"/>
                  </a:cxn>
                  <a:cxn ang="0">
                    <a:pos x="17" y="109"/>
                  </a:cxn>
                  <a:cxn ang="0">
                    <a:pos x="30" y="100"/>
                  </a:cxn>
                  <a:cxn ang="0">
                    <a:pos x="34" y="111"/>
                  </a:cxn>
                  <a:cxn ang="0">
                    <a:pos x="32" y="130"/>
                  </a:cxn>
                  <a:cxn ang="0">
                    <a:pos x="34" y="145"/>
                  </a:cxn>
                  <a:cxn ang="0">
                    <a:pos x="44" y="154"/>
                  </a:cxn>
                  <a:cxn ang="0">
                    <a:pos x="60" y="205"/>
                  </a:cxn>
                  <a:cxn ang="0">
                    <a:pos x="55" y="190"/>
                  </a:cxn>
                  <a:cxn ang="0">
                    <a:pos x="53" y="284"/>
                  </a:cxn>
                  <a:cxn ang="0">
                    <a:pos x="72" y="282"/>
                  </a:cxn>
                  <a:cxn ang="0">
                    <a:pos x="108" y="277"/>
                  </a:cxn>
                  <a:cxn ang="0">
                    <a:pos x="140" y="271"/>
                  </a:cxn>
                  <a:cxn ang="0">
                    <a:pos x="147" y="258"/>
                  </a:cxn>
                  <a:cxn ang="0">
                    <a:pos x="145" y="249"/>
                  </a:cxn>
                  <a:cxn ang="0">
                    <a:pos x="153" y="241"/>
                  </a:cxn>
                  <a:cxn ang="0">
                    <a:pos x="130" y="220"/>
                  </a:cxn>
                  <a:cxn ang="0">
                    <a:pos x="119" y="196"/>
                  </a:cxn>
                  <a:cxn ang="0">
                    <a:pos x="123" y="184"/>
                  </a:cxn>
                  <a:cxn ang="0">
                    <a:pos x="91" y="141"/>
                  </a:cxn>
                  <a:cxn ang="0">
                    <a:pos x="77" y="135"/>
                  </a:cxn>
                  <a:cxn ang="0">
                    <a:pos x="85" y="120"/>
                  </a:cxn>
                  <a:cxn ang="0">
                    <a:pos x="83" y="94"/>
                  </a:cxn>
                  <a:cxn ang="0">
                    <a:pos x="64" y="94"/>
                  </a:cxn>
                  <a:cxn ang="0">
                    <a:pos x="77" y="70"/>
                  </a:cxn>
                  <a:cxn ang="0">
                    <a:pos x="53" y="71"/>
                  </a:cxn>
                  <a:cxn ang="0">
                    <a:pos x="47" y="90"/>
                  </a:cxn>
                  <a:cxn ang="0">
                    <a:pos x="44" y="100"/>
                  </a:cxn>
                  <a:cxn ang="0">
                    <a:pos x="42" y="105"/>
                  </a:cxn>
                  <a:cxn ang="0">
                    <a:pos x="36" y="119"/>
                  </a:cxn>
                  <a:cxn ang="0">
                    <a:pos x="47" y="120"/>
                  </a:cxn>
                  <a:cxn ang="0">
                    <a:pos x="40" y="149"/>
                  </a:cxn>
                  <a:cxn ang="0">
                    <a:pos x="44" y="137"/>
                  </a:cxn>
                  <a:cxn ang="0">
                    <a:pos x="51" y="145"/>
                  </a:cxn>
                  <a:cxn ang="0">
                    <a:pos x="59" y="173"/>
                  </a:cxn>
                  <a:cxn ang="0">
                    <a:pos x="74" y="184"/>
                  </a:cxn>
                  <a:cxn ang="0">
                    <a:pos x="87" y="207"/>
                  </a:cxn>
                  <a:cxn ang="0">
                    <a:pos x="59" y="218"/>
                  </a:cxn>
                  <a:cxn ang="0">
                    <a:pos x="60" y="237"/>
                  </a:cxn>
                  <a:cxn ang="0">
                    <a:pos x="49" y="254"/>
                  </a:cxn>
                  <a:cxn ang="0">
                    <a:pos x="72" y="258"/>
                  </a:cxn>
                  <a:cxn ang="0">
                    <a:pos x="74" y="264"/>
                  </a:cxn>
                  <a:cxn ang="0">
                    <a:pos x="44" y="288"/>
                  </a:cxn>
                </a:cxnLst>
                <a:rect l="0" t="0" r="r" b="b"/>
                <a:pathLst>
                  <a:path w="158" h="297">
                    <a:moveTo>
                      <a:pt x="30" y="190"/>
                    </a:moveTo>
                    <a:lnTo>
                      <a:pt x="28" y="188"/>
                    </a:lnTo>
                    <a:lnTo>
                      <a:pt x="25" y="188"/>
                    </a:lnTo>
                    <a:lnTo>
                      <a:pt x="21" y="181"/>
                    </a:lnTo>
                    <a:lnTo>
                      <a:pt x="15" y="179"/>
                    </a:lnTo>
                    <a:lnTo>
                      <a:pt x="13" y="181"/>
                    </a:lnTo>
                    <a:lnTo>
                      <a:pt x="12" y="184"/>
                    </a:lnTo>
                    <a:lnTo>
                      <a:pt x="10" y="184"/>
                    </a:lnTo>
                    <a:lnTo>
                      <a:pt x="0" y="179"/>
                    </a:lnTo>
                    <a:lnTo>
                      <a:pt x="6" y="169"/>
                    </a:lnTo>
                    <a:lnTo>
                      <a:pt x="10" y="169"/>
                    </a:lnTo>
                    <a:lnTo>
                      <a:pt x="10" y="166"/>
                    </a:lnTo>
                    <a:lnTo>
                      <a:pt x="13" y="164"/>
                    </a:lnTo>
                    <a:lnTo>
                      <a:pt x="15" y="164"/>
                    </a:lnTo>
                    <a:lnTo>
                      <a:pt x="19" y="164"/>
                    </a:lnTo>
                    <a:lnTo>
                      <a:pt x="19" y="160"/>
                    </a:lnTo>
                    <a:lnTo>
                      <a:pt x="21" y="160"/>
                    </a:lnTo>
                    <a:lnTo>
                      <a:pt x="25" y="160"/>
                    </a:lnTo>
                    <a:lnTo>
                      <a:pt x="30" y="160"/>
                    </a:lnTo>
                    <a:lnTo>
                      <a:pt x="32" y="160"/>
                    </a:lnTo>
                    <a:lnTo>
                      <a:pt x="32" y="164"/>
                    </a:lnTo>
                    <a:lnTo>
                      <a:pt x="38" y="171"/>
                    </a:lnTo>
                    <a:lnTo>
                      <a:pt x="36" y="173"/>
                    </a:lnTo>
                    <a:lnTo>
                      <a:pt x="42" y="173"/>
                    </a:lnTo>
                    <a:lnTo>
                      <a:pt x="42" y="183"/>
                    </a:lnTo>
                    <a:lnTo>
                      <a:pt x="40" y="175"/>
                    </a:lnTo>
                    <a:lnTo>
                      <a:pt x="38" y="175"/>
                    </a:lnTo>
                    <a:lnTo>
                      <a:pt x="40" y="179"/>
                    </a:lnTo>
                    <a:lnTo>
                      <a:pt x="38" y="181"/>
                    </a:lnTo>
                    <a:lnTo>
                      <a:pt x="42" y="183"/>
                    </a:lnTo>
                    <a:lnTo>
                      <a:pt x="40" y="184"/>
                    </a:lnTo>
                    <a:lnTo>
                      <a:pt x="36" y="184"/>
                    </a:lnTo>
                    <a:lnTo>
                      <a:pt x="36" y="184"/>
                    </a:lnTo>
                    <a:lnTo>
                      <a:pt x="32" y="190"/>
                    </a:lnTo>
                    <a:lnTo>
                      <a:pt x="30" y="188"/>
                    </a:lnTo>
                    <a:lnTo>
                      <a:pt x="30" y="190"/>
                    </a:lnTo>
                    <a:lnTo>
                      <a:pt x="30" y="190"/>
                    </a:lnTo>
                    <a:lnTo>
                      <a:pt x="30" y="190"/>
                    </a:lnTo>
                    <a:lnTo>
                      <a:pt x="30" y="190"/>
                    </a:lnTo>
                    <a:lnTo>
                      <a:pt x="30" y="190"/>
                    </a:lnTo>
                    <a:close/>
                    <a:moveTo>
                      <a:pt x="108" y="26"/>
                    </a:moveTo>
                    <a:lnTo>
                      <a:pt x="109" y="24"/>
                    </a:lnTo>
                    <a:lnTo>
                      <a:pt x="109" y="26"/>
                    </a:lnTo>
                    <a:lnTo>
                      <a:pt x="108" y="26"/>
                    </a:lnTo>
                    <a:lnTo>
                      <a:pt x="108" y="26"/>
                    </a:lnTo>
                    <a:lnTo>
                      <a:pt x="108" y="26"/>
                    </a:lnTo>
                    <a:lnTo>
                      <a:pt x="108" y="26"/>
                    </a:lnTo>
                    <a:close/>
                    <a:moveTo>
                      <a:pt x="115" y="6"/>
                    </a:moveTo>
                    <a:lnTo>
                      <a:pt x="111" y="4"/>
                    </a:lnTo>
                    <a:lnTo>
                      <a:pt x="115" y="0"/>
                    </a:lnTo>
                    <a:lnTo>
                      <a:pt x="115" y="6"/>
                    </a:lnTo>
                    <a:lnTo>
                      <a:pt x="115" y="6"/>
                    </a:lnTo>
                    <a:lnTo>
                      <a:pt x="115" y="6"/>
                    </a:lnTo>
                    <a:lnTo>
                      <a:pt x="115" y="6"/>
                    </a:lnTo>
                    <a:close/>
                    <a:moveTo>
                      <a:pt x="106" y="13"/>
                    </a:moveTo>
                    <a:lnTo>
                      <a:pt x="106" y="9"/>
                    </a:lnTo>
                    <a:lnTo>
                      <a:pt x="104" y="9"/>
                    </a:lnTo>
                    <a:lnTo>
                      <a:pt x="104" y="13"/>
                    </a:lnTo>
                    <a:lnTo>
                      <a:pt x="104" y="13"/>
                    </a:lnTo>
                    <a:lnTo>
                      <a:pt x="106" y="13"/>
                    </a:lnTo>
                    <a:lnTo>
                      <a:pt x="106" y="13"/>
                    </a:lnTo>
                    <a:lnTo>
                      <a:pt x="106" y="13"/>
                    </a:lnTo>
                    <a:lnTo>
                      <a:pt x="106" y="13"/>
                    </a:lnTo>
                    <a:close/>
                    <a:moveTo>
                      <a:pt x="111" y="11"/>
                    </a:moveTo>
                    <a:lnTo>
                      <a:pt x="108" y="9"/>
                    </a:lnTo>
                    <a:lnTo>
                      <a:pt x="109" y="7"/>
                    </a:lnTo>
                    <a:lnTo>
                      <a:pt x="109" y="4"/>
                    </a:lnTo>
                    <a:lnTo>
                      <a:pt x="111" y="6"/>
                    </a:lnTo>
                    <a:lnTo>
                      <a:pt x="111" y="9"/>
                    </a:lnTo>
                    <a:lnTo>
                      <a:pt x="111" y="11"/>
                    </a:lnTo>
                    <a:lnTo>
                      <a:pt x="111" y="11"/>
                    </a:lnTo>
                    <a:lnTo>
                      <a:pt x="111" y="11"/>
                    </a:lnTo>
                    <a:lnTo>
                      <a:pt x="111" y="11"/>
                    </a:lnTo>
                    <a:close/>
                    <a:moveTo>
                      <a:pt x="109" y="22"/>
                    </a:moveTo>
                    <a:lnTo>
                      <a:pt x="108" y="21"/>
                    </a:lnTo>
                    <a:lnTo>
                      <a:pt x="102" y="19"/>
                    </a:lnTo>
                    <a:lnTo>
                      <a:pt x="100" y="17"/>
                    </a:lnTo>
                    <a:lnTo>
                      <a:pt x="104" y="17"/>
                    </a:lnTo>
                    <a:lnTo>
                      <a:pt x="108" y="17"/>
                    </a:lnTo>
                    <a:lnTo>
                      <a:pt x="108" y="15"/>
                    </a:lnTo>
                    <a:lnTo>
                      <a:pt x="108" y="13"/>
                    </a:lnTo>
                    <a:lnTo>
                      <a:pt x="108" y="13"/>
                    </a:lnTo>
                    <a:lnTo>
                      <a:pt x="109" y="13"/>
                    </a:lnTo>
                    <a:lnTo>
                      <a:pt x="111" y="15"/>
                    </a:lnTo>
                    <a:lnTo>
                      <a:pt x="111" y="17"/>
                    </a:lnTo>
                    <a:lnTo>
                      <a:pt x="111" y="19"/>
                    </a:lnTo>
                    <a:lnTo>
                      <a:pt x="109" y="21"/>
                    </a:lnTo>
                    <a:lnTo>
                      <a:pt x="111" y="24"/>
                    </a:lnTo>
                    <a:lnTo>
                      <a:pt x="109" y="22"/>
                    </a:lnTo>
                    <a:lnTo>
                      <a:pt x="109" y="22"/>
                    </a:lnTo>
                    <a:lnTo>
                      <a:pt x="109" y="22"/>
                    </a:lnTo>
                    <a:lnTo>
                      <a:pt x="109" y="22"/>
                    </a:lnTo>
                    <a:close/>
                    <a:moveTo>
                      <a:pt x="143" y="258"/>
                    </a:moveTo>
                    <a:lnTo>
                      <a:pt x="145" y="258"/>
                    </a:lnTo>
                    <a:lnTo>
                      <a:pt x="147" y="258"/>
                    </a:lnTo>
                    <a:lnTo>
                      <a:pt x="147" y="254"/>
                    </a:lnTo>
                    <a:lnTo>
                      <a:pt x="145" y="254"/>
                    </a:lnTo>
                    <a:lnTo>
                      <a:pt x="143" y="258"/>
                    </a:lnTo>
                    <a:lnTo>
                      <a:pt x="143" y="258"/>
                    </a:lnTo>
                    <a:lnTo>
                      <a:pt x="143" y="258"/>
                    </a:lnTo>
                    <a:lnTo>
                      <a:pt x="143" y="258"/>
                    </a:lnTo>
                    <a:close/>
                    <a:moveTo>
                      <a:pt x="106" y="277"/>
                    </a:moveTo>
                    <a:lnTo>
                      <a:pt x="111" y="275"/>
                    </a:lnTo>
                    <a:lnTo>
                      <a:pt x="111" y="277"/>
                    </a:lnTo>
                    <a:lnTo>
                      <a:pt x="115" y="277"/>
                    </a:lnTo>
                    <a:lnTo>
                      <a:pt x="115" y="279"/>
                    </a:lnTo>
                    <a:lnTo>
                      <a:pt x="115" y="281"/>
                    </a:lnTo>
                    <a:lnTo>
                      <a:pt x="111" y="281"/>
                    </a:lnTo>
                    <a:lnTo>
                      <a:pt x="109" y="279"/>
                    </a:lnTo>
                    <a:lnTo>
                      <a:pt x="106" y="277"/>
                    </a:lnTo>
                    <a:lnTo>
                      <a:pt x="106" y="277"/>
                    </a:lnTo>
                    <a:lnTo>
                      <a:pt x="106" y="277"/>
                    </a:lnTo>
                    <a:lnTo>
                      <a:pt x="106" y="277"/>
                    </a:lnTo>
                    <a:close/>
                    <a:moveTo>
                      <a:pt x="47" y="141"/>
                    </a:moveTo>
                    <a:lnTo>
                      <a:pt x="47" y="145"/>
                    </a:lnTo>
                    <a:lnTo>
                      <a:pt x="47" y="147"/>
                    </a:lnTo>
                    <a:lnTo>
                      <a:pt x="47" y="143"/>
                    </a:lnTo>
                    <a:lnTo>
                      <a:pt x="47" y="141"/>
                    </a:lnTo>
                    <a:lnTo>
                      <a:pt x="47" y="141"/>
                    </a:lnTo>
                    <a:lnTo>
                      <a:pt x="47" y="141"/>
                    </a:lnTo>
                    <a:lnTo>
                      <a:pt x="47" y="141"/>
                    </a:lnTo>
                    <a:close/>
                    <a:moveTo>
                      <a:pt x="30" y="139"/>
                    </a:moveTo>
                    <a:lnTo>
                      <a:pt x="30" y="135"/>
                    </a:lnTo>
                    <a:lnTo>
                      <a:pt x="32" y="137"/>
                    </a:lnTo>
                    <a:lnTo>
                      <a:pt x="30" y="139"/>
                    </a:lnTo>
                    <a:lnTo>
                      <a:pt x="30" y="139"/>
                    </a:lnTo>
                    <a:lnTo>
                      <a:pt x="30" y="139"/>
                    </a:lnTo>
                    <a:lnTo>
                      <a:pt x="30" y="139"/>
                    </a:lnTo>
                    <a:close/>
                    <a:moveTo>
                      <a:pt x="21" y="126"/>
                    </a:moveTo>
                    <a:lnTo>
                      <a:pt x="21" y="124"/>
                    </a:lnTo>
                    <a:lnTo>
                      <a:pt x="25" y="124"/>
                    </a:lnTo>
                    <a:lnTo>
                      <a:pt x="21" y="126"/>
                    </a:lnTo>
                    <a:lnTo>
                      <a:pt x="21" y="126"/>
                    </a:lnTo>
                    <a:lnTo>
                      <a:pt x="21" y="126"/>
                    </a:lnTo>
                    <a:lnTo>
                      <a:pt x="21" y="126"/>
                    </a:lnTo>
                    <a:close/>
                    <a:moveTo>
                      <a:pt x="25" y="124"/>
                    </a:moveTo>
                    <a:lnTo>
                      <a:pt x="28" y="120"/>
                    </a:lnTo>
                    <a:lnTo>
                      <a:pt x="28" y="120"/>
                    </a:lnTo>
                    <a:lnTo>
                      <a:pt x="25" y="124"/>
                    </a:lnTo>
                    <a:lnTo>
                      <a:pt x="25" y="124"/>
                    </a:lnTo>
                    <a:lnTo>
                      <a:pt x="25" y="124"/>
                    </a:lnTo>
                    <a:lnTo>
                      <a:pt x="25" y="124"/>
                    </a:lnTo>
                    <a:close/>
                    <a:moveTo>
                      <a:pt x="32" y="117"/>
                    </a:moveTo>
                    <a:lnTo>
                      <a:pt x="34" y="115"/>
                    </a:lnTo>
                    <a:lnTo>
                      <a:pt x="32" y="115"/>
                    </a:lnTo>
                    <a:lnTo>
                      <a:pt x="32" y="117"/>
                    </a:lnTo>
                    <a:lnTo>
                      <a:pt x="32" y="117"/>
                    </a:lnTo>
                    <a:lnTo>
                      <a:pt x="32" y="117"/>
                    </a:lnTo>
                    <a:lnTo>
                      <a:pt x="32" y="117"/>
                    </a:lnTo>
                    <a:close/>
                    <a:moveTo>
                      <a:pt x="28" y="111"/>
                    </a:moveTo>
                    <a:lnTo>
                      <a:pt x="30" y="115"/>
                    </a:lnTo>
                    <a:lnTo>
                      <a:pt x="30" y="113"/>
                    </a:lnTo>
                    <a:lnTo>
                      <a:pt x="30" y="111"/>
                    </a:lnTo>
                    <a:lnTo>
                      <a:pt x="28" y="111"/>
                    </a:lnTo>
                    <a:lnTo>
                      <a:pt x="28" y="111"/>
                    </a:lnTo>
                    <a:lnTo>
                      <a:pt x="28" y="111"/>
                    </a:lnTo>
                    <a:lnTo>
                      <a:pt x="28" y="111"/>
                    </a:lnTo>
                    <a:close/>
                    <a:moveTo>
                      <a:pt x="76" y="56"/>
                    </a:moveTo>
                    <a:lnTo>
                      <a:pt x="77" y="56"/>
                    </a:lnTo>
                    <a:lnTo>
                      <a:pt x="77" y="56"/>
                    </a:lnTo>
                    <a:lnTo>
                      <a:pt x="76" y="56"/>
                    </a:lnTo>
                    <a:lnTo>
                      <a:pt x="76" y="56"/>
                    </a:lnTo>
                    <a:lnTo>
                      <a:pt x="76" y="56"/>
                    </a:lnTo>
                    <a:lnTo>
                      <a:pt x="76" y="56"/>
                    </a:lnTo>
                    <a:close/>
                    <a:moveTo>
                      <a:pt x="72" y="56"/>
                    </a:moveTo>
                    <a:lnTo>
                      <a:pt x="74" y="56"/>
                    </a:lnTo>
                    <a:lnTo>
                      <a:pt x="77" y="60"/>
                    </a:lnTo>
                    <a:lnTo>
                      <a:pt x="76" y="60"/>
                    </a:lnTo>
                    <a:lnTo>
                      <a:pt x="79" y="60"/>
                    </a:lnTo>
                    <a:lnTo>
                      <a:pt x="79" y="64"/>
                    </a:lnTo>
                    <a:lnTo>
                      <a:pt x="77" y="64"/>
                    </a:lnTo>
                    <a:lnTo>
                      <a:pt x="74" y="64"/>
                    </a:lnTo>
                    <a:lnTo>
                      <a:pt x="74" y="60"/>
                    </a:lnTo>
                    <a:lnTo>
                      <a:pt x="72" y="64"/>
                    </a:lnTo>
                    <a:lnTo>
                      <a:pt x="72" y="60"/>
                    </a:lnTo>
                    <a:lnTo>
                      <a:pt x="72" y="56"/>
                    </a:lnTo>
                    <a:lnTo>
                      <a:pt x="72" y="56"/>
                    </a:lnTo>
                    <a:lnTo>
                      <a:pt x="72" y="56"/>
                    </a:lnTo>
                    <a:lnTo>
                      <a:pt x="72" y="56"/>
                    </a:lnTo>
                    <a:close/>
                    <a:moveTo>
                      <a:pt x="72" y="64"/>
                    </a:moveTo>
                    <a:lnTo>
                      <a:pt x="74" y="66"/>
                    </a:lnTo>
                    <a:lnTo>
                      <a:pt x="74" y="64"/>
                    </a:lnTo>
                    <a:lnTo>
                      <a:pt x="74" y="64"/>
                    </a:lnTo>
                    <a:lnTo>
                      <a:pt x="72" y="64"/>
                    </a:lnTo>
                    <a:lnTo>
                      <a:pt x="72" y="64"/>
                    </a:lnTo>
                    <a:lnTo>
                      <a:pt x="72" y="64"/>
                    </a:lnTo>
                    <a:lnTo>
                      <a:pt x="72" y="64"/>
                    </a:lnTo>
                    <a:close/>
                    <a:moveTo>
                      <a:pt x="21" y="87"/>
                    </a:moveTo>
                    <a:lnTo>
                      <a:pt x="23" y="85"/>
                    </a:lnTo>
                    <a:lnTo>
                      <a:pt x="21" y="83"/>
                    </a:lnTo>
                    <a:lnTo>
                      <a:pt x="23" y="81"/>
                    </a:lnTo>
                    <a:lnTo>
                      <a:pt x="25" y="83"/>
                    </a:lnTo>
                    <a:lnTo>
                      <a:pt x="25" y="79"/>
                    </a:lnTo>
                    <a:lnTo>
                      <a:pt x="32" y="73"/>
                    </a:lnTo>
                    <a:lnTo>
                      <a:pt x="32" y="77"/>
                    </a:lnTo>
                    <a:lnTo>
                      <a:pt x="30" y="81"/>
                    </a:lnTo>
                    <a:lnTo>
                      <a:pt x="28" y="85"/>
                    </a:lnTo>
                    <a:lnTo>
                      <a:pt x="30" y="85"/>
                    </a:lnTo>
                    <a:lnTo>
                      <a:pt x="28" y="88"/>
                    </a:lnTo>
                    <a:lnTo>
                      <a:pt x="25" y="87"/>
                    </a:lnTo>
                    <a:lnTo>
                      <a:pt x="23" y="88"/>
                    </a:lnTo>
                    <a:lnTo>
                      <a:pt x="21" y="87"/>
                    </a:lnTo>
                    <a:lnTo>
                      <a:pt x="21" y="87"/>
                    </a:lnTo>
                    <a:lnTo>
                      <a:pt x="21" y="87"/>
                    </a:lnTo>
                    <a:lnTo>
                      <a:pt x="21" y="87"/>
                    </a:lnTo>
                    <a:close/>
                    <a:moveTo>
                      <a:pt x="21" y="90"/>
                    </a:moveTo>
                    <a:lnTo>
                      <a:pt x="23" y="94"/>
                    </a:lnTo>
                    <a:lnTo>
                      <a:pt x="25" y="90"/>
                    </a:lnTo>
                    <a:lnTo>
                      <a:pt x="25" y="88"/>
                    </a:lnTo>
                    <a:lnTo>
                      <a:pt x="23" y="90"/>
                    </a:lnTo>
                    <a:lnTo>
                      <a:pt x="21" y="90"/>
                    </a:lnTo>
                    <a:lnTo>
                      <a:pt x="21" y="90"/>
                    </a:lnTo>
                    <a:lnTo>
                      <a:pt x="21" y="90"/>
                    </a:lnTo>
                    <a:lnTo>
                      <a:pt x="21" y="90"/>
                    </a:lnTo>
                    <a:lnTo>
                      <a:pt x="21" y="90"/>
                    </a:lnTo>
                    <a:close/>
                    <a:moveTo>
                      <a:pt x="19" y="96"/>
                    </a:moveTo>
                    <a:lnTo>
                      <a:pt x="15" y="100"/>
                    </a:lnTo>
                    <a:lnTo>
                      <a:pt x="13" y="94"/>
                    </a:lnTo>
                    <a:lnTo>
                      <a:pt x="15" y="94"/>
                    </a:lnTo>
                    <a:lnTo>
                      <a:pt x="19" y="94"/>
                    </a:lnTo>
                    <a:lnTo>
                      <a:pt x="19" y="96"/>
                    </a:lnTo>
                    <a:lnTo>
                      <a:pt x="19" y="96"/>
                    </a:lnTo>
                    <a:lnTo>
                      <a:pt x="19" y="96"/>
                    </a:lnTo>
                    <a:lnTo>
                      <a:pt x="19" y="96"/>
                    </a:lnTo>
                    <a:close/>
                    <a:moveTo>
                      <a:pt x="17" y="102"/>
                    </a:moveTo>
                    <a:lnTo>
                      <a:pt x="15" y="100"/>
                    </a:lnTo>
                    <a:lnTo>
                      <a:pt x="15" y="100"/>
                    </a:lnTo>
                    <a:lnTo>
                      <a:pt x="19" y="100"/>
                    </a:lnTo>
                    <a:lnTo>
                      <a:pt x="17" y="102"/>
                    </a:lnTo>
                    <a:lnTo>
                      <a:pt x="17" y="102"/>
                    </a:lnTo>
                    <a:lnTo>
                      <a:pt x="17" y="102"/>
                    </a:lnTo>
                    <a:lnTo>
                      <a:pt x="17" y="102"/>
                    </a:lnTo>
                    <a:close/>
                    <a:moveTo>
                      <a:pt x="13" y="111"/>
                    </a:moveTo>
                    <a:lnTo>
                      <a:pt x="15" y="113"/>
                    </a:lnTo>
                    <a:lnTo>
                      <a:pt x="12" y="115"/>
                    </a:lnTo>
                    <a:lnTo>
                      <a:pt x="12" y="113"/>
                    </a:lnTo>
                    <a:lnTo>
                      <a:pt x="13" y="111"/>
                    </a:lnTo>
                    <a:lnTo>
                      <a:pt x="13" y="111"/>
                    </a:lnTo>
                    <a:lnTo>
                      <a:pt x="13" y="111"/>
                    </a:lnTo>
                    <a:lnTo>
                      <a:pt x="13" y="111"/>
                    </a:lnTo>
                    <a:close/>
                    <a:moveTo>
                      <a:pt x="17" y="109"/>
                    </a:moveTo>
                    <a:lnTo>
                      <a:pt x="17" y="105"/>
                    </a:lnTo>
                    <a:lnTo>
                      <a:pt x="17" y="103"/>
                    </a:lnTo>
                    <a:lnTo>
                      <a:pt x="17" y="102"/>
                    </a:lnTo>
                    <a:lnTo>
                      <a:pt x="15" y="102"/>
                    </a:lnTo>
                    <a:lnTo>
                      <a:pt x="15" y="103"/>
                    </a:lnTo>
                    <a:lnTo>
                      <a:pt x="13" y="105"/>
                    </a:lnTo>
                    <a:lnTo>
                      <a:pt x="15" y="109"/>
                    </a:lnTo>
                    <a:lnTo>
                      <a:pt x="17" y="109"/>
                    </a:lnTo>
                    <a:lnTo>
                      <a:pt x="17" y="109"/>
                    </a:lnTo>
                    <a:lnTo>
                      <a:pt x="17" y="109"/>
                    </a:lnTo>
                    <a:lnTo>
                      <a:pt x="17" y="109"/>
                    </a:lnTo>
                    <a:close/>
                    <a:moveTo>
                      <a:pt x="34" y="111"/>
                    </a:moveTo>
                    <a:lnTo>
                      <a:pt x="34" y="107"/>
                    </a:lnTo>
                    <a:lnTo>
                      <a:pt x="30" y="107"/>
                    </a:lnTo>
                    <a:lnTo>
                      <a:pt x="28" y="103"/>
                    </a:lnTo>
                    <a:lnTo>
                      <a:pt x="28" y="102"/>
                    </a:lnTo>
                    <a:lnTo>
                      <a:pt x="28" y="102"/>
                    </a:lnTo>
                    <a:lnTo>
                      <a:pt x="28" y="103"/>
                    </a:lnTo>
                    <a:lnTo>
                      <a:pt x="25" y="100"/>
                    </a:lnTo>
                    <a:lnTo>
                      <a:pt x="25" y="100"/>
                    </a:lnTo>
                    <a:lnTo>
                      <a:pt x="25" y="100"/>
                    </a:lnTo>
                    <a:lnTo>
                      <a:pt x="25" y="96"/>
                    </a:lnTo>
                    <a:lnTo>
                      <a:pt x="30" y="100"/>
                    </a:lnTo>
                    <a:lnTo>
                      <a:pt x="28" y="94"/>
                    </a:lnTo>
                    <a:lnTo>
                      <a:pt x="30" y="94"/>
                    </a:lnTo>
                    <a:lnTo>
                      <a:pt x="32" y="100"/>
                    </a:lnTo>
                    <a:lnTo>
                      <a:pt x="32" y="103"/>
                    </a:lnTo>
                    <a:lnTo>
                      <a:pt x="36" y="105"/>
                    </a:lnTo>
                    <a:lnTo>
                      <a:pt x="38" y="105"/>
                    </a:lnTo>
                    <a:lnTo>
                      <a:pt x="40" y="105"/>
                    </a:lnTo>
                    <a:lnTo>
                      <a:pt x="38" y="107"/>
                    </a:lnTo>
                    <a:lnTo>
                      <a:pt x="36" y="111"/>
                    </a:lnTo>
                    <a:lnTo>
                      <a:pt x="34" y="111"/>
                    </a:lnTo>
                    <a:lnTo>
                      <a:pt x="34" y="111"/>
                    </a:lnTo>
                    <a:lnTo>
                      <a:pt x="34" y="111"/>
                    </a:lnTo>
                    <a:lnTo>
                      <a:pt x="34" y="111"/>
                    </a:lnTo>
                    <a:close/>
                    <a:moveTo>
                      <a:pt x="28" y="130"/>
                    </a:moveTo>
                    <a:lnTo>
                      <a:pt x="36" y="130"/>
                    </a:lnTo>
                    <a:lnTo>
                      <a:pt x="36" y="130"/>
                    </a:lnTo>
                    <a:lnTo>
                      <a:pt x="40" y="130"/>
                    </a:lnTo>
                    <a:lnTo>
                      <a:pt x="38" y="124"/>
                    </a:lnTo>
                    <a:lnTo>
                      <a:pt x="36" y="124"/>
                    </a:lnTo>
                    <a:lnTo>
                      <a:pt x="32" y="120"/>
                    </a:lnTo>
                    <a:lnTo>
                      <a:pt x="28" y="124"/>
                    </a:lnTo>
                    <a:lnTo>
                      <a:pt x="34" y="126"/>
                    </a:lnTo>
                    <a:lnTo>
                      <a:pt x="30" y="126"/>
                    </a:lnTo>
                    <a:lnTo>
                      <a:pt x="32" y="130"/>
                    </a:lnTo>
                    <a:lnTo>
                      <a:pt x="28" y="130"/>
                    </a:lnTo>
                    <a:lnTo>
                      <a:pt x="28" y="130"/>
                    </a:lnTo>
                    <a:lnTo>
                      <a:pt x="28" y="130"/>
                    </a:lnTo>
                    <a:lnTo>
                      <a:pt x="28" y="130"/>
                    </a:lnTo>
                    <a:close/>
                    <a:moveTo>
                      <a:pt x="34" y="145"/>
                    </a:moveTo>
                    <a:lnTo>
                      <a:pt x="32" y="141"/>
                    </a:lnTo>
                    <a:lnTo>
                      <a:pt x="40" y="134"/>
                    </a:lnTo>
                    <a:lnTo>
                      <a:pt x="36" y="141"/>
                    </a:lnTo>
                    <a:lnTo>
                      <a:pt x="34" y="145"/>
                    </a:lnTo>
                    <a:lnTo>
                      <a:pt x="34" y="145"/>
                    </a:lnTo>
                    <a:lnTo>
                      <a:pt x="34" y="145"/>
                    </a:lnTo>
                    <a:lnTo>
                      <a:pt x="34" y="145"/>
                    </a:lnTo>
                    <a:close/>
                    <a:moveTo>
                      <a:pt x="28" y="149"/>
                    </a:moveTo>
                    <a:lnTo>
                      <a:pt x="32" y="147"/>
                    </a:lnTo>
                    <a:lnTo>
                      <a:pt x="32" y="141"/>
                    </a:lnTo>
                    <a:lnTo>
                      <a:pt x="28" y="143"/>
                    </a:lnTo>
                    <a:lnTo>
                      <a:pt x="28" y="149"/>
                    </a:lnTo>
                    <a:lnTo>
                      <a:pt x="30" y="145"/>
                    </a:lnTo>
                    <a:lnTo>
                      <a:pt x="28" y="149"/>
                    </a:lnTo>
                    <a:lnTo>
                      <a:pt x="28" y="149"/>
                    </a:lnTo>
                    <a:lnTo>
                      <a:pt x="28" y="149"/>
                    </a:lnTo>
                    <a:lnTo>
                      <a:pt x="28" y="149"/>
                    </a:lnTo>
                    <a:close/>
                    <a:moveTo>
                      <a:pt x="44" y="149"/>
                    </a:moveTo>
                    <a:lnTo>
                      <a:pt x="44" y="154"/>
                    </a:lnTo>
                    <a:lnTo>
                      <a:pt x="47" y="154"/>
                    </a:lnTo>
                    <a:lnTo>
                      <a:pt x="47" y="151"/>
                    </a:lnTo>
                    <a:lnTo>
                      <a:pt x="47" y="147"/>
                    </a:lnTo>
                    <a:lnTo>
                      <a:pt x="44" y="149"/>
                    </a:lnTo>
                    <a:lnTo>
                      <a:pt x="44" y="149"/>
                    </a:lnTo>
                    <a:lnTo>
                      <a:pt x="44" y="149"/>
                    </a:lnTo>
                    <a:lnTo>
                      <a:pt x="44" y="149"/>
                    </a:lnTo>
                    <a:close/>
                    <a:moveTo>
                      <a:pt x="55" y="209"/>
                    </a:moveTo>
                    <a:lnTo>
                      <a:pt x="60" y="213"/>
                    </a:lnTo>
                    <a:lnTo>
                      <a:pt x="64" y="209"/>
                    </a:lnTo>
                    <a:lnTo>
                      <a:pt x="60" y="209"/>
                    </a:lnTo>
                    <a:lnTo>
                      <a:pt x="60" y="205"/>
                    </a:lnTo>
                    <a:lnTo>
                      <a:pt x="55" y="207"/>
                    </a:lnTo>
                    <a:lnTo>
                      <a:pt x="55" y="207"/>
                    </a:lnTo>
                    <a:lnTo>
                      <a:pt x="55" y="209"/>
                    </a:lnTo>
                    <a:lnTo>
                      <a:pt x="55" y="209"/>
                    </a:lnTo>
                    <a:lnTo>
                      <a:pt x="55" y="209"/>
                    </a:lnTo>
                    <a:lnTo>
                      <a:pt x="55" y="209"/>
                    </a:lnTo>
                    <a:close/>
                    <a:moveTo>
                      <a:pt x="51" y="190"/>
                    </a:moveTo>
                    <a:lnTo>
                      <a:pt x="53" y="184"/>
                    </a:lnTo>
                    <a:lnTo>
                      <a:pt x="59" y="181"/>
                    </a:lnTo>
                    <a:lnTo>
                      <a:pt x="59" y="183"/>
                    </a:lnTo>
                    <a:lnTo>
                      <a:pt x="59" y="184"/>
                    </a:lnTo>
                    <a:lnTo>
                      <a:pt x="55" y="190"/>
                    </a:lnTo>
                    <a:lnTo>
                      <a:pt x="51" y="190"/>
                    </a:lnTo>
                    <a:lnTo>
                      <a:pt x="51" y="190"/>
                    </a:lnTo>
                    <a:lnTo>
                      <a:pt x="51" y="190"/>
                    </a:lnTo>
                    <a:lnTo>
                      <a:pt x="51" y="190"/>
                    </a:lnTo>
                    <a:close/>
                    <a:moveTo>
                      <a:pt x="44" y="297"/>
                    </a:moveTo>
                    <a:lnTo>
                      <a:pt x="47" y="294"/>
                    </a:lnTo>
                    <a:lnTo>
                      <a:pt x="47" y="294"/>
                    </a:lnTo>
                    <a:lnTo>
                      <a:pt x="47" y="290"/>
                    </a:lnTo>
                    <a:lnTo>
                      <a:pt x="47" y="290"/>
                    </a:lnTo>
                    <a:lnTo>
                      <a:pt x="49" y="288"/>
                    </a:lnTo>
                    <a:lnTo>
                      <a:pt x="51" y="288"/>
                    </a:lnTo>
                    <a:lnTo>
                      <a:pt x="53" y="284"/>
                    </a:lnTo>
                    <a:lnTo>
                      <a:pt x="57" y="288"/>
                    </a:lnTo>
                    <a:lnTo>
                      <a:pt x="59" y="284"/>
                    </a:lnTo>
                    <a:lnTo>
                      <a:pt x="62" y="284"/>
                    </a:lnTo>
                    <a:lnTo>
                      <a:pt x="62" y="284"/>
                    </a:lnTo>
                    <a:lnTo>
                      <a:pt x="64" y="288"/>
                    </a:lnTo>
                    <a:lnTo>
                      <a:pt x="66" y="288"/>
                    </a:lnTo>
                    <a:lnTo>
                      <a:pt x="68" y="288"/>
                    </a:lnTo>
                    <a:lnTo>
                      <a:pt x="72" y="288"/>
                    </a:lnTo>
                    <a:lnTo>
                      <a:pt x="72" y="288"/>
                    </a:lnTo>
                    <a:lnTo>
                      <a:pt x="72" y="288"/>
                    </a:lnTo>
                    <a:lnTo>
                      <a:pt x="74" y="284"/>
                    </a:lnTo>
                    <a:lnTo>
                      <a:pt x="72" y="282"/>
                    </a:lnTo>
                    <a:lnTo>
                      <a:pt x="76" y="281"/>
                    </a:lnTo>
                    <a:lnTo>
                      <a:pt x="77" y="279"/>
                    </a:lnTo>
                    <a:lnTo>
                      <a:pt x="77" y="279"/>
                    </a:lnTo>
                    <a:lnTo>
                      <a:pt x="85" y="277"/>
                    </a:lnTo>
                    <a:lnTo>
                      <a:pt x="87" y="277"/>
                    </a:lnTo>
                    <a:lnTo>
                      <a:pt x="91" y="281"/>
                    </a:lnTo>
                    <a:lnTo>
                      <a:pt x="92" y="279"/>
                    </a:lnTo>
                    <a:lnTo>
                      <a:pt x="96" y="279"/>
                    </a:lnTo>
                    <a:lnTo>
                      <a:pt x="98" y="281"/>
                    </a:lnTo>
                    <a:lnTo>
                      <a:pt x="100" y="277"/>
                    </a:lnTo>
                    <a:lnTo>
                      <a:pt x="104" y="275"/>
                    </a:lnTo>
                    <a:lnTo>
                      <a:pt x="108" y="277"/>
                    </a:lnTo>
                    <a:lnTo>
                      <a:pt x="111" y="273"/>
                    </a:lnTo>
                    <a:lnTo>
                      <a:pt x="115" y="273"/>
                    </a:lnTo>
                    <a:lnTo>
                      <a:pt x="115" y="273"/>
                    </a:lnTo>
                    <a:lnTo>
                      <a:pt x="115" y="273"/>
                    </a:lnTo>
                    <a:lnTo>
                      <a:pt x="117" y="273"/>
                    </a:lnTo>
                    <a:lnTo>
                      <a:pt x="119" y="275"/>
                    </a:lnTo>
                    <a:lnTo>
                      <a:pt x="123" y="273"/>
                    </a:lnTo>
                    <a:lnTo>
                      <a:pt x="128" y="273"/>
                    </a:lnTo>
                    <a:lnTo>
                      <a:pt x="130" y="273"/>
                    </a:lnTo>
                    <a:lnTo>
                      <a:pt x="136" y="273"/>
                    </a:lnTo>
                    <a:lnTo>
                      <a:pt x="136" y="273"/>
                    </a:lnTo>
                    <a:lnTo>
                      <a:pt x="140" y="271"/>
                    </a:lnTo>
                    <a:lnTo>
                      <a:pt x="141" y="271"/>
                    </a:lnTo>
                    <a:lnTo>
                      <a:pt x="145" y="267"/>
                    </a:lnTo>
                    <a:lnTo>
                      <a:pt x="147" y="267"/>
                    </a:lnTo>
                    <a:lnTo>
                      <a:pt x="149" y="269"/>
                    </a:lnTo>
                    <a:lnTo>
                      <a:pt x="149" y="265"/>
                    </a:lnTo>
                    <a:lnTo>
                      <a:pt x="153" y="264"/>
                    </a:lnTo>
                    <a:lnTo>
                      <a:pt x="155" y="264"/>
                    </a:lnTo>
                    <a:lnTo>
                      <a:pt x="155" y="260"/>
                    </a:lnTo>
                    <a:lnTo>
                      <a:pt x="155" y="258"/>
                    </a:lnTo>
                    <a:lnTo>
                      <a:pt x="155" y="258"/>
                    </a:lnTo>
                    <a:lnTo>
                      <a:pt x="151" y="258"/>
                    </a:lnTo>
                    <a:lnTo>
                      <a:pt x="147" y="258"/>
                    </a:lnTo>
                    <a:lnTo>
                      <a:pt x="145" y="258"/>
                    </a:lnTo>
                    <a:lnTo>
                      <a:pt x="141" y="258"/>
                    </a:lnTo>
                    <a:lnTo>
                      <a:pt x="141" y="258"/>
                    </a:lnTo>
                    <a:lnTo>
                      <a:pt x="141" y="254"/>
                    </a:lnTo>
                    <a:lnTo>
                      <a:pt x="143" y="254"/>
                    </a:lnTo>
                    <a:lnTo>
                      <a:pt x="143" y="254"/>
                    </a:lnTo>
                    <a:lnTo>
                      <a:pt x="140" y="254"/>
                    </a:lnTo>
                    <a:lnTo>
                      <a:pt x="140" y="254"/>
                    </a:lnTo>
                    <a:lnTo>
                      <a:pt x="141" y="252"/>
                    </a:lnTo>
                    <a:lnTo>
                      <a:pt x="143" y="254"/>
                    </a:lnTo>
                    <a:lnTo>
                      <a:pt x="147" y="252"/>
                    </a:lnTo>
                    <a:lnTo>
                      <a:pt x="145" y="249"/>
                    </a:lnTo>
                    <a:lnTo>
                      <a:pt x="143" y="249"/>
                    </a:lnTo>
                    <a:lnTo>
                      <a:pt x="145" y="245"/>
                    </a:lnTo>
                    <a:lnTo>
                      <a:pt x="147" y="245"/>
                    </a:lnTo>
                    <a:lnTo>
                      <a:pt x="149" y="245"/>
                    </a:lnTo>
                    <a:lnTo>
                      <a:pt x="151" y="245"/>
                    </a:lnTo>
                    <a:lnTo>
                      <a:pt x="153" y="243"/>
                    </a:lnTo>
                    <a:lnTo>
                      <a:pt x="151" y="243"/>
                    </a:lnTo>
                    <a:lnTo>
                      <a:pt x="153" y="243"/>
                    </a:lnTo>
                    <a:lnTo>
                      <a:pt x="149" y="241"/>
                    </a:lnTo>
                    <a:lnTo>
                      <a:pt x="151" y="239"/>
                    </a:lnTo>
                    <a:lnTo>
                      <a:pt x="153" y="239"/>
                    </a:lnTo>
                    <a:lnTo>
                      <a:pt x="153" y="241"/>
                    </a:lnTo>
                    <a:lnTo>
                      <a:pt x="155" y="239"/>
                    </a:lnTo>
                    <a:lnTo>
                      <a:pt x="155" y="237"/>
                    </a:lnTo>
                    <a:lnTo>
                      <a:pt x="158" y="233"/>
                    </a:lnTo>
                    <a:lnTo>
                      <a:pt x="158" y="228"/>
                    </a:lnTo>
                    <a:lnTo>
                      <a:pt x="158" y="224"/>
                    </a:lnTo>
                    <a:lnTo>
                      <a:pt x="155" y="220"/>
                    </a:lnTo>
                    <a:lnTo>
                      <a:pt x="151" y="215"/>
                    </a:lnTo>
                    <a:lnTo>
                      <a:pt x="141" y="215"/>
                    </a:lnTo>
                    <a:lnTo>
                      <a:pt x="136" y="215"/>
                    </a:lnTo>
                    <a:lnTo>
                      <a:pt x="136" y="220"/>
                    </a:lnTo>
                    <a:lnTo>
                      <a:pt x="136" y="220"/>
                    </a:lnTo>
                    <a:lnTo>
                      <a:pt x="130" y="220"/>
                    </a:lnTo>
                    <a:lnTo>
                      <a:pt x="128" y="218"/>
                    </a:lnTo>
                    <a:lnTo>
                      <a:pt x="136" y="213"/>
                    </a:lnTo>
                    <a:lnTo>
                      <a:pt x="136" y="209"/>
                    </a:lnTo>
                    <a:lnTo>
                      <a:pt x="130" y="203"/>
                    </a:lnTo>
                    <a:lnTo>
                      <a:pt x="128" y="203"/>
                    </a:lnTo>
                    <a:lnTo>
                      <a:pt x="124" y="200"/>
                    </a:lnTo>
                    <a:lnTo>
                      <a:pt x="123" y="196"/>
                    </a:lnTo>
                    <a:lnTo>
                      <a:pt x="121" y="198"/>
                    </a:lnTo>
                    <a:lnTo>
                      <a:pt x="119" y="198"/>
                    </a:lnTo>
                    <a:lnTo>
                      <a:pt x="117" y="196"/>
                    </a:lnTo>
                    <a:lnTo>
                      <a:pt x="115" y="196"/>
                    </a:lnTo>
                    <a:lnTo>
                      <a:pt x="119" y="196"/>
                    </a:lnTo>
                    <a:lnTo>
                      <a:pt x="121" y="196"/>
                    </a:lnTo>
                    <a:lnTo>
                      <a:pt x="123" y="196"/>
                    </a:lnTo>
                    <a:lnTo>
                      <a:pt x="124" y="196"/>
                    </a:lnTo>
                    <a:lnTo>
                      <a:pt x="126" y="198"/>
                    </a:lnTo>
                    <a:lnTo>
                      <a:pt x="128" y="198"/>
                    </a:lnTo>
                    <a:lnTo>
                      <a:pt x="130" y="198"/>
                    </a:lnTo>
                    <a:lnTo>
                      <a:pt x="124" y="194"/>
                    </a:lnTo>
                    <a:lnTo>
                      <a:pt x="123" y="190"/>
                    </a:lnTo>
                    <a:lnTo>
                      <a:pt x="124" y="188"/>
                    </a:lnTo>
                    <a:lnTo>
                      <a:pt x="126" y="188"/>
                    </a:lnTo>
                    <a:lnTo>
                      <a:pt x="123" y="184"/>
                    </a:lnTo>
                    <a:lnTo>
                      <a:pt x="123" y="184"/>
                    </a:lnTo>
                    <a:lnTo>
                      <a:pt x="121" y="184"/>
                    </a:lnTo>
                    <a:lnTo>
                      <a:pt x="117" y="179"/>
                    </a:lnTo>
                    <a:lnTo>
                      <a:pt x="115" y="175"/>
                    </a:lnTo>
                    <a:lnTo>
                      <a:pt x="108" y="175"/>
                    </a:lnTo>
                    <a:lnTo>
                      <a:pt x="108" y="171"/>
                    </a:lnTo>
                    <a:lnTo>
                      <a:pt x="106" y="171"/>
                    </a:lnTo>
                    <a:lnTo>
                      <a:pt x="104" y="164"/>
                    </a:lnTo>
                    <a:lnTo>
                      <a:pt x="102" y="160"/>
                    </a:lnTo>
                    <a:lnTo>
                      <a:pt x="100" y="151"/>
                    </a:lnTo>
                    <a:lnTo>
                      <a:pt x="98" y="149"/>
                    </a:lnTo>
                    <a:lnTo>
                      <a:pt x="96" y="149"/>
                    </a:lnTo>
                    <a:lnTo>
                      <a:pt x="91" y="141"/>
                    </a:lnTo>
                    <a:lnTo>
                      <a:pt x="91" y="141"/>
                    </a:lnTo>
                    <a:lnTo>
                      <a:pt x="87" y="139"/>
                    </a:lnTo>
                    <a:lnTo>
                      <a:pt x="83" y="137"/>
                    </a:lnTo>
                    <a:lnTo>
                      <a:pt x="81" y="137"/>
                    </a:lnTo>
                    <a:lnTo>
                      <a:pt x="77" y="141"/>
                    </a:lnTo>
                    <a:lnTo>
                      <a:pt x="74" y="139"/>
                    </a:lnTo>
                    <a:lnTo>
                      <a:pt x="72" y="139"/>
                    </a:lnTo>
                    <a:lnTo>
                      <a:pt x="68" y="137"/>
                    </a:lnTo>
                    <a:lnTo>
                      <a:pt x="68" y="135"/>
                    </a:lnTo>
                    <a:lnTo>
                      <a:pt x="68" y="137"/>
                    </a:lnTo>
                    <a:lnTo>
                      <a:pt x="74" y="137"/>
                    </a:lnTo>
                    <a:lnTo>
                      <a:pt x="77" y="135"/>
                    </a:lnTo>
                    <a:lnTo>
                      <a:pt x="77" y="134"/>
                    </a:lnTo>
                    <a:lnTo>
                      <a:pt x="81" y="134"/>
                    </a:lnTo>
                    <a:lnTo>
                      <a:pt x="85" y="134"/>
                    </a:lnTo>
                    <a:lnTo>
                      <a:pt x="81" y="130"/>
                    </a:lnTo>
                    <a:lnTo>
                      <a:pt x="81" y="130"/>
                    </a:lnTo>
                    <a:lnTo>
                      <a:pt x="79" y="126"/>
                    </a:lnTo>
                    <a:lnTo>
                      <a:pt x="76" y="130"/>
                    </a:lnTo>
                    <a:lnTo>
                      <a:pt x="74" y="130"/>
                    </a:lnTo>
                    <a:lnTo>
                      <a:pt x="77" y="124"/>
                    </a:lnTo>
                    <a:lnTo>
                      <a:pt x="83" y="126"/>
                    </a:lnTo>
                    <a:lnTo>
                      <a:pt x="85" y="124"/>
                    </a:lnTo>
                    <a:lnTo>
                      <a:pt x="85" y="120"/>
                    </a:lnTo>
                    <a:lnTo>
                      <a:pt x="87" y="120"/>
                    </a:lnTo>
                    <a:lnTo>
                      <a:pt x="91" y="117"/>
                    </a:lnTo>
                    <a:lnTo>
                      <a:pt x="91" y="115"/>
                    </a:lnTo>
                    <a:lnTo>
                      <a:pt x="91" y="113"/>
                    </a:lnTo>
                    <a:lnTo>
                      <a:pt x="91" y="109"/>
                    </a:lnTo>
                    <a:lnTo>
                      <a:pt x="91" y="107"/>
                    </a:lnTo>
                    <a:lnTo>
                      <a:pt x="92" y="103"/>
                    </a:lnTo>
                    <a:lnTo>
                      <a:pt x="96" y="100"/>
                    </a:lnTo>
                    <a:lnTo>
                      <a:pt x="96" y="100"/>
                    </a:lnTo>
                    <a:lnTo>
                      <a:pt x="91" y="94"/>
                    </a:lnTo>
                    <a:lnTo>
                      <a:pt x="91" y="94"/>
                    </a:lnTo>
                    <a:lnTo>
                      <a:pt x="83" y="94"/>
                    </a:lnTo>
                    <a:lnTo>
                      <a:pt x="79" y="94"/>
                    </a:lnTo>
                    <a:lnTo>
                      <a:pt x="77" y="94"/>
                    </a:lnTo>
                    <a:lnTo>
                      <a:pt x="76" y="94"/>
                    </a:lnTo>
                    <a:lnTo>
                      <a:pt x="72" y="94"/>
                    </a:lnTo>
                    <a:lnTo>
                      <a:pt x="72" y="94"/>
                    </a:lnTo>
                    <a:lnTo>
                      <a:pt x="72" y="94"/>
                    </a:lnTo>
                    <a:lnTo>
                      <a:pt x="68" y="96"/>
                    </a:lnTo>
                    <a:lnTo>
                      <a:pt x="66" y="100"/>
                    </a:lnTo>
                    <a:lnTo>
                      <a:pt x="64" y="100"/>
                    </a:lnTo>
                    <a:lnTo>
                      <a:pt x="62" y="100"/>
                    </a:lnTo>
                    <a:lnTo>
                      <a:pt x="62" y="100"/>
                    </a:lnTo>
                    <a:lnTo>
                      <a:pt x="64" y="94"/>
                    </a:lnTo>
                    <a:lnTo>
                      <a:pt x="68" y="90"/>
                    </a:lnTo>
                    <a:lnTo>
                      <a:pt x="66" y="90"/>
                    </a:lnTo>
                    <a:lnTo>
                      <a:pt x="62" y="90"/>
                    </a:lnTo>
                    <a:lnTo>
                      <a:pt x="64" y="90"/>
                    </a:lnTo>
                    <a:lnTo>
                      <a:pt x="64" y="88"/>
                    </a:lnTo>
                    <a:lnTo>
                      <a:pt x="72" y="83"/>
                    </a:lnTo>
                    <a:lnTo>
                      <a:pt x="74" y="79"/>
                    </a:lnTo>
                    <a:lnTo>
                      <a:pt x="76" y="79"/>
                    </a:lnTo>
                    <a:lnTo>
                      <a:pt x="77" y="75"/>
                    </a:lnTo>
                    <a:lnTo>
                      <a:pt x="76" y="73"/>
                    </a:lnTo>
                    <a:lnTo>
                      <a:pt x="77" y="71"/>
                    </a:lnTo>
                    <a:lnTo>
                      <a:pt x="77" y="70"/>
                    </a:lnTo>
                    <a:lnTo>
                      <a:pt x="74" y="70"/>
                    </a:lnTo>
                    <a:lnTo>
                      <a:pt x="72" y="71"/>
                    </a:lnTo>
                    <a:lnTo>
                      <a:pt x="68" y="70"/>
                    </a:lnTo>
                    <a:lnTo>
                      <a:pt x="66" y="71"/>
                    </a:lnTo>
                    <a:lnTo>
                      <a:pt x="64" y="71"/>
                    </a:lnTo>
                    <a:lnTo>
                      <a:pt x="60" y="73"/>
                    </a:lnTo>
                    <a:lnTo>
                      <a:pt x="59" y="73"/>
                    </a:lnTo>
                    <a:lnTo>
                      <a:pt x="57" y="75"/>
                    </a:lnTo>
                    <a:lnTo>
                      <a:pt x="57" y="73"/>
                    </a:lnTo>
                    <a:lnTo>
                      <a:pt x="57" y="71"/>
                    </a:lnTo>
                    <a:lnTo>
                      <a:pt x="53" y="75"/>
                    </a:lnTo>
                    <a:lnTo>
                      <a:pt x="53" y="71"/>
                    </a:lnTo>
                    <a:lnTo>
                      <a:pt x="49" y="70"/>
                    </a:lnTo>
                    <a:lnTo>
                      <a:pt x="49" y="73"/>
                    </a:lnTo>
                    <a:lnTo>
                      <a:pt x="47" y="73"/>
                    </a:lnTo>
                    <a:lnTo>
                      <a:pt x="47" y="77"/>
                    </a:lnTo>
                    <a:lnTo>
                      <a:pt x="47" y="77"/>
                    </a:lnTo>
                    <a:lnTo>
                      <a:pt x="47" y="79"/>
                    </a:lnTo>
                    <a:lnTo>
                      <a:pt x="44" y="81"/>
                    </a:lnTo>
                    <a:lnTo>
                      <a:pt x="47" y="83"/>
                    </a:lnTo>
                    <a:lnTo>
                      <a:pt x="44" y="87"/>
                    </a:lnTo>
                    <a:lnTo>
                      <a:pt x="44" y="87"/>
                    </a:lnTo>
                    <a:lnTo>
                      <a:pt x="47" y="88"/>
                    </a:lnTo>
                    <a:lnTo>
                      <a:pt x="47" y="90"/>
                    </a:lnTo>
                    <a:lnTo>
                      <a:pt x="44" y="90"/>
                    </a:lnTo>
                    <a:lnTo>
                      <a:pt x="44" y="90"/>
                    </a:lnTo>
                    <a:lnTo>
                      <a:pt x="42" y="88"/>
                    </a:lnTo>
                    <a:lnTo>
                      <a:pt x="42" y="90"/>
                    </a:lnTo>
                    <a:lnTo>
                      <a:pt x="42" y="90"/>
                    </a:lnTo>
                    <a:lnTo>
                      <a:pt x="42" y="94"/>
                    </a:lnTo>
                    <a:lnTo>
                      <a:pt x="40" y="90"/>
                    </a:lnTo>
                    <a:lnTo>
                      <a:pt x="38" y="94"/>
                    </a:lnTo>
                    <a:lnTo>
                      <a:pt x="40" y="94"/>
                    </a:lnTo>
                    <a:lnTo>
                      <a:pt x="38" y="96"/>
                    </a:lnTo>
                    <a:lnTo>
                      <a:pt x="40" y="100"/>
                    </a:lnTo>
                    <a:lnTo>
                      <a:pt x="44" y="100"/>
                    </a:lnTo>
                    <a:lnTo>
                      <a:pt x="40" y="100"/>
                    </a:lnTo>
                    <a:lnTo>
                      <a:pt x="38" y="100"/>
                    </a:lnTo>
                    <a:lnTo>
                      <a:pt x="38" y="102"/>
                    </a:lnTo>
                    <a:lnTo>
                      <a:pt x="38" y="103"/>
                    </a:lnTo>
                    <a:lnTo>
                      <a:pt x="44" y="102"/>
                    </a:lnTo>
                    <a:lnTo>
                      <a:pt x="40" y="103"/>
                    </a:lnTo>
                    <a:lnTo>
                      <a:pt x="40" y="105"/>
                    </a:lnTo>
                    <a:lnTo>
                      <a:pt x="40" y="105"/>
                    </a:lnTo>
                    <a:lnTo>
                      <a:pt x="44" y="103"/>
                    </a:lnTo>
                    <a:lnTo>
                      <a:pt x="44" y="105"/>
                    </a:lnTo>
                    <a:lnTo>
                      <a:pt x="44" y="107"/>
                    </a:lnTo>
                    <a:lnTo>
                      <a:pt x="42" y="105"/>
                    </a:lnTo>
                    <a:lnTo>
                      <a:pt x="42" y="105"/>
                    </a:lnTo>
                    <a:lnTo>
                      <a:pt x="40" y="109"/>
                    </a:lnTo>
                    <a:lnTo>
                      <a:pt x="42" y="109"/>
                    </a:lnTo>
                    <a:lnTo>
                      <a:pt x="40" y="109"/>
                    </a:lnTo>
                    <a:lnTo>
                      <a:pt x="38" y="111"/>
                    </a:lnTo>
                    <a:lnTo>
                      <a:pt x="40" y="113"/>
                    </a:lnTo>
                    <a:lnTo>
                      <a:pt x="42" y="113"/>
                    </a:lnTo>
                    <a:lnTo>
                      <a:pt x="38" y="113"/>
                    </a:lnTo>
                    <a:lnTo>
                      <a:pt x="36" y="115"/>
                    </a:lnTo>
                    <a:lnTo>
                      <a:pt x="38" y="117"/>
                    </a:lnTo>
                    <a:lnTo>
                      <a:pt x="38" y="117"/>
                    </a:lnTo>
                    <a:lnTo>
                      <a:pt x="36" y="119"/>
                    </a:lnTo>
                    <a:lnTo>
                      <a:pt x="32" y="119"/>
                    </a:lnTo>
                    <a:lnTo>
                      <a:pt x="30" y="120"/>
                    </a:lnTo>
                    <a:lnTo>
                      <a:pt x="32" y="120"/>
                    </a:lnTo>
                    <a:lnTo>
                      <a:pt x="36" y="120"/>
                    </a:lnTo>
                    <a:lnTo>
                      <a:pt x="38" y="120"/>
                    </a:lnTo>
                    <a:lnTo>
                      <a:pt x="36" y="120"/>
                    </a:lnTo>
                    <a:lnTo>
                      <a:pt x="34" y="120"/>
                    </a:lnTo>
                    <a:lnTo>
                      <a:pt x="38" y="124"/>
                    </a:lnTo>
                    <a:lnTo>
                      <a:pt x="38" y="124"/>
                    </a:lnTo>
                    <a:lnTo>
                      <a:pt x="40" y="124"/>
                    </a:lnTo>
                    <a:lnTo>
                      <a:pt x="47" y="119"/>
                    </a:lnTo>
                    <a:lnTo>
                      <a:pt x="47" y="120"/>
                    </a:lnTo>
                    <a:lnTo>
                      <a:pt x="47" y="120"/>
                    </a:lnTo>
                    <a:lnTo>
                      <a:pt x="44" y="120"/>
                    </a:lnTo>
                    <a:lnTo>
                      <a:pt x="44" y="124"/>
                    </a:lnTo>
                    <a:lnTo>
                      <a:pt x="44" y="126"/>
                    </a:lnTo>
                    <a:lnTo>
                      <a:pt x="42" y="134"/>
                    </a:lnTo>
                    <a:lnTo>
                      <a:pt x="42" y="134"/>
                    </a:lnTo>
                    <a:lnTo>
                      <a:pt x="40" y="137"/>
                    </a:lnTo>
                    <a:lnTo>
                      <a:pt x="42" y="141"/>
                    </a:lnTo>
                    <a:lnTo>
                      <a:pt x="40" y="143"/>
                    </a:lnTo>
                    <a:lnTo>
                      <a:pt x="40" y="145"/>
                    </a:lnTo>
                    <a:lnTo>
                      <a:pt x="42" y="145"/>
                    </a:lnTo>
                    <a:lnTo>
                      <a:pt x="40" y="149"/>
                    </a:lnTo>
                    <a:lnTo>
                      <a:pt x="40" y="154"/>
                    </a:lnTo>
                    <a:lnTo>
                      <a:pt x="38" y="154"/>
                    </a:lnTo>
                    <a:lnTo>
                      <a:pt x="38" y="154"/>
                    </a:lnTo>
                    <a:lnTo>
                      <a:pt x="42" y="154"/>
                    </a:lnTo>
                    <a:lnTo>
                      <a:pt x="40" y="154"/>
                    </a:lnTo>
                    <a:lnTo>
                      <a:pt x="42" y="151"/>
                    </a:lnTo>
                    <a:lnTo>
                      <a:pt x="42" y="147"/>
                    </a:lnTo>
                    <a:lnTo>
                      <a:pt x="44" y="145"/>
                    </a:lnTo>
                    <a:lnTo>
                      <a:pt x="44" y="137"/>
                    </a:lnTo>
                    <a:lnTo>
                      <a:pt x="44" y="137"/>
                    </a:lnTo>
                    <a:lnTo>
                      <a:pt x="47" y="134"/>
                    </a:lnTo>
                    <a:lnTo>
                      <a:pt x="44" y="137"/>
                    </a:lnTo>
                    <a:lnTo>
                      <a:pt x="44" y="141"/>
                    </a:lnTo>
                    <a:lnTo>
                      <a:pt x="47" y="143"/>
                    </a:lnTo>
                    <a:lnTo>
                      <a:pt x="47" y="139"/>
                    </a:lnTo>
                    <a:lnTo>
                      <a:pt x="47" y="137"/>
                    </a:lnTo>
                    <a:lnTo>
                      <a:pt x="49" y="141"/>
                    </a:lnTo>
                    <a:lnTo>
                      <a:pt x="51" y="137"/>
                    </a:lnTo>
                    <a:lnTo>
                      <a:pt x="51" y="134"/>
                    </a:lnTo>
                    <a:lnTo>
                      <a:pt x="51" y="134"/>
                    </a:lnTo>
                    <a:lnTo>
                      <a:pt x="51" y="137"/>
                    </a:lnTo>
                    <a:lnTo>
                      <a:pt x="55" y="141"/>
                    </a:lnTo>
                    <a:lnTo>
                      <a:pt x="51" y="139"/>
                    </a:lnTo>
                    <a:lnTo>
                      <a:pt x="51" y="145"/>
                    </a:lnTo>
                    <a:lnTo>
                      <a:pt x="51" y="149"/>
                    </a:lnTo>
                    <a:lnTo>
                      <a:pt x="53" y="149"/>
                    </a:lnTo>
                    <a:lnTo>
                      <a:pt x="55" y="151"/>
                    </a:lnTo>
                    <a:lnTo>
                      <a:pt x="51" y="154"/>
                    </a:lnTo>
                    <a:lnTo>
                      <a:pt x="49" y="164"/>
                    </a:lnTo>
                    <a:lnTo>
                      <a:pt x="49" y="166"/>
                    </a:lnTo>
                    <a:lnTo>
                      <a:pt x="47" y="164"/>
                    </a:lnTo>
                    <a:lnTo>
                      <a:pt x="47" y="169"/>
                    </a:lnTo>
                    <a:lnTo>
                      <a:pt x="51" y="173"/>
                    </a:lnTo>
                    <a:lnTo>
                      <a:pt x="49" y="169"/>
                    </a:lnTo>
                    <a:lnTo>
                      <a:pt x="51" y="168"/>
                    </a:lnTo>
                    <a:lnTo>
                      <a:pt x="59" y="173"/>
                    </a:lnTo>
                    <a:lnTo>
                      <a:pt x="59" y="169"/>
                    </a:lnTo>
                    <a:lnTo>
                      <a:pt x="57" y="168"/>
                    </a:lnTo>
                    <a:lnTo>
                      <a:pt x="59" y="166"/>
                    </a:lnTo>
                    <a:lnTo>
                      <a:pt x="62" y="169"/>
                    </a:lnTo>
                    <a:lnTo>
                      <a:pt x="68" y="169"/>
                    </a:lnTo>
                    <a:lnTo>
                      <a:pt x="68" y="168"/>
                    </a:lnTo>
                    <a:lnTo>
                      <a:pt x="68" y="168"/>
                    </a:lnTo>
                    <a:lnTo>
                      <a:pt x="72" y="164"/>
                    </a:lnTo>
                    <a:lnTo>
                      <a:pt x="79" y="166"/>
                    </a:lnTo>
                    <a:lnTo>
                      <a:pt x="74" y="166"/>
                    </a:lnTo>
                    <a:lnTo>
                      <a:pt x="72" y="177"/>
                    </a:lnTo>
                    <a:lnTo>
                      <a:pt x="74" y="184"/>
                    </a:lnTo>
                    <a:lnTo>
                      <a:pt x="76" y="184"/>
                    </a:lnTo>
                    <a:lnTo>
                      <a:pt x="76" y="190"/>
                    </a:lnTo>
                    <a:lnTo>
                      <a:pt x="79" y="184"/>
                    </a:lnTo>
                    <a:lnTo>
                      <a:pt x="83" y="184"/>
                    </a:lnTo>
                    <a:lnTo>
                      <a:pt x="81" y="190"/>
                    </a:lnTo>
                    <a:lnTo>
                      <a:pt x="83" y="190"/>
                    </a:lnTo>
                    <a:lnTo>
                      <a:pt x="79" y="194"/>
                    </a:lnTo>
                    <a:lnTo>
                      <a:pt x="81" y="198"/>
                    </a:lnTo>
                    <a:lnTo>
                      <a:pt x="79" y="203"/>
                    </a:lnTo>
                    <a:lnTo>
                      <a:pt x="81" y="205"/>
                    </a:lnTo>
                    <a:lnTo>
                      <a:pt x="83" y="207"/>
                    </a:lnTo>
                    <a:lnTo>
                      <a:pt x="87" y="207"/>
                    </a:lnTo>
                    <a:lnTo>
                      <a:pt x="85" y="209"/>
                    </a:lnTo>
                    <a:lnTo>
                      <a:pt x="81" y="209"/>
                    </a:lnTo>
                    <a:lnTo>
                      <a:pt x="79" y="205"/>
                    </a:lnTo>
                    <a:lnTo>
                      <a:pt x="77" y="207"/>
                    </a:lnTo>
                    <a:lnTo>
                      <a:pt x="79" y="211"/>
                    </a:lnTo>
                    <a:lnTo>
                      <a:pt x="81" y="211"/>
                    </a:lnTo>
                    <a:lnTo>
                      <a:pt x="77" y="211"/>
                    </a:lnTo>
                    <a:lnTo>
                      <a:pt x="76" y="209"/>
                    </a:lnTo>
                    <a:lnTo>
                      <a:pt x="72" y="211"/>
                    </a:lnTo>
                    <a:lnTo>
                      <a:pt x="68" y="209"/>
                    </a:lnTo>
                    <a:lnTo>
                      <a:pt x="62" y="213"/>
                    </a:lnTo>
                    <a:lnTo>
                      <a:pt x="59" y="218"/>
                    </a:lnTo>
                    <a:lnTo>
                      <a:pt x="55" y="220"/>
                    </a:lnTo>
                    <a:lnTo>
                      <a:pt x="51" y="224"/>
                    </a:lnTo>
                    <a:lnTo>
                      <a:pt x="55" y="220"/>
                    </a:lnTo>
                    <a:lnTo>
                      <a:pt x="57" y="224"/>
                    </a:lnTo>
                    <a:lnTo>
                      <a:pt x="57" y="220"/>
                    </a:lnTo>
                    <a:lnTo>
                      <a:pt x="64" y="220"/>
                    </a:lnTo>
                    <a:lnTo>
                      <a:pt x="62" y="224"/>
                    </a:lnTo>
                    <a:lnTo>
                      <a:pt x="66" y="224"/>
                    </a:lnTo>
                    <a:lnTo>
                      <a:pt x="62" y="228"/>
                    </a:lnTo>
                    <a:lnTo>
                      <a:pt x="64" y="228"/>
                    </a:lnTo>
                    <a:lnTo>
                      <a:pt x="66" y="230"/>
                    </a:lnTo>
                    <a:lnTo>
                      <a:pt x="60" y="237"/>
                    </a:lnTo>
                    <a:lnTo>
                      <a:pt x="59" y="237"/>
                    </a:lnTo>
                    <a:lnTo>
                      <a:pt x="55" y="241"/>
                    </a:lnTo>
                    <a:lnTo>
                      <a:pt x="53" y="241"/>
                    </a:lnTo>
                    <a:lnTo>
                      <a:pt x="49" y="243"/>
                    </a:lnTo>
                    <a:lnTo>
                      <a:pt x="47" y="243"/>
                    </a:lnTo>
                    <a:lnTo>
                      <a:pt x="44" y="245"/>
                    </a:lnTo>
                    <a:lnTo>
                      <a:pt x="47" y="245"/>
                    </a:lnTo>
                    <a:lnTo>
                      <a:pt x="47" y="249"/>
                    </a:lnTo>
                    <a:lnTo>
                      <a:pt x="44" y="250"/>
                    </a:lnTo>
                    <a:lnTo>
                      <a:pt x="47" y="252"/>
                    </a:lnTo>
                    <a:lnTo>
                      <a:pt x="47" y="252"/>
                    </a:lnTo>
                    <a:lnTo>
                      <a:pt x="49" y="254"/>
                    </a:lnTo>
                    <a:lnTo>
                      <a:pt x="51" y="252"/>
                    </a:lnTo>
                    <a:lnTo>
                      <a:pt x="55" y="250"/>
                    </a:lnTo>
                    <a:lnTo>
                      <a:pt x="60" y="249"/>
                    </a:lnTo>
                    <a:lnTo>
                      <a:pt x="60" y="252"/>
                    </a:lnTo>
                    <a:lnTo>
                      <a:pt x="64" y="252"/>
                    </a:lnTo>
                    <a:lnTo>
                      <a:pt x="60" y="254"/>
                    </a:lnTo>
                    <a:lnTo>
                      <a:pt x="60" y="254"/>
                    </a:lnTo>
                    <a:lnTo>
                      <a:pt x="66" y="254"/>
                    </a:lnTo>
                    <a:lnTo>
                      <a:pt x="66" y="254"/>
                    </a:lnTo>
                    <a:lnTo>
                      <a:pt x="68" y="254"/>
                    </a:lnTo>
                    <a:lnTo>
                      <a:pt x="72" y="254"/>
                    </a:lnTo>
                    <a:lnTo>
                      <a:pt x="72" y="258"/>
                    </a:lnTo>
                    <a:lnTo>
                      <a:pt x="79" y="258"/>
                    </a:lnTo>
                    <a:lnTo>
                      <a:pt x="79" y="258"/>
                    </a:lnTo>
                    <a:lnTo>
                      <a:pt x="83" y="254"/>
                    </a:lnTo>
                    <a:lnTo>
                      <a:pt x="87" y="254"/>
                    </a:lnTo>
                    <a:lnTo>
                      <a:pt x="87" y="252"/>
                    </a:lnTo>
                    <a:lnTo>
                      <a:pt x="91" y="250"/>
                    </a:lnTo>
                    <a:lnTo>
                      <a:pt x="87" y="254"/>
                    </a:lnTo>
                    <a:lnTo>
                      <a:pt x="83" y="258"/>
                    </a:lnTo>
                    <a:lnTo>
                      <a:pt x="83" y="264"/>
                    </a:lnTo>
                    <a:lnTo>
                      <a:pt x="79" y="264"/>
                    </a:lnTo>
                    <a:lnTo>
                      <a:pt x="77" y="265"/>
                    </a:lnTo>
                    <a:lnTo>
                      <a:pt x="74" y="264"/>
                    </a:lnTo>
                    <a:lnTo>
                      <a:pt x="68" y="264"/>
                    </a:lnTo>
                    <a:lnTo>
                      <a:pt x="62" y="264"/>
                    </a:lnTo>
                    <a:lnTo>
                      <a:pt x="62" y="267"/>
                    </a:lnTo>
                    <a:lnTo>
                      <a:pt x="59" y="269"/>
                    </a:lnTo>
                    <a:lnTo>
                      <a:pt x="57" y="269"/>
                    </a:lnTo>
                    <a:lnTo>
                      <a:pt x="55" y="277"/>
                    </a:lnTo>
                    <a:lnTo>
                      <a:pt x="53" y="279"/>
                    </a:lnTo>
                    <a:lnTo>
                      <a:pt x="51" y="281"/>
                    </a:lnTo>
                    <a:lnTo>
                      <a:pt x="47" y="282"/>
                    </a:lnTo>
                    <a:lnTo>
                      <a:pt x="47" y="284"/>
                    </a:lnTo>
                    <a:lnTo>
                      <a:pt x="47" y="284"/>
                    </a:lnTo>
                    <a:lnTo>
                      <a:pt x="44" y="288"/>
                    </a:lnTo>
                    <a:lnTo>
                      <a:pt x="42" y="288"/>
                    </a:lnTo>
                    <a:lnTo>
                      <a:pt x="40" y="288"/>
                    </a:lnTo>
                    <a:lnTo>
                      <a:pt x="36" y="290"/>
                    </a:lnTo>
                    <a:lnTo>
                      <a:pt x="36" y="294"/>
                    </a:lnTo>
                    <a:lnTo>
                      <a:pt x="40" y="294"/>
                    </a:lnTo>
                    <a:lnTo>
                      <a:pt x="40" y="294"/>
                    </a:lnTo>
                    <a:lnTo>
                      <a:pt x="44" y="294"/>
                    </a:lnTo>
                    <a:lnTo>
                      <a:pt x="44" y="297"/>
                    </a:lnTo>
                    <a:lnTo>
                      <a:pt x="44" y="297"/>
                    </a:lnTo>
                    <a:lnTo>
                      <a:pt x="44" y="297"/>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2" name="Freeform 24"/>
              <p:cNvSpPr>
                <a:spLocks noEditPoints="1"/>
              </p:cNvSpPr>
              <p:nvPr/>
            </p:nvSpPr>
            <p:spPr bwMode="auto">
              <a:xfrm>
                <a:off x="2700" y="2061"/>
                <a:ext cx="243" cy="223"/>
              </a:xfrm>
              <a:custGeom>
                <a:avLst/>
                <a:gdLst/>
                <a:ahLst/>
                <a:cxnLst>
                  <a:cxn ang="0">
                    <a:pos x="190" y="110"/>
                  </a:cxn>
                  <a:cxn ang="0">
                    <a:pos x="175" y="115"/>
                  </a:cxn>
                  <a:cxn ang="0">
                    <a:pos x="181" y="104"/>
                  </a:cxn>
                  <a:cxn ang="0">
                    <a:pos x="194" y="85"/>
                  </a:cxn>
                  <a:cxn ang="0">
                    <a:pos x="203" y="83"/>
                  </a:cxn>
                  <a:cxn ang="0">
                    <a:pos x="203" y="63"/>
                  </a:cxn>
                  <a:cxn ang="0">
                    <a:pos x="209" y="46"/>
                  </a:cxn>
                  <a:cxn ang="0">
                    <a:pos x="194" y="44"/>
                  </a:cxn>
                  <a:cxn ang="0">
                    <a:pos x="181" y="38"/>
                  </a:cxn>
                  <a:cxn ang="0">
                    <a:pos x="164" y="34"/>
                  </a:cxn>
                  <a:cxn ang="0">
                    <a:pos x="151" y="25"/>
                  </a:cxn>
                  <a:cxn ang="0">
                    <a:pos x="139" y="17"/>
                  </a:cxn>
                  <a:cxn ang="0">
                    <a:pos x="128" y="2"/>
                  </a:cxn>
                  <a:cxn ang="0">
                    <a:pos x="109" y="6"/>
                  </a:cxn>
                  <a:cxn ang="0">
                    <a:pos x="103" y="27"/>
                  </a:cxn>
                  <a:cxn ang="0">
                    <a:pos x="83" y="34"/>
                  </a:cxn>
                  <a:cxn ang="0">
                    <a:pos x="70" y="42"/>
                  </a:cxn>
                  <a:cxn ang="0">
                    <a:pos x="60" y="34"/>
                  </a:cxn>
                  <a:cxn ang="0">
                    <a:pos x="51" y="38"/>
                  </a:cxn>
                  <a:cxn ang="0">
                    <a:pos x="55" y="51"/>
                  </a:cxn>
                  <a:cxn ang="0">
                    <a:pos x="45" y="57"/>
                  </a:cxn>
                  <a:cxn ang="0">
                    <a:pos x="26" y="51"/>
                  </a:cxn>
                  <a:cxn ang="0">
                    <a:pos x="15" y="57"/>
                  </a:cxn>
                  <a:cxn ang="0">
                    <a:pos x="2" y="63"/>
                  </a:cxn>
                  <a:cxn ang="0">
                    <a:pos x="2" y="66"/>
                  </a:cxn>
                  <a:cxn ang="0">
                    <a:pos x="6" y="70"/>
                  </a:cxn>
                  <a:cxn ang="0">
                    <a:pos x="9" y="78"/>
                  </a:cxn>
                  <a:cxn ang="0">
                    <a:pos x="24" y="81"/>
                  </a:cxn>
                  <a:cxn ang="0">
                    <a:pos x="34" y="83"/>
                  </a:cxn>
                  <a:cxn ang="0">
                    <a:pos x="39" y="91"/>
                  </a:cxn>
                  <a:cxn ang="0">
                    <a:pos x="49" y="91"/>
                  </a:cxn>
                  <a:cxn ang="0">
                    <a:pos x="45" y="100"/>
                  </a:cxn>
                  <a:cxn ang="0">
                    <a:pos x="60" y="112"/>
                  </a:cxn>
                  <a:cxn ang="0">
                    <a:pos x="60" y="125"/>
                  </a:cxn>
                  <a:cxn ang="0">
                    <a:pos x="66" y="132"/>
                  </a:cxn>
                  <a:cxn ang="0">
                    <a:pos x="64" y="149"/>
                  </a:cxn>
                  <a:cxn ang="0">
                    <a:pos x="56" y="178"/>
                  </a:cxn>
                  <a:cxn ang="0">
                    <a:pos x="64" y="187"/>
                  </a:cxn>
                  <a:cxn ang="0">
                    <a:pos x="88" y="194"/>
                  </a:cxn>
                  <a:cxn ang="0">
                    <a:pos x="109" y="194"/>
                  </a:cxn>
                  <a:cxn ang="0">
                    <a:pos x="134" y="198"/>
                  </a:cxn>
                  <a:cxn ang="0">
                    <a:pos x="143" y="174"/>
                  </a:cxn>
                  <a:cxn ang="0">
                    <a:pos x="160" y="178"/>
                  </a:cxn>
                  <a:cxn ang="0">
                    <a:pos x="188" y="185"/>
                  </a:cxn>
                  <a:cxn ang="0">
                    <a:pos x="205" y="170"/>
                  </a:cxn>
                  <a:cxn ang="0">
                    <a:pos x="194" y="145"/>
                  </a:cxn>
                  <a:cxn ang="0">
                    <a:pos x="194" y="127"/>
                  </a:cxn>
                  <a:cxn ang="0">
                    <a:pos x="198" y="121"/>
                  </a:cxn>
                  <a:cxn ang="0">
                    <a:pos x="230" y="217"/>
                  </a:cxn>
                  <a:cxn ang="0">
                    <a:pos x="228" y="211"/>
                  </a:cxn>
                  <a:cxn ang="0">
                    <a:pos x="224" y="202"/>
                  </a:cxn>
                  <a:cxn ang="0">
                    <a:pos x="233" y="194"/>
                  </a:cxn>
                  <a:cxn ang="0">
                    <a:pos x="237" y="187"/>
                  </a:cxn>
                  <a:cxn ang="0">
                    <a:pos x="243" y="202"/>
                  </a:cxn>
                  <a:cxn ang="0">
                    <a:pos x="235" y="223"/>
                  </a:cxn>
                </a:cxnLst>
                <a:rect l="0" t="0" r="r" b="b"/>
                <a:pathLst>
                  <a:path w="243" h="223">
                    <a:moveTo>
                      <a:pt x="198" y="121"/>
                    </a:moveTo>
                    <a:lnTo>
                      <a:pt x="198" y="117"/>
                    </a:lnTo>
                    <a:lnTo>
                      <a:pt x="194" y="115"/>
                    </a:lnTo>
                    <a:lnTo>
                      <a:pt x="194" y="112"/>
                    </a:lnTo>
                    <a:lnTo>
                      <a:pt x="190" y="110"/>
                    </a:lnTo>
                    <a:lnTo>
                      <a:pt x="184" y="108"/>
                    </a:lnTo>
                    <a:lnTo>
                      <a:pt x="183" y="112"/>
                    </a:lnTo>
                    <a:lnTo>
                      <a:pt x="184" y="115"/>
                    </a:lnTo>
                    <a:lnTo>
                      <a:pt x="179" y="115"/>
                    </a:lnTo>
                    <a:lnTo>
                      <a:pt x="175" y="115"/>
                    </a:lnTo>
                    <a:lnTo>
                      <a:pt x="175" y="112"/>
                    </a:lnTo>
                    <a:lnTo>
                      <a:pt x="177" y="112"/>
                    </a:lnTo>
                    <a:lnTo>
                      <a:pt x="179" y="112"/>
                    </a:lnTo>
                    <a:lnTo>
                      <a:pt x="179" y="110"/>
                    </a:lnTo>
                    <a:lnTo>
                      <a:pt x="181" y="104"/>
                    </a:lnTo>
                    <a:lnTo>
                      <a:pt x="186" y="97"/>
                    </a:lnTo>
                    <a:lnTo>
                      <a:pt x="188" y="97"/>
                    </a:lnTo>
                    <a:lnTo>
                      <a:pt x="190" y="91"/>
                    </a:lnTo>
                    <a:lnTo>
                      <a:pt x="194" y="87"/>
                    </a:lnTo>
                    <a:lnTo>
                      <a:pt x="194" y="85"/>
                    </a:lnTo>
                    <a:lnTo>
                      <a:pt x="190" y="83"/>
                    </a:lnTo>
                    <a:lnTo>
                      <a:pt x="194" y="81"/>
                    </a:lnTo>
                    <a:lnTo>
                      <a:pt x="198" y="80"/>
                    </a:lnTo>
                    <a:lnTo>
                      <a:pt x="199" y="83"/>
                    </a:lnTo>
                    <a:lnTo>
                      <a:pt x="203" y="83"/>
                    </a:lnTo>
                    <a:lnTo>
                      <a:pt x="207" y="81"/>
                    </a:lnTo>
                    <a:lnTo>
                      <a:pt x="205" y="78"/>
                    </a:lnTo>
                    <a:lnTo>
                      <a:pt x="203" y="76"/>
                    </a:lnTo>
                    <a:lnTo>
                      <a:pt x="203" y="70"/>
                    </a:lnTo>
                    <a:lnTo>
                      <a:pt x="203" y="63"/>
                    </a:lnTo>
                    <a:lnTo>
                      <a:pt x="207" y="63"/>
                    </a:lnTo>
                    <a:lnTo>
                      <a:pt x="207" y="59"/>
                    </a:lnTo>
                    <a:lnTo>
                      <a:pt x="209" y="53"/>
                    </a:lnTo>
                    <a:lnTo>
                      <a:pt x="213" y="49"/>
                    </a:lnTo>
                    <a:lnTo>
                      <a:pt x="209" y="46"/>
                    </a:lnTo>
                    <a:lnTo>
                      <a:pt x="205" y="46"/>
                    </a:lnTo>
                    <a:lnTo>
                      <a:pt x="203" y="44"/>
                    </a:lnTo>
                    <a:lnTo>
                      <a:pt x="199" y="46"/>
                    </a:lnTo>
                    <a:lnTo>
                      <a:pt x="194" y="44"/>
                    </a:lnTo>
                    <a:lnTo>
                      <a:pt x="194" y="44"/>
                    </a:lnTo>
                    <a:lnTo>
                      <a:pt x="190" y="46"/>
                    </a:lnTo>
                    <a:lnTo>
                      <a:pt x="186" y="42"/>
                    </a:lnTo>
                    <a:lnTo>
                      <a:pt x="186" y="42"/>
                    </a:lnTo>
                    <a:lnTo>
                      <a:pt x="183" y="38"/>
                    </a:lnTo>
                    <a:lnTo>
                      <a:pt x="181" y="38"/>
                    </a:lnTo>
                    <a:lnTo>
                      <a:pt x="175" y="38"/>
                    </a:lnTo>
                    <a:lnTo>
                      <a:pt x="173" y="34"/>
                    </a:lnTo>
                    <a:lnTo>
                      <a:pt x="169" y="34"/>
                    </a:lnTo>
                    <a:lnTo>
                      <a:pt x="169" y="36"/>
                    </a:lnTo>
                    <a:lnTo>
                      <a:pt x="164" y="34"/>
                    </a:lnTo>
                    <a:lnTo>
                      <a:pt x="160" y="34"/>
                    </a:lnTo>
                    <a:lnTo>
                      <a:pt x="158" y="29"/>
                    </a:lnTo>
                    <a:lnTo>
                      <a:pt x="154" y="27"/>
                    </a:lnTo>
                    <a:lnTo>
                      <a:pt x="154" y="25"/>
                    </a:lnTo>
                    <a:lnTo>
                      <a:pt x="151" y="25"/>
                    </a:lnTo>
                    <a:lnTo>
                      <a:pt x="149" y="27"/>
                    </a:lnTo>
                    <a:lnTo>
                      <a:pt x="145" y="25"/>
                    </a:lnTo>
                    <a:lnTo>
                      <a:pt x="145" y="19"/>
                    </a:lnTo>
                    <a:lnTo>
                      <a:pt x="141" y="17"/>
                    </a:lnTo>
                    <a:lnTo>
                      <a:pt x="139" y="17"/>
                    </a:lnTo>
                    <a:lnTo>
                      <a:pt x="137" y="17"/>
                    </a:lnTo>
                    <a:lnTo>
                      <a:pt x="134" y="14"/>
                    </a:lnTo>
                    <a:lnTo>
                      <a:pt x="130" y="10"/>
                    </a:lnTo>
                    <a:lnTo>
                      <a:pt x="128" y="8"/>
                    </a:lnTo>
                    <a:lnTo>
                      <a:pt x="128" y="2"/>
                    </a:lnTo>
                    <a:lnTo>
                      <a:pt x="124" y="0"/>
                    </a:lnTo>
                    <a:lnTo>
                      <a:pt x="124" y="0"/>
                    </a:lnTo>
                    <a:lnTo>
                      <a:pt x="117" y="4"/>
                    </a:lnTo>
                    <a:lnTo>
                      <a:pt x="115" y="2"/>
                    </a:lnTo>
                    <a:lnTo>
                      <a:pt x="109" y="6"/>
                    </a:lnTo>
                    <a:lnTo>
                      <a:pt x="109" y="10"/>
                    </a:lnTo>
                    <a:lnTo>
                      <a:pt x="109" y="14"/>
                    </a:lnTo>
                    <a:lnTo>
                      <a:pt x="109" y="19"/>
                    </a:lnTo>
                    <a:lnTo>
                      <a:pt x="103" y="25"/>
                    </a:lnTo>
                    <a:lnTo>
                      <a:pt x="103" y="27"/>
                    </a:lnTo>
                    <a:lnTo>
                      <a:pt x="96" y="29"/>
                    </a:lnTo>
                    <a:lnTo>
                      <a:pt x="96" y="29"/>
                    </a:lnTo>
                    <a:lnTo>
                      <a:pt x="90" y="29"/>
                    </a:lnTo>
                    <a:lnTo>
                      <a:pt x="85" y="32"/>
                    </a:lnTo>
                    <a:lnTo>
                      <a:pt x="83" y="34"/>
                    </a:lnTo>
                    <a:lnTo>
                      <a:pt x="83" y="38"/>
                    </a:lnTo>
                    <a:lnTo>
                      <a:pt x="87" y="38"/>
                    </a:lnTo>
                    <a:lnTo>
                      <a:pt x="83" y="42"/>
                    </a:lnTo>
                    <a:lnTo>
                      <a:pt x="77" y="42"/>
                    </a:lnTo>
                    <a:lnTo>
                      <a:pt x="70" y="42"/>
                    </a:lnTo>
                    <a:lnTo>
                      <a:pt x="66" y="38"/>
                    </a:lnTo>
                    <a:lnTo>
                      <a:pt x="64" y="42"/>
                    </a:lnTo>
                    <a:lnTo>
                      <a:pt x="64" y="38"/>
                    </a:lnTo>
                    <a:lnTo>
                      <a:pt x="60" y="38"/>
                    </a:lnTo>
                    <a:lnTo>
                      <a:pt x="60" y="34"/>
                    </a:lnTo>
                    <a:lnTo>
                      <a:pt x="58" y="32"/>
                    </a:lnTo>
                    <a:lnTo>
                      <a:pt x="56" y="34"/>
                    </a:lnTo>
                    <a:lnTo>
                      <a:pt x="51" y="34"/>
                    </a:lnTo>
                    <a:lnTo>
                      <a:pt x="49" y="32"/>
                    </a:lnTo>
                    <a:lnTo>
                      <a:pt x="51" y="38"/>
                    </a:lnTo>
                    <a:lnTo>
                      <a:pt x="49" y="38"/>
                    </a:lnTo>
                    <a:lnTo>
                      <a:pt x="56" y="44"/>
                    </a:lnTo>
                    <a:lnTo>
                      <a:pt x="55" y="46"/>
                    </a:lnTo>
                    <a:lnTo>
                      <a:pt x="56" y="49"/>
                    </a:lnTo>
                    <a:lnTo>
                      <a:pt x="55" y="51"/>
                    </a:lnTo>
                    <a:lnTo>
                      <a:pt x="56" y="55"/>
                    </a:lnTo>
                    <a:lnTo>
                      <a:pt x="58" y="57"/>
                    </a:lnTo>
                    <a:lnTo>
                      <a:pt x="51" y="57"/>
                    </a:lnTo>
                    <a:lnTo>
                      <a:pt x="47" y="57"/>
                    </a:lnTo>
                    <a:lnTo>
                      <a:pt x="45" y="57"/>
                    </a:lnTo>
                    <a:lnTo>
                      <a:pt x="41" y="59"/>
                    </a:lnTo>
                    <a:lnTo>
                      <a:pt x="39" y="57"/>
                    </a:lnTo>
                    <a:lnTo>
                      <a:pt x="36" y="61"/>
                    </a:lnTo>
                    <a:lnTo>
                      <a:pt x="30" y="53"/>
                    </a:lnTo>
                    <a:lnTo>
                      <a:pt x="26" y="51"/>
                    </a:lnTo>
                    <a:lnTo>
                      <a:pt x="24" y="53"/>
                    </a:lnTo>
                    <a:lnTo>
                      <a:pt x="21" y="57"/>
                    </a:lnTo>
                    <a:lnTo>
                      <a:pt x="19" y="55"/>
                    </a:lnTo>
                    <a:lnTo>
                      <a:pt x="17" y="57"/>
                    </a:lnTo>
                    <a:lnTo>
                      <a:pt x="15" y="57"/>
                    </a:lnTo>
                    <a:lnTo>
                      <a:pt x="11" y="57"/>
                    </a:lnTo>
                    <a:lnTo>
                      <a:pt x="9" y="59"/>
                    </a:lnTo>
                    <a:lnTo>
                      <a:pt x="2" y="59"/>
                    </a:lnTo>
                    <a:lnTo>
                      <a:pt x="0" y="63"/>
                    </a:lnTo>
                    <a:lnTo>
                      <a:pt x="2" y="63"/>
                    </a:lnTo>
                    <a:lnTo>
                      <a:pt x="4" y="63"/>
                    </a:lnTo>
                    <a:lnTo>
                      <a:pt x="9" y="63"/>
                    </a:lnTo>
                    <a:lnTo>
                      <a:pt x="9" y="66"/>
                    </a:lnTo>
                    <a:lnTo>
                      <a:pt x="6" y="66"/>
                    </a:lnTo>
                    <a:lnTo>
                      <a:pt x="2" y="66"/>
                    </a:lnTo>
                    <a:lnTo>
                      <a:pt x="4" y="68"/>
                    </a:lnTo>
                    <a:lnTo>
                      <a:pt x="6" y="66"/>
                    </a:lnTo>
                    <a:lnTo>
                      <a:pt x="9" y="66"/>
                    </a:lnTo>
                    <a:lnTo>
                      <a:pt x="9" y="68"/>
                    </a:lnTo>
                    <a:lnTo>
                      <a:pt x="6" y="70"/>
                    </a:lnTo>
                    <a:lnTo>
                      <a:pt x="2" y="70"/>
                    </a:lnTo>
                    <a:lnTo>
                      <a:pt x="2" y="72"/>
                    </a:lnTo>
                    <a:lnTo>
                      <a:pt x="6" y="72"/>
                    </a:lnTo>
                    <a:lnTo>
                      <a:pt x="9" y="76"/>
                    </a:lnTo>
                    <a:lnTo>
                      <a:pt x="9" y="78"/>
                    </a:lnTo>
                    <a:lnTo>
                      <a:pt x="11" y="76"/>
                    </a:lnTo>
                    <a:lnTo>
                      <a:pt x="13" y="76"/>
                    </a:lnTo>
                    <a:lnTo>
                      <a:pt x="17" y="76"/>
                    </a:lnTo>
                    <a:lnTo>
                      <a:pt x="23" y="78"/>
                    </a:lnTo>
                    <a:lnTo>
                      <a:pt x="24" y="81"/>
                    </a:lnTo>
                    <a:lnTo>
                      <a:pt x="26" y="81"/>
                    </a:lnTo>
                    <a:lnTo>
                      <a:pt x="30" y="83"/>
                    </a:lnTo>
                    <a:lnTo>
                      <a:pt x="34" y="81"/>
                    </a:lnTo>
                    <a:lnTo>
                      <a:pt x="34" y="81"/>
                    </a:lnTo>
                    <a:lnTo>
                      <a:pt x="34" y="83"/>
                    </a:lnTo>
                    <a:lnTo>
                      <a:pt x="34" y="85"/>
                    </a:lnTo>
                    <a:lnTo>
                      <a:pt x="39" y="83"/>
                    </a:lnTo>
                    <a:lnTo>
                      <a:pt x="39" y="85"/>
                    </a:lnTo>
                    <a:lnTo>
                      <a:pt x="39" y="87"/>
                    </a:lnTo>
                    <a:lnTo>
                      <a:pt x="39" y="91"/>
                    </a:lnTo>
                    <a:lnTo>
                      <a:pt x="41" y="91"/>
                    </a:lnTo>
                    <a:lnTo>
                      <a:pt x="45" y="87"/>
                    </a:lnTo>
                    <a:lnTo>
                      <a:pt x="51" y="87"/>
                    </a:lnTo>
                    <a:lnTo>
                      <a:pt x="53" y="91"/>
                    </a:lnTo>
                    <a:lnTo>
                      <a:pt x="49" y="91"/>
                    </a:lnTo>
                    <a:lnTo>
                      <a:pt x="45" y="91"/>
                    </a:lnTo>
                    <a:lnTo>
                      <a:pt x="43" y="93"/>
                    </a:lnTo>
                    <a:lnTo>
                      <a:pt x="45" y="93"/>
                    </a:lnTo>
                    <a:lnTo>
                      <a:pt x="47" y="97"/>
                    </a:lnTo>
                    <a:lnTo>
                      <a:pt x="45" y="100"/>
                    </a:lnTo>
                    <a:lnTo>
                      <a:pt x="45" y="104"/>
                    </a:lnTo>
                    <a:lnTo>
                      <a:pt x="49" y="104"/>
                    </a:lnTo>
                    <a:lnTo>
                      <a:pt x="53" y="110"/>
                    </a:lnTo>
                    <a:lnTo>
                      <a:pt x="58" y="110"/>
                    </a:lnTo>
                    <a:lnTo>
                      <a:pt x="60" y="112"/>
                    </a:lnTo>
                    <a:lnTo>
                      <a:pt x="60" y="115"/>
                    </a:lnTo>
                    <a:lnTo>
                      <a:pt x="64" y="117"/>
                    </a:lnTo>
                    <a:lnTo>
                      <a:pt x="60" y="121"/>
                    </a:lnTo>
                    <a:lnTo>
                      <a:pt x="60" y="121"/>
                    </a:lnTo>
                    <a:lnTo>
                      <a:pt x="60" y="125"/>
                    </a:lnTo>
                    <a:lnTo>
                      <a:pt x="64" y="127"/>
                    </a:lnTo>
                    <a:lnTo>
                      <a:pt x="70" y="130"/>
                    </a:lnTo>
                    <a:lnTo>
                      <a:pt x="73" y="142"/>
                    </a:lnTo>
                    <a:lnTo>
                      <a:pt x="70" y="136"/>
                    </a:lnTo>
                    <a:lnTo>
                      <a:pt x="66" y="132"/>
                    </a:lnTo>
                    <a:lnTo>
                      <a:pt x="64" y="130"/>
                    </a:lnTo>
                    <a:lnTo>
                      <a:pt x="60" y="132"/>
                    </a:lnTo>
                    <a:lnTo>
                      <a:pt x="60" y="142"/>
                    </a:lnTo>
                    <a:lnTo>
                      <a:pt x="60" y="149"/>
                    </a:lnTo>
                    <a:lnTo>
                      <a:pt x="64" y="149"/>
                    </a:lnTo>
                    <a:lnTo>
                      <a:pt x="60" y="151"/>
                    </a:lnTo>
                    <a:lnTo>
                      <a:pt x="60" y="164"/>
                    </a:lnTo>
                    <a:lnTo>
                      <a:pt x="56" y="174"/>
                    </a:lnTo>
                    <a:lnTo>
                      <a:pt x="53" y="176"/>
                    </a:lnTo>
                    <a:lnTo>
                      <a:pt x="56" y="178"/>
                    </a:lnTo>
                    <a:lnTo>
                      <a:pt x="56" y="179"/>
                    </a:lnTo>
                    <a:lnTo>
                      <a:pt x="58" y="179"/>
                    </a:lnTo>
                    <a:lnTo>
                      <a:pt x="58" y="183"/>
                    </a:lnTo>
                    <a:lnTo>
                      <a:pt x="58" y="187"/>
                    </a:lnTo>
                    <a:lnTo>
                      <a:pt x="64" y="187"/>
                    </a:lnTo>
                    <a:lnTo>
                      <a:pt x="70" y="189"/>
                    </a:lnTo>
                    <a:lnTo>
                      <a:pt x="73" y="193"/>
                    </a:lnTo>
                    <a:lnTo>
                      <a:pt x="79" y="191"/>
                    </a:lnTo>
                    <a:lnTo>
                      <a:pt x="83" y="194"/>
                    </a:lnTo>
                    <a:lnTo>
                      <a:pt x="88" y="194"/>
                    </a:lnTo>
                    <a:lnTo>
                      <a:pt x="90" y="198"/>
                    </a:lnTo>
                    <a:lnTo>
                      <a:pt x="94" y="194"/>
                    </a:lnTo>
                    <a:lnTo>
                      <a:pt x="103" y="193"/>
                    </a:lnTo>
                    <a:lnTo>
                      <a:pt x="105" y="194"/>
                    </a:lnTo>
                    <a:lnTo>
                      <a:pt x="109" y="194"/>
                    </a:lnTo>
                    <a:lnTo>
                      <a:pt x="115" y="198"/>
                    </a:lnTo>
                    <a:lnTo>
                      <a:pt x="124" y="194"/>
                    </a:lnTo>
                    <a:lnTo>
                      <a:pt x="130" y="198"/>
                    </a:lnTo>
                    <a:lnTo>
                      <a:pt x="134" y="200"/>
                    </a:lnTo>
                    <a:lnTo>
                      <a:pt x="134" y="198"/>
                    </a:lnTo>
                    <a:lnTo>
                      <a:pt x="130" y="194"/>
                    </a:lnTo>
                    <a:lnTo>
                      <a:pt x="134" y="187"/>
                    </a:lnTo>
                    <a:lnTo>
                      <a:pt x="134" y="185"/>
                    </a:lnTo>
                    <a:lnTo>
                      <a:pt x="137" y="179"/>
                    </a:lnTo>
                    <a:lnTo>
                      <a:pt x="143" y="174"/>
                    </a:lnTo>
                    <a:lnTo>
                      <a:pt x="145" y="174"/>
                    </a:lnTo>
                    <a:lnTo>
                      <a:pt x="149" y="174"/>
                    </a:lnTo>
                    <a:lnTo>
                      <a:pt x="152" y="176"/>
                    </a:lnTo>
                    <a:lnTo>
                      <a:pt x="158" y="178"/>
                    </a:lnTo>
                    <a:lnTo>
                      <a:pt x="160" y="178"/>
                    </a:lnTo>
                    <a:lnTo>
                      <a:pt x="164" y="176"/>
                    </a:lnTo>
                    <a:lnTo>
                      <a:pt x="164" y="176"/>
                    </a:lnTo>
                    <a:lnTo>
                      <a:pt x="177" y="183"/>
                    </a:lnTo>
                    <a:lnTo>
                      <a:pt x="179" y="185"/>
                    </a:lnTo>
                    <a:lnTo>
                      <a:pt x="188" y="185"/>
                    </a:lnTo>
                    <a:lnTo>
                      <a:pt x="190" y="183"/>
                    </a:lnTo>
                    <a:lnTo>
                      <a:pt x="190" y="181"/>
                    </a:lnTo>
                    <a:lnTo>
                      <a:pt x="194" y="176"/>
                    </a:lnTo>
                    <a:lnTo>
                      <a:pt x="205" y="170"/>
                    </a:lnTo>
                    <a:lnTo>
                      <a:pt x="205" y="170"/>
                    </a:lnTo>
                    <a:lnTo>
                      <a:pt x="205" y="164"/>
                    </a:lnTo>
                    <a:lnTo>
                      <a:pt x="207" y="159"/>
                    </a:lnTo>
                    <a:lnTo>
                      <a:pt x="203" y="159"/>
                    </a:lnTo>
                    <a:lnTo>
                      <a:pt x="198" y="155"/>
                    </a:lnTo>
                    <a:lnTo>
                      <a:pt x="194" y="145"/>
                    </a:lnTo>
                    <a:lnTo>
                      <a:pt x="190" y="142"/>
                    </a:lnTo>
                    <a:lnTo>
                      <a:pt x="194" y="136"/>
                    </a:lnTo>
                    <a:lnTo>
                      <a:pt x="198" y="136"/>
                    </a:lnTo>
                    <a:lnTo>
                      <a:pt x="199" y="130"/>
                    </a:lnTo>
                    <a:lnTo>
                      <a:pt x="194" y="127"/>
                    </a:lnTo>
                    <a:lnTo>
                      <a:pt x="194" y="125"/>
                    </a:lnTo>
                    <a:lnTo>
                      <a:pt x="198" y="121"/>
                    </a:lnTo>
                    <a:lnTo>
                      <a:pt x="198" y="121"/>
                    </a:lnTo>
                    <a:lnTo>
                      <a:pt x="198" y="121"/>
                    </a:lnTo>
                    <a:lnTo>
                      <a:pt x="198" y="121"/>
                    </a:lnTo>
                    <a:lnTo>
                      <a:pt x="198" y="121"/>
                    </a:lnTo>
                    <a:close/>
                    <a:moveTo>
                      <a:pt x="235" y="223"/>
                    </a:moveTo>
                    <a:lnTo>
                      <a:pt x="230" y="219"/>
                    </a:lnTo>
                    <a:lnTo>
                      <a:pt x="230" y="219"/>
                    </a:lnTo>
                    <a:lnTo>
                      <a:pt x="230" y="217"/>
                    </a:lnTo>
                    <a:lnTo>
                      <a:pt x="233" y="217"/>
                    </a:lnTo>
                    <a:lnTo>
                      <a:pt x="230" y="215"/>
                    </a:lnTo>
                    <a:lnTo>
                      <a:pt x="230" y="215"/>
                    </a:lnTo>
                    <a:lnTo>
                      <a:pt x="230" y="213"/>
                    </a:lnTo>
                    <a:lnTo>
                      <a:pt x="228" y="211"/>
                    </a:lnTo>
                    <a:lnTo>
                      <a:pt x="224" y="210"/>
                    </a:lnTo>
                    <a:lnTo>
                      <a:pt x="228" y="208"/>
                    </a:lnTo>
                    <a:lnTo>
                      <a:pt x="228" y="208"/>
                    </a:lnTo>
                    <a:lnTo>
                      <a:pt x="224" y="206"/>
                    </a:lnTo>
                    <a:lnTo>
                      <a:pt x="224" y="202"/>
                    </a:lnTo>
                    <a:lnTo>
                      <a:pt x="224" y="202"/>
                    </a:lnTo>
                    <a:lnTo>
                      <a:pt x="228" y="200"/>
                    </a:lnTo>
                    <a:lnTo>
                      <a:pt x="224" y="198"/>
                    </a:lnTo>
                    <a:lnTo>
                      <a:pt x="228" y="194"/>
                    </a:lnTo>
                    <a:lnTo>
                      <a:pt x="233" y="194"/>
                    </a:lnTo>
                    <a:lnTo>
                      <a:pt x="233" y="191"/>
                    </a:lnTo>
                    <a:lnTo>
                      <a:pt x="237" y="194"/>
                    </a:lnTo>
                    <a:lnTo>
                      <a:pt x="239" y="194"/>
                    </a:lnTo>
                    <a:lnTo>
                      <a:pt x="239" y="191"/>
                    </a:lnTo>
                    <a:lnTo>
                      <a:pt x="237" y="187"/>
                    </a:lnTo>
                    <a:lnTo>
                      <a:pt x="239" y="185"/>
                    </a:lnTo>
                    <a:lnTo>
                      <a:pt x="243" y="185"/>
                    </a:lnTo>
                    <a:lnTo>
                      <a:pt x="243" y="191"/>
                    </a:lnTo>
                    <a:lnTo>
                      <a:pt x="243" y="194"/>
                    </a:lnTo>
                    <a:lnTo>
                      <a:pt x="243" y="202"/>
                    </a:lnTo>
                    <a:lnTo>
                      <a:pt x="243" y="210"/>
                    </a:lnTo>
                    <a:lnTo>
                      <a:pt x="243" y="215"/>
                    </a:lnTo>
                    <a:lnTo>
                      <a:pt x="239" y="219"/>
                    </a:lnTo>
                    <a:lnTo>
                      <a:pt x="235" y="223"/>
                    </a:lnTo>
                    <a:lnTo>
                      <a:pt x="235" y="223"/>
                    </a:lnTo>
                    <a:lnTo>
                      <a:pt x="235" y="223"/>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3" name="Freeform 25"/>
              <p:cNvSpPr>
                <a:spLocks noEditPoints="1"/>
              </p:cNvSpPr>
              <p:nvPr/>
            </p:nvSpPr>
            <p:spPr bwMode="auto">
              <a:xfrm>
                <a:off x="2890" y="2152"/>
                <a:ext cx="211" cy="237"/>
              </a:xfrm>
              <a:custGeom>
                <a:avLst/>
                <a:gdLst/>
                <a:ahLst/>
                <a:cxnLst>
                  <a:cxn ang="0">
                    <a:pos x="8" y="62"/>
                  </a:cxn>
                  <a:cxn ang="0">
                    <a:pos x="8" y="38"/>
                  </a:cxn>
                  <a:cxn ang="0">
                    <a:pos x="17" y="24"/>
                  </a:cxn>
                  <a:cxn ang="0">
                    <a:pos x="38" y="24"/>
                  </a:cxn>
                  <a:cxn ang="0">
                    <a:pos x="57" y="17"/>
                  </a:cxn>
                  <a:cxn ang="0">
                    <a:pos x="68" y="2"/>
                  </a:cxn>
                  <a:cxn ang="0">
                    <a:pos x="94" y="4"/>
                  </a:cxn>
                  <a:cxn ang="0">
                    <a:pos x="119" y="19"/>
                  </a:cxn>
                  <a:cxn ang="0">
                    <a:pos x="113" y="32"/>
                  </a:cxn>
                  <a:cxn ang="0">
                    <a:pos x="96" y="41"/>
                  </a:cxn>
                  <a:cxn ang="0">
                    <a:pos x="98" y="58"/>
                  </a:cxn>
                  <a:cxn ang="0">
                    <a:pos x="117" y="77"/>
                  </a:cxn>
                  <a:cxn ang="0">
                    <a:pos x="132" y="102"/>
                  </a:cxn>
                  <a:cxn ang="0">
                    <a:pos x="151" y="115"/>
                  </a:cxn>
                  <a:cxn ang="0">
                    <a:pos x="169" y="119"/>
                  </a:cxn>
                  <a:cxn ang="0">
                    <a:pos x="169" y="130"/>
                  </a:cxn>
                  <a:cxn ang="0">
                    <a:pos x="205" y="149"/>
                  </a:cxn>
                  <a:cxn ang="0">
                    <a:pos x="211" y="162"/>
                  </a:cxn>
                  <a:cxn ang="0">
                    <a:pos x="201" y="158"/>
                  </a:cxn>
                  <a:cxn ang="0">
                    <a:pos x="188" y="151"/>
                  </a:cxn>
                  <a:cxn ang="0">
                    <a:pos x="181" y="160"/>
                  </a:cxn>
                  <a:cxn ang="0">
                    <a:pos x="181" y="169"/>
                  </a:cxn>
                  <a:cxn ang="0">
                    <a:pos x="186" y="186"/>
                  </a:cxn>
                  <a:cxn ang="0">
                    <a:pos x="175" y="207"/>
                  </a:cxn>
                  <a:cxn ang="0">
                    <a:pos x="164" y="201"/>
                  </a:cxn>
                  <a:cxn ang="0">
                    <a:pos x="169" y="192"/>
                  </a:cxn>
                  <a:cxn ang="0">
                    <a:pos x="169" y="175"/>
                  </a:cxn>
                  <a:cxn ang="0">
                    <a:pos x="160" y="162"/>
                  </a:cxn>
                  <a:cxn ang="0">
                    <a:pos x="151" y="152"/>
                  </a:cxn>
                  <a:cxn ang="0">
                    <a:pos x="141" y="143"/>
                  </a:cxn>
                  <a:cxn ang="0">
                    <a:pos x="126" y="135"/>
                  </a:cxn>
                  <a:cxn ang="0">
                    <a:pos x="113" y="130"/>
                  </a:cxn>
                  <a:cxn ang="0">
                    <a:pos x="92" y="111"/>
                  </a:cxn>
                  <a:cxn ang="0">
                    <a:pos x="73" y="92"/>
                  </a:cxn>
                  <a:cxn ang="0">
                    <a:pos x="62" y="75"/>
                  </a:cxn>
                  <a:cxn ang="0">
                    <a:pos x="51" y="64"/>
                  </a:cxn>
                  <a:cxn ang="0">
                    <a:pos x="15" y="75"/>
                  </a:cxn>
                  <a:cxn ang="0">
                    <a:pos x="32" y="137"/>
                  </a:cxn>
                  <a:cxn ang="0">
                    <a:pos x="28" y="135"/>
                  </a:cxn>
                  <a:cxn ang="0">
                    <a:pos x="77" y="107"/>
                  </a:cxn>
                  <a:cxn ang="0">
                    <a:pos x="77" y="107"/>
                  </a:cxn>
                  <a:cxn ang="0">
                    <a:pos x="66" y="98"/>
                  </a:cxn>
                  <a:cxn ang="0">
                    <a:pos x="62" y="98"/>
                  </a:cxn>
                  <a:cxn ang="0">
                    <a:pos x="40" y="186"/>
                  </a:cxn>
                  <a:cxn ang="0">
                    <a:pos x="51" y="181"/>
                  </a:cxn>
                  <a:cxn ang="0">
                    <a:pos x="57" y="169"/>
                  </a:cxn>
                  <a:cxn ang="0">
                    <a:pos x="57" y="147"/>
                  </a:cxn>
                  <a:cxn ang="0">
                    <a:pos x="45" y="135"/>
                  </a:cxn>
                  <a:cxn ang="0">
                    <a:pos x="28" y="143"/>
                  </a:cxn>
                  <a:cxn ang="0">
                    <a:pos x="34" y="160"/>
                  </a:cxn>
                  <a:cxn ang="0">
                    <a:pos x="34" y="168"/>
                  </a:cxn>
                  <a:cxn ang="0">
                    <a:pos x="40" y="186"/>
                  </a:cxn>
                  <a:cxn ang="0">
                    <a:pos x="158" y="230"/>
                  </a:cxn>
                  <a:cxn ang="0">
                    <a:pos x="162" y="205"/>
                  </a:cxn>
                  <a:cxn ang="0">
                    <a:pos x="145" y="207"/>
                  </a:cxn>
                  <a:cxn ang="0">
                    <a:pos x="117" y="205"/>
                  </a:cxn>
                  <a:cxn ang="0">
                    <a:pos x="113" y="218"/>
                  </a:cxn>
                  <a:cxn ang="0">
                    <a:pos x="139" y="230"/>
                  </a:cxn>
                  <a:cxn ang="0">
                    <a:pos x="156" y="237"/>
                  </a:cxn>
                </a:cxnLst>
                <a:rect l="0" t="0" r="r" b="b"/>
                <a:pathLst>
                  <a:path w="211" h="237">
                    <a:moveTo>
                      <a:pt x="15" y="75"/>
                    </a:moveTo>
                    <a:lnTo>
                      <a:pt x="15" y="71"/>
                    </a:lnTo>
                    <a:lnTo>
                      <a:pt x="17" y="66"/>
                    </a:lnTo>
                    <a:lnTo>
                      <a:pt x="11" y="66"/>
                    </a:lnTo>
                    <a:lnTo>
                      <a:pt x="8" y="62"/>
                    </a:lnTo>
                    <a:lnTo>
                      <a:pt x="4" y="51"/>
                    </a:lnTo>
                    <a:lnTo>
                      <a:pt x="0" y="47"/>
                    </a:lnTo>
                    <a:lnTo>
                      <a:pt x="4" y="43"/>
                    </a:lnTo>
                    <a:lnTo>
                      <a:pt x="8" y="43"/>
                    </a:lnTo>
                    <a:lnTo>
                      <a:pt x="8" y="38"/>
                    </a:lnTo>
                    <a:lnTo>
                      <a:pt x="4" y="34"/>
                    </a:lnTo>
                    <a:lnTo>
                      <a:pt x="4" y="30"/>
                    </a:lnTo>
                    <a:lnTo>
                      <a:pt x="8" y="28"/>
                    </a:lnTo>
                    <a:lnTo>
                      <a:pt x="9" y="30"/>
                    </a:lnTo>
                    <a:lnTo>
                      <a:pt x="17" y="24"/>
                    </a:lnTo>
                    <a:lnTo>
                      <a:pt x="23" y="26"/>
                    </a:lnTo>
                    <a:lnTo>
                      <a:pt x="28" y="13"/>
                    </a:lnTo>
                    <a:lnTo>
                      <a:pt x="32" y="17"/>
                    </a:lnTo>
                    <a:lnTo>
                      <a:pt x="32" y="21"/>
                    </a:lnTo>
                    <a:lnTo>
                      <a:pt x="38" y="24"/>
                    </a:lnTo>
                    <a:lnTo>
                      <a:pt x="40" y="28"/>
                    </a:lnTo>
                    <a:lnTo>
                      <a:pt x="43" y="21"/>
                    </a:lnTo>
                    <a:lnTo>
                      <a:pt x="43" y="17"/>
                    </a:lnTo>
                    <a:lnTo>
                      <a:pt x="53" y="19"/>
                    </a:lnTo>
                    <a:lnTo>
                      <a:pt x="57" y="17"/>
                    </a:lnTo>
                    <a:lnTo>
                      <a:pt x="58" y="21"/>
                    </a:lnTo>
                    <a:lnTo>
                      <a:pt x="58" y="13"/>
                    </a:lnTo>
                    <a:lnTo>
                      <a:pt x="66" y="11"/>
                    </a:lnTo>
                    <a:lnTo>
                      <a:pt x="64" y="7"/>
                    </a:lnTo>
                    <a:lnTo>
                      <a:pt x="68" y="2"/>
                    </a:lnTo>
                    <a:lnTo>
                      <a:pt x="75" y="6"/>
                    </a:lnTo>
                    <a:lnTo>
                      <a:pt x="83" y="0"/>
                    </a:lnTo>
                    <a:lnTo>
                      <a:pt x="89" y="0"/>
                    </a:lnTo>
                    <a:lnTo>
                      <a:pt x="94" y="0"/>
                    </a:lnTo>
                    <a:lnTo>
                      <a:pt x="94" y="4"/>
                    </a:lnTo>
                    <a:lnTo>
                      <a:pt x="104" y="7"/>
                    </a:lnTo>
                    <a:lnTo>
                      <a:pt x="113" y="11"/>
                    </a:lnTo>
                    <a:lnTo>
                      <a:pt x="122" y="11"/>
                    </a:lnTo>
                    <a:lnTo>
                      <a:pt x="122" y="11"/>
                    </a:lnTo>
                    <a:lnTo>
                      <a:pt x="119" y="19"/>
                    </a:lnTo>
                    <a:lnTo>
                      <a:pt x="119" y="21"/>
                    </a:lnTo>
                    <a:lnTo>
                      <a:pt x="117" y="26"/>
                    </a:lnTo>
                    <a:lnTo>
                      <a:pt x="119" y="32"/>
                    </a:lnTo>
                    <a:lnTo>
                      <a:pt x="113" y="32"/>
                    </a:lnTo>
                    <a:lnTo>
                      <a:pt x="113" y="32"/>
                    </a:lnTo>
                    <a:lnTo>
                      <a:pt x="109" y="36"/>
                    </a:lnTo>
                    <a:lnTo>
                      <a:pt x="105" y="36"/>
                    </a:lnTo>
                    <a:lnTo>
                      <a:pt x="102" y="38"/>
                    </a:lnTo>
                    <a:lnTo>
                      <a:pt x="98" y="38"/>
                    </a:lnTo>
                    <a:lnTo>
                      <a:pt x="96" y="41"/>
                    </a:lnTo>
                    <a:lnTo>
                      <a:pt x="98" y="47"/>
                    </a:lnTo>
                    <a:lnTo>
                      <a:pt x="100" y="49"/>
                    </a:lnTo>
                    <a:lnTo>
                      <a:pt x="98" y="53"/>
                    </a:lnTo>
                    <a:lnTo>
                      <a:pt x="96" y="54"/>
                    </a:lnTo>
                    <a:lnTo>
                      <a:pt x="98" y="58"/>
                    </a:lnTo>
                    <a:lnTo>
                      <a:pt x="98" y="64"/>
                    </a:lnTo>
                    <a:lnTo>
                      <a:pt x="100" y="68"/>
                    </a:lnTo>
                    <a:lnTo>
                      <a:pt x="109" y="71"/>
                    </a:lnTo>
                    <a:lnTo>
                      <a:pt x="113" y="73"/>
                    </a:lnTo>
                    <a:lnTo>
                      <a:pt x="117" y="77"/>
                    </a:lnTo>
                    <a:lnTo>
                      <a:pt x="128" y="88"/>
                    </a:lnTo>
                    <a:lnTo>
                      <a:pt x="128" y="92"/>
                    </a:lnTo>
                    <a:lnTo>
                      <a:pt x="130" y="92"/>
                    </a:lnTo>
                    <a:lnTo>
                      <a:pt x="130" y="98"/>
                    </a:lnTo>
                    <a:lnTo>
                      <a:pt x="132" y="102"/>
                    </a:lnTo>
                    <a:lnTo>
                      <a:pt x="136" y="105"/>
                    </a:lnTo>
                    <a:lnTo>
                      <a:pt x="137" y="107"/>
                    </a:lnTo>
                    <a:lnTo>
                      <a:pt x="145" y="113"/>
                    </a:lnTo>
                    <a:lnTo>
                      <a:pt x="147" y="115"/>
                    </a:lnTo>
                    <a:lnTo>
                      <a:pt x="151" y="115"/>
                    </a:lnTo>
                    <a:lnTo>
                      <a:pt x="151" y="117"/>
                    </a:lnTo>
                    <a:lnTo>
                      <a:pt x="158" y="117"/>
                    </a:lnTo>
                    <a:lnTo>
                      <a:pt x="162" y="119"/>
                    </a:lnTo>
                    <a:lnTo>
                      <a:pt x="166" y="117"/>
                    </a:lnTo>
                    <a:lnTo>
                      <a:pt x="169" y="119"/>
                    </a:lnTo>
                    <a:lnTo>
                      <a:pt x="169" y="122"/>
                    </a:lnTo>
                    <a:lnTo>
                      <a:pt x="164" y="126"/>
                    </a:lnTo>
                    <a:lnTo>
                      <a:pt x="164" y="126"/>
                    </a:lnTo>
                    <a:lnTo>
                      <a:pt x="166" y="130"/>
                    </a:lnTo>
                    <a:lnTo>
                      <a:pt x="169" y="130"/>
                    </a:lnTo>
                    <a:lnTo>
                      <a:pt x="177" y="132"/>
                    </a:lnTo>
                    <a:lnTo>
                      <a:pt x="192" y="139"/>
                    </a:lnTo>
                    <a:lnTo>
                      <a:pt x="198" y="143"/>
                    </a:lnTo>
                    <a:lnTo>
                      <a:pt x="201" y="147"/>
                    </a:lnTo>
                    <a:lnTo>
                      <a:pt x="205" y="149"/>
                    </a:lnTo>
                    <a:lnTo>
                      <a:pt x="211" y="151"/>
                    </a:lnTo>
                    <a:lnTo>
                      <a:pt x="211" y="154"/>
                    </a:lnTo>
                    <a:lnTo>
                      <a:pt x="211" y="158"/>
                    </a:lnTo>
                    <a:lnTo>
                      <a:pt x="211" y="162"/>
                    </a:lnTo>
                    <a:lnTo>
                      <a:pt x="211" y="162"/>
                    </a:lnTo>
                    <a:lnTo>
                      <a:pt x="207" y="166"/>
                    </a:lnTo>
                    <a:lnTo>
                      <a:pt x="207" y="166"/>
                    </a:lnTo>
                    <a:lnTo>
                      <a:pt x="205" y="166"/>
                    </a:lnTo>
                    <a:lnTo>
                      <a:pt x="201" y="162"/>
                    </a:lnTo>
                    <a:lnTo>
                      <a:pt x="201" y="158"/>
                    </a:lnTo>
                    <a:lnTo>
                      <a:pt x="201" y="154"/>
                    </a:lnTo>
                    <a:lnTo>
                      <a:pt x="200" y="154"/>
                    </a:lnTo>
                    <a:lnTo>
                      <a:pt x="194" y="154"/>
                    </a:lnTo>
                    <a:lnTo>
                      <a:pt x="192" y="152"/>
                    </a:lnTo>
                    <a:lnTo>
                      <a:pt x="188" y="151"/>
                    </a:lnTo>
                    <a:lnTo>
                      <a:pt x="186" y="151"/>
                    </a:lnTo>
                    <a:lnTo>
                      <a:pt x="185" y="151"/>
                    </a:lnTo>
                    <a:lnTo>
                      <a:pt x="183" y="156"/>
                    </a:lnTo>
                    <a:lnTo>
                      <a:pt x="181" y="158"/>
                    </a:lnTo>
                    <a:lnTo>
                      <a:pt x="181" y="160"/>
                    </a:lnTo>
                    <a:lnTo>
                      <a:pt x="181" y="162"/>
                    </a:lnTo>
                    <a:lnTo>
                      <a:pt x="177" y="166"/>
                    </a:lnTo>
                    <a:lnTo>
                      <a:pt x="177" y="168"/>
                    </a:lnTo>
                    <a:lnTo>
                      <a:pt x="181" y="169"/>
                    </a:lnTo>
                    <a:lnTo>
                      <a:pt x="181" y="169"/>
                    </a:lnTo>
                    <a:lnTo>
                      <a:pt x="186" y="175"/>
                    </a:lnTo>
                    <a:lnTo>
                      <a:pt x="188" y="177"/>
                    </a:lnTo>
                    <a:lnTo>
                      <a:pt x="188" y="183"/>
                    </a:lnTo>
                    <a:lnTo>
                      <a:pt x="188" y="184"/>
                    </a:lnTo>
                    <a:lnTo>
                      <a:pt x="186" y="186"/>
                    </a:lnTo>
                    <a:lnTo>
                      <a:pt x="185" y="186"/>
                    </a:lnTo>
                    <a:lnTo>
                      <a:pt x="181" y="190"/>
                    </a:lnTo>
                    <a:lnTo>
                      <a:pt x="181" y="200"/>
                    </a:lnTo>
                    <a:lnTo>
                      <a:pt x="177" y="201"/>
                    </a:lnTo>
                    <a:lnTo>
                      <a:pt x="175" y="207"/>
                    </a:lnTo>
                    <a:lnTo>
                      <a:pt x="171" y="211"/>
                    </a:lnTo>
                    <a:lnTo>
                      <a:pt x="168" y="211"/>
                    </a:lnTo>
                    <a:lnTo>
                      <a:pt x="164" y="207"/>
                    </a:lnTo>
                    <a:lnTo>
                      <a:pt x="164" y="205"/>
                    </a:lnTo>
                    <a:lnTo>
                      <a:pt x="164" y="201"/>
                    </a:lnTo>
                    <a:lnTo>
                      <a:pt x="166" y="201"/>
                    </a:lnTo>
                    <a:lnTo>
                      <a:pt x="169" y="200"/>
                    </a:lnTo>
                    <a:lnTo>
                      <a:pt x="169" y="196"/>
                    </a:lnTo>
                    <a:lnTo>
                      <a:pt x="169" y="192"/>
                    </a:lnTo>
                    <a:lnTo>
                      <a:pt x="169" y="192"/>
                    </a:lnTo>
                    <a:lnTo>
                      <a:pt x="171" y="192"/>
                    </a:lnTo>
                    <a:lnTo>
                      <a:pt x="171" y="186"/>
                    </a:lnTo>
                    <a:lnTo>
                      <a:pt x="171" y="184"/>
                    </a:lnTo>
                    <a:lnTo>
                      <a:pt x="171" y="183"/>
                    </a:lnTo>
                    <a:lnTo>
                      <a:pt x="169" y="175"/>
                    </a:lnTo>
                    <a:lnTo>
                      <a:pt x="168" y="175"/>
                    </a:lnTo>
                    <a:lnTo>
                      <a:pt x="168" y="166"/>
                    </a:lnTo>
                    <a:lnTo>
                      <a:pt x="166" y="162"/>
                    </a:lnTo>
                    <a:lnTo>
                      <a:pt x="162" y="160"/>
                    </a:lnTo>
                    <a:lnTo>
                      <a:pt x="160" y="162"/>
                    </a:lnTo>
                    <a:lnTo>
                      <a:pt x="156" y="160"/>
                    </a:lnTo>
                    <a:lnTo>
                      <a:pt x="153" y="156"/>
                    </a:lnTo>
                    <a:lnTo>
                      <a:pt x="151" y="156"/>
                    </a:lnTo>
                    <a:lnTo>
                      <a:pt x="147" y="154"/>
                    </a:lnTo>
                    <a:lnTo>
                      <a:pt x="151" y="152"/>
                    </a:lnTo>
                    <a:lnTo>
                      <a:pt x="151" y="149"/>
                    </a:lnTo>
                    <a:lnTo>
                      <a:pt x="147" y="147"/>
                    </a:lnTo>
                    <a:lnTo>
                      <a:pt x="145" y="145"/>
                    </a:lnTo>
                    <a:lnTo>
                      <a:pt x="141" y="147"/>
                    </a:lnTo>
                    <a:lnTo>
                      <a:pt x="141" y="143"/>
                    </a:lnTo>
                    <a:lnTo>
                      <a:pt x="137" y="141"/>
                    </a:lnTo>
                    <a:lnTo>
                      <a:pt x="136" y="143"/>
                    </a:lnTo>
                    <a:lnTo>
                      <a:pt x="134" y="141"/>
                    </a:lnTo>
                    <a:lnTo>
                      <a:pt x="128" y="135"/>
                    </a:lnTo>
                    <a:lnTo>
                      <a:pt x="126" y="135"/>
                    </a:lnTo>
                    <a:lnTo>
                      <a:pt x="122" y="132"/>
                    </a:lnTo>
                    <a:lnTo>
                      <a:pt x="119" y="135"/>
                    </a:lnTo>
                    <a:lnTo>
                      <a:pt x="117" y="135"/>
                    </a:lnTo>
                    <a:lnTo>
                      <a:pt x="117" y="132"/>
                    </a:lnTo>
                    <a:lnTo>
                      <a:pt x="113" y="130"/>
                    </a:lnTo>
                    <a:lnTo>
                      <a:pt x="109" y="130"/>
                    </a:lnTo>
                    <a:lnTo>
                      <a:pt x="102" y="124"/>
                    </a:lnTo>
                    <a:lnTo>
                      <a:pt x="94" y="113"/>
                    </a:lnTo>
                    <a:lnTo>
                      <a:pt x="92" y="113"/>
                    </a:lnTo>
                    <a:lnTo>
                      <a:pt x="92" y="111"/>
                    </a:lnTo>
                    <a:lnTo>
                      <a:pt x="89" y="105"/>
                    </a:lnTo>
                    <a:lnTo>
                      <a:pt x="83" y="105"/>
                    </a:lnTo>
                    <a:lnTo>
                      <a:pt x="83" y="102"/>
                    </a:lnTo>
                    <a:lnTo>
                      <a:pt x="77" y="98"/>
                    </a:lnTo>
                    <a:lnTo>
                      <a:pt x="73" y="92"/>
                    </a:lnTo>
                    <a:lnTo>
                      <a:pt x="70" y="92"/>
                    </a:lnTo>
                    <a:lnTo>
                      <a:pt x="70" y="87"/>
                    </a:lnTo>
                    <a:lnTo>
                      <a:pt x="66" y="85"/>
                    </a:lnTo>
                    <a:lnTo>
                      <a:pt x="66" y="81"/>
                    </a:lnTo>
                    <a:lnTo>
                      <a:pt x="62" y="75"/>
                    </a:lnTo>
                    <a:lnTo>
                      <a:pt x="62" y="71"/>
                    </a:lnTo>
                    <a:lnTo>
                      <a:pt x="62" y="71"/>
                    </a:lnTo>
                    <a:lnTo>
                      <a:pt x="58" y="68"/>
                    </a:lnTo>
                    <a:lnTo>
                      <a:pt x="55" y="68"/>
                    </a:lnTo>
                    <a:lnTo>
                      <a:pt x="51" y="64"/>
                    </a:lnTo>
                    <a:lnTo>
                      <a:pt x="38" y="62"/>
                    </a:lnTo>
                    <a:lnTo>
                      <a:pt x="28" y="68"/>
                    </a:lnTo>
                    <a:lnTo>
                      <a:pt x="28" y="68"/>
                    </a:lnTo>
                    <a:lnTo>
                      <a:pt x="25" y="73"/>
                    </a:lnTo>
                    <a:lnTo>
                      <a:pt x="15" y="75"/>
                    </a:lnTo>
                    <a:lnTo>
                      <a:pt x="15" y="75"/>
                    </a:lnTo>
                    <a:lnTo>
                      <a:pt x="15" y="75"/>
                    </a:lnTo>
                    <a:lnTo>
                      <a:pt x="15" y="75"/>
                    </a:lnTo>
                    <a:close/>
                    <a:moveTo>
                      <a:pt x="28" y="137"/>
                    </a:moveTo>
                    <a:lnTo>
                      <a:pt x="32" y="137"/>
                    </a:lnTo>
                    <a:lnTo>
                      <a:pt x="32" y="135"/>
                    </a:lnTo>
                    <a:lnTo>
                      <a:pt x="32" y="135"/>
                    </a:lnTo>
                    <a:lnTo>
                      <a:pt x="32" y="132"/>
                    </a:lnTo>
                    <a:lnTo>
                      <a:pt x="32" y="135"/>
                    </a:lnTo>
                    <a:lnTo>
                      <a:pt x="28" y="135"/>
                    </a:lnTo>
                    <a:lnTo>
                      <a:pt x="28" y="137"/>
                    </a:lnTo>
                    <a:lnTo>
                      <a:pt x="28" y="137"/>
                    </a:lnTo>
                    <a:lnTo>
                      <a:pt x="28" y="137"/>
                    </a:lnTo>
                    <a:lnTo>
                      <a:pt x="28" y="137"/>
                    </a:lnTo>
                    <a:close/>
                    <a:moveTo>
                      <a:pt x="77" y="107"/>
                    </a:moveTo>
                    <a:lnTo>
                      <a:pt x="79" y="107"/>
                    </a:lnTo>
                    <a:lnTo>
                      <a:pt x="79" y="105"/>
                    </a:lnTo>
                    <a:lnTo>
                      <a:pt x="77" y="107"/>
                    </a:lnTo>
                    <a:lnTo>
                      <a:pt x="77" y="107"/>
                    </a:lnTo>
                    <a:lnTo>
                      <a:pt x="77" y="107"/>
                    </a:lnTo>
                    <a:lnTo>
                      <a:pt x="77" y="107"/>
                    </a:lnTo>
                    <a:close/>
                    <a:moveTo>
                      <a:pt x="62" y="98"/>
                    </a:moveTo>
                    <a:lnTo>
                      <a:pt x="62" y="100"/>
                    </a:lnTo>
                    <a:lnTo>
                      <a:pt x="62" y="100"/>
                    </a:lnTo>
                    <a:lnTo>
                      <a:pt x="66" y="98"/>
                    </a:lnTo>
                    <a:lnTo>
                      <a:pt x="68" y="98"/>
                    </a:lnTo>
                    <a:lnTo>
                      <a:pt x="68" y="96"/>
                    </a:lnTo>
                    <a:lnTo>
                      <a:pt x="66" y="92"/>
                    </a:lnTo>
                    <a:lnTo>
                      <a:pt x="66" y="96"/>
                    </a:lnTo>
                    <a:lnTo>
                      <a:pt x="62" y="98"/>
                    </a:lnTo>
                    <a:lnTo>
                      <a:pt x="62" y="98"/>
                    </a:lnTo>
                    <a:lnTo>
                      <a:pt x="62" y="98"/>
                    </a:lnTo>
                    <a:lnTo>
                      <a:pt x="62" y="98"/>
                    </a:lnTo>
                    <a:close/>
                    <a:moveTo>
                      <a:pt x="40" y="186"/>
                    </a:moveTo>
                    <a:lnTo>
                      <a:pt x="40" y="186"/>
                    </a:lnTo>
                    <a:lnTo>
                      <a:pt x="41" y="186"/>
                    </a:lnTo>
                    <a:lnTo>
                      <a:pt x="45" y="186"/>
                    </a:lnTo>
                    <a:lnTo>
                      <a:pt x="45" y="183"/>
                    </a:lnTo>
                    <a:lnTo>
                      <a:pt x="47" y="181"/>
                    </a:lnTo>
                    <a:lnTo>
                      <a:pt x="51" y="181"/>
                    </a:lnTo>
                    <a:lnTo>
                      <a:pt x="53" y="183"/>
                    </a:lnTo>
                    <a:lnTo>
                      <a:pt x="55" y="183"/>
                    </a:lnTo>
                    <a:lnTo>
                      <a:pt x="57" y="179"/>
                    </a:lnTo>
                    <a:lnTo>
                      <a:pt x="57" y="175"/>
                    </a:lnTo>
                    <a:lnTo>
                      <a:pt x="57" y="169"/>
                    </a:lnTo>
                    <a:lnTo>
                      <a:pt x="57" y="162"/>
                    </a:lnTo>
                    <a:lnTo>
                      <a:pt x="58" y="156"/>
                    </a:lnTo>
                    <a:lnTo>
                      <a:pt x="53" y="152"/>
                    </a:lnTo>
                    <a:lnTo>
                      <a:pt x="57" y="151"/>
                    </a:lnTo>
                    <a:lnTo>
                      <a:pt x="57" y="147"/>
                    </a:lnTo>
                    <a:lnTo>
                      <a:pt x="57" y="143"/>
                    </a:lnTo>
                    <a:lnTo>
                      <a:pt x="55" y="139"/>
                    </a:lnTo>
                    <a:lnTo>
                      <a:pt x="51" y="135"/>
                    </a:lnTo>
                    <a:lnTo>
                      <a:pt x="49" y="135"/>
                    </a:lnTo>
                    <a:lnTo>
                      <a:pt x="45" y="135"/>
                    </a:lnTo>
                    <a:lnTo>
                      <a:pt x="43" y="135"/>
                    </a:lnTo>
                    <a:lnTo>
                      <a:pt x="38" y="141"/>
                    </a:lnTo>
                    <a:lnTo>
                      <a:pt x="32" y="141"/>
                    </a:lnTo>
                    <a:lnTo>
                      <a:pt x="28" y="139"/>
                    </a:lnTo>
                    <a:lnTo>
                      <a:pt x="28" y="143"/>
                    </a:lnTo>
                    <a:lnTo>
                      <a:pt x="28" y="147"/>
                    </a:lnTo>
                    <a:lnTo>
                      <a:pt x="32" y="149"/>
                    </a:lnTo>
                    <a:lnTo>
                      <a:pt x="32" y="152"/>
                    </a:lnTo>
                    <a:lnTo>
                      <a:pt x="34" y="154"/>
                    </a:lnTo>
                    <a:lnTo>
                      <a:pt x="34" y="160"/>
                    </a:lnTo>
                    <a:lnTo>
                      <a:pt x="32" y="162"/>
                    </a:lnTo>
                    <a:lnTo>
                      <a:pt x="32" y="166"/>
                    </a:lnTo>
                    <a:lnTo>
                      <a:pt x="38" y="166"/>
                    </a:lnTo>
                    <a:lnTo>
                      <a:pt x="38" y="166"/>
                    </a:lnTo>
                    <a:lnTo>
                      <a:pt x="34" y="168"/>
                    </a:lnTo>
                    <a:lnTo>
                      <a:pt x="32" y="175"/>
                    </a:lnTo>
                    <a:lnTo>
                      <a:pt x="34" y="177"/>
                    </a:lnTo>
                    <a:lnTo>
                      <a:pt x="38" y="184"/>
                    </a:lnTo>
                    <a:lnTo>
                      <a:pt x="40" y="186"/>
                    </a:lnTo>
                    <a:lnTo>
                      <a:pt x="40" y="186"/>
                    </a:lnTo>
                    <a:lnTo>
                      <a:pt x="40" y="186"/>
                    </a:lnTo>
                    <a:lnTo>
                      <a:pt x="40" y="186"/>
                    </a:lnTo>
                    <a:close/>
                    <a:moveTo>
                      <a:pt x="156" y="237"/>
                    </a:moveTo>
                    <a:lnTo>
                      <a:pt x="156" y="232"/>
                    </a:lnTo>
                    <a:lnTo>
                      <a:pt x="158" y="230"/>
                    </a:lnTo>
                    <a:lnTo>
                      <a:pt x="156" y="226"/>
                    </a:lnTo>
                    <a:lnTo>
                      <a:pt x="153" y="222"/>
                    </a:lnTo>
                    <a:lnTo>
                      <a:pt x="156" y="213"/>
                    </a:lnTo>
                    <a:lnTo>
                      <a:pt x="160" y="209"/>
                    </a:lnTo>
                    <a:lnTo>
                      <a:pt x="162" y="205"/>
                    </a:lnTo>
                    <a:lnTo>
                      <a:pt x="158" y="200"/>
                    </a:lnTo>
                    <a:lnTo>
                      <a:pt x="153" y="205"/>
                    </a:lnTo>
                    <a:lnTo>
                      <a:pt x="151" y="205"/>
                    </a:lnTo>
                    <a:lnTo>
                      <a:pt x="147" y="201"/>
                    </a:lnTo>
                    <a:lnTo>
                      <a:pt x="145" y="207"/>
                    </a:lnTo>
                    <a:lnTo>
                      <a:pt x="136" y="205"/>
                    </a:lnTo>
                    <a:lnTo>
                      <a:pt x="128" y="209"/>
                    </a:lnTo>
                    <a:lnTo>
                      <a:pt x="122" y="207"/>
                    </a:lnTo>
                    <a:lnTo>
                      <a:pt x="122" y="205"/>
                    </a:lnTo>
                    <a:lnTo>
                      <a:pt x="117" y="205"/>
                    </a:lnTo>
                    <a:lnTo>
                      <a:pt x="113" y="207"/>
                    </a:lnTo>
                    <a:lnTo>
                      <a:pt x="113" y="205"/>
                    </a:lnTo>
                    <a:lnTo>
                      <a:pt x="109" y="207"/>
                    </a:lnTo>
                    <a:lnTo>
                      <a:pt x="107" y="215"/>
                    </a:lnTo>
                    <a:lnTo>
                      <a:pt x="113" y="218"/>
                    </a:lnTo>
                    <a:lnTo>
                      <a:pt x="117" y="216"/>
                    </a:lnTo>
                    <a:lnTo>
                      <a:pt x="122" y="222"/>
                    </a:lnTo>
                    <a:lnTo>
                      <a:pt x="126" y="224"/>
                    </a:lnTo>
                    <a:lnTo>
                      <a:pt x="130" y="226"/>
                    </a:lnTo>
                    <a:lnTo>
                      <a:pt x="139" y="230"/>
                    </a:lnTo>
                    <a:lnTo>
                      <a:pt x="141" y="230"/>
                    </a:lnTo>
                    <a:lnTo>
                      <a:pt x="145" y="230"/>
                    </a:lnTo>
                    <a:lnTo>
                      <a:pt x="145" y="233"/>
                    </a:lnTo>
                    <a:lnTo>
                      <a:pt x="153" y="237"/>
                    </a:lnTo>
                    <a:lnTo>
                      <a:pt x="156" y="237"/>
                    </a:lnTo>
                    <a:lnTo>
                      <a:pt x="156" y="237"/>
                    </a:lnTo>
                    <a:lnTo>
                      <a:pt x="156" y="237"/>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4" name="Freeform 26"/>
              <p:cNvSpPr>
                <a:spLocks noEditPoints="1"/>
              </p:cNvSpPr>
              <p:nvPr/>
            </p:nvSpPr>
            <p:spPr bwMode="auto">
              <a:xfrm>
                <a:off x="2621" y="2231"/>
                <a:ext cx="233" cy="168"/>
              </a:xfrm>
              <a:custGeom>
                <a:avLst/>
                <a:gdLst/>
                <a:ahLst/>
                <a:cxnLst>
                  <a:cxn ang="0">
                    <a:pos x="135" y="9"/>
                  </a:cxn>
                  <a:cxn ang="0">
                    <a:pos x="137" y="15"/>
                  </a:cxn>
                  <a:cxn ang="0">
                    <a:pos x="154" y="23"/>
                  </a:cxn>
                  <a:cxn ang="0">
                    <a:pos x="167" y="24"/>
                  </a:cxn>
                  <a:cxn ang="0">
                    <a:pos x="182" y="23"/>
                  </a:cxn>
                  <a:cxn ang="0">
                    <a:pos x="194" y="28"/>
                  </a:cxn>
                  <a:cxn ang="0">
                    <a:pos x="213" y="30"/>
                  </a:cxn>
                  <a:cxn ang="0">
                    <a:pos x="211" y="40"/>
                  </a:cxn>
                  <a:cxn ang="0">
                    <a:pos x="201" y="53"/>
                  </a:cxn>
                  <a:cxn ang="0">
                    <a:pos x="198" y="56"/>
                  </a:cxn>
                  <a:cxn ang="0">
                    <a:pos x="181" y="62"/>
                  </a:cxn>
                  <a:cxn ang="0">
                    <a:pos x="177" y="68"/>
                  </a:cxn>
                  <a:cxn ang="0">
                    <a:pos x="175" y="72"/>
                  </a:cxn>
                  <a:cxn ang="0">
                    <a:pos x="164" y="79"/>
                  </a:cxn>
                  <a:cxn ang="0">
                    <a:pos x="158" y="100"/>
                  </a:cxn>
                  <a:cxn ang="0">
                    <a:pos x="166" y="111"/>
                  </a:cxn>
                  <a:cxn ang="0">
                    <a:pos x="156" y="121"/>
                  </a:cxn>
                  <a:cxn ang="0">
                    <a:pos x="150" y="136"/>
                  </a:cxn>
                  <a:cxn ang="0">
                    <a:pos x="132" y="145"/>
                  </a:cxn>
                  <a:cxn ang="0">
                    <a:pos x="124" y="153"/>
                  </a:cxn>
                  <a:cxn ang="0">
                    <a:pos x="115" y="154"/>
                  </a:cxn>
                  <a:cxn ang="0">
                    <a:pos x="107" y="154"/>
                  </a:cxn>
                  <a:cxn ang="0">
                    <a:pos x="90" y="153"/>
                  </a:cxn>
                  <a:cxn ang="0">
                    <a:pos x="71" y="160"/>
                  </a:cxn>
                  <a:cxn ang="0">
                    <a:pos x="64" y="168"/>
                  </a:cxn>
                  <a:cxn ang="0">
                    <a:pos x="49" y="153"/>
                  </a:cxn>
                  <a:cxn ang="0">
                    <a:pos x="36" y="145"/>
                  </a:cxn>
                  <a:cxn ang="0">
                    <a:pos x="30" y="136"/>
                  </a:cxn>
                  <a:cxn ang="0">
                    <a:pos x="39" y="121"/>
                  </a:cxn>
                  <a:cxn ang="0">
                    <a:pos x="38" y="107"/>
                  </a:cxn>
                  <a:cxn ang="0">
                    <a:pos x="30" y="89"/>
                  </a:cxn>
                  <a:cxn ang="0">
                    <a:pos x="41" y="83"/>
                  </a:cxn>
                  <a:cxn ang="0">
                    <a:pos x="43" y="64"/>
                  </a:cxn>
                  <a:cxn ang="0">
                    <a:pos x="51" y="53"/>
                  </a:cxn>
                  <a:cxn ang="0">
                    <a:pos x="49" y="40"/>
                  </a:cxn>
                  <a:cxn ang="0">
                    <a:pos x="26" y="40"/>
                  </a:cxn>
                  <a:cxn ang="0">
                    <a:pos x="19" y="36"/>
                  </a:cxn>
                  <a:cxn ang="0">
                    <a:pos x="7" y="36"/>
                  </a:cxn>
                  <a:cxn ang="0">
                    <a:pos x="11" y="28"/>
                  </a:cxn>
                  <a:cxn ang="0">
                    <a:pos x="7" y="28"/>
                  </a:cxn>
                  <a:cxn ang="0">
                    <a:pos x="6" y="21"/>
                  </a:cxn>
                  <a:cxn ang="0">
                    <a:pos x="0" y="15"/>
                  </a:cxn>
                  <a:cxn ang="0">
                    <a:pos x="13" y="9"/>
                  </a:cxn>
                  <a:cxn ang="0">
                    <a:pos x="21" y="6"/>
                  </a:cxn>
                  <a:cxn ang="0">
                    <a:pos x="26" y="0"/>
                  </a:cxn>
                  <a:cxn ang="0">
                    <a:pos x="38" y="4"/>
                  </a:cxn>
                  <a:cxn ang="0">
                    <a:pos x="51" y="4"/>
                  </a:cxn>
                  <a:cxn ang="0">
                    <a:pos x="60" y="0"/>
                  </a:cxn>
                  <a:cxn ang="0">
                    <a:pos x="86" y="8"/>
                  </a:cxn>
                  <a:cxn ang="0">
                    <a:pos x="102" y="8"/>
                  </a:cxn>
                  <a:cxn ang="0">
                    <a:pos x="117" y="4"/>
                  </a:cxn>
                  <a:cxn ang="0">
                    <a:pos x="130" y="8"/>
                  </a:cxn>
                  <a:cxn ang="0">
                    <a:pos x="132" y="6"/>
                  </a:cxn>
                  <a:cxn ang="0">
                    <a:pos x="230" y="89"/>
                  </a:cxn>
                  <a:cxn ang="0">
                    <a:pos x="230" y="83"/>
                  </a:cxn>
                  <a:cxn ang="0">
                    <a:pos x="220" y="87"/>
                  </a:cxn>
                  <a:cxn ang="0">
                    <a:pos x="211" y="98"/>
                  </a:cxn>
                  <a:cxn ang="0">
                    <a:pos x="213" y="89"/>
                  </a:cxn>
                  <a:cxn ang="0">
                    <a:pos x="205" y="96"/>
                  </a:cxn>
                  <a:cxn ang="0">
                    <a:pos x="211" y="98"/>
                  </a:cxn>
                  <a:cxn ang="0">
                    <a:pos x="190" y="111"/>
                  </a:cxn>
                  <a:cxn ang="0">
                    <a:pos x="190" y="104"/>
                  </a:cxn>
                  <a:cxn ang="0">
                    <a:pos x="190" y="111"/>
                  </a:cxn>
                </a:cxnLst>
                <a:rect l="0" t="0" r="r" b="b"/>
                <a:pathLst>
                  <a:path w="233" h="168">
                    <a:moveTo>
                      <a:pt x="132" y="6"/>
                    </a:moveTo>
                    <a:lnTo>
                      <a:pt x="135" y="8"/>
                    </a:lnTo>
                    <a:lnTo>
                      <a:pt x="135" y="9"/>
                    </a:lnTo>
                    <a:lnTo>
                      <a:pt x="137" y="9"/>
                    </a:lnTo>
                    <a:lnTo>
                      <a:pt x="137" y="13"/>
                    </a:lnTo>
                    <a:lnTo>
                      <a:pt x="137" y="15"/>
                    </a:lnTo>
                    <a:lnTo>
                      <a:pt x="143" y="15"/>
                    </a:lnTo>
                    <a:lnTo>
                      <a:pt x="150" y="19"/>
                    </a:lnTo>
                    <a:lnTo>
                      <a:pt x="154" y="23"/>
                    </a:lnTo>
                    <a:lnTo>
                      <a:pt x="160" y="21"/>
                    </a:lnTo>
                    <a:lnTo>
                      <a:pt x="164" y="24"/>
                    </a:lnTo>
                    <a:lnTo>
                      <a:pt x="167" y="24"/>
                    </a:lnTo>
                    <a:lnTo>
                      <a:pt x="169" y="28"/>
                    </a:lnTo>
                    <a:lnTo>
                      <a:pt x="173" y="24"/>
                    </a:lnTo>
                    <a:lnTo>
                      <a:pt x="182" y="23"/>
                    </a:lnTo>
                    <a:lnTo>
                      <a:pt x="186" y="24"/>
                    </a:lnTo>
                    <a:lnTo>
                      <a:pt x="190" y="24"/>
                    </a:lnTo>
                    <a:lnTo>
                      <a:pt x="194" y="28"/>
                    </a:lnTo>
                    <a:lnTo>
                      <a:pt x="203" y="24"/>
                    </a:lnTo>
                    <a:lnTo>
                      <a:pt x="211" y="28"/>
                    </a:lnTo>
                    <a:lnTo>
                      <a:pt x="213" y="30"/>
                    </a:lnTo>
                    <a:lnTo>
                      <a:pt x="213" y="32"/>
                    </a:lnTo>
                    <a:lnTo>
                      <a:pt x="211" y="34"/>
                    </a:lnTo>
                    <a:lnTo>
                      <a:pt x="211" y="40"/>
                    </a:lnTo>
                    <a:lnTo>
                      <a:pt x="211" y="43"/>
                    </a:lnTo>
                    <a:lnTo>
                      <a:pt x="209" y="47"/>
                    </a:lnTo>
                    <a:lnTo>
                      <a:pt x="201" y="53"/>
                    </a:lnTo>
                    <a:lnTo>
                      <a:pt x="201" y="53"/>
                    </a:lnTo>
                    <a:lnTo>
                      <a:pt x="198" y="56"/>
                    </a:lnTo>
                    <a:lnTo>
                      <a:pt x="198" y="56"/>
                    </a:lnTo>
                    <a:lnTo>
                      <a:pt x="194" y="58"/>
                    </a:lnTo>
                    <a:lnTo>
                      <a:pt x="186" y="58"/>
                    </a:lnTo>
                    <a:lnTo>
                      <a:pt x="181" y="62"/>
                    </a:lnTo>
                    <a:lnTo>
                      <a:pt x="177" y="64"/>
                    </a:lnTo>
                    <a:lnTo>
                      <a:pt x="179" y="64"/>
                    </a:lnTo>
                    <a:lnTo>
                      <a:pt x="177" y="68"/>
                    </a:lnTo>
                    <a:lnTo>
                      <a:pt x="175" y="72"/>
                    </a:lnTo>
                    <a:lnTo>
                      <a:pt x="175" y="72"/>
                    </a:lnTo>
                    <a:lnTo>
                      <a:pt x="175" y="72"/>
                    </a:lnTo>
                    <a:lnTo>
                      <a:pt x="173" y="68"/>
                    </a:lnTo>
                    <a:lnTo>
                      <a:pt x="167" y="77"/>
                    </a:lnTo>
                    <a:lnTo>
                      <a:pt x="164" y="79"/>
                    </a:lnTo>
                    <a:lnTo>
                      <a:pt x="158" y="92"/>
                    </a:lnTo>
                    <a:lnTo>
                      <a:pt x="156" y="96"/>
                    </a:lnTo>
                    <a:lnTo>
                      <a:pt x="158" y="100"/>
                    </a:lnTo>
                    <a:lnTo>
                      <a:pt x="160" y="104"/>
                    </a:lnTo>
                    <a:lnTo>
                      <a:pt x="160" y="105"/>
                    </a:lnTo>
                    <a:lnTo>
                      <a:pt x="166" y="111"/>
                    </a:lnTo>
                    <a:lnTo>
                      <a:pt x="164" y="115"/>
                    </a:lnTo>
                    <a:lnTo>
                      <a:pt x="156" y="117"/>
                    </a:lnTo>
                    <a:lnTo>
                      <a:pt x="156" y="121"/>
                    </a:lnTo>
                    <a:lnTo>
                      <a:pt x="150" y="128"/>
                    </a:lnTo>
                    <a:lnTo>
                      <a:pt x="150" y="132"/>
                    </a:lnTo>
                    <a:lnTo>
                      <a:pt x="150" y="136"/>
                    </a:lnTo>
                    <a:lnTo>
                      <a:pt x="150" y="139"/>
                    </a:lnTo>
                    <a:lnTo>
                      <a:pt x="143" y="139"/>
                    </a:lnTo>
                    <a:lnTo>
                      <a:pt x="132" y="145"/>
                    </a:lnTo>
                    <a:lnTo>
                      <a:pt x="132" y="147"/>
                    </a:lnTo>
                    <a:lnTo>
                      <a:pt x="126" y="154"/>
                    </a:lnTo>
                    <a:lnTo>
                      <a:pt x="124" y="153"/>
                    </a:lnTo>
                    <a:lnTo>
                      <a:pt x="120" y="149"/>
                    </a:lnTo>
                    <a:lnTo>
                      <a:pt x="118" y="153"/>
                    </a:lnTo>
                    <a:lnTo>
                      <a:pt x="115" y="154"/>
                    </a:lnTo>
                    <a:lnTo>
                      <a:pt x="113" y="153"/>
                    </a:lnTo>
                    <a:lnTo>
                      <a:pt x="109" y="153"/>
                    </a:lnTo>
                    <a:lnTo>
                      <a:pt x="107" y="154"/>
                    </a:lnTo>
                    <a:lnTo>
                      <a:pt x="102" y="154"/>
                    </a:lnTo>
                    <a:lnTo>
                      <a:pt x="94" y="151"/>
                    </a:lnTo>
                    <a:lnTo>
                      <a:pt x="90" y="153"/>
                    </a:lnTo>
                    <a:lnTo>
                      <a:pt x="85" y="154"/>
                    </a:lnTo>
                    <a:lnTo>
                      <a:pt x="79" y="160"/>
                    </a:lnTo>
                    <a:lnTo>
                      <a:pt x="71" y="160"/>
                    </a:lnTo>
                    <a:lnTo>
                      <a:pt x="70" y="164"/>
                    </a:lnTo>
                    <a:lnTo>
                      <a:pt x="70" y="166"/>
                    </a:lnTo>
                    <a:lnTo>
                      <a:pt x="64" y="168"/>
                    </a:lnTo>
                    <a:lnTo>
                      <a:pt x="56" y="168"/>
                    </a:lnTo>
                    <a:lnTo>
                      <a:pt x="51" y="160"/>
                    </a:lnTo>
                    <a:lnTo>
                      <a:pt x="49" y="153"/>
                    </a:lnTo>
                    <a:lnTo>
                      <a:pt x="49" y="153"/>
                    </a:lnTo>
                    <a:lnTo>
                      <a:pt x="41" y="145"/>
                    </a:lnTo>
                    <a:lnTo>
                      <a:pt x="36" y="145"/>
                    </a:lnTo>
                    <a:lnTo>
                      <a:pt x="32" y="145"/>
                    </a:lnTo>
                    <a:lnTo>
                      <a:pt x="32" y="139"/>
                    </a:lnTo>
                    <a:lnTo>
                      <a:pt x="30" y="136"/>
                    </a:lnTo>
                    <a:lnTo>
                      <a:pt x="34" y="126"/>
                    </a:lnTo>
                    <a:lnTo>
                      <a:pt x="39" y="122"/>
                    </a:lnTo>
                    <a:lnTo>
                      <a:pt x="39" y="121"/>
                    </a:lnTo>
                    <a:lnTo>
                      <a:pt x="36" y="121"/>
                    </a:lnTo>
                    <a:lnTo>
                      <a:pt x="32" y="115"/>
                    </a:lnTo>
                    <a:lnTo>
                      <a:pt x="38" y="107"/>
                    </a:lnTo>
                    <a:lnTo>
                      <a:pt x="38" y="102"/>
                    </a:lnTo>
                    <a:lnTo>
                      <a:pt x="34" y="98"/>
                    </a:lnTo>
                    <a:lnTo>
                      <a:pt x="30" y="89"/>
                    </a:lnTo>
                    <a:lnTo>
                      <a:pt x="34" y="89"/>
                    </a:lnTo>
                    <a:lnTo>
                      <a:pt x="36" y="89"/>
                    </a:lnTo>
                    <a:lnTo>
                      <a:pt x="41" y="83"/>
                    </a:lnTo>
                    <a:lnTo>
                      <a:pt x="38" y="79"/>
                    </a:lnTo>
                    <a:lnTo>
                      <a:pt x="43" y="75"/>
                    </a:lnTo>
                    <a:lnTo>
                      <a:pt x="43" y="64"/>
                    </a:lnTo>
                    <a:lnTo>
                      <a:pt x="41" y="58"/>
                    </a:lnTo>
                    <a:lnTo>
                      <a:pt x="49" y="53"/>
                    </a:lnTo>
                    <a:lnTo>
                      <a:pt x="51" y="53"/>
                    </a:lnTo>
                    <a:lnTo>
                      <a:pt x="54" y="49"/>
                    </a:lnTo>
                    <a:lnTo>
                      <a:pt x="49" y="43"/>
                    </a:lnTo>
                    <a:lnTo>
                      <a:pt x="49" y="40"/>
                    </a:lnTo>
                    <a:lnTo>
                      <a:pt x="39" y="38"/>
                    </a:lnTo>
                    <a:lnTo>
                      <a:pt x="36" y="40"/>
                    </a:lnTo>
                    <a:lnTo>
                      <a:pt x="26" y="40"/>
                    </a:lnTo>
                    <a:lnTo>
                      <a:pt x="21" y="43"/>
                    </a:lnTo>
                    <a:lnTo>
                      <a:pt x="19" y="40"/>
                    </a:lnTo>
                    <a:lnTo>
                      <a:pt x="19" y="36"/>
                    </a:lnTo>
                    <a:lnTo>
                      <a:pt x="17" y="36"/>
                    </a:lnTo>
                    <a:lnTo>
                      <a:pt x="7" y="36"/>
                    </a:lnTo>
                    <a:lnTo>
                      <a:pt x="7" y="36"/>
                    </a:lnTo>
                    <a:lnTo>
                      <a:pt x="11" y="32"/>
                    </a:lnTo>
                    <a:lnTo>
                      <a:pt x="9" y="30"/>
                    </a:lnTo>
                    <a:lnTo>
                      <a:pt x="11" y="28"/>
                    </a:lnTo>
                    <a:lnTo>
                      <a:pt x="9" y="28"/>
                    </a:lnTo>
                    <a:lnTo>
                      <a:pt x="9" y="24"/>
                    </a:lnTo>
                    <a:lnTo>
                      <a:pt x="7" y="28"/>
                    </a:lnTo>
                    <a:lnTo>
                      <a:pt x="6" y="24"/>
                    </a:lnTo>
                    <a:lnTo>
                      <a:pt x="7" y="21"/>
                    </a:lnTo>
                    <a:lnTo>
                      <a:pt x="6" y="21"/>
                    </a:lnTo>
                    <a:lnTo>
                      <a:pt x="6" y="19"/>
                    </a:lnTo>
                    <a:lnTo>
                      <a:pt x="2" y="19"/>
                    </a:lnTo>
                    <a:lnTo>
                      <a:pt x="0" y="15"/>
                    </a:lnTo>
                    <a:lnTo>
                      <a:pt x="4" y="11"/>
                    </a:lnTo>
                    <a:lnTo>
                      <a:pt x="11" y="8"/>
                    </a:lnTo>
                    <a:lnTo>
                      <a:pt x="13" y="9"/>
                    </a:lnTo>
                    <a:lnTo>
                      <a:pt x="19" y="9"/>
                    </a:lnTo>
                    <a:lnTo>
                      <a:pt x="21" y="6"/>
                    </a:lnTo>
                    <a:lnTo>
                      <a:pt x="21" y="6"/>
                    </a:lnTo>
                    <a:lnTo>
                      <a:pt x="19" y="4"/>
                    </a:lnTo>
                    <a:lnTo>
                      <a:pt x="26" y="0"/>
                    </a:lnTo>
                    <a:lnTo>
                      <a:pt x="26" y="0"/>
                    </a:lnTo>
                    <a:lnTo>
                      <a:pt x="30" y="0"/>
                    </a:lnTo>
                    <a:lnTo>
                      <a:pt x="34" y="0"/>
                    </a:lnTo>
                    <a:lnTo>
                      <a:pt x="38" y="4"/>
                    </a:lnTo>
                    <a:lnTo>
                      <a:pt x="41" y="0"/>
                    </a:lnTo>
                    <a:lnTo>
                      <a:pt x="45" y="0"/>
                    </a:lnTo>
                    <a:lnTo>
                      <a:pt x="51" y="4"/>
                    </a:lnTo>
                    <a:lnTo>
                      <a:pt x="54" y="0"/>
                    </a:lnTo>
                    <a:lnTo>
                      <a:pt x="60" y="0"/>
                    </a:lnTo>
                    <a:lnTo>
                      <a:pt x="60" y="0"/>
                    </a:lnTo>
                    <a:lnTo>
                      <a:pt x="66" y="4"/>
                    </a:lnTo>
                    <a:lnTo>
                      <a:pt x="79" y="6"/>
                    </a:lnTo>
                    <a:lnTo>
                      <a:pt x="86" y="8"/>
                    </a:lnTo>
                    <a:lnTo>
                      <a:pt x="94" y="4"/>
                    </a:lnTo>
                    <a:lnTo>
                      <a:pt x="102" y="4"/>
                    </a:lnTo>
                    <a:lnTo>
                      <a:pt x="102" y="8"/>
                    </a:lnTo>
                    <a:lnTo>
                      <a:pt x="109" y="8"/>
                    </a:lnTo>
                    <a:lnTo>
                      <a:pt x="113" y="4"/>
                    </a:lnTo>
                    <a:lnTo>
                      <a:pt x="117" y="4"/>
                    </a:lnTo>
                    <a:lnTo>
                      <a:pt x="124" y="11"/>
                    </a:lnTo>
                    <a:lnTo>
                      <a:pt x="126" y="8"/>
                    </a:lnTo>
                    <a:lnTo>
                      <a:pt x="130" y="8"/>
                    </a:lnTo>
                    <a:lnTo>
                      <a:pt x="132" y="6"/>
                    </a:lnTo>
                    <a:lnTo>
                      <a:pt x="132" y="6"/>
                    </a:lnTo>
                    <a:lnTo>
                      <a:pt x="132" y="6"/>
                    </a:lnTo>
                    <a:lnTo>
                      <a:pt x="132" y="6"/>
                    </a:lnTo>
                    <a:close/>
                    <a:moveTo>
                      <a:pt x="220" y="87"/>
                    </a:moveTo>
                    <a:lnTo>
                      <a:pt x="230" y="89"/>
                    </a:lnTo>
                    <a:lnTo>
                      <a:pt x="230" y="89"/>
                    </a:lnTo>
                    <a:lnTo>
                      <a:pt x="233" y="87"/>
                    </a:lnTo>
                    <a:lnTo>
                      <a:pt x="230" y="83"/>
                    </a:lnTo>
                    <a:lnTo>
                      <a:pt x="224" y="85"/>
                    </a:lnTo>
                    <a:lnTo>
                      <a:pt x="220" y="87"/>
                    </a:lnTo>
                    <a:lnTo>
                      <a:pt x="220" y="87"/>
                    </a:lnTo>
                    <a:lnTo>
                      <a:pt x="220" y="87"/>
                    </a:lnTo>
                    <a:lnTo>
                      <a:pt x="220" y="87"/>
                    </a:lnTo>
                    <a:close/>
                    <a:moveTo>
                      <a:pt x="211" y="98"/>
                    </a:moveTo>
                    <a:lnTo>
                      <a:pt x="213" y="96"/>
                    </a:lnTo>
                    <a:lnTo>
                      <a:pt x="218" y="89"/>
                    </a:lnTo>
                    <a:lnTo>
                      <a:pt x="213" y="89"/>
                    </a:lnTo>
                    <a:lnTo>
                      <a:pt x="209" y="89"/>
                    </a:lnTo>
                    <a:lnTo>
                      <a:pt x="205" y="92"/>
                    </a:lnTo>
                    <a:lnTo>
                      <a:pt x="205" y="96"/>
                    </a:lnTo>
                    <a:lnTo>
                      <a:pt x="209" y="96"/>
                    </a:lnTo>
                    <a:lnTo>
                      <a:pt x="211" y="98"/>
                    </a:lnTo>
                    <a:lnTo>
                      <a:pt x="211" y="98"/>
                    </a:lnTo>
                    <a:lnTo>
                      <a:pt x="211" y="98"/>
                    </a:lnTo>
                    <a:lnTo>
                      <a:pt x="211" y="98"/>
                    </a:lnTo>
                    <a:close/>
                    <a:moveTo>
                      <a:pt x="190" y="111"/>
                    </a:moveTo>
                    <a:lnTo>
                      <a:pt x="190" y="107"/>
                    </a:lnTo>
                    <a:lnTo>
                      <a:pt x="194" y="105"/>
                    </a:lnTo>
                    <a:lnTo>
                      <a:pt x="190" y="104"/>
                    </a:lnTo>
                    <a:lnTo>
                      <a:pt x="186" y="105"/>
                    </a:lnTo>
                    <a:lnTo>
                      <a:pt x="186" y="107"/>
                    </a:lnTo>
                    <a:lnTo>
                      <a:pt x="190" y="111"/>
                    </a:lnTo>
                    <a:lnTo>
                      <a:pt x="190" y="111"/>
                    </a:lnTo>
                    <a:lnTo>
                      <a:pt x="190" y="111"/>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5" name="Freeform 27"/>
              <p:cNvSpPr>
                <a:spLocks/>
              </p:cNvSpPr>
              <p:nvPr/>
            </p:nvSpPr>
            <p:spPr bwMode="auto">
              <a:xfrm>
                <a:off x="2617" y="2267"/>
                <a:ext cx="57" cy="117"/>
              </a:xfrm>
              <a:custGeom>
                <a:avLst/>
                <a:gdLst/>
                <a:ahLst/>
                <a:cxnLst>
                  <a:cxn ang="0">
                    <a:pos x="36" y="107"/>
                  </a:cxn>
                  <a:cxn ang="0">
                    <a:pos x="38" y="94"/>
                  </a:cxn>
                  <a:cxn ang="0">
                    <a:pos x="43" y="86"/>
                  </a:cxn>
                  <a:cxn ang="0">
                    <a:pos x="36" y="81"/>
                  </a:cxn>
                  <a:cxn ang="0">
                    <a:pos x="40" y="68"/>
                  </a:cxn>
                  <a:cxn ang="0">
                    <a:pos x="32" y="54"/>
                  </a:cxn>
                  <a:cxn ang="0">
                    <a:pos x="40" y="54"/>
                  </a:cxn>
                  <a:cxn ang="0">
                    <a:pos x="40" y="45"/>
                  </a:cxn>
                  <a:cxn ang="0">
                    <a:pos x="47" y="30"/>
                  </a:cxn>
                  <a:cxn ang="0">
                    <a:pos x="53" y="19"/>
                  </a:cxn>
                  <a:cxn ang="0">
                    <a:pos x="57" y="15"/>
                  </a:cxn>
                  <a:cxn ang="0">
                    <a:pos x="53" y="4"/>
                  </a:cxn>
                  <a:cxn ang="0">
                    <a:pos x="40" y="5"/>
                  </a:cxn>
                  <a:cxn ang="0">
                    <a:pos x="25" y="7"/>
                  </a:cxn>
                  <a:cxn ang="0">
                    <a:pos x="23" y="0"/>
                  </a:cxn>
                  <a:cxn ang="0">
                    <a:pos x="11" y="0"/>
                  </a:cxn>
                  <a:cxn ang="0">
                    <a:pos x="15" y="13"/>
                  </a:cxn>
                  <a:cxn ang="0">
                    <a:pos x="13" y="24"/>
                  </a:cxn>
                  <a:cxn ang="0">
                    <a:pos x="15" y="34"/>
                  </a:cxn>
                  <a:cxn ang="0">
                    <a:pos x="11" y="41"/>
                  </a:cxn>
                  <a:cxn ang="0">
                    <a:pos x="6" y="53"/>
                  </a:cxn>
                  <a:cxn ang="0">
                    <a:pos x="0" y="64"/>
                  </a:cxn>
                  <a:cxn ang="0">
                    <a:pos x="0" y="77"/>
                  </a:cxn>
                  <a:cxn ang="0">
                    <a:pos x="4" y="73"/>
                  </a:cxn>
                  <a:cxn ang="0">
                    <a:pos x="8" y="73"/>
                  </a:cxn>
                  <a:cxn ang="0">
                    <a:pos x="4" y="79"/>
                  </a:cxn>
                  <a:cxn ang="0">
                    <a:pos x="4" y="85"/>
                  </a:cxn>
                  <a:cxn ang="0">
                    <a:pos x="13" y="83"/>
                  </a:cxn>
                  <a:cxn ang="0">
                    <a:pos x="11" y="88"/>
                  </a:cxn>
                  <a:cxn ang="0">
                    <a:pos x="10" y="103"/>
                  </a:cxn>
                  <a:cxn ang="0">
                    <a:pos x="6" y="113"/>
                  </a:cxn>
                  <a:cxn ang="0">
                    <a:pos x="13" y="111"/>
                  </a:cxn>
                  <a:cxn ang="0">
                    <a:pos x="25" y="117"/>
                  </a:cxn>
                  <a:cxn ang="0">
                    <a:pos x="36" y="113"/>
                  </a:cxn>
                  <a:cxn ang="0">
                    <a:pos x="36" y="111"/>
                  </a:cxn>
                  <a:cxn ang="0">
                    <a:pos x="36" y="111"/>
                  </a:cxn>
                </a:cxnLst>
                <a:rect l="0" t="0" r="r" b="b"/>
                <a:pathLst>
                  <a:path w="57" h="117">
                    <a:moveTo>
                      <a:pt x="36" y="111"/>
                    </a:moveTo>
                    <a:lnTo>
                      <a:pt x="36" y="107"/>
                    </a:lnTo>
                    <a:lnTo>
                      <a:pt x="34" y="101"/>
                    </a:lnTo>
                    <a:lnTo>
                      <a:pt x="38" y="94"/>
                    </a:lnTo>
                    <a:lnTo>
                      <a:pt x="43" y="88"/>
                    </a:lnTo>
                    <a:lnTo>
                      <a:pt x="43" y="86"/>
                    </a:lnTo>
                    <a:lnTo>
                      <a:pt x="40" y="86"/>
                    </a:lnTo>
                    <a:lnTo>
                      <a:pt x="36" y="81"/>
                    </a:lnTo>
                    <a:lnTo>
                      <a:pt x="40" y="75"/>
                    </a:lnTo>
                    <a:lnTo>
                      <a:pt x="40" y="68"/>
                    </a:lnTo>
                    <a:lnTo>
                      <a:pt x="38" y="64"/>
                    </a:lnTo>
                    <a:lnTo>
                      <a:pt x="32" y="54"/>
                    </a:lnTo>
                    <a:lnTo>
                      <a:pt x="38" y="54"/>
                    </a:lnTo>
                    <a:lnTo>
                      <a:pt x="40" y="54"/>
                    </a:lnTo>
                    <a:lnTo>
                      <a:pt x="45" y="49"/>
                    </a:lnTo>
                    <a:lnTo>
                      <a:pt x="40" y="45"/>
                    </a:lnTo>
                    <a:lnTo>
                      <a:pt x="47" y="41"/>
                    </a:lnTo>
                    <a:lnTo>
                      <a:pt x="47" y="30"/>
                    </a:lnTo>
                    <a:lnTo>
                      <a:pt x="45" y="24"/>
                    </a:lnTo>
                    <a:lnTo>
                      <a:pt x="53" y="19"/>
                    </a:lnTo>
                    <a:lnTo>
                      <a:pt x="55" y="19"/>
                    </a:lnTo>
                    <a:lnTo>
                      <a:pt x="57" y="15"/>
                    </a:lnTo>
                    <a:lnTo>
                      <a:pt x="53" y="7"/>
                    </a:lnTo>
                    <a:lnTo>
                      <a:pt x="53" y="4"/>
                    </a:lnTo>
                    <a:lnTo>
                      <a:pt x="43" y="4"/>
                    </a:lnTo>
                    <a:lnTo>
                      <a:pt x="40" y="5"/>
                    </a:lnTo>
                    <a:lnTo>
                      <a:pt x="28" y="4"/>
                    </a:lnTo>
                    <a:lnTo>
                      <a:pt x="25" y="7"/>
                    </a:lnTo>
                    <a:lnTo>
                      <a:pt x="23" y="4"/>
                    </a:lnTo>
                    <a:lnTo>
                      <a:pt x="23" y="0"/>
                    </a:lnTo>
                    <a:lnTo>
                      <a:pt x="19" y="0"/>
                    </a:lnTo>
                    <a:lnTo>
                      <a:pt x="11" y="0"/>
                    </a:lnTo>
                    <a:lnTo>
                      <a:pt x="11" y="5"/>
                    </a:lnTo>
                    <a:lnTo>
                      <a:pt x="15" y="13"/>
                    </a:lnTo>
                    <a:lnTo>
                      <a:pt x="13" y="24"/>
                    </a:lnTo>
                    <a:lnTo>
                      <a:pt x="13" y="24"/>
                    </a:lnTo>
                    <a:lnTo>
                      <a:pt x="13" y="30"/>
                    </a:lnTo>
                    <a:lnTo>
                      <a:pt x="15" y="34"/>
                    </a:lnTo>
                    <a:lnTo>
                      <a:pt x="13" y="37"/>
                    </a:lnTo>
                    <a:lnTo>
                      <a:pt x="11" y="41"/>
                    </a:lnTo>
                    <a:lnTo>
                      <a:pt x="11" y="47"/>
                    </a:lnTo>
                    <a:lnTo>
                      <a:pt x="6" y="53"/>
                    </a:lnTo>
                    <a:lnTo>
                      <a:pt x="6" y="54"/>
                    </a:lnTo>
                    <a:lnTo>
                      <a:pt x="0" y="64"/>
                    </a:lnTo>
                    <a:lnTo>
                      <a:pt x="0" y="73"/>
                    </a:lnTo>
                    <a:lnTo>
                      <a:pt x="0" y="77"/>
                    </a:lnTo>
                    <a:lnTo>
                      <a:pt x="4" y="77"/>
                    </a:lnTo>
                    <a:lnTo>
                      <a:pt x="4" y="73"/>
                    </a:lnTo>
                    <a:lnTo>
                      <a:pt x="8" y="71"/>
                    </a:lnTo>
                    <a:lnTo>
                      <a:pt x="8" y="73"/>
                    </a:lnTo>
                    <a:lnTo>
                      <a:pt x="10" y="77"/>
                    </a:lnTo>
                    <a:lnTo>
                      <a:pt x="4" y="79"/>
                    </a:lnTo>
                    <a:lnTo>
                      <a:pt x="4" y="83"/>
                    </a:lnTo>
                    <a:lnTo>
                      <a:pt x="4" y="85"/>
                    </a:lnTo>
                    <a:lnTo>
                      <a:pt x="8" y="83"/>
                    </a:lnTo>
                    <a:lnTo>
                      <a:pt x="13" y="83"/>
                    </a:lnTo>
                    <a:lnTo>
                      <a:pt x="10" y="85"/>
                    </a:lnTo>
                    <a:lnTo>
                      <a:pt x="11" y="88"/>
                    </a:lnTo>
                    <a:lnTo>
                      <a:pt x="10" y="94"/>
                    </a:lnTo>
                    <a:lnTo>
                      <a:pt x="10" y="103"/>
                    </a:lnTo>
                    <a:lnTo>
                      <a:pt x="8" y="111"/>
                    </a:lnTo>
                    <a:lnTo>
                      <a:pt x="6" y="113"/>
                    </a:lnTo>
                    <a:lnTo>
                      <a:pt x="8" y="115"/>
                    </a:lnTo>
                    <a:lnTo>
                      <a:pt x="13" y="111"/>
                    </a:lnTo>
                    <a:lnTo>
                      <a:pt x="23" y="113"/>
                    </a:lnTo>
                    <a:lnTo>
                      <a:pt x="25" y="117"/>
                    </a:lnTo>
                    <a:lnTo>
                      <a:pt x="30" y="113"/>
                    </a:lnTo>
                    <a:lnTo>
                      <a:pt x="36" y="113"/>
                    </a:lnTo>
                    <a:lnTo>
                      <a:pt x="36" y="111"/>
                    </a:lnTo>
                    <a:lnTo>
                      <a:pt x="36" y="111"/>
                    </a:lnTo>
                    <a:lnTo>
                      <a:pt x="36" y="111"/>
                    </a:lnTo>
                    <a:lnTo>
                      <a:pt x="36" y="111"/>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6" name="Freeform 28"/>
              <p:cNvSpPr>
                <a:spLocks/>
              </p:cNvSpPr>
              <p:nvPr/>
            </p:nvSpPr>
            <p:spPr bwMode="auto">
              <a:xfrm>
                <a:off x="3718" y="2600"/>
                <a:ext cx="91" cy="70"/>
              </a:xfrm>
              <a:custGeom>
                <a:avLst/>
                <a:gdLst/>
                <a:ahLst/>
                <a:cxnLst>
                  <a:cxn ang="0">
                    <a:pos x="0" y="36"/>
                  </a:cxn>
                  <a:cxn ang="0">
                    <a:pos x="0" y="44"/>
                  </a:cxn>
                  <a:cxn ang="0">
                    <a:pos x="4" y="49"/>
                  </a:cxn>
                  <a:cxn ang="0">
                    <a:pos x="6" y="62"/>
                  </a:cxn>
                  <a:cxn ang="0">
                    <a:pos x="64" y="70"/>
                  </a:cxn>
                  <a:cxn ang="0">
                    <a:pos x="70" y="64"/>
                  </a:cxn>
                  <a:cxn ang="0">
                    <a:pos x="85" y="15"/>
                  </a:cxn>
                  <a:cxn ang="0">
                    <a:pos x="91" y="15"/>
                  </a:cxn>
                  <a:cxn ang="0">
                    <a:pos x="89" y="11"/>
                  </a:cxn>
                  <a:cxn ang="0">
                    <a:pos x="89" y="8"/>
                  </a:cxn>
                  <a:cxn ang="0">
                    <a:pos x="85" y="10"/>
                  </a:cxn>
                  <a:cxn ang="0">
                    <a:pos x="85" y="8"/>
                  </a:cxn>
                  <a:cxn ang="0">
                    <a:pos x="85" y="8"/>
                  </a:cxn>
                  <a:cxn ang="0">
                    <a:pos x="85" y="8"/>
                  </a:cxn>
                  <a:cxn ang="0">
                    <a:pos x="83" y="0"/>
                  </a:cxn>
                  <a:cxn ang="0">
                    <a:pos x="81" y="0"/>
                  </a:cxn>
                  <a:cxn ang="0">
                    <a:pos x="81" y="4"/>
                  </a:cxn>
                  <a:cxn ang="0">
                    <a:pos x="79" y="4"/>
                  </a:cxn>
                  <a:cxn ang="0">
                    <a:pos x="68" y="11"/>
                  </a:cxn>
                  <a:cxn ang="0">
                    <a:pos x="68" y="15"/>
                  </a:cxn>
                  <a:cxn ang="0">
                    <a:pos x="57" y="25"/>
                  </a:cxn>
                  <a:cxn ang="0">
                    <a:pos x="55" y="28"/>
                  </a:cxn>
                  <a:cxn ang="0">
                    <a:pos x="57" y="28"/>
                  </a:cxn>
                  <a:cxn ang="0">
                    <a:pos x="57" y="30"/>
                  </a:cxn>
                  <a:cxn ang="0">
                    <a:pos x="55" y="36"/>
                  </a:cxn>
                  <a:cxn ang="0">
                    <a:pos x="51" y="34"/>
                  </a:cxn>
                  <a:cxn ang="0">
                    <a:pos x="51" y="34"/>
                  </a:cxn>
                  <a:cxn ang="0">
                    <a:pos x="45" y="34"/>
                  </a:cxn>
                  <a:cxn ang="0">
                    <a:pos x="49" y="38"/>
                  </a:cxn>
                  <a:cxn ang="0">
                    <a:pos x="45" y="38"/>
                  </a:cxn>
                  <a:cxn ang="0">
                    <a:pos x="45" y="40"/>
                  </a:cxn>
                  <a:cxn ang="0">
                    <a:pos x="40" y="42"/>
                  </a:cxn>
                  <a:cxn ang="0">
                    <a:pos x="36" y="42"/>
                  </a:cxn>
                  <a:cxn ang="0">
                    <a:pos x="34" y="40"/>
                  </a:cxn>
                  <a:cxn ang="0">
                    <a:pos x="30" y="40"/>
                  </a:cxn>
                  <a:cxn ang="0">
                    <a:pos x="29" y="38"/>
                  </a:cxn>
                  <a:cxn ang="0">
                    <a:pos x="27" y="40"/>
                  </a:cxn>
                  <a:cxn ang="0">
                    <a:pos x="19" y="38"/>
                  </a:cxn>
                  <a:cxn ang="0">
                    <a:pos x="13" y="44"/>
                  </a:cxn>
                  <a:cxn ang="0">
                    <a:pos x="10" y="44"/>
                  </a:cxn>
                  <a:cxn ang="0">
                    <a:pos x="6" y="44"/>
                  </a:cxn>
                  <a:cxn ang="0">
                    <a:pos x="4" y="44"/>
                  </a:cxn>
                  <a:cxn ang="0">
                    <a:pos x="2" y="36"/>
                  </a:cxn>
                  <a:cxn ang="0">
                    <a:pos x="2" y="36"/>
                  </a:cxn>
                  <a:cxn ang="0">
                    <a:pos x="0" y="36"/>
                  </a:cxn>
                  <a:cxn ang="0">
                    <a:pos x="0" y="36"/>
                  </a:cxn>
                  <a:cxn ang="0">
                    <a:pos x="0" y="36"/>
                  </a:cxn>
                </a:cxnLst>
                <a:rect l="0" t="0" r="r" b="b"/>
                <a:pathLst>
                  <a:path w="91" h="70">
                    <a:moveTo>
                      <a:pt x="0" y="36"/>
                    </a:moveTo>
                    <a:lnTo>
                      <a:pt x="0" y="44"/>
                    </a:lnTo>
                    <a:lnTo>
                      <a:pt x="4" y="49"/>
                    </a:lnTo>
                    <a:lnTo>
                      <a:pt x="6" y="62"/>
                    </a:lnTo>
                    <a:lnTo>
                      <a:pt x="64" y="70"/>
                    </a:lnTo>
                    <a:lnTo>
                      <a:pt x="70" y="64"/>
                    </a:lnTo>
                    <a:lnTo>
                      <a:pt x="85" y="15"/>
                    </a:lnTo>
                    <a:lnTo>
                      <a:pt x="91" y="15"/>
                    </a:lnTo>
                    <a:lnTo>
                      <a:pt x="89" y="11"/>
                    </a:lnTo>
                    <a:lnTo>
                      <a:pt x="89" y="8"/>
                    </a:lnTo>
                    <a:lnTo>
                      <a:pt x="85" y="10"/>
                    </a:lnTo>
                    <a:lnTo>
                      <a:pt x="85" y="8"/>
                    </a:lnTo>
                    <a:lnTo>
                      <a:pt x="85" y="8"/>
                    </a:lnTo>
                    <a:lnTo>
                      <a:pt x="85" y="8"/>
                    </a:lnTo>
                    <a:lnTo>
                      <a:pt x="83" y="0"/>
                    </a:lnTo>
                    <a:lnTo>
                      <a:pt x="81" y="0"/>
                    </a:lnTo>
                    <a:lnTo>
                      <a:pt x="81" y="4"/>
                    </a:lnTo>
                    <a:lnTo>
                      <a:pt x="79" y="4"/>
                    </a:lnTo>
                    <a:lnTo>
                      <a:pt x="68" y="11"/>
                    </a:lnTo>
                    <a:lnTo>
                      <a:pt x="68" y="15"/>
                    </a:lnTo>
                    <a:lnTo>
                      <a:pt x="57" y="25"/>
                    </a:lnTo>
                    <a:lnTo>
                      <a:pt x="55" y="28"/>
                    </a:lnTo>
                    <a:lnTo>
                      <a:pt x="57" y="28"/>
                    </a:lnTo>
                    <a:lnTo>
                      <a:pt x="57" y="30"/>
                    </a:lnTo>
                    <a:lnTo>
                      <a:pt x="55" y="36"/>
                    </a:lnTo>
                    <a:lnTo>
                      <a:pt x="51" y="34"/>
                    </a:lnTo>
                    <a:lnTo>
                      <a:pt x="51" y="34"/>
                    </a:lnTo>
                    <a:lnTo>
                      <a:pt x="45" y="34"/>
                    </a:lnTo>
                    <a:lnTo>
                      <a:pt x="49" y="38"/>
                    </a:lnTo>
                    <a:lnTo>
                      <a:pt x="45" y="38"/>
                    </a:lnTo>
                    <a:lnTo>
                      <a:pt x="45" y="40"/>
                    </a:lnTo>
                    <a:lnTo>
                      <a:pt x="40" y="42"/>
                    </a:lnTo>
                    <a:lnTo>
                      <a:pt x="36" y="42"/>
                    </a:lnTo>
                    <a:lnTo>
                      <a:pt x="34" y="40"/>
                    </a:lnTo>
                    <a:lnTo>
                      <a:pt x="30" y="40"/>
                    </a:lnTo>
                    <a:lnTo>
                      <a:pt x="29" y="38"/>
                    </a:lnTo>
                    <a:lnTo>
                      <a:pt x="27" y="40"/>
                    </a:lnTo>
                    <a:lnTo>
                      <a:pt x="19" y="38"/>
                    </a:lnTo>
                    <a:lnTo>
                      <a:pt x="13" y="44"/>
                    </a:lnTo>
                    <a:lnTo>
                      <a:pt x="10" y="44"/>
                    </a:lnTo>
                    <a:lnTo>
                      <a:pt x="6" y="44"/>
                    </a:lnTo>
                    <a:lnTo>
                      <a:pt x="4" y="44"/>
                    </a:lnTo>
                    <a:lnTo>
                      <a:pt x="2" y="36"/>
                    </a:lnTo>
                    <a:lnTo>
                      <a:pt x="2" y="36"/>
                    </a:lnTo>
                    <a:lnTo>
                      <a:pt x="0" y="36"/>
                    </a:lnTo>
                    <a:lnTo>
                      <a:pt x="0" y="36"/>
                    </a:lnTo>
                    <a:lnTo>
                      <a:pt x="0" y="36"/>
                    </a:lnTo>
                    <a:close/>
                  </a:path>
                </a:pathLst>
              </a:custGeom>
              <a:solidFill>
                <a:srgbClr val="ED77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7" name="Freeform 29"/>
              <p:cNvSpPr>
                <a:spLocks/>
              </p:cNvSpPr>
              <p:nvPr/>
            </p:nvSpPr>
            <p:spPr bwMode="auto">
              <a:xfrm>
                <a:off x="3718" y="2600"/>
                <a:ext cx="91" cy="70"/>
              </a:xfrm>
              <a:custGeom>
                <a:avLst/>
                <a:gdLst/>
                <a:ahLst/>
                <a:cxnLst>
                  <a:cxn ang="0">
                    <a:pos x="0" y="36"/>
                  </a:cxn>
                  <a:cxn ang="0">
                    <a:pos x="0" y="44"/>
                  </a:cxn>
                  <a:cxn ang="0">
                    <a:pos x="4" y="49"/>
                  </a:cxn>
                  <a:cxn ang="0">
                    <a:pos x="6" y="62"/>
                  </a:cxn>
                  <a:cxn ang="0">
                    <a:pos x="64" y="70"/>
                  </a:cxn>
                  <a:cxn ang="0">
                    <a:pos x="70" y="64"/>
                  </a:cxn>
                  <a:cxn ang="0">
                    <a:pos x="85" y="15"/>
                  </a:cxn>
                  <a:cxn ang="0">
                    <a:pos x="91" y="15"/>
                  </a:cxn>
                  <a:cxn ang="0">
                    <a:pos x="89" y="11"/>
                  </a:cxn>
                  <a:cxn ang="0">
                    <a:pos x="89" y="8"/>
                  </a:cxn>
                  <a:cxn ang="0">
                    <a:pos x="85" y="10"/>
                  </a:cxn>
                  <a:cxn ang="0">
                    <a:pos x="85" y="8"/>
                  </a:cxn>
                  <a:cxn ang="0">
                    <a:pos x="85" y="8"/>
                  </a:cxn>
                  <a:cxn ang="0">
                    <a:pos x="85" y="8"/>
                  </a:cxn>
                  <a:cxn ang="0">
                    <a:pos x="83" y="0"/>
                  </a:cxn>
                  <a:cxn ang="0">
                    <a:pos x="81" y="0"/>
                  </a:cxn>
                  <a:cxn ang="0">
                    <a:pos x="81" y="4"/>
                  </a:cxn>
                  <a:cxn ang="0">
                    <a:pos x="79" y="4"/>
                  </a:cxn>
                  <a:cxn ang="0">
                    <a:pos x="68" y="11"/>
                  </a:cxn>
                  <a:cxn ang="0">
                    <a:pos x="68" y="15"/>
                  </a:cxn>
                  <a:cxn ang="0">
                    <a:pos x="57" y="25"/>
                  </a:cxn>
                  <a:cxn ang="0">
                    <a:pos x="55" y="28"/>
                  </a:cxn>
                  <a:cxn ang="0">
                    <a:pos x="57" y="28"/>
                  </a:cxn>
                  <a:cxn ang="0">
                    <a:pos x="57" y="30"/>
                  </a:cxn>
                  <a:cxn ang="0">
                    <a:pos x="55" y="36"/>
                  </a:cxn>
                  <a:cxn ang="0">
                    <a:pos x="51" y="34"/>
                  </a:cxn>
                  <a:cxn ang="0">
                    <a:pos x="51" y="34"/>
                  </a:cxn>
                  <a:cxn ang="0">
                    <a:pos x="45" y="34"/>
                  </a:cxn>
                  <a:cxn ang="0">
                    <a:pos x="49" y="38"/>
                  </a:cxn>
                  <a:cxn ang="0">
                    <a:pos x="45" y="38"/>
                  </a:cxn>
                  <a:cxn ang="0">
                    <a:pos x="45" y="40"/>
                  </a:cxn>
                  <a:cxn ang="0">
                    <a:pos x="40" y="42"/>
                  </a:cxn>
                  <a:cxn ang="0">
                    <a:pos x="36" y="42"/>
                  </a:cxn>
                  <a:cxn ang="0">
                    <a:pos x="34" y="40"/>
                  </a:cxn>
                  <a:cxn ang="0">
                    <a:pos x="30" y="40"/>
                  </a:cxn>
                  <a:cxn ang="0">
                    <a:pos x="29" y="38"/>
                  </a:cxn>
                  <a:cxn ang="0">
                    <a:pos x="27" y="40"/>
                  </a:cxn>
                  <a:cxn ang="0">
                    <a:pos x="19" y="38"/>
                  </a:cxn>
                  <a:cxn ang="0">
                    <a:pos x="13" y="44"/>
                  </a:cxn>
                  <a:cxn ang="0">
                    <a:pos x="10" y="44"/>
                  </a:cxn>
                  <a:cxn ang="0">
                    <a:pos x="6" y="44"/>
                  </a:cxn>
                  <a:cxn ang="0">
                    <a:pos x="4" y="44"/>
                  </a:cxn>
                  <a:cxn ang="0">
                    <a:pos x="2" y="36"/>
                  </a:cxn>
                  <a:cxn ang="0">
                    <a:pos x="2" y="36"/>
                  </a:cxn>
                  <a:cxn ang="0">
                    <a:pos x="0" y="36"/>
                  </a:cxn>
                  <a:cxn ang="0">
                    <a:pos x="0" y="36"/>
                  </a:cxn>
                  <a:cxn ang="0">
                    <a:pos x="0" y="36"/>
                  </a:cxn>
                </a:cxnLst>
                <a:rect l="0" t="0" r="r" b="b"/>
                <a:pathLst>
                  <a:path w="91" h="70">
                    <a:moveTo>
                      <a:pt x="0" y="36"/>
                    </a:moveTo>
                    <a:lnTo>
                      <a:pt x="0" y="44"/>
                    </a:lnTo>
                    <a:lnTo>
                      <a:pt x="4" y="49"/>
                    </a:lnTo>
                    <a:lnTo>
                      <a:pt x="6" y="62"/>
                    </a:lnTo>
                    <a:lnTo>
                      <a:pt x="64" y="70"/>
                    </a:lnTo>
                    <a:lnTo>
                      <a:pt x="70" y="64"/>
                    </a:lnTo>
                    <a:lnTo>
                      <a:pt x="85" y="15"/>
                    </a:lnTo>
                    <a:lnTo>
                      <a:pt x="91" y="15"/>
                    </a:lnTo>
                    <a:lnTo>
                      <a:pt x="89" y="11"/>
                    </a:lnTo>
                    <a:lnTo>
                      <a:pt x="89" y="8"/>
                    </a:lnTo>
                    <a:lnTo>
                      <a:pt x="85" y="10"/>
                    </a:lnTo>
                    <a:lnTo>
                      <a:pt x="85" y="8"/>
                    </a:lnTo>
                    <a:lnTo>
                      <a:pt x="85" y="8"/>
                    </a:lnTo>
                    <a:lnTo>
                      <a:pt x="85" y="8"/>
                    </a:lnTo>
                    <a:lnTo>
                      <a:pt x="83" y="0"/>
                    </a:lnTo>
                    <a:lnTo>
                      <a:pt x="81" y="0"/>
                    </a:lnTo>
                    <a:lnTo>
                      <a:pt x="81" y="4"/>
                    </a:lnTo>
                    <a:lnTo>
                      <a:pt x="79" y="4"/>
                    </a:lnTo>
                    <a:lnTo>
                      <a:pt x="68" y="11"/>
                    </a:lnTo>
                    <a:lnTo>
                      <a:pt x="68" y="15"/>
                    </a:lnTo>
                    <a:lnTo>
                      <a:pt x="57" y="25"/>
                    </a:lnTo>
                    <a:lnTo>
                      <a:pt x="55" y="28"/>
                    </a:lnTo>
                    <a:lnTo>
                      <a:pt x="57" y="28"/>
                    </a:lnTo>
                    <a:lnTo>
                      <a:pt x="57" y="30"/>
                    </a:lnTo>
                    <a:lnTo>
                      <a:pt x="55" y="36"/>
                    </a:lnTo>
                    <a:lnTo>
                      <a:pt x="51" y="34"/>
                    </a:lnTo>
                    <a:lnTo>
                      <a:pt x="51" y="34"/>
                    </a:lnTo>
                    <a:lnTo>
                      <a:pt x="45" y="34"/>
                    </a:lnTo>
                    <a:lnTo>
                      <a:pt x="49" y="38"/>
                    </a:lnTo>
                    <a:lnTo>
                      <a:pt x="45" y="38"/>
                    </a:lnTo>
                    <a:lnTo>
                      <a:pt x="45" y="40"/>
                    </a:lnTo>
                    <a:lnTo>
                      <a:pt x="40" y="42"/>
                    </a:lnTo>
                    <a:lnTo>
                      <a:pt x="36" y="42"/>
                    </a:lnTo>
                    <a:lnTo>
                      <a:pt x="34" y="40"/>
                    </a:lnTo>
                    <a:lnTo>
                      <a:pt x="30" y="40"/>
                    </a:lnTo>
                    <a:lnTo>
                      <a:pt x="29" y="38"/>
                    </a:lnTo>
                    <a:lnTo>
                      <a:pt x="27" y="40"/>
                    </a:lnTo>
                    <a:lnTo>
                      <a:pt x="19" y="38"/>
                    </a:lnTo>
                    <a:lnTo>
                      <a:pt x="13" y="44"/>
                    </a:lnTo>
                    <a:lnTo>
                      <a:pt x="10" y="44"/>
                    </a:lnTo>
                    <a:lnTo>
                      <a:pt x="6" y="44"/>
                    </a:lnTo>
                    <a:lnTo>
                      <a:pt x="4" y="44"/>
                    </a:lnTo>
                    <a:lnTo>
                      <a:pt x="2" y="36"/>
                    </a:lnTo>
                    <a:lnTo>
                      <a:pt x="2" y="36"/>
                    </a:lnTo>
                    <a:lnTo>
                      <a:pt x="0" y="36"/>
                    </a:lnTo>
                    <a:lnTo>
                      <a:pt x="0" y="36"/>
                    </a:lnTo>
                    <a:lnTo>
                      <a:pt x="0" y="36"/>
                    </a:lnTo>
                    <a:close/>
                  </a:path>
                </a:pathLst>
              </a:custGeom>
              <a:solidFill>
                <a:srgbClr val="ED771A"/>
              </a:solidFill>
              <a:ln w="1270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8" name="Freeform 30"/>
              <p:cNvSpPr>
                <a:spLocks/>
              </p:cNvSpPr>
              <p:nvPr/>
            </p:nvSpPr>
            <p:spPr bwMode="auto">
              <a:xfrm>
                <a:off x="2559" y="2404"/>
                <a:ext cx="205" cy="177"/>
              </a:xfrm>
              <a:custGeom>
                <a:avLst/>
                <a:gdLst/>
                <a:ahLst/>
                <a:cxnLst>
                  <a:cxn ang="0">
                    <a:pos x="68" y="168"/>
                  </a:cxn>
                  <a:cxn ang="0">
                    <a:pos x="68" y="168"/>
                  </a:cxn>
                  <a:cxn ang="0">
                    <a:pos x="77" y="147"/>
                  </a:cxn>
                  <a:cxn ang="0">
                    <a:pos x="86" y="140"/>
                  </a:cxn>
                  <a:cxn ang="0">
                    <a:pos x="100" y="136"/>
                  </a:cxn>
                  <a:cxn ang="0">
                    <a:pos x="111" y="136"/>
                  </a:cxn>
                  <a:cxn ang="0">
                    <a:pos x="132" y="126"/>
                  </a:cxn>
                  <a:cxn ang="0">
                    <a:pos x="164" y="106"/>
                  </a:cxn>
                  <a:cxn ang="0">
                    <a:pos x="165" y="96"/>
                  </a:cxn>
                  <a:cxn ang="0">
                    <a:pos x="171" y="91"/>
                  </a:cxn>
                  <a:cxn ang="0">
                    <a:pos x="179" y="81"/>
                  </a:cxn>
                  <a:cxn ang="0">
                    <a:pos x="203" y="78"/>
                  </a:cxn>
                  <a:cxn ang="0">
                    <a:pos x="205" y="72"/>
                  </a:cxn>
                  <a:cxn ang="0">
                    <a:pos x="203" y="72"/>
                  </a:cxn>
                  <a:cxn ang="0">
                    <a:pos x="197" y="68"/>
                  </a:cxn>
                  <a:cxn ang="0">
                    <a:pos x="194" y="59"/>
                  </a:cxn>
                  <a:cxn ang="0">
                    <a:pos x="192" y="44"/>
                  </a:cxn>
                  <a:cxn ang="0">
                    <a:pos x="192" y="29"/>
                  </a:cxn>
                  <a:cxn ang="0">
                    <a:pos x="190" y="25"/>
                  </a:cxn>
                  <a:cxn ang="0">
                    <a:pos x="188" y="19"/>
                  </a:cxn>
                  <a:cxn ang="0">
                    <a:pos x="182" y="19"/>
                  </a:cxn>
                  <a:cxn ang="0">
                    <a:pos x="171" y="15"/>
                  </a:cxn>
                  <a:cxn ang="0">
                    <a:pos x="169" y="12"/>
                  </a:cxn>
                  <a:cxn ang="0">
                    <a:pos x="165" y="15"/>
                  </a:cxn>
                  <a:cxn ang="0">
                    <a:pos x="154" y="15"/>
                  </a:cxn>
                  <a:cxn ang="0">
                    <a:pos x="147" y="17"/>
                  </a:cxn>
                  <a:cxn ang="0">
                    <a:pos x="137" y="17"/>
                  </a:cxn>
                  <a:cxn ang="0">
                    <a:pos x="132" y="10"/>
                  </a:cxn>
                  <a:cxn ang="0">
                    <a:pos x="130" y="4"/>
                  </a:cxn>
                  <a:cxn ang="0">
                    <a:pos x="130" y="0"/>
                  </a:cxn>
                  <a:cxn ang="0">
                    <a:pos x="124" y="4"/>
                  </a:cxn>
                  <a:cxn ang="0">
                    <a:pos x="116" y="8"/>
                  </a:cxn>
                  <a:cxn ang="0">
                    <a:pos x="113" y="25"/>
                  </a:cxn>
                  <a:cxn ang="0">
                    <a:pos x="111" y="36"/>
                  </a:cxn>
                  <a:cxn ang="0">
                    <a:pos x="100" y="44"/>
                  </a:cxn>
                  <a:cxn ang="0">
                    <a:pos x="88" y="47"/>
                  </a:cxn>
                  <a:cxn ang="0">
                    <a:pos x="83" y="53"/>
                  </a:cxn>
                  <a:cxn ang="0">
                    <a:pos x="69" y="61"/>
                  </a:cxn>
                  <a:cxn ang="0">
                    <a:pos x="60" y="68"/>
                  </a:cxn>
                  <a:cxn ang="0">
                    <a:pos x="62" y="81"/>
                  </a:cxn>
                  <a:cxn ang="0">
                    <a:pos x="49" y="96"/>
                  </a:cxn>
                  <a:cxn ang="0">
                    <a:pos x="52" y="108"/>
                  </a:cxn>
                  <a:cxn ang="0">
                    <a:pos x="52" y="117"/>
                  </a:cxn>
                  <a:cxn ang="0">
                    <a:pos x="52" y="123"/>
                  </a:cxn>
                  <a:cxn ang="0">
                    <a:pos x="39" y="140"/>
                  </a:cxn>
                  <a:cxn ang="0">
                    <a:pos x="28" y="147"/>
                  </a:cxn>
                  <a:cxn ang="0">
                    <a:pos x="0" y="168"/>
                  </a:cxn>
                </a:cxnLst>
                <a:rect l="0" t="0" r="r" b="b"/>
                <a:pathLst>
                  <a:path w="205" h="177">
                    <a:moveTo>
                      <a:pt x="68" y="177"/>
                    </a:moveTo>
                    <a:lnTo>
                      <a:pt x="68" y="168"/>
                    </a:lnTo>
                    <a:lnTo>
                      <a:pt x="68" y="168"/>
                    </a:lnTo>
                    <a:lnTo>
                      <a:pt x="68" y="168"/>
                    </a:lnTo>
                    <a:lnTo>
                      <a:pt x="68" y="155"/>
                    </a:lnTo>
                    <a:lnTo>
                      <a:pt x="77" y="147"/>
                    </a:lnTo>
                    <a:lnTo>
                      <a:pt x="81" y="142"/>
                    </a:lnTo>
                    <a:lnTo>
                      <a:pt x="86" y="140"/>
                    </a:lnTo>
                    <a:lnTo>
                      <a:pt x="94" y="136"/>
                    </a:lnTo>
                    <a:lnTo>
                      <a:pt x="100" y="136"/>
                    </a:lnTo>
                    <a:lnTo>
                      <a:pt x="103" y="136"/>
                    </a:lnTo>
                    <a:lnTo>
                      <a:pt x="111" y="136"/>
                    </a:lnTo>
                    <a:lnTo>
                      <a:pt x="116" y="136"/>
                    </a:lnTo>
                    <a:lnTo>
                      <a:pt x="132" y="126"/>
                    </a:lnTo>
                    <a:lnTo>
                      <a:pt x="150" y="115"/>
                    </a:lnTo>
                    <a:lnTo>
                      <a:pt x="164" y="106"/>
                    </a:lnTo>
                    <a:lnTo>
                      <a:pt x="165" y="102"/>
                    </a:lnTo>
                    <a:lnTo>
                      <a:pt x="165" y="96"/>
                    </a:lnTo>
                    <a:lnTo>
                      <a:pt x="167" y="93"/>
                    </a:lnTo>
                    <a:lnTo>
                      <a:pt x="171" y="91"/>
                    </a:lnTo>
                    <a:lnTo>
                      <a:pt x="175" y="83"/>
                    </a:lnTo>
                    <a:lnTo>
                      <a:pt x="179" y="81"/>
                    </a:lnTo>
                    <a:lnTo>
                      <a:pt x="203" y="81"/>
                    </a:lnTo>
                    <a:lnTo>
                      <a:pt x="203" y="78"/>
                    </a:lnTo>
                    <a:lnTo>
                      <a:pt x="203" y="76"/>
                    </a:lnTo>
                    <a:lnTo>
                      <a:pt x="205" y="72"/>
                    </a:lnTo>
                    <a:lnTo>
                      <a:pt x="203" y="72"/>
                    </a:lnTo>
                    <a:lnTo>
                      <a:pt x="203" y="72"/>
                    </a:lnTo>
                    <a:lnTo>
                      <a:pt x="199" y="68"/>
                    </a:lnTo>
                    <a:lnTo>
                      <a:pt x="197" y="68"/>
                    </a:lnTo>
                    <a:lnTo>
                      <a:pt x="197" y="64"/>
                    </a:lnTo>
                    <a:lnTo>
                      <a:pt x="194" y="59"/>
                    </a:lnTo>
                    <a:lnTo>
                      <a:pt x="192" y="44"/>
                    </a:lnTo>
                    <a:lnTo>
                      <a:pt x="192" y="44"/>
                    </a:lnTo>
                    <a:lnTo>
                      <a:pt x="192" y="36"/>
                    </a:lnTo>
                    <a:lnTo>
                      <a:pt x="192" y="29"/>
                    </a:lnTo>
                    <a:lnTo>
                      <a:pt x="192" y="29"/>
                    </a:lnTo>
                    <a:lnTo>
                      <a:pt x="190" y="25"/>
                    </a:lnTo>
                    <a:lnTo>
                      <a:pt x="188" y="23"/>
                    </a:lnTo>
                    <a:lnTo>
                      <a:pt x="188" y="19"/>
                    </a:lnTo>
                    <a:lnTo>
                      <a:pt x="186" y="19"/>
                    </a:lnTo>
                    <a:lnTo>
                      <a:pt x="182" y="19"/>
                    </a:lnTo>
                    <a:lnTo>
                      <a:pt x="173" y="17"/>
                    </a:lnTo>
                    <a:lnTo>
                      <a:pt x="171" y="15"/>
                    </a:lnTo>
                    <a:lnTo>
                      <a:pt x="171" y="12"/>
                    </a:lnTo>
                    <a:lnTo>
                      <a:pt x="169" y="12"/>
                    </a:lnTo>
                    <a:lnTo>
                      <a:pt x="169" y="12"/>
                    </a:lnTo>
                    <a:lnTo>
                      <a:pt x="165" y="15"/>
                    </a:lnTo>
                    <a:lnTo>
                      <a:pt x="160" y="15"/>
                    </a:lnTo>
                    <a:lnTo>
                      <a:pt x="154" y="15"/>
                    </a:lnTo>
                    <a:lnTo>
                      <a:pt x="150" y="13"/>
                    </a:lnTo>
                    <a:lnTo>
                      <a:pt x="147" y="17"/>
                    </a:lnTo>
                    <a:lnTo>
                      <a:pt x="141" y="17"/>
                    </a:lnTo>
                    <a:lnTo>
                      <a:pt x="137" y="17"/>
                    </a:lnTo>
                    <a:lnTo>
                      <a:pt x="132" y="12"/>
                    </a:lnTo>
                    <a:lnTo>
                      <a:pt x="132" y="10"/>
                    </a:lnTo>
                    <a:lnTo>
                      <a:pt x="130" y="6"/>
                    </a:lnTo>
                    <a:lnTo>
                      <a:pt x="130" y="4"/>
                    </a:lnTo>
                    <a:lnTo>
                      <a:pt x="132" y="4"/>
                    </a:lnTo>
                    <a:lnTo>
                      <a:pt x="130" y="0"/>
                    </a:lnTo>
                    <a:lnTo>
                      <a:pt x="126" y="4"/>
                    </a:lnTo>
                    <a:lnTo>
                      <a:pt x="124" y="4"/>
                    </a:lnTo>
                    <a:lnTo>
                      <a:pt x="120" y="4"/>
                    </a:lnTo>
                    <a:lnTo>
                      <a:pt x="116" y="8"/>
                    </a:lnTo>
                    <a:lnTo>
                      <a:pt x="116" y="19"/>
                    </a:lnTo>
                    <a:lnTo>
                      <a:pt x="113" y="25"/>
                    </a:lnTo>
                    <a:lnTo>
                      <a:pt x="111" y="30"/>
                    </a:lnTo>
                    <a:lnTo>
                      <a:pt x="111" y="36"/>
                    </a:lnTo>
                    <a:lnTo>
                      <a:pt x="101" y="44"/>
                    </a:lnTo>
                    <a:lnTo>
                      <a:pt x="100" y="44"/>
                    </a:lnTo>
                    <a:lnTo>
                      <a:pt x="96" y="47"/>
                    </a:lnTo>
                    <a:lnTo>
                      <a:pt x="88" y="47"/>
                    </a:lnTo>
                    <a:lnTo>
                      <a:pt x="83" y="53"/>
                    </a:lnTo>
                    <a:lnTo>
                      <a:pt x="83" y="53"/>
                    </a:lnTo>
                    <a:lnTo>
                      <a:pt x="75" y="59"/>
                    </a:lnTo>
                    <a:lnTo>
                      <a:pt x="69" y="61"/>
                    </a:lnTo>
                    <a:lnTo>
                      <a:pt x="68" y="64"/>
                    </a:lnTo>
                    <a:lnTo>
                      <a:pt x="60" y="68"/>
                    </a:lnTo>
                    <a:lnTo>
                      <a:pt x="64" y="76"/>
                    </a:lnTo>
                    <a:lnTo>
                      <a:pt x="62" y="81"/>
                    </a:lnTo>
                    <a:lnTo>
                      <a:pt x="54" y="87"/>
                    </a:lnTo>
                    <a:lnTo>
                      <a:pt x="49" y="96"/>
                    </a:lnTo>
                    <a:lnTo>
                      <a:pt x="49" y="100"/>
                    </a:lnTo>
                    <a:lnTo>
                      <a:pt x="52" y="108"/>
                    </a:lnTo>
                    <a:lnTo>
                      <a:pt x="51" y="115"/>
                    </a:lnTo>
                    <a:lnTo>
                      <a:pt x="52" y="117"/>
                    </a:lnTo>
                    <a:lnTo>
                      <a:pt x="54" y="117"/>
                    </a:lnTo>
                    <a:lnTo>
                      <a:pt x="52" y="123"/>
                    </a:lnTo>
                    <a:lnTo>
                      <a:pt x="39" y="136"/>
                    </a:lnTo>
                    <a:lnTo>
                      <a:pt x="39" y="140"/>
                    </a:lnTo>
                    <a:lnTo>
                      <a:pt x="36" y="147"/>
                    </a:lnTo>
                    <a:lnTo>
                      <a:pt x="28" y="147"/>
                    </a:lnTo>
                    <a:lnTo>
                      <a:pt x="15" y="160"/>
                    </a:lnTo>
                    <a:lnTo>
                      <a:pt x="0" y="168"/>
                    </a:lnTo>
                    <a:lnTo>
                      <a:pt x="68" y="177"/>
                    </a:lnTo>
                    <a:close/>
                  </a:path>
                </a:pathLst>
              </a:custGeom>
              <a:solidFill>
                <a:srgbClr val="ED77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9" name="Freeform 31"/>
              <p:cNvSpPr>
                <a:spLocks/>
              </p:cNvSpPr>
              <p:nvPr/>
            </p:nvSpPr>
            <p:spPr bwMode="auto">
              <a:xfrm>
                <a:off x="2559" y="2404"/>
                <a:ext cx="205" cy="177"/>
              </a:xfrm>
              <a:custGeom>
                <a:avLst/>
                <a:gdLst/>
                <a:ahLst/>
                <a:cxnLst>
                  <a:cxn ang="0">
                    <a:pos x="68" y="168"/>
                  </a:cxn>
                  <a:cxn ang="0">
                    <a:pos x="68" y="168"/>
                  </a:cxn>
                  <a:cxn ang="0">
                    <a:pos x="77" y="147"/>
                  </a:cxn>
                  <a:cxn ang="0">
                    <a:pos x="86" y="140"/>
                  </a:cxn>
                  <a:cxn ang="0">
                    <a:pos x="100" y="136"/>
                  </a:cxn>
                  <a:cxn ang="0">
                    <a:pos x="111" y="136"/>
                  </a:cxn>
                  <a:cxn ang="0">
                    <a:pos x="132" y="126"/>
                  </a:cxn>
                  <a:cxn ang="0">
                    <a:pos x="164" y="106"/>
                  </a:cxn>
                  <a:cxn ang="0">
                    <a:pos x="165" y="96"/>
                  </a:cxn>
                  <a:cxn ang="0">
                    <a:pos x="171" y="91"/>
                  </a:cxn>
                  <a:cxn ang="0">
                    <a:pos x="179" y="81"/>
                  </a:cxn>
                  <a:cxn ang="0">
                    <a:pos x="203" y="78"/>
                  </a:cxn>
                  <a:cxn ang="0">
                    <a:pos x="205" y="72"/>
                  </a:cxn>
                  <a:cxn ang="0">
                    <a:pos x="203" y="72"/>
                  </a:cxn>
                  <a:cxn ang="0">
                    <a:pos x="197" y="68"/>
                  </a:cxn>
                  <a:cxn ang="0">
                    <a:pos x="194" y="59"/>
                  </a:cxn>
                  <a:cxn ang="0">
                    <a:pos x="192" y="44"/>
                  </a:cxn>
                  <a:cxn ang="0">
                    <a:pos x="192" y="29"/>
                  </a:cxn>
                  <a:cxn ang="0">
                    <a:pos x="190" y="25"/>
                  </a:cxn>
                  <a:cxn ang="0">
                    <a:pos x="188" y="19"/>
                  </a:cxn>
                  <a:cxn ang="0">
                    <a:pos x="182" y="19"/>
                  </a:cxn>
                  <a:cxn ang="0">
                    <a:pos x="171" y="15"/>
                  </a:cxn>
                  <a:cxn ang="0">
                    <a:pos x="169" y="12"/>
                  </a:cxn>
                  <a:cxn ang="0">
                    <a:pos x="165" y="15"/>
                  </a:cxn>
                  <a:cxn ang="0">
                    <a:pos x="154" y="15"/>
                  </a:cxn>
                  <a:cxn ang="0">
                    <a:pos x="147" y="17"/>
                  </a:cxn>
                  <a:cxn ang="0">
                    <a:pos x="137" y="17"/>
                  </a:cxn>
                  <a:cxn ang="0">
                    <a:pos x="132" y="10"/>
                  </a:cxn>
                  <a:cxn ang="0">
                    <a:pos x="130" y="4"/>
                  </a:cxn>
                  <a:cxn ang="0">
                    <a:pos x="130" y="0"/>
                  </a:cxn>
                  <a:cxn ang="0">
                    <a:pos x="124" y="4"/>
                  </a:cxn>
                  <a:cxn ang="0">
                    <a:pos x="116" y="8"/>
                  </a:cxn>
                  <a:cxn ang="0">
                    <a:pos x="113" y="25"/>
                  </a:cxn>
                  <a:cxn ang="0">
                    <a:pos x="111" y="36"/>
                  </a:cxn>
                  <a:cxn ang="0">
                    <a:pos x="100" y="44"/>
                  </a:cxn>
                  <a:cxn ang="0">
                    <a:pos x="88" y="47"/>
                  </a:cxn>
                  <a:cxn ang="0">
                    <a:pos x="83" y="53"/>
                  </a:cxn>
                  <a:cxn ang="0">
                    <a:pos x="69" y="61"/>
                  </a:cxn>
                  <a:cxn ang="0">
                    <a:pos x="60" y="68"/>
                  </a:cxn>
                  <a:cxn ang="0">
                    <a:pos x="62" y="81"/>
                  </a:cxn>
                  <a:cxn ang="0">
                    <a:pos x="49" y="96"/>
                  </a:cxn>
                  <a:cxn ang="0">
                    <a:pos x="52" y="108"/>
                  </a:cxn>
                  <a:cxn ang="0">
                    <a:pos x="52" y="117"/>
                  </a:cxn>
                  <a:cxn ang="0">
                    <a:pos x="52" y="123"/>
                  </a:cxn>
                  <a:cxn ang="0">
                    <a:pos x="39" y="140"/>
                  </a:cxn>
                  <a:cxn ang="0">
                    <a:pos x="28" y="147"/>
                  </a:cxn>
                  <a:cxn ang="0">
                    <a:pos x="0" y="168"/>
                  </a:cxn>
                </a:cxnLst>
                <a:rect l="0" t="0" r="r" b="b"/>
                <a:pathLst>
                  <a:path w="205" h="177">
                    <a:moveTo>
                      <a:pt x="68" y="177"/>
                    </a:moveTo>
                    <a:lnTo>
                      <a:pt x="68" y="168"/>
                    </a:lnTo>
                    <a:lnTo>
                      <a:pt x="68" y="168"/>
                    </a:lnTo>
                    <a:lnTo>
                      <a:pt x="68" y="168"/>
                    </a:lnTo>
                    <a:lnTo>
                      <a:pt x="68" y="155"/>
                    </a:lnTo>
                    <a:lnTo>
                      <a:pt x="77" y="147"/>
                    </a:lnTo>
                    <a:lnTo>
                      <a:pt x="81" y="142"/>
                    </a:lnTo>
                    <a:lnTo>
                      <a:pt x="86" y="140"/>
                    </a:lnTo>
                    <a:lnTo>
                      <a:pt x="94" y="136"/>
                    </a:lnTo>
                    <a:lnTo>
                      <a:pt x="100" y="136"/>
                    </a:lnTo>
                    <a:lnTo>
                      <a:pt x="103" y="136"/>
                    </a:lnTo>
                    <a:lnTo>
                      <a:pt x="111" y="136"/>
                    </a:lnTo>
                    <a:lnTo>
                      <a:pt x="116" y="136"/>
                    </a:lnTo>
                    <a:lnTo>
                      <a:pt x="132" y="126"/>
                    </a:lnTo>
                    <a:lnTo>
                      <a:pt x="150" y="115"/>
                    </a:lnTo>
                    <a:lnTo>
                      <a:pt x="164" y="106"/>
                    </a:lnTo>
                    <a:lnTo>
                      <a:pt x="165" y="102"/>
                    </a:lnTo>
                    <a:lnTo>
                      <a:pt x="165" y="96"/>
                    </a:lnTo>
                    <a:lnTo>
                      <a:pt x="167" y="93"/>
                    </a:lnTo>
                    <a:lnTo>
                      <a:pt x="171" y="91"/>
                    </a:lnTo>
                    <a:lnTo>
                      <a:pt x="175" y="83"/>
                    </a:lnTo>
                    <a:lnTo>
                      <a:pt x="179" y="81"/>
                    </a:lnTo>
                    <a:lnTo>
                      <a:pt x="203" y="81"/>
                    </a:lnTo>
                    <a:lnTo>
                      <a:pt x="203" y="78"/>
                    </a:lnTo>
                    <a:lnTo>
                      <a:pt x="203" y="76"/>
                    </a:lnTo>
                    <a:lnTo>
                      <a:pt x="205" y="72"/>
                    </a:lnTo>
                    <a:lnTo>
                      <a:pt x="203" y="72"/>
                    </a:lnTo>
                    <a:lnTo>
                      <a:pt x="203" y="72"/>
                    </a:lnTo>
                    <a:lnTo>
                      <a:pt x="199" y="68"/>
                    </a:lnTo>
                    <a:lnTo>
                      <a:pt x="197" y="68"/>
                    </a:lnTo>
                    <a:lnTo>
                      <a:pt x="197" y="64"/>
                    </a:lnTo>
                    <a:lnTo>
                      <a:pt x="194" y="59"/>
                    </a:lnTo>
                    <a:lnTo>
                      <a:pt x="192" y="44"/>
                    </a:lnTo>
                    <a:lnTo>
                      <a:pt x="192" y="44"/>
                    </a:lnTo>
                    <a:lnTo>
                      <a:pt x="192" y="36"/>
                    </a:lnTo>
                    <a:lnTo>
                      <a:pt x="192" y="29"/>
                    </a:lnTo>
                    <a:lnTo>
                      <a:pt x="192" y="29"/>
                    </a:lnTo>
                    <a:lnTo>
                      <a:pt x="190" y="25"/>
                    </a:lnTo>
                    <a:lnTo>
                      <a:pt x="188" y="23"/>
                    </a:lnTo>
                    <a:lnTo>
                      <a:pt x="188" y="19"/>
                    </a:lnTo>
                    <a:lnTo>
                      <a:pt x="186" y="19"/>
                    </a:lnTo>
                    <a:lnTo>
                      <a:pt x="182" y="19"/>
                    </a:lnTo>
                    <a:lnTo>
                      <a:pt x="173" y="17"/>
                    </a:lnTo>
                    <a:lnTo>
                      <a:pt x="171" y="15"/>
                    </a:lnTo>
                    <a:lnTo>
                      <a:pt x="171" y="12"/>
                    </a:lnTo>
                    <a:lnTo>
                      <a:pt x="169" y="12"/>
                    </a:lnTo>
                    <a:lnTo>
                      <a:pt x="169" y="12"/>
                    </a:lnTo>
                    <a:lnTo>
                      <a:pt x="165" y="15"/>
                    </a:lnTo>
                    <a:lnTo>
                      <a:pt x="160" y="15"/>
                    </a:lnTo>
                    <a:lnTo>
                      <a:pt x="154" y="15"/>
                    </a:lnTo>
                    <a:lnTo>
                      <a:pt x="150" y="13"/>
                    </a:lnTo>
                    <a:lnTo>
                      <a:pt x="147" y="17"/>
                    </a:lnTo>
                    <a:lnTo>
                      <a:pt x="141" y="17"/>
                    </a:lnTo>
                    <a:lnTo>
                      <a:pt x="137" y="17"/>
                    </a:lnTo>
                    <a:lnTo>
                      <a:pt x="132" y="12"/>
                    </a:lnTo>
                    <a:lnTo>
                      <a:pt x="132" y="10"/>
                    </a:lnTo>
                    <a:lnTo>
                      <a:pt x="130" y="6"/>
                    </a:lnTo>
                    <a:lnTo>
                      <a:pt x="130" y="4"/>
                    </a:lnTo>
                    <a:lnTo>
                      <a:pt x="132" y="4"/>
                    </a:lnTo>
                    <a:lnTo>
                      <a:pt x="130" y="0"/>
                    </a:lnTo>
                    <a:lnTo>
                      <a:pt x="126" y="4"/>
                    </a:lnTo>
                    <a:lnTo>
                      <a:pt x="124" y="4"/>
                    </a:lnTo>
                    <a:lnTo>
                      <a:pt x="120" y="4"/>
                    </a:lnTo>
                    <a:lnTo>
                      <a:pt x="116" y="8"/>
                    </a:lnTo>
                    <a:lnTo>
                      <a:pt x="116" y="19"/>
                    </a:lnTo>
                    <a:lnTo>
                      <a:pt x="113" y="25"/>
                    </a:lnTo>
                    <a:lnTo>
                      <a:pt x="111" y="30"/>
                    </a:lnTo>
                    <a:lnTo>
                      <a:pt x="111" y="36"/>
                    </a:lnTo>
                    <a:lnTo>
                      <a:pt x="101" y="44"/>
                    </a:lnTo>
                    <a:lnTo>
                      <a:pt x="100" y="44"/>
                    </a:lnTo>
                    <a:lnTo>
                      <a:pt x="96" y="47"/>
                    </a:lnTo>
                    <a:lnTo>
                      <a:pt x="88" y="47"/>
                    </a:lnTo>
                    <a:lnTo>
                      <a:pt x="83" y="53"/>
                    </a:lnTo>
                    <a:lnTo>
                      <a:pt x="83" y="53"/>
                    </a:lnTo>
                    <a:lnTo>
                      <a:pt x="75" y="59"/>
                    </a:lnTo>
                    <a:lnTo>
                      <a:pt x="69" y="61"/>
                    </a:lnTo>
                    <a:lnTo>
                      <a:pt x="68" y="64"/>
                    </a:lnTo>
                    <a:lnTo>
                      <a:pt x="60" y="68"/>
                    </a:lnTo>
                    <a:lnTo>
                      <a:pt x="64" y="76"/>
                    </a:lnTo>
                    <a:lnTo>
                      <a:pt x="62" y="81"/>
                    </a:lnTo>
                    <a:lnTo>
                      <a:pt x="54" y="87"/>
                    </a:lnTo>
                    <a:lnTo>
                      <a:pt x="49" y="96"/>
                    </a:lnTo>
                    <a:lnTo>
                      <a:pt x="49" y="100"/>
                    </a:lnTo>
                    <a:lnTo>
                      <a:pt x="52" y="108"/>
                    </a:lnTo>
                    <a:lnTo>
                      <a:pt x="51" y="115"/>
                    </a:lnTo>
                    <a:lnTo>
                      <a:pt x="52" y="117"/>
                    </a:lnTo>
                    <a:lnTo>
                      <a:pt x="54" y="117"/>
                    </a:lnTo>
                    <a:lnTo>
                      <a:pt x="52" y="123"/>
                    </a:lnTo>
                    <a:lnTo>
                      <a:pt x="39" y="136"/>
                    </a:lnTo>
                    <a:lnTo>
                      <a:pt x="39" y="140"/>
                    </a:lnTo>
                    <a:lnTo>
                      <a:pt x="36" y="147"/>
                    </a:lnTo>
                    <a:lnTo>
                      <a:pt x="28" y="147"/>
                    </a:lnTo>
                    <a:lnTo>
                      <a:pt x="15" y="160"/>
                    </a:lnTo>
                    <a:lnTo>
                      <a:pt x="0" y="168"/>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0" name="Line 32"/>
              <p:cNvSpPr>
                <a:spLocks noChangeShapeType="1"/>
              </p:cNvSpPr>
              <p:nvPr/>
            </p:nvSpPr>
            <p:spPr bwMode="auto">
              <a:xfrm>
                <a:off x="2627" y="2579"/>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1" name="Line 33"/>
              <p:cNvSpPr>
                <a:spLocks noChangeShapeType="1"/>
              </p:cNvSpPr>
              <p:nvPr/>
            </p:nvSpPr>
            <p:spPr bwMode="auto">
              <a:xfrm>
                <a:off x="2627" y="2579"/>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34"/>
              <p:cNvSpPr>
                <a:spLocks/>
              </p:cNvSpPr>
              <p:nvPr/>
            </p:nvSpPr>
            <p:spPr bwMode="auto">
              <a:xfrm>
                <a:off x="2474" y="2566"/>
                <a:ext cx="153" cy="136"/>
              </a:xfrm>
              <a:custGeom>
                <a:avLst/>
                <a:gdLst/>
                <a:ahLst/>
                <a:cxnLst>
                  <a:cxn ang="0">
                    <a:pos x="85" y="0"/>
                  </a:cxn>
                  <a:cxn ang="0">
                    <a:pos x="70" y="19"/>
                  </a:cxn>
                  <a:cxn ang="0">
                    <a:pos x="70" y="25"/>
                  </a:cxn>
                  <a:cxn ang="0">
                    <a:pos x="66" y="25"/>
                  </a:cxn>
                  <a:cxn ang="0">
                    <a:pos x="53" y="34"/>
                  </a:cxn>
                  <a:cxn ang="0">
                    <a:pos x="53" y="38"/>
                  </a:cxn>
                  <a:cxn ang="0">
                    <a:pos x="49" y="38"/>
                  </a:cxn>
                  <a:cxn ang="0">
                    <a:pos x="49" y="44"/>
                  </a:cxn>
                  <a:cxn ang="0">
                    <a:pos x="38" y="61"/>
                  </a:cxn>
                  <a:cxn ang="0">
                    <a:pos x="38" y="66"/>
                  </a:cxn>
                  <a:cxn ang="0">
                    <a:pos x="28" y="76"/>
                  </a:cxn>
                  <a:cxn ang="0">
                    <a:pos x="25" y="76"/>
                  </a:cxn>
                  <a:cxn ang="0">
                    <a:pos x="23" y="85"/>
                  </a:cxn>
                  <a:cxn ang="0">
                    <a:pos x="23" y="89"/>
                  </a:cxn>
                  <a:cxn ang="0">
                    <a:pos x="15" y="100"/>
                  </a:cxn>
                  <a:cxn ang="0">
                    <a:pos x="15" y="102"/>
                  </a:cxn>
                  <a:cxn ang="0">
                    <a:pos x="15" y="104"/>
                  </a:cxn>
                  <a:cxn ang="0">
                    <a:pos x="13" y="104"/>
                  </a:cxn>
                  <a:cxn ang="0">
                    <a:pos x="8" y="115"/>
                  </a:cxn>
                  <a:cxn ang="0">
                    <a:pos x="4" y="117"/>
                  </a:cxn>
                  <a:cxn ang="0">
                    <a:pos x="2" y="119"/>
                  </a:cxn>
                  <a:cxn ang="0">
                    <a:pos x="2" y="125"/>
                  </a:cxn>
                  <a:cxn ang="0">
                    <a:pos x="0" y="126"/>
                  </a:cxn>
                  <a:cxn ang="0">
                    <a:pos x="0" y="136"/>
                  </a:cxn>
                  <a:cxn ang="0">
                    <a:pos x="73" y="134"/>
                  </a:cxn>
                  <a:cxn ang="0">
                    <a:pos x="73" y="98"/>
                  </a:cxn>
                  <a:cxn ang="0">
                    <a:pos x="77" y="94"/>
                  </a:cxn>
                  <a:cxn ang="0">
                    <a:pos x="79" y="91"/>
                  </a:cxn>
                  <a:cxn ang="0">
                    <a:pos x="85" y="89"/>
                  </a:cxn>
                  <a:cxn ang="0">
                    <a:pos x="92" y="89"/>
                  </a:cxn>
                  <a:cxn ang="0">
                    <a:pos x="92" y="40"/>
                  </a:cxn>
                  <a:cxn ang="0">
                    <a:pos x="151" y="40"/>
                  </a:cxn>
                  <a:cxn ang="0">
                    <a:pos x="153" y="15"/>
                  </a:cxn>
                  <a:cxn ang="0">
                    <a:pos x="85" y="0"/>
                  </a:cxn>
                </a:cxnLst>
                <a:rect l="0" t="0" r="r" b="b"/>
                <a:pathLst>
                  <a:path w="153" h="136">
                    <a:moveTo>
                      <a:pt x="85" y="0"/>
                    </a:moveTo>
                    <a:lnTo>
                      <a:pt x="70" y="19"/>
                    </a:lnTo>
                    <a:lnTo>
                      <a:pt x="70" y="25"/>
                    </a:lnTo>
                    <a:lnTo>
                      <a:pt x="66" y="25"/>
                    </a:lnTo>
                    <a:lnTo>
                      <a:pt x="53" y="34"/>
                    </a:lnTo>
                    <a:lnTo>
                      <a:pt x="53" y="38"/>
                    </a:lnTo>
                    <a:lnTo>
                      <a:pt x="49" y="38"/>
                    </a:lnTo>
                    <a:lnTo>
                      <a:pt x="49" y="44"/>
                    </a:lnTo>
                    <a:lnTo>
                      <a:pt x="38" y="61"/>
                    </a:lnTo>
                    <a:lnTo>
                      <a:pt x="38" y="66"/>
                    </a:lnTo>
                    <a:lnTo>
                      <a:pt x="28" y="76"/>
                    </a:lnTo>
                    <a:lnTo>
                      <a:pt x="25" y="76"/>
                    </a:lnTo>
                    <a:lnTo>
                      <a:pt x="23" y="85"/>
                    </a:lnTo>
                    <a:lnTo>
                      <a:pt x="23" y="89"/>
                    </a:lnTo>
                    <a:lnTo>
                      <a:pt x="15" y="100"/>
                    </a:lnTo>
                    <a:lnTo>
                      <a:pt x="15" y="102"/>
                    </a:lnTo>
                    <a:lnTo>
                      <a:pt x="15" y="104"/>
                    </a:lnTo>
                    <a:lnTo>
                      <a:pt x="13" y="104"/>
                    </a:lnTo>
                    <a:lnTo>
                      <a:pt x="8" y="115"/>
                    </a:lnTo>
                    <a:lnTo>
                      <a:pt x="4" y="117"/>
                    </a:lnTo>
                    <a:lnTo>
                      <a:pt x="2" y="119"/>
                    </a:lnTo>
                    <a:lnTo>
                      <a:pt x="2" y="125"/>
                    </a:lnTo>
                    <a:lnTo>
                      <a:pt x="0" y="126"/>
                    </a:lnTo>
                    <a:lnTo>
                      <a:pt x="0" y="136"/>
                    </a:lnTo>
                    <a:lnTo>
                      <a:pt x="73" y="134"/>
                    </a:lnTo>
                    <a:lnTo>
                      <a:pt x="73" y="98"/>
                    </a:lnTo>
                    <a:lnTo>
                      <a:pt x="77" y="94"/>
                    </a:lnTo>
                    <a:lnTo>
                      <a:pt x="79" y="91"/>
                    </a:lnTo>
                    <a:lnTo>
                      <a:pt x="85" y="89"/>
                    </a:lnTo>
                    <a:lnTo>
                      <a:pt x="92" y="89"/>
                    </a:lnTo>
                    <a:lnTo>
                      <a:pt x="92" y="40"/>
                    </a:lnTo>
                    <a:lnTo>
                      <a:pt x="151" y="40"/>
                    </a:lnTo>
                    <a:lnTo>
                      <a:pt x="153" y="15"/>
                    </a:lnTo>
                    <a:lnTo>
                      <a:pt x="85" y="0"/>
                    </a:lnTo>
                    <a:close/>
                  </a:path>
                </a:pathLst>
              </a:custGeom>
              <a:solidFill>
                <a:srgbClr val="ED77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3" name="Freeform 35"/>
              <p:cNvSpPr>
                <a:spLocks/>
              </p:cNvSpPr>
              <p:nvPr/>
            </p:nvSpPr>
            <p:spPr bwMode="auto">
              <a:xfrm>
                <a:off x="2474" y="2566"/>
                <a:ext cx="153" cy="136"/>
              </a:xfrm>
              <a:custGeom>
                <a:avLst/>
                <a:gdLst/>
                <a:ahLst/>
                <a:cxnLst>
                  <a:cxn ang="0">
                    <a:pos x="85" y="0"/>
                  </a:cxn>
                  <a:cxn ang="0">
                    <a:pos x="70" y="19"/>
                  </a:cxn>
                  <a:cxn ang="0">
                    <a:pos x="70" y="25"/>
                  </a:cxn>
                  <a:cxn ang="0">
                    <a:pos x="66" y="25"/>
                  </a:cxn>
                  <a:cxn ang="0">
                    <a:pos x="53" y="34"/>
                  </a:cxn>
                  <a:cxn ang="0">
                    <a:pos x="53" y="38"/>
                  </a:cxn>
                  <a:cxn ang="0">
                    <a:pos x="49" y="38"/>
                  </a:cxn>
                  <a:cxn ang="0">
                    <a:pos x="49" y="44"/>
                  </a:cxn>
                  <a:cxn ang="0">
                    <a:pos x="38" y="61"/>
                  </a:cxn>
                  <a:cxn ang="0">
                    <a:pos x="38" y="66"/>
                  </a:cxn>
                  <a:cxn ang="0">
                    <a:pos x="28" y="76"/>
                  </a:cxn>
                  <a:cxn ang="0">
                    <a:pos x="25" y="76"/>
                  </a:cxn>
                  <a:cxn ang="0">
                    <a:pos x="23" y="85"/>
                  </a:cxn>
                  <a:cxn ang="0">
                    <a:pos x="23" y="89"/>
                  </a:cxn>
                  <a:cxn ang="0">
                    <a:pos x="15" y="100"/>
                  </a:cxn>
                  <a:cxn ang="0">
                    <a:pos x="15" y="102"/>
                  </a:cxn>
                  <a:cxn ang="0">
                    <a:pos x="15" y="104"/>
                  </a:cxn>
                  <a:cxn ang="0">
                    <a:pos x="13" y="104"/>
                  </a:cxn>
                  <a:cxn ang="0">
                    <a:pos x="8" y="115"/>
                  </a:cxn>
                  <a:cxn ang="0">
                    <a:pos x="4" y="117"/>
                  </a:cxn>
                  <a:cxn ang="0">
                    <a:pos x="2" y="119"/>
                  </a:cxn>
                  <a:cxn ang="0">
                    <a:pos x="2" y="125"/>
                  </a:cxn>
                  <a:cxn ang="0">
                    <a:pos x="0" y="126"/>
                  </a:cxn>
                  <a:cxn ang="0">
                    <a:pos x="0" y="136"/>
                  </a:cxn>
                  <a:cxn ang="0">
                    <a:pos x="73" y="134"/>
                  </a:cxn>
                  <a:cxn ang="0">
                    <a:pos x="73" y="98"/>
                  </a:cxn>
                  <a:cxn ang="0">
                    <a:pos x="77" y="94"/>
                  </a:cxn>
                  <a:cxn ang="0">
                    <a:pos x="79" y="91"/>
                  </a:cxn>
                  <a:cxn ang="0">
                    <a:pos x="85" y="89"/>
                  </a:cxn>
                  <a:cxn ang="0">
                    <a:pos x="92" y="89"/>
                  </a:cxn>
                  <a:cxn ang="0">
                    <a:pos x="92" y="40"/>
                  </a:cxn>
                  <a:cxn ang="0">
                    <a:pos x="151" y="40"/>
                  </a:cxn>
                  <a:cxn ang="0">
                    <a:pos x="153" y="15"/>
                  </a:cxn>
                </a:cxnLst>
                <a:rect l="0" t="0" r="r" b="b"/>
                <a:pathLst>
                  <a:path w="153" h="136">
                    <a:moveTo>
                      <a:pt x="85" y="0"/>
                    </a:moveTo>
                    <a:lnTo>
                      <a:pt x="70" y="19"/>
                    </a:lnTo>
                    <a:lnTo>
                      <a:pt x="70" y="25"/>
                    </a:lnTo>
                    <a:lnTo>
                      <a:pt x="66" y="25"/>
                    </a:lnTo>
                    <a:lnTo>
                      <a:pt x="53" y="34"/>
                    </a:lnTo>
                    <a:lnTo>
                      <a:pt x="53" y="38"/>
                    </a:lnTo>
                    <a:lnTo>
                      <a:pt x="49" y="38"/>
                    </a:lnTo>
                    <a:lnTo>
                      <a:pt x="49" y="44"/>
                    </a:lnTo>
                    <a:lnTo>
                      <a:pt x="38" y="61"/>
                    </a:lnTo>
                    <a:lnTo>
                      <a:pt x="38" y="66"/>
                    </a:lnTo>
                    <a:lnTo>
                      <a:pt x="28" y="76"/>
                    </a:lnTo>
                    <a:lnTo>
                      <a:pt x="25" y="76"/>
                    </a:lnTo>
                    <a:lnTo>
                      <a:pt x="23" y="85"/>
                    </a:lnTo>
                    <a:lnTo>
                      <a:pt x="23" y="89"/>
                    </a:lnTo>
                    <a:lnTo>
                      <a:pt x="15" y="100"/>
                    </a:lnTo>
                    <a:lnTo>
                      <a:pt x="15" y="102"/>
                    </a:lnTo>
                    <a:lnTo>
                      <a:pt x="15" y="104"/>
                    </a:lnTo>
                    <a:lnTo>
                      <a:pt x="13" y="104"/>
                    </a:lnTo>
                    <a:lnTo>
                      <a:pt x="8" y="115"/>
                    </a:lnTo>
                    <a:lnTo>
                      <a:pt x="4" y="117"/>
                    </a:lnTo>
                    <a:lnTo>
                      <a:pt x="2" y="119"/>
                    </a:lnTo>
                    <a:lnTo>
                      <a:pt x="2" y="125"/>
                    </a:lnTo>
                    <a:lnTo>
                      <a:pt x="0" y="126"/>
                    </a:lnTo>
                    <a:lnTo>
                      <a:pt x="0" y="136"/>
                    </a:lnTo>
                    <a:lnTo>
                      <a:pt x="73" y="134"/>
                    </a:lnTo>
                    <a:lnTo>
                      <a:pt x="73" y="98"/>
                    </a:lnTo>
                    <a:lnTo>
                      <a:pt x="77" y="94"/>
                    </a:lnTo>
                    <a:lnTo>
                      <a:pt x="79" y="91"/>
                    </a:lnTo>
                    <a:lnTo>
                      <a:pt x="85" y="89"/>
                    </a:lnTo>
                    <a:lnTo>
                      <a:pt x="92" y="89"/>
                    </a:lnTo>
                    <a:lnTo>
                      <a:pt x="92" y="40"/>
                    </a:lnTo>
                    <a:lnTo>
                      <a:pt x="151" y="40"/>
                    </a:lnTo>
                    <a:lnTo>
                      <a:pt x="153" y="15"/>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4" name="Freeform 36"/>
              <p:cNvSpPr>
                <a:spLocks/>
              </p:cNvSpPr>
              <p:nvPr/>
            </p:nvSpPr>
            <p:spPr bwMode="auto">
              <a:xfrm>
                <a:off x="3408" y="2480"/>
                <a:ext cx="384" cy="322"/>
              </a:xfrm>
              <a:custGeom>
                <a:avLst/>
                <a:gdLst/>
                <a:ahLst/>
                <a:cxnLst>
                  <a:cxn ang="0">
                    <a:pos x="233" y="67"/>
                  </a:cxn>
                  <a:cxn ang="0">
                    <a:pos x="92" y="3"/>
                  </a:cxn>
                  <a:cxn ang="0">
                    <a:pos x="41" y="15"/>
                  </a:cxn>
                  <a:cxn ang="0">
                    <a:pos x="54" y="52"/>
                  </a:cxn>
                  <a:cxn ang="0">
                    <a:pos x="7" y="62"/>
                  </a:cxn>
                  <a:cxn ang="0">
                    <a:pos x="0" y="77"/>
                  </a:cxn>
                  <a:cxn ang="0">
                    <a:pos x="2" y="83"/>
                  </a:cxn>
                  <a:cxn ang="0">
                    <a:pos x="9" y="84"/>
                  </a:cxn>
                  <a:cxn ang="0">
                    <a:pos x="17" y="98"/>
                  </a:cxn>
                  <a:cxn ang="0">
                    <a:pos x="24" y="105"/>
                  </a:cxn>
                  <a:cxn ang="0">
                    <a:pos x="32" y="118"/>
                  </a:cxn>
                  <a:cxn ang="0">
                    <a:pos x="35" y="126"/>
                  </a:cxn>
                  <a:cxn ang="0">
                    <a:pos x="47" y="139"/>
                  </a:cxn>
                  <a:cxn ang="0">
                    <a:pos x="49" y="150"/>
                  </a:cxn>
                  <a:cxn ang="0">
                    <a:pos x="54" y="160"/>
                  </a:cxn>
                  <a:cxn ang="0">
                    <a:pos x="62" y="160"/>
                  </a:cxn>
                  <a:cxn ang="0">
                    <a:pos x="75" y="171"/>
                  </a:cxn>
                  <a:cxn ang="0">
                    <a:pos x="79" y="179"/>
                  </a:cxn>
                  <a:cxn ang="0">
                    <a:pos x="84" y="194"/>
                  </a:cxn>
                  <a:cxn ang="0">
                    <a:pos x="81" y="203"/>
                  </a:cxn>
                  <a:cxn ang="0">
                    <a:pos x="86" y="220"/>
                  </a:cxn>
                  <a:cxn ang="0">
                    <a:pos x="99" y="235"/>
                  </a:cxn>
                  <a:cxn ang="0">
                    <a:pos x="109" y="241"/>
                  </a:cxn>
                  <a:cxn ang="0">
                    <a:pos x="118" y="248"/>
                  </a:cxn>
                  <a:cxn ang="0">
                    <a:pos x="122" y="252"/>
                  </a:cxn>
                  <a:cxn ang="0">
                    <a:pos x="130" y="275"/>
                  </a:cxn>
                  <a:cxn ang="0">
                    <a:pos x="148" y="297"/>
                  </a:cxn>
                  <a:cxn ang="0">
                    <a:pos x="162" y="307"/>
                  </a:cxn>
                  <a:cxn ang="0">
                    <a:pos x="169" y="303"/>
                  </a:cxn>
                  <a:cxn ang="0">
                    <a:pos x="175" y="286"/>
                  </a:cxn>
                  <a:cxn ang="0">
                    <a:pos x="207" y="297"/>
                  </a:cxn>
                  <a:cxn ang="0">
                    <a:pos x="258" y="277"/>
                  </a:cxn>
                  <a:cxn ang="0">
                    <a:pos x="380" y="184"/>
                  </a:cxn>
                  <a:cxn ang="0">
                    <a:pos x="318" y="184"/>
                  </a:cxn>
                  <a:cxn ang="0">
                    <a:pos x="310" y="156"/>
                  </a:cxn>
                  <a:cxn ang="0">
                    <a:pos x="307" y="154"/>
                  </a:cxn>
                  <a:cxn ang="0">
                    <a:pos x="307" y="150"/>
                  </a:cxn>
                  <a:cxn ang="0">
                    <a:pos x="297" y="147"/>
                  </a:cxn>
                  <a:cxn ang="0">
                    <a:pos x="291" y="141"/>
                  </a:cxn>
                  <a:cxn ang="0">
                    <a:pos x="280" y="120"/>
                  </a:cxn>
                  <a:cxn ang="0">
                    <a:pos x="278" y="111"/>
                  </a:cxn>
                  <a:cxn ang="0">
                    <a:pos x="273" y="105"/>
                  </a:cxn>
                  <a:cxn ang="0">
                    <a:pos x="263" y="92"/>
                  </a:cxn>
                  <a:cxn ang="0">
                    <a:pos x="267" y="92"/>
                  </a:cxn>
                  <a:cxn ang="0">
                    <a:pos x="256" y="88"/>
                  </a:cxn>
                  <a:cxn ang="0">
                    <a:pos x="248" y="73"/>
                  </a:cxn>
                  <a:cxn ang="0">
                    <a:pos x="246" y="69"/>
                  </a:cxn>
                </a:cxnLst>
                <a:rect l="0" t="0" r="r" b="b"/>
                <a:pathLst>
                  <a:path w="384" h="322">
                    <a:moveTo>
                      <a:pt x="246" y="69"/>
                    </a:moveTo>
                    <a:lnTo>
                      <a:pt x="233" y="73"/>
                    </a:lnTo>
                    <a:lnTo>
                      <a:pt x="233" y="67"/>
                    </a:lnTo>
                    <a:lnTo>
                      <a:pt x="216" y="62"/>
                    </a:lnTo>
                    <a:lnTo>
                      <a:pt x="179" y="60"/>
                    </a:lnTo>
                    <a:lnTo>
                      <a:pt x="92" y="3"/>
                    </a:lnTo>
                    <a:lnTo>
                      <a:pt x="75" y="0"/>
                    </a:lnTo>
                    <a:lnTo>
                      <a:pt x="67" y="5"/>
                    </a:lnTo>
                    <a:lnTo>
                      <a:pt x="41" y="15"/>
                    </a:lnTo>
                    <a:lnTo>
                      <a:pt x="62" y="37"/>
                    </a:lnTo>
                    <a:lnTo>
                      <a:pt x="54" y="47"/>
                    </a:lnTo>
                    <a:lnTo>
                      <a:pt x="54" y="52"/>
                    </a:lnTo>
                    <a:lnTo>
                      <a:pt x="39" y="52"/>
                    </a:lnTo>
                    <a:lnTo>
                      <a:pt x="26" y="67"/>
                    </a:lnTo>
                    <a:lnTo>
                      <a:pt x="7" y="62"/>
                    </a:lnTo>
                    <a:lnTo>
                      <a:pt x="0" y="62"/>
                    </a:lnTo>
                    <a:lnTo>
                      <a:pt x="0" y="69"/>
                    </a:lnTo>
                    <a:lnTo>
                      <a:pt x="0" y="77"/>
                    </a:lnTo>
                    <a:lnTo>
                      <a:pt x="0" y="81"/>
                    </a:lnTo>
                    <a:lnTo>
                      <a:pt x="0" y="83"/>
                    </a:lnTo>
                    <a:lnTo>
                      <a:pt x="2" y="83"/>
                    </a:lnTo>
                    <a:lnTo>
                      <a:pt x="2" y="84"/>
                    </a:lnTo>
                    <a:lnTo>
                      <a:pt x="5" y="83"/>
                    </a:lnTo>
                    <a:lnTo>
                      <a:pt x="9" y="84"/>
                    </a:lnTo>
                    <a:lnTo>
                      <a:pt x="9" y="84"/>
                    </a:lnTo>
                    <a:lnTo>
                      <a:pt x="17" y="96"/>
                    </a:lnTo>
                    <a:lnTo>
                      <a:pt x="17" y="98"/>
                    </a:lnTo>
                    <a:lnTo>
                      <a:pt x="20" y="98"/>
                    </a:lnTo>
                    <a:lnTo>
                      <a:pt x="20" y="101"/>
                    </a:lnTo>
                    <a:lnTo>
                      <a:pt x="24" y="105"/>
                    </a:lnTo>
                    <a:lnTo>
                      <a:pt x="26" y="105"/>
                    </a:lnTo>
                    <a:lnTo>
                      <a:pt x="30" y="116"/>
                    </a:lnTo>
                    <a:lnTo>
                      <a:pt x="32" y="118"/>
                    </a:lnTo>
                    <a:lnTo>
                      <a:pt x="32" y="122"/>
                    </a:lnTo>
                    <a:lnTo>
                      <a:pt x="35" y="122"/>
                    </a:lnTo>
                    <a:lnTo>
                      <a:pt x="35" y="126"/>
                    </a:lnTo>
                    <a:lnTo>
                      <a:pt x="39" y="130"/>
                    </a:lnTo>
                    <a:lnTo>
                      <a:pt x="43" y="130"/>
                    </a:lnTo>
                    <a:lnTo>
                      <a:pt x="47" y="139"/>
                    </a:lnTo>
                    <a:lnTo>
                      <a:pt x="49" y="143"/>
                    </a:lnTo>
                    <a:lnTo>
                      <a:pt x="51" y="148"/>
                    </a:lnTo>
                    <a:lnTo>
                      <a:pt x="49" y="150"/>
                    </a:lnTo>
                    <a:lnTo>
                      <a:pt x="49" y="154"/>
                    </a:lnTo>
                    <a:lnTo>
                      <a:pt x="51" y="154"/>
                    </a:lnTo>
                    <a:lnTo>
                      <a:pt x="54" y="160"/>
                    </a:lnTo>
                    <a:lnTo>
                      <a:pt x="54" y="160"/>
                    </a:lnTo>
                    <a:lnTo>
                      <a:pt x="58" y="156"/>
                    </a:lnTo>
                    <a:lnTo>
                      <a:pt x="62" y="160"/>
                    </a:lnTo>
                    <a:lnTo>
                      <a:pt x="67" y="162"/>
                    </a:lnTo>
                    <a:lnTo>
                      <a:pt x="73" y="167"/>
                    </a:lnTo>
                    <a:lnTo>
                      <a:pt x="75" y="171"/>
                    </a:lnTo>
                    <a:lnTo>
                      <a:pt x="75" y="173"/>
                    </a:lnTo>
                    <a:lnTo>
                      <a:pt x="75" y="175"/>
                    </a:lnTo>
                    <a:lnTo>
                      <a:pt x="79" y="179"/>
                    </a:lnTo>
                    <a:lnTo>
                      <a:pt x="81" y="184"/>
                    </a:lnTo>
                    <a:lnTo>
                      <a:pt x="84" y="186"/>
                    </a:lnTo>
                    <a:lnTo>
                      <a:pt x="84" y="194"/>
                    </a:lnTo>
                    <a:lnTo>
                      <a:pt x="84" y="196"/>
                    </a:lnTo>
                    <a:lnTo>
                      <a:pt x="84" y="203"/>
                    </a:lnTo>
                    <a:lnTo>
                      <a:pt x="81" y="203"/>
                    </a:lnTo>
                    <a:lnTo>
                      <a:pt x="84" y="205"/>
                    </a:lnTo>
                    <a:lnTo>
                      <a:pt x="84" y="212"/>
                    </a:lnTo>
                    <a:lnTo>
                      <a:pt x="86" y="220"/>
                    </a:lnTo>
                    <a:lnTo>
                      <a:pt x="88" y="224"/>
                    </a:lnTo>
                    <a:lnTo>
                      <a:pt x="90" y="224"/>
                    </a:lnTo>
                    <a:lnTo>
                      <a:pt x="99" y="235"/>
                    </a:lnTo>
                    <a:lnTo>
                      <a:pt x="103" y="235"/>
                    </a:lnTo>
                    <a:lnTo>
                      <a:pt x="105" y="237"/>
                    </a:lnTo>
                    <a:lnTo>
                      <a:pt x="109" y="241"/>
                    </a:lnTo>
                    <a:lnTo>
                      <a:pt x="109" y="241"/>
                    </a:lnTo>
                    <a:lnTo>
                      <a:pt x="118" y="244"/>
                    </a:lnTo>
                    <a:lnTo>
                      <a:pt x="118" y="248"/>
                    </a:lnTo>
                    <a:lnTo>
                      <a:pt x="120" y="248"/>
                    </a:lnTo>
                    <a:lnTo>
                      <a:pt x="120" y="252"/>
                    </a:lnTo>
                    <a:lnTo>
                      <a:pt x="122" y="252"/>
                    </a:lnTo>
                    <a:lnTo>
                      <a:pt x="128" y="267"/>
                    </a:lnTo>
                    <a:lnTo>
                      <a:pt x="130" y="271"/>
                    </a:lnTo>
                    <a:lnTo>
                      <a:pt x="130" y="275"/>
                    </a:lnTo>
                    <a:lnTo>
                      <a:pt x="145" y="288"/>
                    </a:lnTo>
                    <a:lnTo>
                      <a:pt x="147" y="288"/>
                    </a:lnTo>
                    <a:lnTo>
                      <a:pt x="148" y="297"/>
                    </a:lnTo>
                    <a:lnTo>
                      <a:pt x="154" y="299"/>
                    </a:lnTo>
                    <a:lnTo>
                      <a:pt x="158" y="307"/>
                    </a:lnTo>
                    <a:lnTo>
                      <a:pt x="162" y="307"/>
                    </a:lnTo>
                    <a:lnTo>
                      <a:pt x="163" y="310"/>
                    </a:lnTo>
                    <a:lnTo>
                      <a:pt x="167" y="307"/>
                    </a:lnTo>
                    <a:lnTo>
                      <a:pt x="169" y="303"/>
                    </a:lnTo>
                    <a:lnTo>
                      <a:pt x="169" y="297"/>
                    </a:lnTo>
                    <a:lnTo>
                      <a:pt x="169" y="288"/>
                    </a:lnTo>
                    <a:lnTo>
                      <a:pt x="175" y="286"/>
                    </a:lnTo>
                    <a:lnTo>
                      <a:pt x="180" y="290"/>
                    </a:lnTo>
                    <a:lnTo>
                      <a:pt x="192" y="290"/>
                    </a:lnTo>
                    <a:lnTo>
                      <a:pt x="207" y="297"/>
                    </a:lnTo>
                    <a:lnTo>
                      <a:pt x="224" y="303"/>
                    </a:lnTo>
                    <a:lnTo>
                      <a:pt x="224" y="322"/>
                    </a:lnTo>
                    <a:lnTo>
                      <a:pt x="258" y="277"/>
                    </a:lnTo>
                    <a:lnTo>
                      <a:pt x="382" y="239"/>
                    </a:lnTo>
                    <a:lnTo>
                      <a:pt x="384" y="199"/>
                    </a:lnTo>
                    <a:lnTo>
                      <a:pt x="380" y="184"/>
                    </a:lnTo>
                    <a:lnTo>
                      <a:pt x="380" y="184"/>
                    </a:lnTo>
                    <a:lnTo>
                      <a:pt x="374" y="190"/>
                    </a:lnTo>
                    <a:lnTo>
                      <a:pt x="318" y="184"/>
                    </a:lnTo>
                    <a:lnTo>
                      <a:pt x="316" y="169"/>
                    </a:lnTo>
                    <a:lnTo>
                      <a:pt x="310" y="164"/>
                    </a:lnTo>
                    <a:lnTo>
                      <a:pt x="310" y="156"/>
                    </a:lnTo>
                    <a:lnTo>
                      <a:pt x="310" y="156"/>
                    </a:lnTo>
                    <a:lnTo>
                      <a:pt x="310" y="156"/>
                    </a:lnTo>
                    <a:lnTo>
                      <a:pt x="307" y="154"/>
                    </a:lnTo>
                    <a:lnTo>
                      <a:pt x="307" y="150"/>
                    </a:lnTo>
                    <a:lnTo>
                      <a:pt x="310" y="150"/>
                    </a:lnTo>
                    <a:lnTo>
                      <a:pt x="307" y="150"/>
                    </a:lnTo>
                    <a:lnTo>
                      <a:pt x="307" y="150"/>
                    </a:lnTo>
                    <a:lnTo>
                      <a:pt x="303" y="150"/>
                    </a:lnTo>
                    <a:lnTo>
                      <a:pt x="297" y="147"/>
                    </a:lnTo>
                    <a:lnTo>
                      <a:pt x="297" y="145"/>
                    </a:lnTo>
                    <a:lnTo>
                      <a:pt x="295" y="145"/>
                    </a:lnTo>
                    <a:lnTo>
                      <a:pt x="291" y="141"/>
                    </a:lnTo>
                    <a:lnTo>
                      <a:pt x="291" y="135"/>
                    </a:lnTo>
                    <a:lnTo>
                      <a:pt x="282" y="126"/>
                    </a:lnTo>
                    <a:lnTo>
                      <a:pt x="280" y="120"/>
                    </a:lnTo>
                    <a:lnTo>
                      <a:pt x="282" y="120"/>
                    </a:lnTo>
                    <a:lnTo>
                      <a:pt x="282" y="118"/>
                    </a:lnTo>
                    <a:lnTo>
                      <a:pt x="278" y="111"/>
                    </a:lnTo>
                    <a:lnTo>
                      <a:pt x="278" y="107"/>
                    </a:lnTo>
                    <a:lnTo>
                      <a:pt x="276" y="105"/>
                    </a:lnTo>
                    <a:lnTo>
                      <a:pt x="273" y="105"/>
                    </a:lnTo>
                    <a:lnTo>
                      <a:pt x="269" y="96"/>
                    </a:lnTo>
                    <a:lnTo>
                      <a:pt x="267" y="96"/>
                    </a:lnTo>
                    <a:lnTo>
                      <a:pt x="263" y="92"/>
                    </a:lnTo>
                    <a:lnTo>
                      <a:pt x="263" y="92"/>
                    </a:lnTo>
                    <a:lnTo>
                      <a:pt x="265" y="90"/>
                    </a:lnTo>
                    <a:lnTo>
                      <a:pt x="267" y="92"/>
                    </a:lnTo>
                    <a:lnTo>
                      <a:pt x="265" y="90"/>
                    </a:lnTo>
                    <a:lnTo>
                      <a:pt x="261" y="88"/>
                    </a:lnTo>
                    <a:lnTo>
                      <a:pt x="256" y="88"/>
                    </a:lnTo>
                    <a:lnTo>
                      <a:pt x="252" y="77"/>
                    </a:lnTo>
                    <a:lnTo>
                      <a:pt x="248" y="73"/>
                    </a:lnTo>
                    <a:lnTo>
                      <a:pt x="248" y="73"/>
                    </a:lnTo>
                    <a:lnTo>
                      <a:pt x="248" y="69"/>
                    </a:lnTo>
                    <a:lnTo>
                      <a:pt x="246" y="71"/>
                    </a:lnTo>
                    <a:lnTo>
                      <a:pt x="246" y="69"/>
                    </a:lnTo>
                    <a:lnTo>
                      <a:pt x="246" y="69"/>
                    </a:lnTo>
                    <a:lnTo>
                      <a:pt x="246" y="69"/>
                    </a:lnTo>
                    <a:close/>
                  </a:path>
                </a:pathLst>
              </a:custGeom>
              <a:solidFill>
                <a:srgbClr val="ED77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5" name="Freeform 37"/>
              <p:cNvSpPr>
                <a:spLocks noEditPoints="1"/>
              </p:cNvSpPr>
              <p:nvPr/>
            </p:nvSpPr>
            <p:spPr bwMode="auto">
              <a:xfrm>
                <a:off x="3069" y="3521"/>
                <a:ext cx="301" cy="253"/>
              </a:xfrm>
              <a:custGeom>
                <a:avLst/>
                <a:gdLst/>
                <a:ahLst/>
                <a:cxnLst>
                  <a:cxn ang="0">
                    <a:pos x="7" y="121"/>
                  </a:cxn>
                  <a:cxn ang="0">
                    <a:pos x="17" y="123"/>
                  </a:cxn>
                  <a:cxn ang="0">
                    <a:pos x="36" y="132"/>
                  </a:cxn>
                  <a:cxn ang="0">
                    <a:pos x="47" y="134"/>
                  </a:cxn>
                  <a:cxn ang="0">
                    <a:pos x="54" y="123"/>
                  </a:cxn>
                  <a:cxn ang="0">
                    <a:pos x="77" y="59"/>
                  </a:cxn>
                  <a:cxn ang="0">
                    <a:pos x="81" y="91"/>
                  </a:cxn>
                  <a:cxn ang="0">
                    <a:pos x="100" y="87"/>
                  </a:cxn>
                  <a:cxn ang="0">
                    <a:pos x="118" y="76"/>
                  </a:cxn>
                  <a:cxn ang="0">
                    <a:pos x="139" y="66"/>
                  </a:cxn>
                  <a:cxn ang="0">
                    <a:pos x="158" y="72"/>
                  </a:cxn>
                  <a:cxn ang="0">
                    <a:pos x="173" y="68"/>
                  </a:cxn>
                  <a:cxn ang="0">
                    <a:pos x="173" y="57"/>
                  </a:cxn>
                  <a:cxn ang="0">
                    <a:pos x="186" y="47"/>
                  </a:cxn>
                  <a:cxn ang="0">
                    <a:pos x="194" y="42"/>
                  </a:cxn>
                  <a:cxn ang="0">
                    <a:pos x="201" y="25"/>
                  </a:cxn>
                  <a:cxn ang="0">
                    <a:pos x="211" y="19"/>
                  </a:cxn>
                  <a:cxn ang="0">
                    <a:pos x="224" y="13"/>
                  </a:cxn>
                  <a:cxn ang="0">
                    <a:pos x="233" y="4"/>
                  </a:cxn>
                  <a:cxn ang="0">
                    <a:pos x="250" y="0"/>
                  </a:cxn>
                  <a:cxn ang="0">
                    <a:pos x="262" y="4"/>
                  </a:cxn>
                  <a:cxn ang="0">
                    <a:pos x="282" y="13"/>
                  </a:cxn>
                  <a:cxn ang="0">
                    <a:pos x="286" y="34"/>
                  </a:cxn>
                  <a:cxn ang="0">
                    <a:pos x="286" y="68"/>
                  </a:cxn>
                  <a:cxn ang="0">
                    <a:pos x="271" y="72"/>
                  </a:cxn>
                  <a:cxn ang="0">
                    <a:pos x="267" y="93"/>
                  </a:cxn>
                  <a:cxn ang="0">
                    <a:pos x="286" y="93"/>
                  </a:cxn>
                  <a:cxn ang="0">
                    <a:pos x="301" y="91"/>
                  </a:cxn>
                  <a:cxn ang="0">
                    <a:pos x="297" y="108"/>
                  </a:cxn>
                  <a:cxn ang="0">
                    <a:pos x="286" y="132"/>
                  </a:cxn>
                  <a:cxn ang="0">
                    <a:pos x="271" y="142"/>
                  </a:cxn>
                  <a:cxn ang="0">
                    <a:pos x="262" y="155"/>
                  </a:cxn>
                  <a:cxn ang="0">
                    <a:pos x="239" y="185"/>
                  </a:cxn>
                  <a:cxn ang="0">
                    <a:pos x="211" y="209"/>
                  </a:cxn>
                  <a:cxn ang="0">
                    <a:pos x="190" y="228"/>
                  </a:cxn>
                  <a:cxn ang="0">
                    <a:pos x="173" y="230"/>
                  </a:cxn>
                  <a:cxn ang="0">
                    <a:pos x="162" y="240"/>
                  </a:cxn>
                  <a:cxn ang="0">
                    <a:pos x="149" y="243"/>
                  </a:cxn>
                  <a:cxn ang="0">
                    <a:pos x="120" y="240"/>
                  </a:cxn>
                  <a:cxn ang="0">
                    <a:pos x="100" y="240"/>
                  </a:cxn>
                  <a:cxn ang="0">
                    <a:pos x="94" y="245"/>
                  </a:cxn>
                  <a:cxn ang="0">
                    <a:pos x="73" y="245"/>
                  </a:cxn>
                  <a:cxn ang="0">
                    <a:pos x="60" y="253"/>
                  </a:cxn>
                  <a:cxn ang="0">
                    <a:pos x="43" y="245"/>
                  </a:cxn>
                  <a:cxn ang="0">
                    <a:pos x="34" y="240"/>
                  </a:cxn>
                  <a:cxn ang="0">
                    <a:pos x="30" y="238"/>
                  </a:cxn>
                  <a:cxn ang="0">
                    <a:pos x="21" y="215"/>
                  </a:cxn>
                  <a:cxn ang="0">
                    <a:pos x="30" y="207"/>
                  </a:cxn>
                  <a:cxn ang="0">
                    <a:pos x="24" y="179"/>
                  </a:cxn>
                  <a:cxn ang="0">
                    <a:pos x="9" y="136"/>
                  </a:cxn>
                  <a:cxn ang="0">
                    <a:pos x="0" y="125"/>
                  </a:cxn>
                  <a:cxn ang="0">
                    <a:pos x="207" y="170"/>
                  </a:cxn>
                  <a:cxn ang="0">
                    <a:pos x="218" y="159"/>
                  </a:cxn>
                  <a:cxn ang="0">
                    <a:pos x="231" y="153"/>
                  </a:cxn>
                  <a:cxn ang="0">
                    <a:pos x="237" y="140"/>
                  </a:cxn>
                  <a:cxn ang="0">
                    <a:pos x="222" y="130"/>
                  </a:cxn>
                  <a:cxn ang="0">
                    <a:pos x="213" y="132"/>
                  </a:cxn>
                  <a:cxn ang="0">
                    <a:pos x="194" y="147"/>
                  </a:cxn>
                  <a:cxn ang="0">
                    <a:pos x="198" y="162"/>
                  </a:cxn>
                </a:cxnLst>
                <a:rect l="0" t="0" r="r" b="b"/>
                <a:pathLst>
                  <a:path w="301" h="253">
                    <a:moveTo>
                      <a:pt x="0" y="125"/>
                    </a:moveTo>
                    <a:lnTo>
                      <a:pt x="6" y="125"/>
                    </a:lnTo>
                    <a:lnTo>
                      <a:pt x="7" y="123"/>
                    </a:lnTo>
                    <a:lnTo>
                      <a:pt x="7" y="121"/>
                    </a:lnTo>
                    <a:lnTo>
                      <a:pt x="7" y="121"/>
                    </a:lnTo>
                    <a:lnTo>
                      <a:pt x="9" y="117"/>
                    </a:lnTo>
                    <a:lnTo>
                      <a:pt x="13" y="115"/>
                    </a:lnTo>
                    <a:lnTo>
                      <a:pt x="15" y="121"/>
                    </a:lnTo>
                    <a:lnTo>
                      <a:pt x="19" y="121"/>
                    </a:lnTo>
                    <a:lnTo>
                      <a:pt x="17" y="123"/>
                    </a:lnTo>
                    <a:lnTo>
                      <a:pt x="21" y="128"/>
                    </a:lnTo>
                    <a:lnTo>
                      <a:pt x="26" y="130"/>
                    </a:lnTo>
                    <a:lnTo>
                      <a:pt x="30" y="132"/>
                    </a:lnTo>
                    <a:lnTo>
                      <a:pt x="32" y="132"/>
                    </a:lnTo>
                    <a:lnTo>
                      <a:pt x="36" y="132"/>
                    </a:lnTo>
                    <a:lnTo>
                      <a:pt x="38" y="132"/>
                    </a:lnTo>
                    <a:lnTo>
                      <a:pt x="39" y="130"/>
                    </a:lnTo>
                    <a:lnTo>
                      <a:pt x="43" y="130"/>
                    </a:lnTo>
                    <a:lnTo>
                      <a:pt x="45" y="134"/>
                    </a:lnTo>
                    <a:lnTo>
                      <a:pt x="47" y="134"/>
                    </a:lnTo>
                    <a:lnTo>
                      <a:pt x="49" y="134"/>
                    </a:lnTo>
                    <a:lnTo>
                      <a:pt x="49" y="130"/>
                    </a:lnTo>
                    <a:lnTo>
                      <a:pt x="51" y="128"/>
                    </a:lnTo>
                    <a:lnTo>
                      <a:pt x="54" y="126"/>
                    </a:lnTo>
                    <a:lnTo>
                      <a:pt x="54" y="123"/>
                    </a:lnTo>
                    <a:lnTo>
                      <a:pt x="60" y="121"/>
                    </a:lnTo>
                    <a:lnTo>
                      <a:pt x="66" y="121"/>
                    </a:lnTo>
                    <a:lnTo>
                      <a:pt x="68" y="121"/>
                    </a:lnTo>
                    <a:lnTo>
                      <a:pt x="70" y="55"/>
                    </a:lnTo>
                    <a:lnTo>
                      <a:pt x="77" y="59"/>
                    </a:lnTo>
                    <a:lnTo>
                      <a:pt x="79" y="66"/>
                    </a:lnTo>
                    <a:lnTo>
                      <a:pt x="83" y="76"/>
                    </a:lnTo>
                    <a:lnTo>
                      <a:pt x="83" y="79"/>
                    </a:lnTo>
                    <a:lnTo>
                      <a:pt x="81" y="87"/>
                    </a:lnTo>
                    <a:lnTo>
                      <a:pt x="81" y="91"/>
                    </a:lnTo>
                    <a:lnTo>
                      <a:pt x="85" y="87"/>
                    </a:lnTo>
                    <a:lnTo>
                      <a:pt x="88" y="91"/>
                    </a:lnTo>
                    <a:lnTo>
                      <a:pt x="94" y="87"/>
                    </a:lnTo>
                    <a:lnTo>
                      <a:pt x="96" y="91"/>
                    </a:lnTo>
                    <a:lnTo>
                      <a:pt x="100" y="87"/>
                    </a:lnTo>
                    <a:lnTo>
                      <a:pt x="103" y="87"/>
                    </a:lnTo>
                    <a:lnTo>
                      <a:pt x="107" y="83"/>
                    </a:lnTo>
                    <a:lnTo>
                      <a:pt x="109" y="81"/>
                    </a:lnTo>
                    <a:lnTo>
                      <a:pt x="115" y="79"/>
                    </a:lnTo>
                    <a:lnTo>
                      <a:pt x="118" y="76"/>
                    </a:lnTo>
                    <a:lnTo>
                      <a:pt x="120" y="66"/>
                    </a:lnTo>
                    <a:lnTo>
                      <a:pt x="126" y="62"/>
                    </a:lnTo>
                    <a:lnTo>
                      <a:pt x="130" y="62"/>
                    </a:lnTo>
                    <a:lnTo>
                      <a:pt x="137" y="62"/>
                    </a:lnTo>
                    <a:lnTo>
                      <a:pt x="139" y="66"/>
                    </a:lnTo>
                    <a:lnTo>
                      <a:pt x="139" y="66"/>
                    </a:lnTo>
                    <a:lnTo>
                      <a:pt x="149" y="72"/>
                    </a:lnTo>
                    <a:lnTo>
                      <a:pt x="152" y="72"/>
                    </a:lnTo>
                    <a:lnTo>
                      <a:pt x="154" y="72"/>
                    </a:lnTo>
                    <a:lnTo>
                      <a:pt x="158" y="72"/>
                    </a:lnTo>
                    <a:lnTo>
                      <a:pt x="162" y="72"/>
                    </a:lnTo>
                    <a:lnTo>
                      <a:pt x="166" y="68"/>
                    </a:lnTo>
                    <a:lnTo>
                      <a:pt x="167" y="72"/>
                    </a:lnTo>
                    <a:lnTo>
                      <a:pt x="169" y="72"/>
                    </a:lnTo>
                    <a:lnTo>
                      <a:pt x="173" y="68"/>
                    </a:lnTo>
                    <a:lnTo>
                      <a:pt x="173" y="68"/>
                    </a:lnTo>
                    <a:lnTo>
                      <a:pt x="173" y="66"/>
                    </a:lnTo>
                    <a:lnTo>
                      <a:pt x="173" y="62"/>
                    </a:lnTo>
                    <a:lnTo>
                      <a:pt x="173" y="59"/>
                    </a:lnTo>
                    <a:lnTo>
                      <a:pt x="173" y="57"/>
                    </a:lnTo>
                    <a:lnTo>
                      <a:pt x="177" y="53"/>
                    </a:lnTo>
                    <a:lnTo>
                      <a:pt x="179" y="51"/>
                    </a:lnTo>
                    <a:lnTo>
                      <a:pt x="182" y="51"/>
                    </a:lnTo>
                    <a:lnTo>
                      <a:pt x="184" y="49"/>
                    </a:lnTo>
                    <a:lnTo>
                      <a:pt x="186" y="47"/>
                    </a:lnTo>
                    <a:lnTo>
                      <a:pt x="186" y="47"/>
                    </a:lnTo>
                    <a:lnTo>
                      <a:pt x="188" y="45"/>
                    </a:lnTo>
                    <a:lnTo>
                      <a:pt x="190" y="42"/>
                    </a:lnTo>
                    <a:lnTo>
                      <a:pt x="194" y="42"/>
                    </a:lnTo>
                    <a:lnTo>
                      <a:pt x="194" y="42"/>
                    </a:lnTo>
                    <a:lnTo>
                      <a:pt x="198" y="42"/>
                    </a:lnTo>
                    <a:lnTo>
                      <a:pt x="198" y="38"/>
                    </a:lnTo>
                    <a:lnTo>
                      <a:pt x="194" y="34"/>
                    </a:lnTo>
                    <a:lnTo>
                      <a:pt x="198" y="32"/>
                    </a:lnTo>
                    <a:lnTo>
                      <a:pt x="201" y="25"/>
                    </a:lnTo>
                    <a:lnTo>
                      <a:pt x="203" y="23"/>
                    </a:lnTo>
                    <a:lnTo>
                      <a:pt x="207" y="23"/>
                    </a:lnTo>
                    <a:lnTo>
                      <a:pt x="207" y="21"/>
                    </a:lnTo>
                    <a:lnTo>
                      <a:pt x="209" y="21"/>
                    </a:lnTo>
                    <a:lnTo>
                      <a:pt x="211" y="19"/>
                    </a:lnTo>
                    <a:lnTo>
                      <a:pt x="213" y="17"/>
                    </a:lnTo>
                    <a:lnTo>
                      <a:pt x="214" y="15"/>
                    </a:lnTo>
                    <a:lnTo>
                      <a:pt x="218" y="13"/>
                    </a:lnTo>
                    <a:lnTo>
                      <a:pt x="222" y="13"/>
                    </a:lnTo>
                    <a:lnTo>
                      <a:pt x="224" y="13"/>
                    </a:lnTo>
                    <a:lnTo>
                      <a:pt x="226" y="13"/>
                    </a:lnTo>
                    <a:lnTo>
                      <a:pt x="228" y="13"/>
                    </a:lnTo>
                    <a:lnTo>
                      <a:pt x="231" y="10"/>
                    </a:lnTo>
                    <a:lnTo>
                      <a:pt x="233" y="10"/>
                    </a:lnTo>
                    <a:lnTo>
                      <a:pt x="233" y="4"/>
                    </a:lnTo>
                    <a:lnTo>
                      <a:pt x="233" y="4"/>
                    </a:lnTo>
                    <a:lnTo>
                      <a:pt x="237" y="2"/>
                    </a:lnTo>
                    <a:lnTo>
                      <a:pt x="239" y="2"/>
                    </a:lnTo>
                    <a:lnTo>
                      <a:pt x="241" y="2"/>
                    </a:lnTo>
                    <a:lnTo>
                      <a:pt x="250" y="0"/>
                    </a:lnTo>
                    <a:lnTo>
                      <a:pt x="254" y="0"/>
                    </a:lnTo>
                    <a:lnTo>
                      <a:pt x="256" y="4"/>
                    </a:lnTo>
                    <a:lnTo>
                      <a:pt x="258" y="4"/>
                    </a:lnTo>
                    <a:lnTo>
                      <a:pt x="262" y="4"/>
                    </a:lnTo>
                    <a:lnTo>
                      <a:pt x="262" y="4"/>
                    </a:lnTo>
                    <a:lnTo>
                      <a:pt x="265" y="4"/>
                    </a:lnTo>
                    <a:lnTo>
                      <a:pt x="271" y="4"/>
                    </a:lnTo>
                    <a:lnTo>
                      <a:pt x="277" y="4"/>
                    </a:lnTo>
                    <a:lnTo>
                      <a:pt x="280" y="10"/>
                    </a:lnTo>
                    <a:lnTo>
                      <a:pt x="282" y="13"/>
                    </a:lnTo>
                    <a:lnTo>
                      <a:pt x="282" y="17"/>
                    </a:lnTo>
                    <a:lnTo>
                      <a:pt x="286" y="23"/>
                    </a:lnTo>
                    <a:lnTo>
                      <a:pt x="286" y="32"/>
                    </a:lnTo>
                    <a:lnTo>
                      <a:pt x="286" y="32"/>
                    </a:lnTo>
                    <a:lnTo>
                      <a:pt x="286" y="34"/>
                    </a:lnTo>
                    <a:lnTo>
                      <a:pt x="286" y="38"/>
                    </a:lnTo>
                    <a:lnTo>
                      <a:pt x="286" y="44"/>
                    </a:lnTo>
                    <a:lnTo>
                      <a:pt x="286" y="59"/>
                    </a:lnTo>
                    <a:lnTo>
                      <a:pt x="286" y="62"/>
                    </a:lnTo>
                    <a:lnTo>
                      <a:pt x="286" y="68"/>
                    </a:lnTo>
                    <a:lnTo>
                      <a:pt x="286" y="76"/>
                    </a:lnTo>
                    <a:lnTo>
                      <a:pt x="282" y="74"/>
                    </a:lnTo>
                    <a:lnTo>
                      <a:pt x="280" y="72"/>
                    </a:lnTo>
                    <a:lnTo>
                      <a:pt x="275" y="68"/>
                    </a:lnTo>
                    <a:lnTo>
                      <a:pt x="271" y="72"/>
                    </a:lnTo>
                    <a:lnTo>
                      <a:pt x="271" y="74"/>
                    </a:lnTo>
                    <a:lnTo>
                      <a:pt x="265" y="83"/>
                    </a:lnTo>
                    <a:lnTo>
                      <a:pt x="263" y="87"/>
                    </a:lnTo>
                    <a:lnTo>
                      <a:pt x="265" y="87"/>
                    </a:lnTo>
                    <a:lnTo>
                      <a:pt x="267" y="93"/>
                    </a:lnTo>
                    <a:lnTo>
                      <a:pt x="271" y="96"/>
                    </a:lnTo>
                    <a:lnTo>
                      <a:pt x="277" y="98"/>
                    </a:lnTo>
                    <a:lnTo>
                      <a:pt x="282" y="98"/>
                    </a:lnTo>
                    <a:lnTo>
                      <a:pt x="286" y="96"/>
                    </a:lnTo>
                    <a:lnTo>
                      <a:pt x="286" y="93"/>
                    </a:lnTo>
                    <a:lnTo>
                      <a:pt x="286" y="93"/>
                    </a:lnTo>
                    <a:lnTo>
                      <a:pt x="288" y="91"/>
                    </a:lnTo>
                    <a:lnTo>
                      <a:pt x="292" y="91"/>
                    </a:lnTo>
                    <a:lnTo>
                      <a:pt x="297" y="91"/>
                    </a:lnTo>
                    <a:lnTo>
                      <a:pt x="301" y="91"/>
                    </a:lnTo>
                    <a:lnTo>
                      <a:pt x="301" y="93"/>
                    </a:lnTo>
                    <a:lnTo>
                      <a:pt x="299" y="96"/>
                    </a:lnTo>
                    <a:lnTo>
                      <a:pt x="301" y="96"/>
                    </a:lnTo>
                    <a:lnTo>
                      <a:pt x="297" y="102"/>
                    </a:lnTo>
                    <a:lnTo>
                      <a:pt x="297" y="108"/>
                    </a:lnTo>
                    <a:lnTo>
                      <a:pt x="295" y="113"/>
                    </a:lnTo>
                    <a:lnTo>
                      <a:pt x="292" y="121"/>
                    </a:lnTo>
                    <a:lnTo>
                      <a:pt x="292" y="123"/>
                    </a:lnTo>
                    <a:lnTo>
                      <a:pt x="288" y="126"/>
                    </a:lnTo>
                    <a:lnTo>
                      <a:pt x="286" y="132"/>
                    </a:lnTo>
                    <a:lnTo>
                      <a:pt x="282" y="132"/>
                    </a:lnTo>
                    <a:lnTo>
                      <a:pt x="282" y="134"/>
                    </a:lnTo>
                    <a:lnTo>
                      <a:pt x="278" y="136"/>
                    </a:lnTo>
                    <a:lnTo>
                      <a:pt x="277" y="138"/>
                    </a:lnTo>
                    <a:lnTo>
                      <a:pt x="271" y="142"/>
                    </a:lnTo>
                    <a:lnTo>
                      <a:pt x="271" y="145"/>
                    </a:lnTo>
                    <a:lnTo>
                      <a:pt x="265" y="149"/>
                    </a:lnTo>
                    <a:lnTo>
                      <a:pt x="265" y="151"/>
                    </a:lnTo>
                    <a:lnTo>
                      <a:pt x="263" y="155"/>
                    </a:lnTo>
                    <a:lnTo>
                      <a:pt x="262" y="155"/>
                    </a:lnTo>
                    <a:lnTo>
                      <a:pt x="258" y="160"/>
                    </a:lnTo>
                    <a:lnTo>
                      <a:pt x="250" y="172"/>
                    </a:lnTo>
                    <a:lnTo>
                      <a:pt x="245" y="179"/>
                    </a:lnTo>
                    <a:lnTo>
                      <a:pt x="243" y="183"/>
                    </a:lnTo>
                    <a:lnTo>
                      <a:pt x="239" y="185"/>
                    </a:lnTo>
                    <a:lnTo>
                      <a:pt x="237" y="191"/>
                    </a:lnTo>
                    <a:lnTo>
                      <a:pt x="233" y="191"/>
                    </a:lnTo>
                    <a:lnTo>
                      <a:pt x="233" y="191"/>
                    </a:lnTo>
                    <a:lnTo>
                      <a:pt x="214" y="209"/>
                    </a:lnTo>
                    <a:lnTo>
                      <a:pt x="211" y="209"/>
                    </a:lnTo>
                    <a:lnTo>
                      <a:pt x="213" y="211"/>
                    </a:lnTo>
                    <a:lnTo>
                      <a:pt x="209" y="215"/>
                    </a:lnTo>
                    <a:lnTo>
                      <a:pt x="198" y="224"/>
                    </a:lnTo>
                    <a:lnTo>
                      <a:pt x="194" y="224"/>
                    </a:lnTo>
                    <a:lnTo>
                      <a:pt x="190" y="228"/>
                    </a:lnTo>
                    <a:lnTo>
                      <a:pt x="190" y="228"/>
                    </a:lnTo>
                    <a:lnTo>
                      <a:pt x="182" y="230"/>
                    </a:lnTo>
                    <a:lnTo>
                      <a:pt x="177" y="232"/>
                    </a:lnTo>
                    <a:lnTo>
                      <a:pt x="173" y="232"/>
                    </a:lnTo>
                    <a:lnTo>
                      <a:pt x="173" y="230"/>
                    </a:lnTo>
                    <a:lnTo>
                      <a:pt x="167" y="232"/>
                    </a:lnTo>
                    <a:lnTo>
                      <a:pt x="162" y="232"/>
                    </a:lnTo>
                    <a:lnTo>
                      <a:pt x="160" y="236"/>
                    </a:lnTo>
                    <a:lnTo>
                      <a:pt x="162" y="240"/>
                    </a:lnTo>
                    <a:lnTo>
                      <a:pt x="162" y="240"/>
                    </a:lnTo>
                    <a:lnTo>
                      <a:pt x="156" y="240"/>
                    </a:lnTo>
                    <a:lnTo>
                      <a:pt x="152" y="238"/>
                    </a:lnTo>
                    <a:lnTo>
                      <a:pt x="149" y="238"/>
                    </a:lnTo>
                    <a:lnTo>
                      <a:pt x="145" y="241"/>
                    </a:lnTo>
                    <a:lnTo>
                      <a:pt x="149" y="243"/>
                    </a:lnTo>
                    <a:lnTo>
                      <a:pt x="145" y="243"/>
                    </a:lnTo>
                    <a:lnTo>
                      <a:pt x="137" y="241"/>
                    </a:lnTo>
                    <a:lnTo>
                      <a:pt x="135" y="240"/>
                    </a:lnTo>
                    <a:lnTo>
                      <a:pt x="126" y="238"/>
                    </a:lnTo>
                    <a:lnTo>
                      <a:pt x="120" y="240"/>
                    </a:lnTo>
                    <a:lnTo>
                      <a:pt x="120" y="240"/>
                    </a:lnTo>
                    <a:lnTo>
                      <a:pt x="118" y="241"/>
                    </a:lnTo>
                    <a:lnTo>
                      <a:pt x="115" y="240"/>
                    </a:lnTo>
                    <a:lnTo>
                      <a:pt x="103" y="240"/>
                    </a:lnTo>
                    <a:lnTo>
                      <a:pt x="100" y="240"/>
                    </a:lnTo>
                    <a:lnTo>
                      <a:pt x="100" y="243"/>
                    </a:lnTo>
                    <a:lnTo>
                      <a:pt x="98" y="243"/>
                    </a:lnTo>
                    <a:lnTo>
                      <a:pt x="94" y="243"/>
                    </a:lnTo>
                    <a:lnTo>
                      <a:pt x="94" y="245"/>
                    </a:lnTo>
                    <a:lnTo>
                      <a:pt x="94" y="245"/>
                    </a:lnTo>
                    <a:lnTo>
                      <a:pt x="88" y="245"/>
                    </a:lnTo>
                    <a:lnTo>
                      <a:pt x="85" y="249"/>
                    </a:lnTo>
                    <a:lnTo>
                      <a:pt x="79" y="245"/>
                    </a:lnTo>
                    <a:lnTo>
                      <a:pt x="75" y="245"/>
                    </a:lnTo>
                    <a:lnTo>
                      <a:pt x="73" y="245"/>
                    </a:lnTo>
                    <a:lnTo>
                      <a:pt x="70" y="245"/>
                    </a:lnTo>
                    <a:lnTo>
                      <a:pt x="66" y="253"/>
                    </a:lnTo>
                    <a:lnTo>
                      <a:pt x="64" y="253"/>
                    </a:lnTo>
                    <a:lnTo>
                      <a:pt x="60" y="253"/>
                    </a:lnTo>
                    <a:lnTo>
                      <a:pt x="60" y="253"/>
                    </a:lnTo>
                    <a:lnTo>
                      <a:pt x="58" y="253"/>
                    </a:lnTo>
                    <a:lnTo>
                      <a:pt x="49" y="249"/>
                    </a:lnTo>
                    <a:lnTo>
                      <a:pt x="47" y="253"/>
                    </a:lnTo>
                    <a:lnTo>
                      <a:pt x="47" y="245"/>
                    </a:lnTo>
                    <a:lnTo>
                      <a:pt x="43" y="245"/>
                    </a:lnTo>
                    <a:lnTo>
                      <a:pt x="39" y="245"/>
                    </a:lnTo>
                    <a:lnTo>
                      <a:pt x="38" y="245"/>
                    </a:lnTo>
                    <a:lnTo>
                      <a:pt x="39" y="245"/>
                    </a:lnTo>
                    <a:lnTo>
                      <a:pt x="38" y="241"/>
                    </a:lnTo>
                    <a:lnTo>
                      <a:pt x="34" y="240"/>
                    </a:lnTo>
                    <a:lnTo>
                      <a:pt x="30" y="243"/>
                    </a:lnTo>
                    <a:lnTo>
                      <a:pt x="30" y="245"/>
                    </a:lnTo>
                    <a:lnTo>
                      <a:pt x="30" y="245"/>
                    </a:lnTo>
                    <a:lnTo>
                      <a:pt x="30" y="240"/>
                    </a:lnTo>
                    <a:lnTo>
                      <a:pt x="30" y="238"/>
                    </a:lnTo>
                    <a:lnTo>
                      <a:pt x="30" y="232"/>
                    </a:lnTo>
                    <a:lnTo>
                      <a:pt x="32" y="228"/>
                    </a:lnTo>
                    <a:lnTo>
                      <a:pt x="30" y="221"/>
                    </a:lnTo>
                    <a:lnTo>
                      <a:pt x="26" y="221"/>
                    </a:lnTo>
                    <a:lnTo>
                      <a:pt x="21" y="215"/>
                    </a:lnTo>
                    <a:lnTo>
                      <a:pt x="21" y="209"/>
                    </a:lnTo>
                    <a:lnTo>
                      <a:pt x="24" y="207"/>
                    </a:lnTo>
                    <a:lnTo>
                      <a:pt x="26" y="209"/>
                    </a:lnTo>
                    <a:lnTo>
                      <a:pt x="26" y="209"/>
                    </a:lnTo>
                    <a:lnTo>
                      <a:pt x="30" y="207"/>
                    </a:lnTo>
                    <a:lnTo>
                      <a:pt x="30" y="202"/>
                    </a:lnTo>
                    <a:lnTo>
                      <a:pt x="30" y="196"/>
                    </a:lnTo>
                    <a:lnTo>
                      <a:pt x="30" y="194"/>
                    </a:lnTo>
                    <a:lnTo>
                      <a:pt x="24" y="185"/>
                    </a:lnTo>
                    <a:lnTo>
                      <a:pt x="24" y="179"/>
                    </a:lnTo>
                    <a:lnTo>
                      <a:pt x="19" y="175"/>
                    </a:lnTo>
                    <a:lnTo>
                      <a:pt x="17" y="162"/>
                    </a:lnTo>
                    <a:lnTo>
                      <a:pt x="13" y="153"/>
                    </a:lnTo>
                    <a:lnTo>
                      <a:pt x="13" y="147"/>
                    </a:lnTo>
                    <a:lnTo>
                      <a:pt x="9" y="136"/>
                    </a:lnTo>
                    <a:lnTo>
                      <a:pt x="2" y="132"/>
                    </a:lnTo>
                    <a:lnTo>
                      <a:pt x="2" y="125"/>
                    </a:lnTo>
                    <a:lnTo>
                      <a:pt x="0" y="125"/>
                    </a:lnTo>
                    <a:lnTo>
                      <a:pt x="0" y="125"/>
                    </a:lnTo>
                    <a:lnTo>
                      <a:pt x="0" y="125"/>
                    </a:lnTo>
                    <a:lnTo>
                      <a:pt x="0" y="125"/>
                    </a:lnTo>
                    <a:close/>
                    <a:moveTo>
                      <a:pt x="198" y="162"/>
                    </a:moveTo>
                    <a:lnTo>
                      <a:pt x="203" y="164"/>
                    </a:lnTo>
                    <a:lnTo>
                      <a:pt x="203" y="166"/>
                    </a:lnTo>
                    <a:lnTo>
                      <a:pt x="207" y="170"/>
                    </a:lnTo>
                    <a:lnTo>
                      <a:pt x="211" y="166"/>
                    </a:lnTo>
                    <a:lnTo>
                      <a:pt x="213" y="166"/>
                    </a:lnTo>
                    <a:lnTo>
                      <a:pt x="213" y="164"/>
                    </a:lnTo>
                    <a:lnTo>
                      <a:pt x="214" y="160"/>
                    </a:lnTo>
                    <a:lnTo>
                      <a:pt x="218" y="159"/>
                    </a:lnTo>
                    <a:lnTo>
                      <a:pt x="222" y="159"/>
                    </a:lnTo>
                    <a:lnTo>
                      <a:pt x="224" y="157"/>
                    </a:lnTo>
                    <a:lnTo>
                      <a:pt x="228" y="159"/>
                    </a:lnTo>
                    <a:lnTo>
                      <a:pt x="231" y="155"/>
                    </a:lnTo>
                    <a:lnTo>
                      <a:pt x="231" y="153"/>
                    </a:lnTo>
                    <a:lnTo>
                      <a:pt x="228" y="151"/>
                    </a:lnTo>
                    <a:lnTo>
                      <a:pt x="228" y="149"/>
                    </a:lnTo>
                    <a:lnTo>
                      <a:pt x="231" y="147"/>
                    </a:lnTo>
                    <a:lnTo>
                      <a:pt x="237" y="145"/>
                    </a:lnTo>
                    <a:lnTo>
                      <a:pt x="237" y="140"/>
                    </a:lnTo>
                    <a:lnTo>
                      <a:pt x="231" y="132"/>
                    </a:lnTo>
                    <a:lnTo>
                      <a:pt x="228" y="130"/>
                    </a:lnTo>
                    <a:lnTo>
                      <a:pt x="226" y="130"/>
                    </a:lnTo>
                    <a:lnTo>
                      <a:pt x="224" y="128"/>
                    </a:lnTo>
                    <a:lnTo>
                      <a:pt x="222" y="130"/>
                    </a:lnTo>
                    <a:lnTo>
                      <a:pt x="220" y="128"/>
                    </a:lnTo>
                    <a:lnTo>
                      <a:pt x="216" y="128"/>
                    </a:lnTo>
                    <a:lnTo>
                      <a:pt x="216" y="130"/>
                    </a:lnTo>
                    <a:lnTo>
                      <a:pt x="214" y="130"/>
                    </a:lnTo>
                    <a:lnTo>
                      <a:pt x="213" y="132"/>
                    </a:lnTo>
                    <a:lnTo>
                      <a:pt x="207" y="134"/>
                    </a:lnTo>
                    <a:lnTo>
                      <a:pt x="203" y="138"/>
                    </a:lnTo>
                    <a:lnTo>
                      <a:pt x="201" y="142"/>
                    </a:lnTo>
                    <a:lnTo>
                      <a:pt x="194" y="145"/>
                    </a:lnTo>
                    <a:lnTo>
                      <a:pt x="194" y="147"/>
                    </a:lnTo>
                    <a:lnTo>
                      <a:pt x="194" y="151"/>
                    </a:lnTo>
                    <a:lnTo>
                      <a:pt x="198" y="153"/>
                    </a:lnTo>
                    <a:lnTo>
                      <a:pt x="198" y="155"/>
                    </a:lnTo>
                    <a:lnTo>
                      <a:pt x="198" y="159"/>
                    </a:lnTo>
                    <a:lnTo>
                      <a:pt x="198" y="162"/>
                    </a:lnTo>
                    <a:lnTo>
                      <a:pt x="198" y="162"/>
                    </a:lnTo>
                    <a:lnTo>
                      <a:pt x="198" y="162"/>
                    </a:lnTo>
                    <a:close/>
                  </a:path>
                </a:pathLst>
              </a:custGeom>
              <a:solidFill>
                <a:srgbClr val="ED77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38"/>
              <p:cNvSpPr>
                <a:spLocks noEditPoints="1"/>
              </p:cNvSpPr>
              <p:nvPr/>
            </p:nvSpPr>
            <p:spPr bwMode="auto">
              <a:xfrm>
                <a:off x="518" y="745"/>
                <a:ext cx="1602" cy="1495"/>
              </a:xfrm>
              <a:custGeom>
                <a:avLst/>
                <a:gdLst/>
                <a:ahLst/>
                <a:cxnLst>
                  <a:cxn ang="0">
                    <a:pos x="1156" y="107"/>
                  </a:cxn>
                  <a:cxn ang="0">
                    <a:pos x="1222" y="218"/>
                  </a:cxn>
                  <a:cxn ang="0">
                    <a:pos x="1184" y="292"/>
                  </a:cxn>
                  <a:cxn ang="0">
                    <a:pos x="1284" y="158"/>
                  </a:cxn>
                  <a:cxn ang="0">
                    <a:pos x="1267" y="98"/>
                  </a:cxn>
                  <a:cxn ang="0">
                    <a:pos x="1391" y="4"/>
                  </a:cxn>
                  <a:cxn ang="0">
                    <a:pos x="1544" y="132"/>
                  </a:cxn>
                  <a:cxn ang="0">
                    <a:pos x="1363" y="256"/>
                  </a:cxn>
                  <a:cxn ang="0">
                    <a:pos x="1216" y="378"/>
                  </a:cxn>
                  <a:cxn ang="0">
                    <a:pos x="1222" y="399"/>
                  </a:cxn>
                  <a:cxn ang="0">
                    <a:pos x="1054" y="262"/>
                  </a:cxn>
                  <a:cxn ang="0">
                    <a:pos x="990" y="205"/>
                  </a:cxn>
                  <a:cxn ang="0">
                    <a:pos x="1169" y="458"/>
                  </a:cxn>
                  <a:cxn ang="0">
                    <a:pos x="1066" y="318"/>
                  </a:cxn>
                  <a:cxn ang="0">
                    <a:pos x="1017" y="307"/>
                  </a:cxn>
                  <a:cxn ang="0">
                    <a:pos x="680" y="250"/>
                  </a:cxn>
                  <a:cxn ang="0">
                    <a:pos x="996" y="369"/>
                  </a:cxn>
                  <a:cxn ang="0">
                    <a:pos x="962" y="346"/>
                  </a:cxn>
                  <a:cxn ang="0">
                    <a:pos x="704" y="277"/>
                  </a:cxn>
                  <a:cxn ang="0">
                    <a:pos x="828" y="316"/>
                  </a:cxn>
                  <a:cxn ang="0">
                    <a:pos x="584" y="324"/>
                  </a:cxn>
                  <a:cxn ang="0">
                    <a:pos x="849" y="459"/>
                  </a:cxn>
                  <a:cxn ang="0">
                    <a:pos x="926" y="482"/>
                  </a:cxn>
                  <a:cxn ang="0">
                    <a:pos x="940" y="533"/>
                  </a:cxn>
                  <a:cxn ang="0">
                    <a:pos x="1103" y="717"/>
                  </a:cxn>
                  <a:cxn ang="0">
                    <a:pos x="1160" y="744"/>
                  </a:cxn>
                  <a:cxn ang="0">
                    <a:pos x="821" y="578"/>
                  </a:cxn>
                  <a:cxn ang="0">
                    <a:pos x="740" y="476"/>
                  </a:cxn>
                  <a:cxn ang="0">
                    <a:pos x="599" y="518"/>
                  </a:cxn>
                  <a:cxn ang="0">
                    <a:pos x="742" y="633"/>
                  </a:cxn>
                  <a:cxn ang="0">
                    <a:pos x="830" y="631"/>
                  </a:cxn>
                  <a:cxn ang="0">
                    <a:pos x="1105" y="840"/>
                  </a:cxn>
                  <a:cxn ang="0">
                    <a:pos x="1126" y="659"/>
                  </a:cxn>
                  <a:cxn ang="0">
                    <a:pos x="1075" y="506"/>
                  </a:cxn>
                  <a:cxn ang="0">
                    <a:pos x="1135" y="569"/>
                  </a:cxn>
                  <a:cxn ang="0">
                    <a:pos x="1252" y="621"/>
                  </a:cxn>
                  <a:cxn ang="0">
                    <a:pos x="1286" y="717"/>
                  </a:cxn>
                  <a:cxn ang="0">
                    <a:pos x="1322" y="808"/>
                  </a:cxn>
                  <a:cxn ang="0">
                    <a:pos x="1284" y="830"/>
                  </a:cxn>
                  <a:cxn ang="0">
                    <a:pos x="1252" y="949"/>
                  </a:cxn>
                  <a:cxn ang="0">
                    <a:pos x="1005" y="862"/>
                  </a:cxn>
                  <a:cxn ang="0">
                    <a:pos x="1148" y="1045"/>
                  </a:cxn>
                  <a:cxn ang="0">
                    <a:pos x="956" y="1117"/>
                  </a:cxn>
                  <a:cxn ang="0">
                    <a:pos x="1301" y="1300"/>
                  </a:cxn>
                  <a:cxn ang="0">
                    <a:pos x="1337" y="1397"/>
                  </a:cxn>
                  <a:cxn ang="0">
                    <a:pos x="1325" y="1320"/>
                  </a:cxn>
                  <a:cxn ang="0">
                    <a:pos x="1235" y="1418"/>
                  </a:cxn>
                  <a:cxn ang="0">
                    <a:pos x="102" y="1151"/>
                  </a:cxn>
                  <a:cxn ang="0">
                    <a:pos x="45" y="1113"/>
                  </a:cxn>
                  <a:cxn ang="0">
                    <a:pos x="147" y="1194"/>
                  </a:cxn>
                  <a:cxn ang="0">
                    <a:pos x="121" y="1041"/>
                  </a:cxn>
                  <a:cxn ang="0">
                    <a:pos x="326" y="510"/>
                  </a:cxn>
                  <a:cxn ang="0">
                    <a:pos x="593" y="653"/>
                  </a:cxn>
                  <a:cxn ang="0">
                    <a:pos x="772" y="687"/>
                  </a:cxn>
                  <a:cxn ang="0">
                    <a:pos x="876" y="625"/>
                  </a:cxn>
                  <a:cxn ang="0">
                    <a:pos x="973" y="731"/>
                  </a:cxn>
                  <a:cxn ang="0">
                    <a:pos x="956" y="780"/>
                  </a:cxn>
                  <a:cxn ang="0">
                    <a:pos x="763" y="957"/>
                  </a:cxn>
                  <a:cxn ang="0">
                    <a:pos x="998" y="1139"/>
                  </a:cxn>
                  <a:cxn ang="0">
                    <a:pos x="1184" y="1073"/>
                  </a:cxn>
                  <a:cxn ang="0">
                    <a:pos x="1286" y="1181"/>
                  </a:cxn>
                  <a:cxn ang="0">
                    <a:pos x="1164" y="1300"/>
                  </a:cxn>
                  <a:cxn ang="0">
                    <a:pos x="1154" y="1422"/>
                  </a:cxn>
                </a:cxnLst>
                <a:rect l="0" t="0" r="r" b="b"/>
                <a:pathLst>
                  <a:path w="1602" h="1495">
                    <a:moveTo>
                      <a:pt x="1160" y="262"/>
                    </a:moveTo>
                    <a:lnTo>
                      <a:pt x="1160" y="260"/>
                    </a:lnTo>
                    <a:lnTo>
                      <a:pt x="1164" y="256"/>
                    </a:lnTo>
                    <a:lnTo>
                      <a:pt x="1169" y="250"/>
                    </a:lnTo>
                    <a:lnTo>
                      <a:pt x="1173" y="241"/>
                    </a:lnTo>
                    <a:lnTo>
                      <a:pt x="1175" y="237"/>
                    </a:lnTo>
                    <a:lnTo>
                      <a:pt x="1175" y="243"/>
                    </a:lnTo>
                    <a:lnTo>
                      <a:pt x="1173" y="247"/>
                    </a:lnTo>
                    <a:lnTo>
                      <a:pt x="1173" y="250"/>
                    </a:lnTo>
                    <a:lnTo>
                      <a:pt x="1177" y="250"/>
                    </a:lnTo>
                    <a:lnTo>
                      <a:pt x="1180" y="247"/>
                    </a:lnTo>
                    <a:lnTo>
                      <a:pt x="1184" y="243"/>
                    </a:lnTo>
                    <a:lnTo>
                      <a:pt x="1182" y="241"/>
                    </a:lnTo>
                    <a:lnTo>
                      <a:pt x="1179" y="237"/>
                    </a:lnTo>
                    <a:lnTo>
                      <a:pt x="1179" y="237"/>
                    </a:lnTo>
                    <a:lnTo>
                      <a:pt x="1184" y="237"/>
                    </a:lnTo>
                    <a:lnTo>
                      <a:pt x="1184" y="231"/>
                    </a:lnTo>
                    <a:lnTo>
                      <a:pt x="1182" y="230"/>
                    </a:lnTo>
                    <a:lnTo>
                      <a:pt x="1182" y="226"/>
                    </a:lnTo>
                    <a:lnTo>
                      <a:pt x="1188" y="222"/>
                    </a:lnTo>
                    <a:lnTo>
                      <a:pt x="1188" y="216"/>
                    </a:lnTo>
                    <a:lnTo>
                      <a:pt x="1194" y="216"/>
                    </a:lnTo>
                    <a:lnTo>
                      <a:pt x="1194" y="213"/>
                    </a:lnTo>
                    <a:lnTo>
                      <a:pt x="1194" y="216"/>
                    </a:lnTo>
                    <a:lnTo>
                      <a:pt x="1194" y="216"/>
                    </a:lnTo>
                    <a:lnTo>
                      <a:pt x="1192" y="216"/>
                    </a:lnTo>
                    <a:lnTo>
                      <a:pt x="1188" y="226"/>
                    </a:lnTo>
                    <a:lnTo>
                      <a:pt x="1184" y="228"/>
                    </a:lnTo>
                    <a:lnTo>
                      <a:pt x="1184" y="233"/>
                    </a:lnTo>
                    <a:lnTo>
                      <a:pt x="1188" y="237"/>
                    </a:lnTo>
                    <a:lnTo>
                      <a:pt x="1188" y="241"/>
                    </a:lnTo>
                    <a:lnTo>
                      <a:pt x="1188" y="237"/>
                    </a:lnTo>
                    <a:lnTo>
                      <a:pt x="1194" y="233"/>
                    </a:lnTo>
                    <a:lnTo>
                      <a:pt x="1199" y="228"/>
                    </a:lnTo>
                    <a:lnTo>
                      <a:pt x="1201" y="222"/>
                    </a:lnTo>
                    <a:lnTo>
                      <a:pt x="1201" y="218"/>
                    </a:lnTo>
                    <a:lnTo>
                      <a:pt x="1205" y="213"/>
                    </a:lnTo>
                    <a:lnTo>
                      <a:pt x="1207" y="213"/>
                    </a:lnTo>
                    <a:lnTo>
                      <a:pt x="1207" y="216"/>
                    </a:lnTo>
                    <a:lnTo>
                      <a:pt x="1207" y="216"/>
                    </a:lnTo>
                    <a:lnTo>
                      <a:pt x="1207" y="220"/>
                    </a:lnTo>
                    <a:lnTo>
                      <a:pt x="1209" y="220"/>
                    </a:lnTo>
                    <a:lnTo>
                      <a:pt x="1212" y="216"/>
                    </a:lnTo>
                    <a:lnTo>
                      <a:pt x="1216" y="216"/>
                    </a:lnTo>
                    <a:lnTo>
                      <a:pt x="1222" y="216"/>
                    </a:lnTo>
                    <a:lnTo>
                      <a:pt x="1228" y="213"/>
                    </a:lnTo>
                    <a:lnTo>
                      <a:pt x="1231" y="213"/>
                    </a:lnTo>
                    <a:lnTo>
                      <a:pt x="1233" y="211"/>
                    </a:lnTo>
                    <a:lnTo>
                      <a:pt x="1237" y="211"/>
                    </a:lnTo>
                    <a:lnTo>
                      <a:pt x="1239" y="207"/>
                    </a:lnTo>
                    <a:lnTo>
                      <a:pt x="1239" y="203"/>
                    </a:lnTo>
                    <a:lnTo>
                      <a:pt x="1239" y="201"/>
                    </a:lnTo>
                    <a:lnTo>
                      <a:pt x="1237" y="198"/>
                    </a:lnTo>
                    <a:lnTo>
                      <a:pt x="1239" y="194"/>
                    </a:lnTo>
                    <a:lnTo>
                      <a:pt x="1239" y="186"/>
                    </a:lnTo>
                    <a:lnTo>
                      <a:pt x="1237" y="186"/>
                    </a:lnTo>
                    <a:lnTo>
                      <a:pt x="1235" y="192"/>
                    </a:lnTo>
                    <a:lnTo>
                      <a:pt x="1229" y="196"/>
                    </a:lnTo>
                    <a:lnTo>
                      <a:pt x="1228" y="196"/>
                    </a:lnTo>
                    <a:lnTo>
                      <a:pt x="1228" y="192"/>
                    </a:lnTo>
                    <a:lnTo>
                      <a:pt x="1231" y="188"/>
                    </a:lnTo>
                    <a:lnTo>
                      <a:pt x="1235" y="186"/>
                    </a:lnTo>
                    <a:lnTo>
                      <a:pt x="1235" y="183"/>
                    </a:lnTo>
                    <a:lnTo>
                      <a:pt x="1231" y="181"/>
                    </a:lnTo>
                    <a:lnTo>
                      <a:pt x="1229" y="179"/>
                    </a:lnTo>
                    <a:lnTo>
                      <a:pt x="1228" y="179"/>
                    </a:lnTo>
                    <a:lnTo>
                      <a:pt x="1226" y="179"/>
                    </a:lnTo>
                    <a:lnTo>
                      <a:pt x="1226" y="183"/>
                    </a:lnTo>
                    <a:lnTo>
                      <a:pt x="1222" y="181"/>
                    </a:lnTo>
                    <a:lnTo>
                      <a:pt x="1218" y="181"/>
                    </a:lnTo>
                    <a:lnTo>
                      <a:pt x="1218" y="183"/>
                    </a:lnTo>
                    <a:lnTo>
                      <a:pt x="1214" y="183"/>
                    </a:lnTo>
                    <a:lnTo>
                      <a:pt x="1216" y="181"/>
                    </a:lnTo>
                    <a:lnTo>
                      <a:pt x="1224" y="177"/>
                    </a:lnTo>
                    <a:lnTo>
                      <a:pt x="1228" y="173"/>
                    </a:lnTo>
                    <a:lnTo>
                      <a:pt x="1233" y="167"/>
                    </a:lnTo>
                    <a:lnTo>
                      <a:pt x="1235" y="167"/>
                    </a:lnTo>
                    <a:lnTo>
                      <a:pt x="1241" y="158"/>
                    </a:lnTo>
                    <a:lnTo>
                      <a:pt x="1243" y="152"/>
                    </a:lnTo>
                    <a:lnTo>
                      <a:pt x="1241" y="152"/>
                    </a:lnTo>
                    <a:lnTo>
                      <a:pt x="1237" y="152"/>
                    </a:lnTo>
                    <a:lnTo>
                      <a:pt x="1235" y="156"/>
                    </a:lnTo>
                    <a:lnTo>
                      <a:pt x="1233" y="152"/>
                    </a:lnTo>
                    <a:lnTo>
                      <a:pt x="1235" y="149"/>
                    </a:lnTo>
                    <a:lnTo>
                      <a:pt x="1237" y="149"/>
                    </a:lnTo>
                    <a:lnTo>
                      <a:pt x="1241" y="149"/>
                    </a:lnTo>
                    <a:lnTo>
                      <a:pt x="1243" y="149"/>
                    </a:lnTo>
                    <a:lnTo>
                      <a:pt x="1243" y="143"/>
                    </a:lnTo>
                    <a:lnTo>
                      <a:pt x="1246" y="139"/>
                    </a:lnTo>
                    <a:lnTo>
                      <a:pt x="1246" y="135"/>
                    </a:lnTo>
                    <a:lnTo>
                      <a:pt x="1243" y="134"/>
                    </a:lnTo>
                    <a:lnTo>
                      <a:pt x="1243" y="132"/>
                    </a:lnTo>
                    <a:lnTo>
                      <a:pt x="1241" y="132"/>
                    </a:lnTo>
                    <a:lnTo>
                      <a:pt x="1237" y="132"/>
                    </a:lnTo>
                    <a:lnTo>
                      <a:pt x="1233" y="139"/>
                    </a:lnTo>
                    <a:lnTo>
                      <a:pt x="1233" y="145"/>
                    </a:lnTo>
                    <a:lnTo>
                      <a:pt x="1235" y="147"/>
                    </a:lnTo>
                    <a:lnTo>
                      <a:pt x="1231" y="149"/>
                    </a:lnTo>
                    <a:lnTo>
                      <a:pt x="1229" y="149"/>
                    </a:lnTo>
                    <a:lnTo>
                      <a:pt x="1229" y="149"/>
                    </a:lnTo>
                    <a:lnTo>
                      <a:pt x="1229" y="149"/>
                    </a:lnTo>
                    <a:lnTo>
                      <a:pt x="1228" y="147"/>
                    </a:lnTo>
                    <a:lnTo>
                      <a:pt x="1228" y="143"/>
                    </a:lnTo>
                    <a:lnTo>
                      <a:pt x="1231" y="137"/>
                    </a:lnTo>
                    <a:lnTo>
                      <a:pt x="1229" y="134"/>
                    </a:lnTo>
                    <a:lnTo>
                      <a:pt x="1231" y="132"/>
                    </a:lnTo>
                    <a:lnTo>
                      <a:pt x="1233" y="132"/>
                    </a:lnTo>
                    <a:lnTo>
                      <a:pt x="1235" y="132"/>
                    </a:lnTo>
                    <a:lnTo>
                      <a:pt x="1233" y="128"/>
                    </a:lnTo>
                    <a:lnTo>
                      <a:pt x="1231" y="122"/>
                    </a:lnTo>
                    <a:lnTo>
                      <a:pt x="1228" y="122"/>
                    </a:lnTo>
                    <a:lnTo>
                      <a:pt x="1224" y="122"/>
                    </a:lnTo>
                    <a:lnTo>
                      <a:pt x="1222" y="128"/>
                    </a:lnTo>
                    <a:lnTo>
                      <a:pt x="1222" y="124"/>
                    </a:lnTo>
                    <a:lnTo>
                      <a:pt x="1222" y="122"/>
                    </a:lnTo>
                    <a:lnTo>
                      <a:pt x="1222" y="118"/>
                    </a:lnTo>
                    <a:lnTo>
                      <a:pt x="1218" y="115"/>
                    </a:lnTo>
                    <a:lnTo>
                      <a:pt x="1218" y="105"/>
                    </a:lnTo>
                    <a:lnTo>
                      <a:pt x="1218" y="100"/>
                    </a:lnTo>
                    <a:lnTo>
                      <a:pt x="1222" y="94"/>
                    </a:lnTo>
                    <a:lnTo>
                      <a:pt x="1222" y="88"/>
                    </a:lnTo>
                    <a:lnTo>
                      <a:pt x="1222" y="86"/>
                    </a:lnTo>
                    <a:lnTo>
                      <a:pt x="1224" y="79"/>
                    </a:lnTo>
                    <a:lnTo>
                      <a:pt x="1224" y="73"/>
                    </a:lnTo>
                    <a:lnTo>
                      <a:pt x="1222" y="69"/>
                    </a:lnTo>
                    <a:lnTo>
                      <a:pt x="1222" y="68"/>
                    </a:lnTo>
                    <a:lnTo>
                      <a:pt x="1216" y="64"/>
                    </a:lnTo>
                    <a:lnTo>
                      <a:pt x="1214" y="60"/>
                    </a:lnTo>
                    <a:lnTo>
                      <a:pt x="1209" y="58"/>
                    </a:lnTo>
                    <a:lnTo>
                      <a:pt x="1207" y="58"/>
                    </a:lnTo>
                    <a:lnTo>
                      <a:pt x="1207" y="62"/>
                    </a:lnTo>
                    <a:lnTo>
                      <a:pt x="1207" y="62"/>
                    </a:lnTo>
                    <a:lnTo>
                      <a:pt x="1201" y="58"/>
                    </a:lnTo>
                    <a:lnTo>
                      <a:pt x="1197" y="58"/>
                    </a:lnTo>
                    <a:lnTo>
                      <a:pt x="1197" y="62"/>
                    </a:lnTo>
                    <a:lnTo>
                      <a:pt x="1194" y="68"/>
                    </a:lnTo>
                    <a:lnTo>
                      <a:pt x="1197" y="68"/>
                    </a:lnTo>
                    <a:lnTo>
                      <a:pt x="1201" y="68"/>
                    </a:lnTo>
                    <a:lnTo>
                      <a:pt x="1203" y="68"/>
                    </a:lnTo>
                    <a:lnTo>
                      <a:pt x="1209" y="69"/>
                    </a:lnTo>
                    <a:lnTo>
                      <a:pt x="1211" y="71"/>
                    </a:lnTo>
                    <a:lnTo>
                      <a:pt x="1212" y="73"/>
                    </a:lnTo>
                    <a:lnTo>
                      <a:pt x="1212" y="75"/>
                    </a:lnTo>
                    <a:lnTo>
                      <a:pt x="1207" y="81"/>
                    </a:lnTo>
                    <a:lnTo>
                      <a:pt x="1205" y="81"/>
                    </a:lnTo>
                    <a:lnTo>
                      <a:pt x="1201" y="79"/>
                    </a:lnTo>
                    <a:lnTo>
                      <a:pt x="1197" y="79"/>
                    </a:lnTo>
                    <a:lnTo>
                      <a:pt x="1194" y="77"/>
                    </a:lnTo>
                    <a:lnTo>
                      <a:pt x="1197" y="81"/>
                    </a:lnTo>
                    <a:lnTo>
                      <a:pt x="1197" y="81"/>
                    </a:lnTo>
                    <a:lnTo>
                      <a:pt x="1194" y="85"/>
                    </a:lnTo>
                    <a:lnTo>
                      <a:pt x="1194" y="86"/>
                    </a:lnTo>
                    <a:lnTo>
                      <a:pt x="1188" y="81"/>
                    </a:lnTo>
                    <a:lnTo>
                      <a:pt x="1182" y="83"/>
                    </a:lnTo>
                    <a:lnTo>
                      <a:pt x="1180" y="88"/>
                    </a:lnTo>
                    <a:lnTo>
                      <a:pt x="1177" y="88"/>
                    </a:lnTo>
                    <a:lnTo>
                      <a:pt x="1179" y="94"/>
                    </a:lnTo>
                    <a:lnTo>
                      <a:pt x="1180" y="94"/>
                    </a:lnTo>
                    <a:lnTo>
                      <a:pt x="1182" y="98"/>
                    </a:lnTo>
                    <a:lnTo>
                      <a:pt x="1184" y="100"/>
                    </a:lnTo>
                    <a:lnTo>
                      <a:pt x="1184" y="102"/>
                    </a:lnTo>
                    <a:lnTo>
                      <a:pt x="1184" y="102"/>
                    </a:lnTo>
                    <a:lnTo>
                      <a:pt x="1182" y="103"/>
                    </a:lnTo>
                    <a:lnTo>
                      <a:pt x="1184" y="107"/>
                    </a:lnTo>
                    <a:lnTo>
                      <a:pt x="1184" y="109"/>
                    </a:lnTo>
                    <a:lnTo>
                      <a:pt x="1182" y="109"/>
                    </a:lnTo>
                    <a:lnTo>
                      <a:pt x="1179" y="107"/>
                    </a:lnTo>
                    <a:lnTo>
                      <a:pt x="1175" y="105"/>
                    </a:lnTo>
                    <a:lnTo>
                      <a:pt x="1173" y="103"/>
                    </a:lnTo>
                    <a:lnTo>
                      <a:pt x="1169" y="103"/>
                    </a:lnTo>
                    <a:lnTo>
                      <a:pt x="1167" y="105"/>
                    </a:lnTo>
                    <a:lnTo>
                      <a:pt x="1167" y="107"/>
                    </a:lnTo>
                    <a:lnTo>
                      <a:pt x="1167" y="111"/>
                    </a:lnTo>
                    <a:lnTo>
                      <a:pt x="1167" y="115"/>
                    </a:lnTo>
                    <a:lnTo>
                      <a:pt x="1164" y="113"/>
                    </a:lnTo>
                    <a:lnTo>
                      <a:pt x="1164" y="111"/>
                    </a:lnTo>
                    <a:lnTo>
                      <a:pt x="1160" y="109"/>
                    </a:lnTo>
                    <a:lnTo>
                      <a:pt x="1158" y="107"/>
                    </a:lnTo>
                    <a:lnTo>
                      <a:pt x="1156" y="107"/>
                    </a:lnTo>
                    <a:lnTo>
                      <a:pt x="1154" y="105"/>
                    </a:lnTo>
                    <a:lnTo>
                      <a:pt x="1152" y="103"/>
                    </a:lnTo>
                    <a:lnTo>
                      <a:pt x="1150" y="107"/>
                    </a:lnTo>
                    <a:lnTo>
                      <a:pt x="1152" y="111"/>
                    </a:lnTo>
                    <a:lnTo>
                      <a:pt x="1152" y="115"/>
                    </a:lnTo>
                    <a:lnTo>
                      <a:pt x="1154" y="118"/>
                    </a:lnTo>
                    <a:lnTo>
                      <a:pt x="1156" y="122"/>
                    </a:lnTo>
                    <a:lnTo>
                      <a:pt x="1160" y="122"/>
                    </a:lnTo>
                    <a:lnTo>
                      <a:pt x="1164" y="124"/>
                    </a:lnTo>
                    <a:lnTo>
                      <a:pt x="1160" y="124"/>
                    </a:lnTo>
                    <a:lnTo>
                      <a:pt x="1158" y="124"/>
                    </a:lnTo>
                    <a:lnTo>
                      <a:pt x="1160" y="128"/>
                    </a:lnTo>
                    <a:lnTo>
                      <a:pt x="1164" y="132"/>
                    </a:lnTo>
                    <a:lnTo>
                      <a:pt x="1167" y="134"/>
                    </a:lnTo>
                    <a:lnTo>
                      <a:pt x="1173" y="132"/>
                    </a:lnTo>
                    <a:lnTo>
                      <a:pt x="1173" y="132"/>
                    </a:lnTo>
                    <a:lnTo>
                      <a:pt x="1175" y="132"/>
                    </a:lnTo>
                    <a:lnTo>
                      <a:pt x="1175" y="134"/>
                    </a:lnTo>
                    <a:lnTo>
                      <a:pt x="1173" y="135"/>
                    </a:lnTo>
                    <a:lnTo>
                      <a:pt x="1169" y="141"/>
                    </a:lnTo>
                    <a:lnTo>
                      <a:pt x="1167" y="141"/>
                    </a:lnTo>
                    <a:lnTo>
                      <a:pt x="1164" y="137"/>
                    </a:lnTo>
                    <a:lnTo>
                      <a:pt x="1154" y="135"/>
                    </a:lnTo>
                    <a:lnTo>
                      <a:pt x="1150" y="132"/>
                    </a:lnTo>
                    <a:lnTo>
                      <a:pt x="1147" y="128"/>
                    </a:lnTo>
                    <a:lnTo>
                      <a:pt x="1147" y="128"/>
                    </a:lnTo>
                    <a:lnTo>
                      <a:pt x="1145" y="128"/>
                    </a:lnTo>
                    <a:lnTo>
                      <a:pt x="1143" y="132"/>
                    </a:lnTo>
                    <a:lnTo>
                      <a:pt x="1143" y="134"/>
                    </a:lnTo>
                    <a:lnTo>
                      <a:pt x="1143" y="135"/>
                    </a:lnTo>
                    <a:lnTo>
                      <a:pt x="1143" y="141"/>
                    </a:lnTo>
                    <a:lnTo>
                      <a:pt x="1143" y="143"/>
                    </a:lnTo>
                    <a:lnTo>
                      <a:pt x="1139" y="141"/>
                    </a:lnTo>
                    <a:lnTo>
                      <a:pt x="1139" y="147"/>
                    </a:lnTo>
                    <a:lnTo>
                      <a:pt x="1135" y="149"/>
                    </a:lnTo>
                    <a:lnTo>
                      <a:pt x="1135" y="156"/>
                    </a:lnTo>
                    <a:lnTo>
                      <a:pt x="1139" y="156"/>
                    </a:lnTo>
                    <a:lnTo>
                      <a:pt x="1145" y="156"/>
                    </a:lnTo>
                    <a:lnTo>
                      <a:pt x="1148" y="158"/>
                    </a:lnTo>
                    <a:lnTo>
                      <a:pt x="1152" y="158"/>
                    </a:lnTo>
                    <a:lnTo>
                      <a:pt x="1152" y="162"/>
                    </a:lnTo>
                    <a:lnTo>
                      <a:pt x="1148" y="162"/>
                    </a:lnTo>
                    <a:lnTo>
                      <a:pt x="1145" y="162"/>
                    </a:lnTo>
                    <a:lnTo>
                      <a:pt x="1139" y="162"/>
                    </a:lnTo>
                    <a:lnTo>
                      <a:pt x="1139" y="158"/>
                    </a:lnTo>
                    <a:lnTo>
                      <a:pt x="1135" y="162"/>
                    </a:lnTo>
                    <a:lnTo>
                      <a:pt x="1130" y="166"/>
                    </a:lnTo>
                    <a:lnTo>
                      <a:pt x="1130" y="169"/>
                    </a:lnTo>
                    <a:lnTo>
                      <a:pt x="1130" y="171"/>
                    </a:lnTo>
                    <a:lnTo>
                      <a:pt x="1130" y="173"/>
                    </a:lnTo>
                    <a:lnTo>
                      <a:pt x="1128" y="173"/>
                    </a:lnTo>
                    <a:lnTo>
                      <a:pt x="1128" y="177"/>
                    </a:lnTo>
                    <a:lnTo>
                      <a:pt x="1130" y="181"/>
                    </a:lnTo>
                    <a:lnTo>
                      <a:pt x="1133" y="179"/>
                    </a:lnTo>
                    <a:lnTo>
                      <a:pt x="1135" y="179"/>
                    </a:lnTo>
                    <a:lnTo>
                      <a:pt x="1139" y="173"/>
                    </a:lnTo>
                    <a:lnTo>
                      <a:pt x="1143" y="177"/>
                    </a:lnTo>
                    <a:lnTo>
                      <a:pt x="1143" y="181"/>
                    </a:lnTo>
                    <a:lnTo>
                      <a:pt x="1139" y="181"/>
                    </a:lnTo>
                    <a:lnTo>
                      <a:pt x="1135" y="183"/>
                    </a:lnTo>
                    <a:lnTo>
                      <a:pt x="1135" y="186"/>
                    </a:lnTo>
                    <a:lnTo>
                      <a:pt x="1139" y="186"/>
                    </a:lnTo>
                    <a:lnTo>
                      <a:pt x="1143" y="183"/>
                    </a:lnTo>
                    <a:lnTo>
                      <a:pt x="1145" y="183"/>
                    </a:lnTo>
                    <a:lnTo>
                      <a:pt x="1148" y="181"/>
                    </a:lnTo>
                    <a:lnTo>
                      <a:pt x="1148" y="183"/>
                    </a:lnTo>
                    <a:lnTo>
                      <a:pt x="1147" y="183"/>
                    </a:lnTo>
                    <a:lnTo>
                      <a:pt x="1148" y="186"/>
                    </a:lnTo>
                    <a:lnTo>
                      <a:pt x="1154" y="186"/>
                    </a:lnTo>
                    <a:lnTo>
                      <a:pt x="1156" y="186"/>
                    </a:lnTo>
                    <a:lnTo>
                      <a:pt x="1152" y="186"/>
                    </a:lnTo>
                    <a:lnTo>
                      <a:pt x="1152" y="192"/>
                    </a:lnTo>
                    <a:lnTo>
                      <a:pt x="1156" y="192"/>
                    </a:lnTo>
                    <a:lnTo>
                      <a:pt x="1160" y="192"/>
                    </a:lnTo>
                    <a:lnTo>
                      <a:pt x="1164" y="192"/>
                    </a:lnTo>
                    <a:lnTo>
                      <a:pt x="1173" y="196"/>
                    </a:lnTo>
                    <a:lnTo>
                      <a:pt x="1173" y="196"/>
                    </a:lnTo>
                    <a:lnTo>
                      <a:pt x="1164" y="196"/>
                    </a:lnTo>
                    <a:lnTo>
                      <a:pt x="1160" y="198"/>
                    </a:lnTo>
                    <a:lnTo>
                      <a:pt x="1158" y="194"/>
                    </a:lnTo>
                    <a:lnTo>
                      <a:pt x="1152" y="196"/>
                    </a:lnTo>
                    <a:lnTo>
                      <a:pt x="1152" y="198"/>
                    </a:lnTo>
                    <a:lnTo>
                      <a:pt x="1158" y="199"/>
                    </a:lnTo>
                    <a:lnTo>
                      <a:pt x="1164" y="201"/>
                    </a:lnTo>
                    <a:lnTo>
                      <a:pt x="1173" y="201"/>
                    </a:lnTo>
                    <a:lnTo>
                      <a:pt x="1173" y="203"/>
                    </a:lnTo>
                    <a:lnTo>
                      <a:pt x="1167" y="203"/>
                    </a:lnTo>
                    <a:lnTo>
                      <a:pt x="1164" y="203"/>
                    </a:lnTo>
                    <a:lnTo>
                      <a:pt x="1156" y="201"/>
                    </a:lnTo>
                    <a:lnTo>
                      <a:pt x="1152" y="201"/>
                    </a:lnTo>
                    <a:lnTo>
                      <a:pt x="1148" y="199"/>
                    </a:lnTo>
                    <a:lnTo>
                      <a:pt x="1145" y="198"/>
                    </a:lnTo>
                    <a:lnTo>
                      <a:pt x="1139" y="192"/>
                    </a:lnTo>
                    <a:lnTo>
                      <a:pt x="1139" y="194"/>
                    </a:lnTo>
                    <a:lnTo>
                      <a:pt x="1135" y="198"/>
                    </a:lnTo>
                    <a:lnTo>
                      <a:pt x="1130" y="198"/>
                    </a:lnTo>
                    <a:lnTo>
                      <a:pt x="1128" y="199"/>
                    </a:lnTo>
                    <a:lnTo>
                      <a:pt x="1128" y="207"/>
                    </a:lnTo>
                    <a:lnTo>
                      <a:pt x="1130" y="211"/>
                    </a:lnTo>
                    <a:lnTo>
                      <a:pt x="1130" y="213"/>
                    </a:lnTo>
                    <a:lnTo>
                      <a:pt x="1130" y="216"/>
                    </a:lnTo>
                    <a:lnTo>
                      <a:pt x="1128" y="211"/>
                    </a:lnTo>
                    <a:lnTo>
                      <a:pt x="1126" y="211"/>
                    </a:lnTo>
                    <a:lnTo>
                      <a:pt x="1122" y="216"/>
                    </a:lnTo>
                    <a:lnTo>
                      <a:pt x="1124" y="222"/>
                    </a:lnTo>
                    <a:lnTo>
                      <a:pt x="1126" y="222"/>
                    </a:lnTo>
                    <a:lnTo>
                      <a:pt x="1128" y="222"/>
                    </a:lnTo>
                    <a:lnTo>
                      <a:pt x="1130" y="222"/>
                    </a:lnTo>
                    <a:lnTo>
                      <a:pt x="1130" y="226"/>
                    </a:lnTo>
                    <a:lnTo>
                      <a:pt x="1135" y="228"/>
                    </a:lnTo>
                    <a:lnTo>
                      <a:pt x="1130" y="228"/>
                    </a:lnTo>
                    <a:lnTo>
                      <a:pt x="1130" y="230"/>
                    </a:lnTo>
                    <a:lnTo>
                      <a:pt x="1126" y="226"/>
                    </a:lnTo>
                    <a:lnTo>
                      <a:pt x="1122" y="226"/>
                    </a:lnTo>
                    <a:lnTo>
                      <a:pt x="1120" y="233"/>
                    </a:lnTo>
                    <a:lnTo>
                      <a:pt x="1122" y="235"/>
                    </a:lnTo>
                    <a:lnTo>
                      <a:pt x="1126" y="233"/>
                    </a:lnTo>
                    <a:lnTo>
                      <a:pt x="1124" y="237"/>
                    </a:lnTo>
                    <a:lnTo>
                      <a:pt x="1124" y="247"/>
                    </a:lnTo>
                    <a:lnTo>
                      <a:pt x="1126" y="243"/>
                    </a:lnTo>
                    <a:lnTo>
                      <a:pt x="1130" y="243"/>
                    </a:lnTo>
                    <a:lnTo>
                      <a:pt x="1130" y="250"/>
                    </a:lnTo>
                    <a:lnTo>
                      <a:pt x="1135" y="250"/>
                    </a:lnTo>
                    <a:lnTo>
                      <a:pt x="1143" y="256"/>
                    </a:lnTo>
                    <a:lnTo>
                      <a:pt x="1145" y="254"/>
                    </a:lnTo>
                    <a:lnTo>
                      <a:pt x="1145" y="250"/>
                    </a:lnTo>
                    <a:lnTo>
                      <a:pt x="1145" y="247"/>
                    </a:lnTo>
                    <a:lnTo>
                      <a:pt x="1150" y="250"/>
                    </a:lnTo>
                    <a:lnTo>
                      <a:pt x="1150" y="250"/>
                    </a:lnTo>
                    <a:lnTo>
                      <a:pt x="1150" y="254"/>
                    </a:lnTo>
                    <a:lnTo>
                      <a:pt x="1150" y="258"/>
                    </a:lnTo>
                    <a:lnTo>
                      <a:pt x="1152" y="258"/>
                    </a:lnTo>
                    <a:lnTo>
                      <a:pt x="1156" y="250"/>
                    </a:lnTo>
                    <a:lnTo>
                      <a:pt x="1156" y="243"/>
                    </a:lnTo>
                    <a:lnTo>
                      <a:pt x="1158" y="237"/>
                    </a:lnTo>
                    <a:lnTo>
                      <a:pt x="1160" y="231"/>
                    </a:lnTo>
                    <a:lnTo>
                      <a:pt x="1164" y="228"/>
                    </a:lnTo>
                    <a:lnTo>
                      <a:pt x="1164" y="233"/>
                    </a:lnTo>
                    <a:lnTo>
                      <a:pt x="1158" y="241"/>
                    </a:lnTo>
                    <a:lnTo>
                      <a:pt x="1158" y="247"/>
                    </a:lnTo>
                    <a:lnTo>
                      <a:pt x="1160" y="247"/>
                    </a:lnTo>
                    <a:lnTo>
                      <a:pt x="1158" y="254"/>
                    </a:lnTo>
                    <a:lnTo>
                      <a:pt x="1160" y="258"/>
                    </a:lnTo>
                    <a:lnTo>
                      <a:pt x="1158" y="262"/>
                    </a:lnTo>
                    <a:lnTo>
                      <a:pt x="1160" y="262"/>
                    </a:lnTo>
                    <a:lnTo>
                      <a:pt x="1160" y="262"/>
                    </a:lnTo>
                    <a:lnTo>
                      <a:pt x="1160" y="262"/>
                    </a:lnTo>
                    <a:lnTo>
                      <a:pt x="1160" y="262"/>
                    </a:lnTo>
                    <a:close/>
                    <a:moveTo>
                      <a:pt x="1167" y="98"/>
                    </a:moveTo>
                    <a:lnTo>
                      <a:pt x="1169" y="98"/>
                    </a:lnTo>
                    <a:lnTo>
                      <a:pt x="1173" y="98"/>
                    </a:lnTo>
                    <a:lnTo>
                      <a:pt x="1173" y="98"/>
                    </a:lnTo>
                    <a:lnTo>
                      <a:pt x="1177" y="98"/>
                    </a:lnTo>
                    <a:lnTo>
                      <a:pt x="1177" y="102"/>
                    </a:lnTo>
                    <a:lnTo>
                      <a:pt x="1175" y="102"/>
                    </a:lnTo>
                    <a:lnTo>
                      <a:pt x="1173" y="100"/>
                    </a:lnTo>
                    <a:lnTo>
                      <a:pt x="1169" y="100"/>
                    </a:lnTo>
                    <a:lnTo>
                      <a:pt x="1167" y="98"/>
                    </a:lnTo>
                    <a:lnTo>
                      <a:pt x="1167" y="98"/>
                    </a:lnTo>
                    <a:lnTo>
                      <a:pt x="1167" y="98"/>
                    </a:lnTo>
                    <a:lnTo>
                      <a:pt x="1167" y="98"/>
                    </a:lnTo>
                    <a:close/>
                    <a:moveTo>
                      <a:pt x="1173" y="260"/>
                    </a:moveTo>
                    <a:lnTo>
                      <a:pt x="1173" y="258"/>
                    </a:lnTo>
                    <a:lnTo>
                      <a:pt x="1173" y="254"/>
                    </a:lnTo>
                    <a:lnTo>
                      <a:pt x="1173" y="252"/>
                    </a:lnTo>
                    <a:lnTo>
                      <a:pt x="1177" y="250"/>
                    </a:lnTo>
                    <a:lnTo>
                      <a:pt x="1177" y="252"/>
                    </a:lnTo>
                    <a:lnTo>
                      <a:pt x="1177" y="254"/>
                    </a:lnTo>
                    <a:lnTo>
                      <a:pt x="1175" y="256"/>
                    </a:lnTo>
                    <a:lnTo>
                      <a:pt x="1173" y="260"/>
                    </a:lnTo>
                    <a:lnTo>
                      <a:pt x="1173" y="260"/>
                    </a:lnTo>
                    <a:lnTo>
                      <a:pt x="1173" y="260"/>
                    </a:lnTo>
                    <a:lnTo>
                      <a:pt x="1173" y="260"/>
                    </a:lnTo>
                    <a:lnTo>
                      <a:pt x="1173" y="260"/>
                    </a:lnTo>
                    <a:close/>
                    <a:moveTo>
                      <a:pt x="1209" y="226"/>
                    </a:moveTo>
                    <a:lnTo>
                      <a:pt x="1214" y="218"/>
                    </a:lnTo>
                    <a:lnTo>
                      <a:pt x="1216" y="218"/>
                    </a:lnTo>
                    <a:lnTo>
                      <a:pt x="1218" y="216"/>
                    </a:lnTo>
                    <a:lnTo>
                      <a:pt x="1222" y="218"/>
                    </a:lnTo>
                    <a:lnTo>
                      <a:pt x="1226" y="222"/>
                    </a:lnTo>
                    <a:lnTo>
                      <a:pt x="1224" y="226"/>
                    </a:lnTo>
                    <a:lnTo>
                      <a:pt x="1222" y="226"/>
                    </a:lnTo>
                    <a:lnTo>
                      <a:pt x="1218" y="228"/>
                    </a:lnTo>
                    <a:lnTo>
                      <a:pt x="1212" y="228"/>
                    </a:lnTo>
                    <a:lnTo>
                      <a:pt x="1211" y="228"/>
                    </a:lnTo>
                    <a:lnTo>
                      <a:pt x="1209" y="226"/>
                    </a:lnTo>
                    <a:lnTo>
                      <a:pt x="1209" y="226"/>
                    </a:lnTo>
                    <a:lnTo>
                      <a:pt x="1209" y="226"/>
                    </a:lnTo>
                    <a:lnTo>
                      <a:pt x="1209" y="226"/>
                    </a:lnTo>
                    <a:close/>
                    <a:moveTo>
                      <a:pt x="1487" y="5"/>
                    </a:moveTo>
                    <a:lnTo>
                      <a:pt x="1489" y="4"/>
                    </a:lnTo>
                    <a:lnTo>
                      <a:pt x="1491" y="4"/>
                    </a:lnTo>
                    <a:lnTo>
                      <a:pt x="1493" y="5"/>
                    </a:lnTo>
                    <a:lnTo>
                      <a:pt x="1489" y="9"/>
                    </a:lnTo>
                    <a:lnTo>
                      <a:pt x="1487" y="5"/>
                    </a:lnTo>
                    <a:lnTo>
                      <a:pt x="1487" y="5"/>
                    </a:lnTo>
                    <a:lnTo>
                      <a:pt x="1487" y="5"/>
                    </a:lnTo>
                    <a:lnTo>
                      <a:pt x="1487" y="5"/>
                    </a:lnTo>
                    <a:close/>
                    <a:moveTo>
                      <a:pt x="1354" y="269"/>
                    </a:moveTo>
                    <a:lnTo>
                      <a:pt x="1352" y="271"/>
                    </a:lnTo>
                    <a:lnTo>
                      <a:pt x="1354" y="271"/>
                    </a:lnTo>
                    <a:lnTo>
                      <a:pt x="1356" y="271"/>
                    </a:lnTo>
                    <a:lnTo>
                      <a:pt x="1356" y="271"/>
                    </a:lnTo>
                    <a:lnTo>
                      <a:pt x="1356" y="269"/>
                    </a:lnTo>
                    <a:lnTo>
                      <a:pt x="1356" y="269"/>
                    </a:lnTo>
                    <a:lnTo>
                      <a:pt x="1354" y="269"/>
                    </a:lnTo>
                    <a:lnTo>
                      <a:pt x="1354" y="269"/>
                    </a:lnTo>
                    <a:lnTo>
                      <a:pt x="1354" y="269"/>
                    </a:lnTo>
                    <a:lnTo>
                      <a:pt x="1354" y="269"/>
                    </a:lnTo>
                    <a:close/>
                    <a:moveTo>
                      <a:pt x="1286" y="311"/>
                    </a:moveTo>
                    <a:lnTo>
                      <a:pt x="1288" y="311"/>
                    </a:lnTo>
                    <a:lnTo>
                      <a:pt x="1292" y="311"/>
                    </a:lnTo>
                    <a:lnTo>
                      <a:pt x="1290" y="311"/>
                    </a:lnTo>
                    <a:lnTo>
                      <a:pt x="1286" y="311"/>
                    </a:lnTo>
                    <a:lnTo>
                      <a:pt x="1286" y="311"/>
                    </a:lnTo>
                    <a:lnTo>
                      <a:pt x="1286" y="311"/>
                    </a:lnTo>
                    <a:lnTo>
                      <a:pt x="1286" y="311"/>
                    </a:lnTo>
                    <a:close/>
                    <a:moveTo>
                      <a:pt x="1194" y="307"/>
                    </a:moveTo>
                    <a:lnTo>
                      <a:pt x="1192" y="305"/>
                    </a:lnTo>
                    <a:lnTo>
                      <a:pt x="1192" y="301"/>
                    </a:lnTo>
                    <a:lnTo>
                      <a:pt x="1194" y="301"/>
                    </a:lnTo>
                    <a:lnTo>
                      <a:pt x="1197" y="301"/>
                    </a:lnTo>
                    <a:lnTo>
                      <a:pt x="1197" y="305"/>
                    </a:lnTo>
                    <a:lnTo>
                      <a:pt x="1194" y="307"/>
                    </a:lnTo>
                    <a:lnTo>
                      <a:pt x="1194" y="307"/>
                    </a:lnTo>
                    <a:lnTo>
                      <a:pt x="1194" y="307"/>
                    </a:lnTo>
                    <a:lnTo>
                      <a:pt x="1194" y="307"/>
                    </a:lnTo>
                    <a:lnTo>
                      <a:pt x="1194" y="307"/>
                    </a:lnTo>
                    <a:close/>
                    <a:moveTo>
                      <a:pt x="1167" y="365"/>
                    </a:moveTo>
                    <a:lnTo>
                      <a:pt x="1167" y="363"/>
                    </a:lnTo>
                    <a:lnTo>
                      <a:pt x="1167" y="360"/>
                    </a:lnTo>
                    <a:lnTo>
                      <a:pt x="1164" y="354"/>
                    </a:lnTo>
                    <a:lnTo>
                      <a:pt x="1164" y="354"/>
                    </a:lnTo>
                    <a:lnTo>
                      <a:pt x="1164" y="354"/>
                    </a:lnTo>
                    <a:lnTo>
                      <a:pt x="1160" y="360"/>
                    </a:lnTo>
                    <a:lnTo>
                      <a:pt x="1164" y="365"/>
                    </a:lnTo>
                    <a:lnTo>
                      <a:pt x="1164" y="369"/>
                    </a:lnTo>
                    <a:lnTo>
                      <a:pt x="1164" y="371"/>
                    </a:lnTo>
                    <a:lnTo>
                      <a:pt x="1164" y="371"/>
                    </a:lnTo>
                    <a:lnTo>
                      <a:pt x="1160" y="369"/>
                    </a:lnTo>
                    <a:lnTo>
                      <a:pt x="1152" y="369"/>
                    </a:lnTo>
                    <a:lnTo>
                      <a:pt x="1152" y="369"/>
                    </a:lnTo>
                    <a:lnTo>
                      <a:pt x="1150" y="365"/>
                    </a:lnTo>
                    <a:lnTo>
                      <a:pt x="1145" y="363"/>
                    </a:lnTo>
                    <a:lnTo>
                      <a:pt x="1143" y="365"/>
                    </a:lnTo>
                    <a:lnTo>
                      <a:pt x="1143" y="363"/>
                    </a:lnTo>
                    <a:lnTo>
                      <a:pt x="1143" y="361"/>
                    </a:lnTo>
                    <a:lnTo>
                      <a:pt x="1139" y="361"/>
                    </a:lnTo>
                    <a:lnTo>
                      <a:pt x="1139" y="360"/>
                    </a:lnTo>
                    <a:lnTo>
                      <a:pt x="1139" y="356"/>
                    </a:lnTo>
                    <a:lnTo>
                      <a:pt x="1143" y="356"/>
                    </a:lnTo>
                    <a:lnTo>
                      <a:pt x="1143" y="354"/>
                    </a:lnTo>
                    <a:lnTo>
                      <a:pt x="1143" y="350"/>
                    </a:lnTo>
                    <a:lnTo>
                      <a:pt x="1143" y="344"/>
                    </a:lnTo>
                    <a:lnTo>
                      <a:pt x="1139" y="344"/>
                    </a:lnTo>
                    <a:lnTo>
                      <a:pt x="1139" y="346"/>
                    </a:lnTo>
                    <a:lnTo>
                      <a:pt x="1143" y="348"/>
                    </a:lnTo>
                    <a:lnTo>
                      <a:pt x="1143" y="352"/>
                    </a:lnTo>
                    <a:lnTo>
                      <a:pt x="1139" y="354"/>
                    </a:lnTo>
                    <a:lnTo>
                      <a:pt x="1139" y="354"/>
                    </a:lnTo>
                    <a:lnTo>
                      <a:pt x="1135" y="354"/>
                    </a:lnTo>
                    <a:lnTo>
                      <a:pt x="1135" y="356"/>
                    </a:lnTo>
                    <a:lnTo>
                      <a:pt x="1139" y="356"/>
                    </a:lnTo>
                    <a:lnTo>
                      <a:pt x="1135" y="361"/>
                    </a:lnTo>
                    <a:lnTo>
                      <a:pt x="1133" y="360"/>
                    </a:lnTo>
                    <a:lnTo>
                      <a:pt x="1130" y="356"/>
                    </a:lnTo>
                    <a:lnTo>
                      <a:pt x="1130" y="354"/>
                    </a:lnTo>
                    <a:lnTo>
                      <a:pt x="1130" y="352"/>
                    </a:lnTo>
                    <a:lnTo>
                      <a:pt x="1133" y="346"/>
                    </a:lnTo>
                    <a:lnTo>
                      <a:pt x="1130" y="344"/>
                    </a:lnTo>
                    <a:lnTo>
                      <a:pt x="1133" y="344"/>
                    </a:lnTo>
                    <a:lnTo>
                      <a:pt x="1130" y="344"/>
                    </a:lnTo>
                    <a:lnTo>
                      <a:pt x="1130" y="348"/>
                    </a:lnTo>
                    <a:lnTo>
                      <a:pt x="1128" y="350"/>
                    </a:lnTo>
                    <a:lnTo>
                      <a:pt x="1128" y="352"/>
                    </a:lnTo>
                    <a:lnTo>
                      <a:pt x="1128" y="356"/>
                    </a:lnTo>
                    <a:lnTo>
                      <a:pt x="1124" y="356"/>
                    </a:lnTo>
                    <a:lnTo>
                      <a:pt x="1122" y="354"/>
                    </a:lnTo>
                    <a:lnTo>
                      <a:pt x="1120" y="354"/>
                    </a:lnTo>
                    <a:lnTo>
                      <a:pt x="1118" y="352"/>
                    </a:lnTo>
                    <a:lnTo>
                      <a:pt x="1120" y="348"/>
                    </a:lnTo>
                    <a:lnTo>
                      <a:pt x="1120" y="344"/>
                    </a:lnTo>
                    <a:lnTo>
                      <a:pt x="1122" y="344"/>
                    </a:lnTo>
                    <a:lnTo>
                      <a:pt x="1122" y="339"/>
                    </a:lnTo>
                    <a:lnTo>
                      <a:pt x="1126" y="331"/>
                    </a:lnTo>
                    <a:lnTo>
                      <a:pt x="1124" y="335"/>
                    </a:lnTo>
                    <a:lnTo>
                      <a:pt x="1120" y="335"/>
                    </a:lnTo>
                    <a:lnTo>
                      <a:pt x="1118" y="341"/>
                    </a:lnTo>
                    <a:lnTo>
                      <a:pt x="1118" y="346"/>
                    </a:lnTo>
                    <a:lnTo>
                      <a:pt x="1118" y="350"/>
                    </a:lnTo>
                    <a:lnTo>
                      <a:pt x="1115" y="348"/>
                    </a:lnTo>
                    <a:lnTo>
                      <a:pt x="1118" y="344"/>
                    </a:lnTo>
                    <a:lnTo>
                      <a:pt x="1118" y="344"/>
                    </a:lnTo>
                    <a:lnTo>
                      <a:pt x="1118" y="344"/>
                    </a:lnTo>
                    <a:lnTo>
                      <a:pt x="1115" y="348"/>
                    </a:lnTo>
                    <a:lnTo>
                      <a:pt x="1109" y="348"/>
                    </a:lnTo>
                    <a:lnTo>
                      <a:pt x="1109" y="346"/>
                    </a:lnTo>
                    <a:lnTo>
                      <a:pt x="1109" y="341"/>
                    </a:lnTo>
                    <a:lnTo>
                      <a:pt x="1109" y="339"/>
                    </a:lnTo>
                    <a:lnTo>
                      <a:pt x="1109" y="337"/>
                    </a:lnTo>
                    <a:lnTo>
                      <a:pt x="1115" y="335"/>
                    </a:lnTo>
                    <a:lnTo>
                      <a:pt x="1115" y="331"/>
                    </a:lnTo>
                    <a:lnTo>
                      <a:pt x="1115" y="331"/>
                    </a:lnTo>
                    <a:lnTo>
                      <a:pt x="1115" y="328"/>
                    </a:lnTo>
                    <a:lnTo>
                      <a:pt x="1118" y="326"/>
                    </a:lnTo>
                    <a:lnTo>
                      <a:pt x="1120" y="324"/>
                    </a:lnTo>
                    <a:lnTo>
                      <a:pt x="1122" y="324"/>
                    </a:lnTo>
                    <a:lnTo>
                      <a:pt x="1128" y="322"/>
                    </a:lnTo>
                    <a:lnTo>
                      <a:pt x="1130" y="320"/>
                    </a:lnTo>
                    <a:lnTo>
                      <a:pt x="1130" y="318"/>
                    </a:lnTo>
                    <a:lnTo>
                      <a:pt x="1135" y="318"/>
                    </a:lnTo>
                    <a:lnTo>
                      <a:pt x="1135" y="316"/>
                    </a:lnTo>
                    <a:lnTo>
                      <a:pt x="1135" y="314"/>
                    </a:lnTo>
                    <a:lnTo>
                      <a:pt x="1139" y="314"/>
                    </a:lnTo>
                    <a:lnTo>
                      <a:pt x="1143" y="316"/>
                    </a:lnTo>
                    <a:lnTo>
                      <a:pt x="1150" y="316"/>
                    </a:lnTo>
                    <a:lnTo>
                      <a:pt x="1152" y="314"/>
                    </a:lnTo>
                    <a:lnTo>
                      <a:pt x="1156" y="316"/>
                    </a:lnTo>
                    <a:lnTo>
                      <a:pt x="1156" y="320"/>
                    </a:lnTo>
                    <a:lnTo>
                      <a:pt x="1160" y="320"/>
                    </a:lnTo>
                    <a:lnTo>
                      <a:pt x="1160" y="316"/>
                    </a:lnTo>
                    <a:lnTo>
                      <a:pt x="1160" y="316"/>
                    </a:lnTo>
                    <a:lnTo>
                      <a:pt x="1164" y="320"/>
                    </a:lnTo>
                    <a:lnTo>
                      <a:pt x="1167" y="318"/>
                    </a:lnTo>
                    <a:lnTo>
                      <a:pt x="1169" y="320"/>
                    </a:lnTo>
                    <a:lnTo>
                      <a:pt x="1173" y="318"/>
                    </a:lnTo>
                    <a:lnTo>
                      <a:pt x="1169" y="316"/>
                    </a:lnTo>
                    <a:lnTo>
                      <a:pt x="1167" y="316"/>
                    </a:lnTo>
                    <a:lnTo>
                      <a:pt x="1164" y="314"/>
                    </a:lnTo>
                    <a:lnTo>
                      <a:pt x="1164" y="314"/>
                    </a:lnTo>
                    <a:lnTo>
                      <a:pt x="1164" y="312"/>
                    </a:lnTo>
                    <a:lnTo>
                      <a:pt x="1167" y="311"/>
                    </a:lnTo>
                    <a:lnTo>
                      <a:pt x="1167" y="311"/>
                    </a:lnTo>
                    <a:lnTo>
                      <a:pt x="1164" y="307"/>
                    </a:lnTo>
                    <a:lnTo>
                      <a:pt x="1164" y="307"/>
                    </a:lnTo>
                    <a:lnTo>
                      <a:pt x="1167" y="307"/>
                    </a:lnTo>
                    <a:lnTo>
                      <a:pt x="1167" y="305"/>
                    </a:lnTo>
                    <a:lnTo>
                      <a:pt x="1164" y="305"/>
                    </a:lnTo>
                    <a:lnTo>
                      <a:pt x="1164" y="305"/>
                    </a:lnTo>
                    <a:lnTo>
                      <a:pt x="1160" y="305"/>
                    </a:lnTo>
                    <a:lnTo>
                      <a:pt x="1160" y="305"/>
                    </a:lnTo>
                    <a:lnTo>
                      <a:pt x="1160" y="301"/>
                    </a:lnTo>
                    <a:lnTo>
                      <a:pt x="1164" y="299"/>
                    </a:lnTo>
                    <a:lnTo>
                      <a:pt x="1164" y="297"/>
                    </a:lnTo>
                    <a:lnTo>
                      <a:pt x="1160" y="297"/>
                    </a:lnTo>
                    <a:lnTo>
                      <a:pt x="1160" y="294"/>
                    </a:lnTo>
                    <a:lnTo>
                      <a:pt x="1160" y="288"/>
                    </a:lnTo>
                    <a:lnTo>
                      <a:pt x="1160" y="286"/>
                    </a:lnTo>
                    <a:lnTo>
                      <a:pt x="1160" y="282"/>
                    </a:lnTo>
                    <a:lnTo>
                      <a:pt x="1160" y="280"/>
                    </a:lnTo>
                    <a:lnTo>
                      <a:pt x="1164" y="280"/>
                    </a:lnTo>
                    <a:lnTo>
                      <a:pt x="1167" y="280"/>
                    </a:lnTo>
                    <a:lnTo>
                      <a:pt x="1169" y="280"/>
                    </a:lnTo>
                    <a:lnTo>
                      <a:pt x="1173" y="277"/>
                    </a:lnTo>
                    <a:lnTo>
                      <a:pt x="1177" y="280"/>
                    </a:lnTo>
                    <a:lnTo>
                      <a:pt x="1180" y="280"/>
                    </a:lnTo>
                    <a:lnTo>
                      <a:pt x="1184" y="284"/>
                    </a:lnTo>
                    <a:lnTo>
                      <a:pt x="1184" y="292"/>
                    </a:lnTo>
                    <a:lnTo>
                      <a:pt x="1184" y="301"/>
                    </a:lnTo>
                    <a:lnTo>
                      <a:pt x="1184" y="307"/>
                    </a:lnTo>
                    <a:lnTo>
                      <a:pt x="1184" y="307"/>
                    </a:lnTo>
                    <a:lnTo>
                      <a:pt x="1188" y="307"/>
                    </a:lnTo>
                    <a:lnTo>
                      <a:pt x="1194" y="311"/>
                    </a:lnTo>
                    <a:lnTo>
                      <a:pt x="1197" y="314"/>
                    </a:lnTo>
                    <a:lnTo>
                      <a:pt x="1199" y="316"/>
                    </a:lnTo>
                    <a:lnTo>
                      <a:pt x="1199" y="312"/>
                    </a:lnTo>
                    <a:lnTo>
                      <a:pt x="1207" y="312"/>
                    </a:lnTo>
                    <a:lnTo>
                      <a:pt x="1212" y="318"/>
                    </a:lnTo>
                    <a:lnTo>
                      <a:pt x="1214" y="316"/>
                    </a:lnTo>
                    <a:lnTo>
                      <a:pt x="1211" y="314"/>
                    </a:lnTo>
                    <a:lnTo>
                      <a:pt x="1214" y="311"/>
                    </a:lnTo>
                    <a:lnTo>
                      <a:pt x="1218" y="311"/>
                    </a:lnTo>
                    <a:lnTo>
                      <a:pt x="1222" y="305"/>
                    </a:lnTo>
                    <a:lnTo>
                      <a:pt x="1229" y="299"/>
                    </a:lnTo>
                    <a:lnTo>
                      <a:pt x="1237" y="294"/>
                    </a:lnTo>
                    <a:lnTo>
                      <a:pt x="1237" y="290"/>
                    </a:lnTo>
                    <a:lnTo>
                      <a:pt x="1239" y="288"/>
                    </a:lnTo>
                    <a:lnTo>
                      <a:pt x="1237" y="288"/>
                    </a:lnTo>
                    <a:lnTo>
                      <a:pt x="1233" y="290"/>
                    </a:lnTo>
                    <a:lnTo>
                      <a:pt x="1233" y="292"/>
                    </a:lnTo>
                    <a:lnTo>
                      <a:pt x="1228" y="299"/>
                    </a:lnTo>
                    <a:lnTo>
                      <a:pt x="1222" y="301"/>
                    </a:lnTo>
                    <a:lnTo>
                      <a:pt x="1222" y="301"/>
                    </a:lnTo>
                    <a:lnTo>
                      <a:pt x="1218" y="307"/>
                    </a:lnTo>
                    <a:lnTo>
                      <a:pt x="1212" y="311"/>
                    </a:lnTo>
                    <a:lnTo>
                      <a:pt x="1211" y="307"/>
                    </a:lnTo>
                    <a:lnTo>
                      <a:pt x="1209" y="307"/>
                    </a:lnTo>
                    <a:lnTo>
                      <a:pt x="1207" y="311"/>
                    </a:lnTo>
                    <a:lnTo>
                      <a:pt x="1203" y="311"/>
                    </a:lnTo>
                    <a:lnTo>
                      <a:pt x="1197" y="305"/>
                    </a:lnTo>
                    <a:lnTo>
                      <a:pt x="1197" y="305"/>
                    </a:lnTo>
                    <a:lnTo>
                      <a:pt x="1201" y="301"/>
                    </a:lnTo>
                    <a:lnTo>
                      <a:pt x="1205" y="299"/>
                    </a:lnTo>
                    <a:lnTo>
                      <a:pt x="1205" y="296"/>
                    </a:lnTo>
                    <a:lnTo>
                      <a:pt x="1201" y="299"/>
                    </a:lnTo>
                    <a:lnTo>
                      <a:pt x="1199" y="301"/>
                    </a:lnTo>
                    <a:lnTo>
                      <a:pt x="1197" y="301"/>
                    </a:lnTo>
                    <a:lnTo>
                      <a:pt x="1194" y="297"/>
                    </a:lnTo>
                    <a:lnTo>
                      <a:pt x="1194" y="296"/>
                    </a:lnTo>
                    <a:lnTo>
                      <a:pt x="1197" y="296"/>
                    </a:lnTo>
                    <a:lnTo>
                      <a:pt x="1199" y="294"/>
                    </a:lnTo>
                    <a:lnTo>
                      <a:pt x="1199" y="292"/>
                    </a:lnTo>
                    <a:lnTo>
                      <a:pt x="1197" y="292"/>
                    </a:lnTo>
                    <a:lnTo>
                      <a:pt x="1197" y="290"/>
                    </a:lnTo>
                    <a:lnTo>
                      <a:pt x="1199" y="288"/>
                    </a:lnTo>
                    <a:lnTo>
                      <a:pt x="1201" y="290"/>
                    </a:lnTo>
                    <a:lnTo>
                      <a:pt x="1205" y="290"/>
                    </a:lnTo>
                    <a:lnTo>
                      <a:pt x="1205" y="288"/>
                    </a:lnTo>
                    <a:lnTo>
                      <a:pt x="1201" y="288"/>
                    </a:lnTo>
                    <a:lnTo>
                      <a:pt x="1199" y="286"/>
                    </a:lnTo>
                    <a:lnTo>
                      <a:pt x="1197" y="288"/>
                    </a:lnTo>
                    <a:lnTo>
                      <a:pt x="1194" y="288"/>
                    </a:lnTo>
                    <a:lnTo>
                      <a:pt x="1194" y="284"/>
                    </a:lnTo>
                    <a:lnTo>
                      <a:pt x="1194" y="282"/>
                    </a:lnTo>
                    <a:lnTo>
                      <a:pt x="1197" y="282"/>
                    </a:lnTo>
                    <a:lnTo>
                      <a:pt x="1199" y="280"/>
                    </a:lnTo>
                    <a:lnTo>
                      <a:pt x="1205" y="280"/>
                    </a:lnTo>
                    <a:lnTo>
                      <a:pt x="1209" y="282"/>
                    </a:lnTo>
                    <a:lnTo>
                      <a:pt x="1211" y="280"/>
                    </a:lnTo>
                    <a:lnTo>
                      <a:pt x="1207" y="280"/>
                    </a:lnTo>
                    <a:lnTo>
                      <a:pt x="1205" y="280"/>
                    </a:lnTo>
                    <a:lnTo>
                      <a:pt x="1209" y="277"/>
                    </a:lnTo>
                    <a:lnTo>
                      <a:pt x="1212" y="277"/>
                    </a:lnTo>
                    <a:lnTo>
                      <a:pt x="1212" y="275"/>
                    </a:lnTo>
                    <a:lnTo>
                      <a:pt x="1211" y="275"/>
                    </a:lnTo>
                    <a:lnTo>
                      <a:pt x="1211" y="271"/>
                    </a:lnTo>
                    <a:lnTo>
                      <a:pt x="1212" y="269"/>
                    </a:lnTo>
                    <a:lnTo>
                      <a:pt x="1216" y="267"/>
                    </a:lnTo>
                    <a:lnTo>
                      <a:pt x="1214" y="265"/>
                    </a:lnTo>
                    <a:lnTo>
                      <a:pt x="1218" y="258"/>
                    </a:lnTo>
                    <a:lnTo>
                      <a:pt x="1222" y="256"/>
                    </a:lnTo>
                    <a:lnTo>
                      <a:pt x="1222" y="252"/>
                    </a:lnTo>
                    <a:lnTo>
                      <a:pt x="1218" y="254"/>
                    </a:lnTo>
                    <a:lnTo>
                      <a:pt x="1214" y="260"/>
                    </a:lnTo>
                    <a:lnTo>
                      <a:pt x="1211" y="269"/>
                    </a:lnTo>
                    <a:lnTo>
                      <a:pt x="1205" y="271"/>
                    </a:lnTo>
                    <a:lnTo>
                      <a:pt x="1199" y="277"/>
                    </a:lnTo>
                    <a:lnTo>
                      <a:pt x="1197" y="277"/>
                    </a:lnTo>
                    <a:lnTo>
                      <a:pt x="1194" y="277"/>
                    </a:lnTo>
                    <a:lnTo>
                      <a:pt x="1194" y="275"/>
                    </a:lnTo>
                    <a:lnTo>
                      <a:pt x="1194" y="271"/>
                    </a:lnTo>
                    <a:lnTo>
                      <a:pt x="1197" y="269"/>
                    </a:lnTo>
                    <a:lnTo>
                      <a:pt x="1197" y="265"/>
                    </a:lnTo>
                    <a:lnTo>
                      <a:pt x="1194" y="269"/>
                    </a:lnTo>
                    <a:lnTo>
                      <a:pt x="1188" y="269"/>
                    </a:lnTo>
                    <a:lnTo>
                      <a:pt x="1188" y="271"/>
                    </a:lnTo>
                    <a:lnTo>
                      <a:pt x="1184" y="271"/>
                    </a:lnTo>
                    <a:lnTo>
                      <a:pt x="1180" y="271"/>
                    </a:lnTo>
                    <a:lnTo>
                      <a:pt x="1175" y="269"/>
                    </a:lnTo>
                    <a:lnTo>
                      <a:pt x="1179" y="267"/>
                    </a:lnTo>
                    <a:lnTo>
                      <a:pt x="1182" y="265"/>
                    </a:lnTo>
                    <a:lnTo>
                      <a:pt x="1180" y="263"/>
                    </a:lnTo>
                    <a:lnTo>
                      <a:pt x="1179" y="263"/>
                    </a:lnTo>
                    <a:lnTo>
                      <a:pt x="1179" y="260"/>
                    </a:lnTo>
                    <a:lnTo>
                      <a:pt x="1184" y="256"/>
                    </a:lnTo>
                    <a:lnTo>
                      <a:pt x="1184" y="252"/>
                    </a:lnTo>
                    <a:lnTo>
                      <a:pt x="1188" y="250"/>
                    </a:lnTo>
                    <a:lnTo>
                      <a:pt x="1192" y="250"/>
                    </a:lnTo>
                    <a:lnTo>
                      <a:pt x="1194" y="250"/>
                    </a:lnTo>
                    <a:lnTo>
                      <a:pt x="1194" y="243"/>
                    </a:lnTo>
                    <a:lnTo>
                      <a:pt x="1197" y="241"/>
                    </a:lnTo>
                    <a:lnTo>
                      <a:pt x="1203" y="233"/>
                    </a:lnTo>
                    <a:lnTo>
                      <a:pt x="1205" y="235"/>
                    </a:lnTo>
                    <a:lnTo>
                      <a:pt x="1212" y="233"/>
                    </a:lnTo>
                    <a:lnTo>
                      <a:pt x="1218" y="235"/>
                    </a:lnTo>
                    <a:lnTo>
                      <a:pt x="1222" y="233"/>
                    </a:lnTo>
                    <a:lnTo>
                      <a:pt x="1224" y="233"/>
                    </a:lnTo>
                    <a:lnTo>
                      <a:pt x="1228" y="230"/>
                    </a:lnTo>
                    <a:lnTo>
                      <a:pt x="1229" y="230"/>
                    </a:lnTo>
                    <a:lnTo>
                      <a:pt x="1231" y="231"/>
                    </a:lnTo>
                    <a:lnTo>
                      <a:pt x="1235" y="235"/>
                    </a:lnTo>
                    <a:lnTo>
                      <a:pt x="1239" y="237"/>
                    </a:lnTo>
                    <a:lnTo>
                      <a:pt x="1246" y="243"/>
                    </a:lnTo>
                    <a:lnTo>
                      <a:pt x="1246" y="243"/>
                    </a:lnTo>
                    <a:lnTo>
                      <a:pt x="1248" y="247"/>
                    </a:lnTo>
                    <a:lnTo>
                      <a:pt x="1252" y="247"/>
                    </a:lnTo>
                    <a:lnTo>
                      <a:pt x="1256" y="254"/>
                    </a:lnTo>
                    <a:lnTo>
                      <a:pt x="1256" y="250"/>
                    </a:lnTo>
                    <a:lnTo>
                      <a:pt x="1260" y="250"/>
                    </a:lnTo>
                    <a:lnTo>
                      <a:pt x="1260" y="247"/>
                    </a:lnTo>
                    <a:lnTo>
                      <a:pt x="1254" y="247"/>
                    </a:lnTo>
                    <a:lnTo>
                      <a:pt x="1252" y="247"/>
                    </a:lnTo>
                    <a:lnTo>
                      <a:pt x="1252" y="243"/>
                    </a:lnTo>
                    <a:lnTo>
                      <a:pt x="1256" y="243"/>
                    </a:lnTo>
                    <a:lnTo>
                      <a:pt x="1263" y="243"/>
                    </a:lnTo>
                    <a:lnTo>
                      <a:pt x="1267" y="243"/>
                    </a:lnTo>
                    <a:lnTo>
                      <a:pt x="1267" y="243"/>
                    </a:lnTo>
                    <a:lnTo>
                      <a:pt x="1267" y="237"/>
                    </a:lnTo>
                    <a:lnTo>
                      <a:pt x="1271" y="233"/>
                    </a:lnTo>
                    <a:lnTo>
                      <a:pt x="1271" y="231"/>
                    </a:lnTo>
                    <a:lnTo>
                      <a:pt x="1267" y="233"/>
                    </a:lnTo>
                    <a:lnTo>
                      <a:pt x="1267" y="235"/>
                    </a:lnTo>
                    <a:lnTo>
                      <a:pt x="1265" y="237"/>
                    </a:lnTo>
                    <a:lnTo>
                      <a:pt x="1261" y="241"/>
                    </a:lnTo>
                    <a:lnTo>
                      <a:pt x="1254" y="237"/>
                    </a:lnTo>
                    <a:lnTo>
                      <a:pt x="1248" y="237"/>
                    </a:lnTo>
                    <a:lnTo>
                      <a:pt x="1246" y="235"/>
                    </a:lnTo>
                    <a:lnTo>
                      <a:pt x="1243" y="233"/>
                    </a:lnTo>
                    <a:lnTo>
                      <a:pt x="1239" y="233"/>
                    </a:lnTo>
                    <a:lnTo>
                      <a:pt x="1235" y="226"/>
                    </a:lnTo>
                    <a:lnTo>
                      <a:pt x="1235" y="218"/>
                    </a:lnTo>
                    <a:lnTo>
                      <a:pt x="1237" y="216"/>
                    </a:lnTo>
                    <a:lnTo>
                      <a:pt x="1241" y="218"/>
                    </a:lnTo>
                    <a:lnTo>
                      <a:pt x="1241" y="222"/>
                    </a:lnTo>
                    <a:lnTo>
                      <a:pt x="1243" y="226"/>
                    </a:lnTo>
                    <a:lnTo>
                      <a:pt x="1246" y="220"/>
                    </a:lnTo>
                    <a:lnTo>
                      <a:pt x="1246" y="216"/>
                    </a:lnTo>
                    <a:lnTo>
                      <a:pt x="1243" y="216"/>
                    </a:lnTo>
                    <a:lnTo>
                      <a:pt x="1243" y="216"/>
                    </a:lnTo>
                    <a:lnTo>
                      <a:pt x="1243" y="213"/>
                    </a:lnTo>
                    <a:lnTo>
                      <a:pt x="1246" y="207"/>
                    </a:lnTo>
                    <a:lnTo>
                      <a:pt x="1246" y="201"/>
                    </a:lnTo>
                    <a:lnTo>
                      <a:pt x="1246" y="196"/>
                    </a:lnTo>
                    <a:lnTo>
                      <a:pt x="1246" y="186"/>
                    </a:lnTo>
                    <a:lnTo>
                      <a:pt x="1243" y="181"/>
                    </a:lnTo>
                    <a:lnTo>
                      <a:pt x="1243" y="179"/>
                    </a:lnTo>
                    <a:lnTo>
                      <a:pt x="1241" y="173"/>
                    </a:lnTo>
                    <a:lnTo>
                      <a:pt x="1243" y="173"/>
                    </a:lnTo>
                    <a:lnTo>
                      <a:pt x="1243" y="171"/>
                    </a:lnTo>
                    <a:lnTo>
                      <a:pt x="1246" y="171"/>
                    </a:lnTo>
                    <a:lnTo>
                      <a:pt x="1246" y="173"/>
                    </a:lnTo>
                    <a:lnTo>
                      <a:pt x="1252" y="173"/>
                    </a:lnTo>
                    <a:lnTo>
                      <a:pt x="1252" y="179"/>
                    </a:lnTo>
                    <a:lnTo>
                      <a:pt x="1254" y="177"/>
                    </a:lnTo>
                    <a:lnTo>
                      <a:pt x="1254" y="173"/>
                    </a:lnTo>
                    <a:lnTo>
                      <a:pt x="1252" y="169"/>
                    </a:lnTo>
                    <a:lnTo>
                      <a:pt x="1248" y="169"/>
                    </a:lnTo>
                    <a:lnTo>
                      <a:pt x="1246" y="166"/>
                    </a:lnTo>
                    <a:lnTo>
                      <a:pt x="1246" y="164"/>
                    </a:lnTo>
                    <a:lnTo>
                      <a:pt x="1246" y="158"/>
                    </a:lnTo>
                    <a:lnTo>
                      <a:pt x="1258" y="147"/>
                    </a:lnTo>
                    <a:lnTo>
                      <a:pt x="1263" y="145"/>
                    </a:lnTo>
                    <a:lnTo>
                      <a:pt x="1267" y="147"/>
                    </a:lnTo>
                    <a:lnTo>
                      <a:pt x="1267" y="149"/>
                    </a:lnTo>
                    <a:lnTo>
                      <a:pt x="1273" y="152"/>
                    </a:lnTo>
                    <a:lnTo>
                      <a:pt x="1276" y="152"/>
                    </a:lnTo>
                    <a:lnTo>
                      <a:pt x="1284" y="158"/>
                    </a:lnTo>
                    <a:lnTo>
                      <a:pt x="1284" y="162"/>
                    </a:lnTo>
                    <a:lnTo>
                      <a:pt x="1288" y="167"/>
                    </a:lnTo>
                    <a:lnTo>
                      <a:pt x="1290" y="177"/>
                    </a:lnTo>
                    <a:lnTo>
                      <a:pt x="1290" y="183"/>
                    </a:lnTo>
                    <a:lnTo>
                      <a:pt x="1292" y="188"/>
                    </a:lnTo>
                    <a:lnTo>
                      <a:pt x="1293" y="192"/>
                    </a:lnTo>
                    <a:lnTo>
                      <a:pt x="1295" y="192"/>
                    </a:lnTo>
                    <a:lnTo>
                      <a:pt x="1297" y="192"/>
                    </a:lnTo>
                    <a:lnTo>
                      <a:pt x="1301" y="194"/>
                    </a:lnTo>
                    <a:lnTo>
                      <a:pt x="1301" y="198"/>
                    </a:lnTo>
                    <a:lnTo>
                      <a:pt x="1301" y="196"/>
                    </a:lnTo>
                    <a:lnTo>
                      <a:pt x="1305" y="194"/>
                    </a:lnTo>
                    <a:lnTo>
                      <a:pt x="1307" y="194"/>
                    </a:lnTo>
                    <a:lnTo>
                      <a:pt x="1305" y="192"/>
                    </a:lnTo>
                    <a:lnTo>
                      <a:pt x="1301" y="192"/>
                    </a:lnTo>
                    <a:lnTo>
                      <a:pt x="1297" y="188"/>
                    </a:lnTo>
                    <a:lnTo>
                      <a:pt x="1295" y="186"/>
                    </a:lnTo>
                    <a:lnTo>
                      <a:pt x="1295" y="183"/>
                    </a:lnTo>
                    <a:lnTo>
                      <a:pt x="1297" y="181"/>
                    </a:lnTo>
                    <a:lnTo>
                      <a:pt x="1297" y="179"/>
                    </a:lnTo>
                    <a:lnTo>
                      <a:pt x="1297" y="164"/>
                    </a:lnTo>
                    <a:lnTo>
                      <a:pt x="1297" y="162"/>
                    </a:lnTo>
                    <a:lnTo>
                      <a:pt x="1297" y="156"/>
                    </a:lnTo>
                    <a:lnTo>
                      <a:pt x="1305" y="156"/>
                    </a:lnTo>
                    <a:lnTo>
                      <a:pt x="1307" y="158"/>
                    </a:lnTo>
                    <a:lnTo>
                      <a:pt x="1312" y="162"/>
                    </a:lnTo>
                    <a:lnTo>
                      <a:pt x="1318" y="162"/>
                    </a:lnTo>
                    <a:lnTo>
                      <a:pt x="1322" y="162"/>
                    </a:lnTo>
                    <a:lnTo>
                      <a:pt x="1331" y="162"/>
                    </a:lnTo>
                    <a:lnTo>
                      <a:pt x="1335" y="158"/>
                    </a:lnTo>
                    <a:lnTo>
                      <a:pt x="1339" y="162"/>
                    </a:lnTo>
                    <a:lnTo>
                      <a:pt x="1342" y="162"/>
                    </a:lnTo>
                    <a:lnTo>
                      <a:pt x="1350" y="164"/>
                    </a:lnTo>
                    <a:lnTo>
                      <a:pt x="1354" y="166"/>
                    </a:lnTo>
                    <a:lnTo>
                      <a:pt x="1356" y="164"/>
                    </a:lnTo>
                    <a:lnTo>
                      <a:pt x="1356" y="162"/>
                    </a:lnTo>
                    <a:lnTo>
                      <a:pt x="1354" y="162"/>
                    </a:lnTo>
                    <a:lnTo>
                      <a:pt x="1350" y="162"/>
                    </a:lnTo>
                    <a:lnTo>
                      <a:pt x="1342" y="158"/>
                    </a:lnTo>
                    <a:lnTo>
                      <a:pt x="1342" y="156"/>
                    </a:lnTo>
                    <a:lnTo>
                      <a:pt x="1342" y="156"/>
                    </a:lnTo>
                    <a:lnTo>
                      <a:pt x="1344" y="156"/>
                    </a:lnTo>
                    <a:lnTo>
                      <a:pt x="1350" y="152"/>
                    </a:lnTo>
                    <a:lnTo>
                      <a:pt x="1363" y="152"/>
                    </a:lnTo>
                    <a:lnTo>
                      <a:pt x="1371" y="152"/>
                    </a:lnTo>
                    <a:lnTo>
                      <a:pt x="1378" y="152"/>
                    </a:lnTo>
                    <a:lnTo>
                      <a:pt x="1384" y="156"/>
                    </a:lnTo>
                    <a:lnTo>
                      <a:pt x="1386" y="156"/>
                    </a:lnTo>
                    <a:lnTo>
                      <a:pt x="1389" y="156"/>
                    </a:lnTo>
                    <a:lnTo>
                      <a:pt x="1389" y="152"/>
                    </a:lnTo>
                    <a:lnTo>
                      <a:pt x="1386" y="152"/>
                    </a:lnTo>
                    <a:lnTo>
                      <a:pt x="1384" y="152"/>
                    </a:lnTo>
                    <a:lnTo>
                      <a:pt x="1384" y="149"/>
                    </a:lnTo>
                    <a:lnTo>
                      <a:pt x="1380" y="149"/>
                    </a:lnTo>
                    <a:lnTo>
                      <a:pt x="1374" y="149"/>
                    </a:lnTo>
                    <a:lnTo>
                      <a:pt x="1372" y="147"/>
                    </a:lnTo>
                    <a:lnTo>
                      <a:pt x="1361" y="147"/>
                    </a:lnTo>
                    <a:lnTo>
                      <a:pt x="1361" y="145"/>
                    </a:lnTo>
                    <a:lnTo>
                      <a:pt x="1363" y="143"/>
                    </a:lnTo>
                    <a:lnTo>
                      <a:pt x="1367" y="139"/>
                    </a:lnTo>
                    <a:lnTo>
                      <a:pt x="1371" y="137"/>
                    </a:lnTo>
                    <a:lnTo>
                      <a:pt x="1374" y="134"/>
                    </a:lnTo>
                    <a:lnTo>
                      <a:pt x="1376" y="132"/>
                    </a:lnTo>
                    <a:lnTo>
                      <a:pt x="1386" y="122"/>
                    </a:lnTo>
                    <a:lnTo>
                      <a:pt x="1391" y="122"/>
                    </a:lnTo>
                    <a:lnTo>
                      <a:pt x="1401" y="118"/>
                    </a:lnTo>
                    <a:lnTo>
                      <a:pt x="1401" y="117"/>
                    </a:lnTo>
                    <a:lnTo>
                      <a:pt x="1389" y="122"/>
                    </a:lnTo>
                    <a:lnTo>
                      <a:pt x="1384" y="122"/>
                    </a:lnTo>
                    <a:lnTo>
                      <a:pt x="1372" y="128"/>
                    </a:lnTo>
                    <a:lnTo>
                      <a:pt x="1372" y="134"/>
                    </a:lnTo>
                    <a:lnTo>
                      <a:pt x="1371" y="134"/>
                    </a:lnTo>
                    <a:lnTo>
                      <a:pt x="1371" y="128"/>
                    </a:lnTo>
                    <a:lnTo>
                      <a:pt x="1369" y="128"/>
                    </a:lnTo>
                    <a:lnTo>
                      <a:pt x="1365" y="132"/>
                    </a:lnTo>
                    <a:lnTo>
                      <a:pt x="1361" y="134"/>
                    </a:lnTo>
                    <a:lnTo>
                      <a:pt x="1359" y="139"/>
                    </a:lnTo>
                    <a:lnTo>
                      <a:pt x="1359" y="139"/>
                    </a:lnTo>
                    <a:lnTo>
                      <a:pt x="1359" y="141"/>
                    </a:lnTo>
                    <a:lnTo>
                      <a:pt x="1356" y="147"/>
                    </a:lnTo>
                    <a:lnTo>
                      <a:pt x="1350" y="147"/>
                    </a:lnTo>
                    <a:lnTo>
                      <a:pt x="1337" y="152"/>
                    </a:lnTo>
                    <a:lnTo>
                      <a:pt x="1335" y="152"/>
                    </a:lnTo>
                    <a:lnTo>
                      <a:pt x="1331" y="152"/>
                    </a:lnTo>
                    <a:lnTo>
                      <a:pt x="1320" y="152"/>
                    </a:lnTo>
                    <a:lnTo>
                      <a:pt x="1314" y="149"/>
                    </a:lnTo>
                    <a:lnTo>
                      <a:pt x="1310" y="149"/>
                    </a:lnTo>
                    <a:lnTo>
                      <a:pt x="1305" y="149"/>
                    </a:lnTo>
                    <a:lnTo>
                      <a:pt x="1305" y="145"/>
                    </a:lnTo>
                    <a:lnTo>
                      <a:pt x="1310" y="139"/>
                    </a:lnTo>
                    <a:lnTo>
                      <a:pt x="1314" y="139"/>
                    </a:lnTo>
                    <a:lnTo>
                      <a:pt x="1318" y="139"/>
                    </a:lnTo>
                    <a:lnTo>
                      <a:pt x="1325" y="137"/>
                    </a:lnTo>
                    <a:lnTo>
                      <a:pt x="1329" y="134"/>
                    </a:lnTo>
                    <a:lnTo>
                      <a:pt x="1325" y="134"/>
                    </a:lnTo>
                    <a:lnTo>
                      <a:pt x="1322" y="135"/>
                    </a:lnTo>
                    <a:lnTo>
                      <a:pt x="1316" y="135"/>
                    </a:lnTo>
                    <a:lnTo>
                      <a:pt x="1312" y="137"/>
                    </a:lnTo>
                    <a:lnTo>
                      <a:pt x="1310" y="135"/>
                    </a:lnTo>
                    <a:lnTo>
                      <a:pt x="1310" y="134"/>
                    </a:lnTo>
                    <a:lnTo>
                      <a:pt x="1312" y="132"/>
                    </a:lnTo>
                    <a:lnTo>
                      <a:pt x="1310" y="132"/>
                    </a:lnTo>
                    <a:lnTo>
                      <a:pt x="1305" y="132"/>
                    </a:lnTo>
                    <a:lnTo>
                      <a:pt x="1305" y="137"/>
                    </a:lnTo>
                    <a:lnTo>
                      <a:pt x="1297" y="143"/>
                    </a:lnTo>
                    <a:lnTo>
                      <a:pt x="1293" y="143"/>
                    </a:lnTo>
                    <a:lnTo>
                      <a:pt x="1284" y="141"/>
                    </a:lnTo>
                    <a:lnTo>
                      <a:pt x="1276" y="141"/>
                    </a:lnTo>
                    <a:lnTo>
                      <a:pt x="1273" y="137"/>
                    </a:lnTo>
                    <a:lnTo>
                      <a:pt x="1273" y="134"/>
                    </a:lnTo>
                    <a:lnTo>
                      <a:pt x="1271" y="134"/>
                    </a:lnTo>
                    <a:lnTo>
                      <a:pt x="1267" y="132"/>
                    </a:lnTo>
                    <a:lnTo>
                      <a:pt x="1267" y="128"/>
                    </a:lnTo>
                    <a:lnTo>
                      <a:pt x="1267" y="128"/>
                    </a:lnTo>
                    <a:lnTo>
                      <a:pt x="1273" y="122"/>
                    </a:lnTo>
                    <a:lnTo>
                      <a:pt x="1276" y="118"/>
                    </a:lnTo>
                    <a:lnTo>
                      <a:pt x="1280" y="115"/>
                    </a:lnTo>
                    <a:lnTo>
                      <a:pt x="1286" y="113"/>
                    </a:lnTo>
                    <a:lnTo>
                      <a:pt x="1288" y="109"/>
                    </a:lnTo>
                    <a:lnTo>
                      <a:pt x="1292" y="111"/>
                    </a:lnTo>
                    <a:lnTo>
                      <a:pt x="1297" y="111"/>
                    </a:lnTo>
                    <a:lnTo>
                      <a:pt x="1301" y="109"/>
                    </a:lnTo>
                    <a:lnTo>
                      <a:pt x="1305" y="111"/>
                    </a:lnTo>
                    <a:lnTo>
                      <a:pt x="1312" y="115"/>
                    </a:lnTo>
                    <a:lnTo>
                      <a:pt x="1318" y="115"/>
                    </a:lnTo>
                    <a:lnTo>
                      <a:pt x="1322" y="117"/>
                    </a:lnTo>
                    <a:lnTo>
                      <a:pt x="1325" y="115"/>
                    </a:lnTo>
                    <a:lnTo>
                      <a:pt x="1329" y="113"/>
                    </a:lnTo>
                    <a:lnTo>
                      <a:pt x="1325" y="111"/>
                    </a:lnTo>
                    <a:lnTo>
                      <a:pt x="1318" y="113"/>
                    </a:lnTo>
                    <a:lnTo>
                      <a:pt x="1310" y="111"/>
                    </a:lnTo>
                    <a:lnTo>
                      <a:pt x="1305" y="107"/>
                    </a:lnTo>
                    <a:lnTo>
                      <a:pt x="1301" y="107"/>
                    </a:lnTo>
                    <a:lnTo>
                      <a:pt x="1293" y="109"/>
                    </a:lnTo>
                    <a:lnTo>
                      <a:pt x="1286" y="107"/>
                    </a:lnTo>
                    <a:lnTo>
                      <a:pt x="1284" y="107"/>
                    </a:lnTo>
                    <a:lnTo>
                      <a:pt x="1282" y="109"/>
                    </a:lnTo>
                    <a:lnTo>
                      <a:pt x="1280" y="113"/>
                    </a:lnTo>
                    <a:lnTo>
                      <a:pt x="1273" y="118"/>
                    </a:lnTo>
                    <a:lnTo>
                      <a:pt x="1265" y="118"/>
                    </a:lnTo>
                    <a:lnTo>
                      <a:pt x="1261" y="128"/>
                    </a:lnTo>
                    <a:lnTo>
                      <a:pt x="1260" y="128"/>
                    </a:lnTo>
                    <a:lnTo>
                      <a:pt x="1256" y="124"/>
                    </a:lnTo>
                    <a:lnTo>
                      <a:pt x="1252" y="118"/>
                    </a:lnTo>
                    <a:lnTo>
                      <a:pt x="1248" y="118"/>
                    </a:lnTo>
                    <a:lnTo>
                      <a:pt x="1246" y="117"/>
                    </a:lnTo>
                    <a:lnTo>
                      <a:pt x="1246" y="111"/>
                    </a:lnTo>
                    <a:lnTo>
                      <a:pt x="1246" y="105"/>
                    </a:lnTo>
                    <a:lnTo>
                      <a:pt x="1243" y="103"/>
                    </a:lnTo>
                    <a:lnTo>
                      <a:pt x="1243" y="100"/>
                    </a:lnTo>
                    <a:lnTo>
                      <a:pt x="1246" y="98"/>
                    </a:lnTo>
                    <a:lnTo>
                      <a:pt x="1248" y="98"/>
                    </a:lnTo>
                    <a:lnTo>
                      <a:pt x="1252" y="98"/>
                    </a:lnTo>
                    <a:lnTo>
                      <a:pt x="1254" y="100"/>
                    </a:lnTo>
                    <a:lnTo>
                      <a:pt x="1265" y="98"/>
                    </a:lnTo>
                    <a:lnTo>
                      <a:pt x="1271" y="103"/>
                    </a:lnTo>
                    <a:lnTo>
                      <a:pt x="1273" y="103"/>
                    </a:lnTo>
                    <a:lnTo>
                      <a:pt x="1276" y="103"/>
                    </a:lnTo>
                    <a:lnTo>
                      <a:pt x="1280" y="103"/>
                    </a:lnTo>
                    <a:lnTo>
                      <a:pt x="1284" y="102"/>
                    </a:lnTo>
                    <a:lnTo>
                      <a:pt x="1288" y="103"/>
                    </a:lnTo>
                    <a:lnTo>
                      <a:pt x="1290" y="102"/>
                    </a:lnTo>
                    <a:lnTo>
                      <a:pt x="1293" y="102"/>
                    </a:lnTo>
                    <a:lnTo>
                      <a:pt x="1295" y="100"/>
                    </a:lnTo>
                    <a:lnTo>
                      <a:pt x="1301" y="98"/>
                    </a:lnTo>
                    <a:lnTo>
                      <a:pt x="1310" y="98"/>
                    </a:lnTo>
                    <a:lnTo>
                      <a:pt x="1310" y="94"/>
                    </a:lnTo>
                    <a:lnTo>
                      <a:pt x="1310" y="94"/>
                    </a:lnTo>
                    <a:lnTo>
                      <a:pt x="1307" y="94"/>
                    </a:lnTo>
                    <a:lnTo>
                      <a:pt x="1305" y="94"/>
                    </a:lnTo>
                    <a:lnTo>
                      <a:pt x="1305" y="98"/>
                    </a:lnTo>
                    <a:lnTo>
                      <a:pt x="1297" y="98"/>
                    </a:lnTo>
                    <a:lnTo>
                      <a:pt x="1292" y="98"/>
                    </a:lnTo>
                    <a:lnTo>
                      <a:pt x="1286" y="100"/>
                    </a:lnTo>
                    <a:lnTo>
                      <a:pt x="1282" y="100"/>
                    </a:lnTo>
                    <a:lnTo>
                      <a:pt x="1276" y="100"/>
                    </a:lnTo>
                    <a:lnTo>
                      <a:pt x="1276" y="100"/>
                    </a:lnTo>
                    <a:lnTo>
                      <a:pt x="1273" y="100"/>
                    </a:lnTo>
                    <a:lnTo>
                      <a:pt x="1267" y="98"/>
                    </a:lnTo>
                    <a:lnTo>
                      <a:pt x="1267" y="98"/>
                    </a:lnTo>
                    <a:lnTo>
                      <a:pt x="1265" y="94"/>
                    </a:lnTo>
                    <a:lnTo>
                      <a:pt x="1260" y="94"/>
                    </a:lnTo>
                    <a:lnTo>
                      <a:pt x="1254" y="94"/>
                    </a:lnTo>
                    <a:lnTo>
                      <a:pt x="1252" y="94"/>
                    </a:lnTo>
                    <a:lnTo>
                      <a:pt x="1246" y="94"/>
                    </a:lnTo>
                    <a:lnTo>
                      <a:pt x="1246" y="88"/>
                    </a:lnTo>
                    <a:lnTo>
                      <a:pt x="1246" y="88"/>
                    </a:lnTo>
                    <a:lnTo>
                      <a:pt x="1246" y="83"/>
                    </a:lnTo>
                    <a:lnTo>
                      <a:pt x="1248" y="81"/>
                    </a:lnTo>
                    <a:lnTo>
                      <a:pt x="1252" y="81"/>
                    </a:lnTo>
                    <a:lnTo>
                      <a:pt x="1254" y="85"/>
                    </a:lnTo>
                    <a:lnTo>
                      <a:pt x="1260" y="85"/>
                    </a:lnTo>
                    <a:lnTo>
                      <a:pt x="1261" y="83"/>
                    </a:lnTo>
                    <a:lnTo>
                      <a:pt x="1260" y="81"/>
                    </a:lnTo>
                    <a:lnTo>
                      <a:pt x="1256" y="81"/>
                    </a:lnTo>
                    <a:lnTo>
                      <a:pt x="1252" y="77"/>
                    </a:lnTo>
                    <a:lnTo>
                      <a:pt x="1254" y="75"/>
                    </a:lnTo>
                    <a:lnTo>
                      <a:pt x="1260" y="75"/>
                    </a:lnTo>
                    <a:lnTo>
                      <a:pt x="1265" y="71"/>
                    </a:lnTo>
                    <a:lnTo>
                      <a:pt x="1271" y="71"/>
                    </a:lnTo>
                    <a:lnTo>
                      <a:pt x="1273" y="69"/>
                    </a:lnTo>
                    <a:lnTo>
                      <a:pt x="1276" y="69"/>
                    </a:lnTo>
                    <a:lnTo>
                      <a:pt x="1280" y="69"/>
                    </a:lnTo>
                    <a:lnTo>
                      <a:pt x="1282" y="69"/>
                    </a:lnTo>
                    <a:lnTo>
                      <a:pt x="1282" y="68"/>
                    </a:lnTo>
                    <a:lnTo>
                      <a:pt x="1280" y="68"/>
                    </a:lnTo>
                    <a:lnTo>
                      <a:pt x="1273" y="68"/>
                    </a:lnTo>
                    <a:lnTo>
                      <a:pt x="1267" y="68"/>
                    </a:lnTo>
                    <a:lnTo>
                      <a:pt x="1261" y="69"/>
                    </a:lnTo>
                    <a:lnTo>
                      <a:pt x="1258" y="69"/>
                    </a:lnTo>
                    <a:lnTo>
                      <a:pt x="1256" y="71"/>
                    </a:lnTo>
                    <a:lnTo>
                      <a:pt x="1252" y="71"/>
                    </a:lnTo>
                    <a:lnTo>
                      <a:pt x="1252" y="69"/>
                    </a:lnTo>
                    <a:lnTo>
                      <a:pt x="1252" y="68"/>
                    </a:lnTo>
                    <a:lnTo>
                      <a:pt x="1256" y="64"/>
                    </a:lnTo>
                    <a:lnTo>
                      <a:pt x="1261" y="62"/>
                    </a:lnTo>
                    <a:lnTo>
                      <a:pt x="1267" y="60"/>
                    </a:lnTo>
                    <a:lnTo>
                      <a:pt x="1271" y="58"/>
                    </a:lnTo>
                    <a:lnTo>
                      <a:pt x="1265" y="58"/>
                    </a:lnTo>
                    <a:lnTo>
                      <a:pt x="1265" y="54"/>
                    </a:lnTo>
                    <a:lnTo>
                      <a:pt x="1265" y="51"/>
                    </a:lnTo>
                    <a:lnTo>
                      <a:pt x="1263" y="53"/>
                    </a:lnTo>
                    <a:lnTo>
                      <a:pt x="1261" y="54"/>
                    </a:lnTo>
                    <a:lnTo>
                      <a:pt x="1260" y="58"/>
                    </a:lnTo>
                    <a:lnTo>
                      <a:pt x="1260" y="54"/>
                    </a:lnTo>
                    <a:lnTo>
                      <a:pt x="1258" y="54"/>
                    </a:lnTo>
                    <a:lnTo>
                      <a:pt x="1256" y="54"/>
                    </a:lnTo>
                    <a:lnTo>
                      <a:pt x="1252" y="54"/>
                    </a:lnTo>
                    <a:lnTo>
                      <a:pt x="1252" y="60"/>
                    </a:lnTo>
                    <a:lnTo>
                      <a:pt x="1252" y="62"/>
                    </a:lnTo>
                    <a:lnTo>
                      <a:pt x="1246" y="64"/>
                    </a:lnTo>
                    <a:lnTo>
                      <a:pt x="1246" y="60"/>
                    </a:lnTo>
                    <a:lnTo>
                      <a:pt x="1246" y="54"/>
                    </a:lnTo>
                    <a:lnTo>
                      <a:pt x="1243" y="54"/>
                    </a:lnTo>
                    <a:lnTo>
                      <a:pt x="1243" y="53"/>
                    </a:lnTo>
                    <a:lnTo>
                      <a:pt x="1243" y="51"/>
                    </a:lnTo>
                    <a:lnTo>
                      <a:pt x="1246" y="53"/>
                    </a:lnTo>
                    <a:lnTo>
                      <a:pt x="1246" y="47"/>
                    </a:lnTo>
                    <a:lnTo>
                      <a:pt x="1252" y="47"/>
                    </a:lnTo>
                    <a:lnTo>
                      <a:pt x="1254" y="47"/>
                    </a:lnTo>
                    <a:lnTo>
                      <a:pt x="1256" y="43"/>
                    </a:lnTo>
                    <a:lnTo>
                      <a:pt x="1261" y="39"/>
                    </a:lnTo>
                    <a:lnTo>
                      <a:pt x="1263" y="43"/>
                    </a:lnTo>
                    <a:lnTo>
                      <a:pt x="1267" y="37"/>
                    </a:lnTo>
                    <a:lnTo>
                      <a:pt x="1276" y="37"/>
                    </a:lnTo>
                    <a:lnTo>
                      <a:pt x="1280" y="37"/>
                    </a:lnTo>
                    <a:lnTo>
                      <a:pt x="1280" y="37"/>
                    </a:lnTo>
                    <a:lnTo>
                      <a:pt x="1282" y="39"/>
                    </a:lnTo>
                    <a:lnTo>
                      <a:pt x="1280" y="43"/>
                    </a:lnTo>
                    <a:lnTo>
                      <a:pt x="1280" y="51"/>
                    </a:lnTo>
                    <a:lnTo>
                      <a:pt x="1282" y="51"/>
                    </a:lnTo>
                    <a:lnTo>
                      <a:pt x="1284" y="43"/>
                    </a:lnTo>
                    <a:lnTo>
                      <a:pt x="1288" y="43"/>
                    </a:lnTo>
                    <a:lnTo>
                      <a:pt x="1288" y="43"/>
                    </a:lnTo>
                    <a:lnTo>
                      <a:pt x="1288" y="45"/>
                    </a:lnTo>
                    <a:lnTo>
                      <a:pt x="1288" y="49"/>
                    </a:lnTo>
                    <a:lnTo>
                      <a:pt x="1290" y="47"/>
                    </a:lnTo>
                    <a:lnTo>
                      <a:pt x="1290" y="43"/>
                    </a:lnTo>
                    <a:lnTo>
                      <a:pt x="1292" y="43"/>
                    </a:lnTo>
                    <a:lnTo>
                      <a:pt x="1290" y="39"/>
                    </a:lnTo>
                    <a:lnTo>
                      <a:pt x="1292" y="34"/>
                    </a:lnTo>
                    <a:lnTo>
                      <a:pt x="1293" y="34"/>
                    </a:lnTo>
                    <a:lnTo>
                      <a:pt x="1297" y="30"/>
                    </a:lnTo>
                    <a:lnTo>
                      <a:pt x="1301" y="30"/>
                    </a:lnTo>
                    <a:lnTo>
                      <a:pt x="1301" y="34"/>
                    </a:lnTo>
                    <a:lnTo>
                      <a:pt x="1301" y="37"/>
                    </a:lnTo>
                    <a:lnTo>
                      <a:pt x="1305" y="39"/>
                    </a:lnTo>
                    <a:lnTo>
                      <a:pt x="1305" y="45"/>
                    </a:lnTo>
                    <a:lnTo>
                      <a:pt x="1305" y="47"/>
                    </a:lnTo>
                    <a:lnTo>
                      <a:pt x="1305" y="51"/>
                    </a:lnTo>
                    <a:lnTo>
                      <a:pt x="1305" y="54"/>
                    </a:lnTo>
                    <a:lnTo>
                      <a:pt x="1307" y="54"/>
                    </a:lnTo>
                    <a:lnTo>
                      <a:pt x="1310" y="54"/>
                    </a:lnTo>
                    <a:lnTo>
                      <a:pt x="1307" y="51"/>
                    </a:lnTo>
                    <a:lnTo>
                      <a:pt x="1307" y="47"/>
                    </a:lnTo>
                    <a:lnTo>
                      <a:pt x="1310" y="45"/>
                    </a:lnTo>
                    <a:lnTo>
                      <a:pt x="1312" y="39"/>
                    </a:lnTo>
                    <a:lnTo>
                      <a:pt x="1314" y="39"/>
                    </a:lnTo>
                    <a:lnTo>
                      <a:pt x="1318" y="45"/>
                    </a:lnTo>
                    <a:lnTo>
                      <a:pt x="1318" y="49"/>
                    </a:lnTo>
                    <a:lnTo>
                      <a:pt x="1316" y="54"/>
                    </a:lnTo>
                    <a:lnTo>
                      <a:pt x="1320" y="54"/>
                    </a:lnTo>
                    <a:lnTo>
                      <a:pt x="1320" y="58"/>
                    </a:lnTo>
                    <a:lnTo>
                      <a:pt x="1322" y="54"/>
                    </a:lnTo>
                    <a:lnTo>
                      <a:pt x="1322" y="51"/>
                    </a:lnTo>
                    <a:lnTo>
                      <a:pt x="1322" y="51"/>
                    </a:lnTo>
                    <a:lnTo>
                      <a:pt x="1325" y="49"/>
                    </a:lnTo>
                    <a:lnTo>
                      <a:pt x="1325" y="51"/>
                    </a:lnTo>
                    <a:lnTo>
                      <a:pt x="1325" y="53"/>
                    </a:lnTo>
                    <a:lnTo>
                      <a:pt x="1325" y="54"/>
                    </a:lnTo>
                    <a:lnTo>
                      <a:pt x="1325" y="58"/>
                    </a:lnTo>
                    <a:lnTo>
                      <a:pt x="1331" y="54"/>
                    </a:lnTo>
                    <a:lnTo>
                      <a:pt x="1331" y="54"/>
                    </a:lnTo>
                    <a:lnTo>
                      <a:pt x="1331" y="58"/>
                    </a:lnTo>
                    <a:lnTo>
                      <a:pt x="1335" y="54"/>
                    </a:lnTo>
                    <a:lnTo>
                      <a:pt x="1335" y="53"/>
                    </a:lnTo>
                    <a:lnTo>
                      <a:pt x="1331" y="47"/>
                    </a:lnTo>
                    <a:lnTo>
                      <a:pt x="1329" y="47"/>
                    </a:lnTo>
                    <a:lnTo>
                      <a:pt x="1325" y="43"/>
                    </a:lnTo>
                    <a:lnTo>
                      <a:pt x="1325" y="39"/>
                    </a:lnTo>
                    <a:lnTo>
                      <a:pt x="1322" y="37"/>
                    </a:lnTo>
                    <a:lnTo>
                      <a:pt x="1322" y="34"/>
                    </a:lnTo>
                    <a:lnTo>
                      <a:pt x="1320" y="34"/>
                    </a:lnTo>
                    <a:lnTo>
                      <a:pt x="1322" y="28"/>
                    </a:lnTo>
                    <a:lnTo>
                      <a:pt x="1325" y="28"/>
                    </a:lnTo>
                    <a:lnTo>
                      <a:pt x="1325" y="30"/>
                    </a:lnTo>
                    <a:lnTo>
                      <a:pt x="1331" y="30"/>
                    </a:lnTo>
                    <a:lnTo>
                      <a:pt x="1335" y="30"/>
                    </a:lnTo>
                    <a:lnTo>
                      <a:pt x="1335" y="30"/>
                    </a:lnTo>
                    <a:lnTo>
                      <a:pt x="1335" y="22"/>
                    </a:lnTo>
                    <a:lnTo>
                      <a:pt x="1335" y="19"/>
                    </a:lnTo>
                    <a:lnTo>
                      <a:pt x="1335" y="15"/>
                    </a:lnTo>
                    <a:lnTo>
                      <a:pt x="1339" y="15"/>
                    </a:lnTo>
                    <a:lnTo>
                      <a:pt x="1340" y="15"/>
                    </a:lnTo>
                    <a:lnTo>
                      <a:pt x="1348" y="17"/>
                    </a:lnTo>
                    <a:lnTo>
                      <a:pt x="1350" y="19"/>
                    </a:lnTo>
                    <a:lnTo>
                      <a:pt x="1350" y="21"/>
                    </a:lnTo>
                    <a:lnTo>
                      <a:pt x="1348" y="24"/>
                    </a:lnTo>
                    <a:lnTo>
                      <a:pt x="1348" y="26"/>
                    </a:lnTo>
                    <a:lnTo>
                      <a:pt x="1356" y="28"/>
                    </a:lnTo>
                    <a:lnTo>
                      <a:pt x="1356" y="30"/>
                    </a:lnTo>
                    <a:lnTo>
                      <a:pt x="1354" y="37"/>
                    </a:lnTo>
                    <a:lnTo>
                      <a:pt x="1356" y="43"/>
                    </a:lnTo>
                    <a:lnTo>
                      <a:pt x="1356" y="43"/>
                    </a:lnTo>
                    <a:lnTo>
                      <a:pt x="1359" y="37"/>
                    </a:lnTo>
                    <a:lnTo>
                      <a:pt x="1359" y="37"/>
                    </a:lnTo>
                    <a:lnTo>
                      <a:pt x="1361" y="43"/>
                    </a:lnTo>
                    <a:lnTo>
                      <a:pt x="1361" y="43"/>
                    </a:lnTo>
                    <a:lnTo>
                      <a:pt x="1365" y="43"/>
                    </a:lnTo>
                    <a:lnTo>
                      <a:pt x="1367" y="39"/>
                    </a:lnTo>
                    <a:lnTo>
                      <a:pt x="1371" y="37"/>
                    </a:lnTo>
                    <a:lnTo>
                      <a:pt x="1372" y="34"/>
                    </a:lnTo>
                    <a:lnTo>
                      <a:pt x="1369" y="30"/>
                    </a:lnTo>
                    <a:lnTo>
                      <a:pt x="1372" y="26"/>
                    </a:lnTo>
                    <a:lnTo>
                      <a:pt x="1374" y="26"/>
                    </a:lnTo>
                    <a:lnTo>
                      <a:pt x="1376" y="28"/>
                    </a:lnTo>
                    <a:lnTo>
                      <a:pt x="1384" y="28"/>
                    </a:lnTo>
                    <a:lnTo>
                      <a:pt x="1380" y="24"/>
                    </a:lnTo>
                    <a:lnTo>
                      <a:pt x="1376" y="21"/>
                    </a:lnTo>
                    <a:lnTo>
                      <a:pt x="1376" y="15"/>
                    </a:lnTo>
                    <a:lnTo>
                      <a:pt x="1376" y="13"/>
                    </a:lnTo>
                    <a:lnTo>
                      <a:pt x="1378" y="9"/>
                    </a:lnTo>
                    <a:lnTo>
                      <a:pt x="1380" y="9"/>
                    </a:lnTo>
                    <a:lnTo>
                      <a:pt x="1386" y="13"/>
                    </a:lnTo>
                    <a:lnTo>
                      <a:pt x="1386" y="19"/>
                    </a:lnTo>
                    <a:lnTo>
                      <a:pt x="1389" y="24"/>
                    </a:lnTo>
                    <a:lnTo>
                      <a:pt x="1389" y="28"/>
                    </a:lnTo>
                    <a:lnTo>
                      <a:pt x="1389" y="30"/>
                    </a:lnTo>
                    <a:lnTo>
                      <a:pt x="1389" y="34"/>
                    </a:lnTo>
                    <a:lnTo>
                      <a:pt x="1391" y="37"/>
                    </a:lnTo>
                    <a:lnTo>
                      <a:pt x="1393" y="37"/>
                    </a:lnTo>
                    <a:lnTo>
                      <a:pt x="1393" y="34"/>
                    </a:lnTo>
                    <a:lnTo>
                      <a:pt x="1393" y="30"/>
                    </a:lnTo>
                    <a:lnTo>
                      <a:pt x="1393" y="26"/>
                    </a:lnTo>
                    <a:lnTo>
                      <a:pt x="1391" y="21"/>
                    </a:lnTo>
                    <a:lnTo>
                      <a:pt x="1391" y="13"/>
                    </a:lnTo>
                    <a:lnTo>
                      <a:pt x="1391" y="5"/>
                    </a:lnTo>
                    <a:lnTo>
                      <a:pt x="1391" y="4"/>
                    </a:lnTo>
                    <a:lnTo>
                      <a:pt x="1395" y="4"/>
                    </a:lnTo>
                    <a:lnTo>
                      <a:pt x="1399" y="5"/>
                    </a:lnTo>
                    <a:lnTo>
                      <a:pt x="1401" y="5"/>
                    </a:lnTo>
                    <a:lnTo>
                      <a:pt x="1403" y="9"/>
                    </a:lnTo>
                    <a:lnTo>
                      <a:pt x="1403" y="13"/>
                    </a:lnTo>
                    <a:lnTo>
                      <a:pt x="1404" y="17"/>
                    </a:lnTo>
                    <a:lnTo>
                      <a:pt x="1404" y="21"/>
                    </a:lnTo>
                    <a:lnTo>
                      <a:pt x="1404" y="28"/>
                    </a:lnTo>
                    <a:lnTo>
                      <a:pt x="1406" y="28"/>
                    </a:lnTo>
                    <a:lnTo>
                      <a:pt x="1406" y="24"/>
                    </a:lnTo>
                    <a:lnTo>
                      <a:pt x="1408" y="22"/>
                    </a:lnTo>
                    <a:lnTo>
                      <a:pt x="1410" y="22"/>
                    </a:lnTo>
                    <a:lnTo>
                      <a:pt x="1414" y="30"/>
                    </a:lnTo>
                    <a:lnTo>
                      <a:pt x="1416" y="28"/>
                    </a:lnTo>
                    <a:lnTo>
                      <a:pt x="1418" y="28"/>
                    </a:lnTo>
                    <a:lnTo>
                      <a:pt x="1418" y="26"/>
                    </a:lnTo>
                    <a:lnTo>
                      <a:pt x="1416" y="24"/>
                    </a:lnTo>
                    <a:lnTo>
                      <a:pt x="1414" y="21"/>
                    </a:lnTo>
                    <a:lnTo>
                      <a:pt x="1414" y="19"/>
                    </a:lnTo>
                    <a:lnTo>
                      <a:pt x="1414" y="17"/>
                    </a:lnTo>
                    <a:lnTo>
                      <a:pt x="1410" y="13"/>
                    </a:lnTo>
                    <a:lnTo>
                      <a:pt x="1410" y="13"/>
                    </a:lnTo>
                    <a:lnTo>
                      <a:pt x="1410" y="9"/>
                    </a:lnTo>
                    <a:lnTo>
                      <a:pt x="1414" y="9"/>
                    </a:lnTo>
                    <a:lnTo>
                      <a:pt x="1414" y="9"/>
                    </a:lnTo>
                    <a:lnTo>
                      <a:pt x="1410" y="5"/>
                    </a:lnTo>
                    <a:lnTo>
                      <a:pt x="1408" y="4"/>
                    </a:lnTo>
                    <a:lnTo>
                      <a:pt x="1410" y="4"/>
                    </a:lnTo>
                    <a:lnTo>
                      <a:pt x="1414" y="4"/>
                    </a:lnTo>
                    <a:lnTo>
                      <a:pt x="1416" y="0"/>
                    </a:lnTo>
                    <a:lnTo>
                      <a:pt x="1425" y="0"/>
                    </a:lnTo>
                    <a:lnTo>
                      <a:pt x="1425" y="4"/>
                    </a:lnTo>
                    <a:lnTo>
                      <a:pt x="1425" y="5"/>
                    </a:lnTo>
                    <a:lnTo>
                      <a:pt x="1423" y="9"/>
                    </a:lnTo>
                    <a:lnTo>
                      <a:pt x="1425" y="13"/>
                    </a:lnTo>
                    <a:lnTo>
                      <a:pt x="1427" y="13"/>
                    </a:lnTo>
                    <a:lnTo>
                      <a:pt x="1429" y="5"/>
                    </a:lnTo>
                    <a:lnTo>
                      <a:pt x="1431" y="5"/>
                    </a:lnTo>
                    <a:lnTo>
                      <a:pt x="1433" y="9"/>
                    </a:lnTo>
                    <a:lnTo>
                      <a:pt x="1431" y="13"/>
                    </a:lnTo>
                    <a:lnTo>
                      <a:pt x="1433" y="13"/>
                    </a:lnTo>
                    <a:lnTo>
                      <a:pt x="1435" y="13"/>
                    </a:lnTo>
                    <a:lnTo>
                      <a:pt x="1435" y="13"/>
                    </a:lnTo>
                    <a:lnTo>
                      <a:pt x="1440" y="9"/>
                    </a:lnTo>
                    <a:lnTo>
                      <a:pt x="1440" y="9"/>
                    </a:lnTo>
                    <a:lnTo>
                      <a:pt x="1440" y="13"/>
                    </a:lnTo>
                    <a:lnTo>
                      <a:pt x="1438" y="17"/>
                    </a:lnTo>
                    <a:lnTo>
                      <a:pt x="1440" y="22"/>
                    </a:lnTo>
                    <a:lnTo>
                      <a:pt x="1438" y="26"/>
                    </a:lnTo>
                    <a:lnTo>
                      <a:pt x="1440" y="28"/>
                    </a:lnTo>
                    <a:lnTo>
                      <a:pt x="1444" y="26"/>
                    </a:lnTo>
                    <a:lnTo>
                      <a:pt x="1448" y="28"/>
                    </a:lnTo>
                    <a:lnTo>
                      <a:pt x="1448" y="26"/>
                    </a:lnTo>
                    <a:lnTo>
                      <a:pt x="1448" y="21"/>
                    </a:lnTo>
                    <a:lnTo>
                      <a:pt x="1452" y="13"/>
                    </a:lnTo>
                    <a:lnTo>
                      <a:pt x="1448" y="5"/>
                    </a:lnTo>
                    <a:lnTo>
                      <a:pt x="1450" y="0"/>
                    </a:lnTo>
                    <a:lnTo>
                      <a:pt x="1452" y="0"/>
                    </a:lnTo>
                    <a:lnTo>
                      <a:pt x="1453" y="0"/>
                    </a:lnTo>
                    <a:lnTo>
                      <a:pt x="1457" y="0"/>
                    </a:lnTo>
                    <a:lnTo>
                      <a:pt x="1459" y="4"/>
                    </a:lnTo>
                    <a:lnTo>
                      <a:pt x="1465" y="0"/>
                    </a:lnTo>
                    <a:lnTo>
                      <a:pt x="1468" y="0"/>
                    </a:lnTo>
                    <a:lnTo>
                      <a:pt x="1472" y="4"/>
                    </a:lnTo>
                    <a:lnTo>
                      <a:pt x="1474" y="5"/>
                    </a:lnTo>
                    <a:lnTo>
                      <a:pt x="1480" y="4"/>
                    </a:lnTo>
                    <a:lnTo>
                      <a:pt x="1484" y="9"/>
                    </a:lnTo>
                    <a:lnTo>
                      <a:pt x="1485" y="13"/>
                    </a:lnTo>
                    <a:lnTo>
                      <a:pt x="1487" y="13"/>
                    </a:lnTo>
                    <a:lnTo>
                      <a:pt x="1487" y="17"/>
                    </a:lnTo>
                    <a:lnTo>
                      <a:pt x="1485" y="22"/>
                    </a:lnTo>
                    <a:lnTo>
                      <a:pt x="1485" y="24"/>
                    </a:lnTo>
                    <a:lnTo>
                      <a:pt x="1489" y="22"/>
                    </a:lnTo>
                    <a:lnTo>
                      <a:pt x="1493" y="19"/>
                    </a:lnTo>
                    <a:lnTo>
                      <a:pt x="1497" y="15"/>
                    </a:lnTo>
                    <a:lnTo>
                      <a:pt x="1502" y="13"/>
                    </a:lnTo>
                    <a:lnTo>
                      <a:pt x="1504" y="13"/>
                    </a:lnTo>
                    <a:lnTo>
                      <a:pt x="1508" y="13"/>
                    </a:lnTo>
                    <a:lnTo>
                      <a:pt x="1514" y="13"/>
                    </a:lnTo>
                    <a:lnTo>
                      <a:pt x="1514" y="17"/>
                    </a:lnTo>
                    <a:lnTo>
                      <a:pt x="1508" y="21"/>
                    </a:lnTo>
                    <a:lnTo>
                      <a:pt x="1512" y="24"/>
                    </a:lnTo>
                    <a:lnTo>
                      <a:pt x="1514" y="22"/>
                    </a:lnTo>
                    <a:lnTo>
                      <a:pt x="1514" y="19"/>
                    </a:lnTo>
                    <a:lnTo>
                      <a:pt x="1517" y="17"/>
                    </a:lnTo>
                    <a:lnTo>
                      <a:pt x="1521" y="15"/>
                    </a:lnTo>
                    <a:lnTo>
                      <a:pt x="1527" y="17"/>
                    </a:lnTo>
                    <a:lnTo>
                      <a:pt x="1534" y="19"/>
                    </a:lnTo>
                    <a:lnTo>
                      <a:pt x="1536" y="21"/>
                    </a:lnTo>
                    <a:lnTo>
                      <a:pt x="1534" y="24"/>
                    </a:lnTo>
                    <a:lnTo>
                      <a:pt x="1532" y="24"/>
                    </a:lnTo>
                    <a:lnTo>
                      <a:pt x="1532" y="26"/>
                    </a:lnTo>
                    <a:lnTo>
                      <a:pt x="1531" y="30"/>
                    </a:lnTo>
                    <a:lnTo>
                      <a:pt x="1532" y="30"/>
                    </a:lnTo>
                    <a:lnTo>
                      <a:pt x="1534" y="30"/>
                    </a:lnTo>
                    <a:lnTo>
                      <a:pt x="1538" y="28"/>
                    </a:lnTo>
                    <a:lnTo>
                      <a:pt x="1538" y="30"/>
                    </a:lnTo>
                    <a:lnTo>
                      <a:pt x="1542" y="34"/>
                    </a:lnTo>
                    <a:lnTo>
                      <a:pt x="1544" y="30"/>
                    </a:lnTo>
                    <a:lnTo>
                      <a:pt x="1548" y="30"/>
                    </a:lnTo>
                    <a:lnTo>
                      <a:pt x="1548" y="30"/>
                    </a:lnTo>
                    <a:lnTo>
                      <a:pt x="1548" y="34"/>
                    </a:lnTo>
                    <a:lnTo>
                      <a:pt x="1548" y="37"/>
                    </a:lnTo>
                    <a:lnTo>
                      <a:pt x="1551" y="37"/>
                    </a:lnTo>
                    <a:lnTo>
                      <a:pt x="1551" y="34"/>
                    </a:lnTo>
                    <a:lnTo>
                      <a:pt x="1555" y="34"/>
                    </a:lnTo>
                    <a:lnTo>
                      <a:pt x="1557" y="34"/>
                    </a:lnTo>
                    <a:lnTo>
                      <a:pt x="1557" y="37"/>
                    </a:lnTo>
                    <a:lnTo>
                      <a:pt x="1564" y="39"/>
                    </a:lnTo>
                    <a:lnTo>
                      <a:pt x="1568" y="39"/>
                    </a:lnTo>
                    <a:lnTo>
                      <a:pt x="1570" y="43"/>
                    </a:lnTo>
                    <a:lnTo>
                      <a:pt x="1568" y="43"/>
                    </a:lnTo>
                    <a:lnTo>
                      <a:pt x="1561" y="47"/>
                    </a:lnTo>
                    <a:lnTo>
                      <a:pt x="1557" y="51"/>
                    </a:lnTo>
                    <a:lnTo>
                      <a:pt x="1551" y="53"/>
                    </a:lnTo>
                    <a:lnTo>
                      <a:pt x="1548" y="54"/>
                    </a:lnTo>
                    <a:lnTo>
                      <a:pt x="1546" y="54"/>
                    </a:lnTo>
                    <a:lnTo>
                      <a:pt x="1542" y="54"/>
                    </a:lnTo>
                    <a:lnTo>
                      <a:pt x="1540" y="54"/>
                    </a:lnTo>
                    <a:lnTo>
                      <a:pt x="1534" y="58"/>
                    </a:lnTo>
                    <a:lnTo>
                      <a:pt x="1544" y="58"/>
                    </a:lnTo>
                    <a:lnTo>
                      <a:pt x="1551" y="58"/>
                    </a:lnTo>
                    <a:lnTo>
                      <a:pt x="1551" y="60"/>
                    </a:lnTo>
                    <a:lnTo>
                      <a:pt x="1555" y="60"/>
                    </a:lnTo>
                    <a:lnTo>
                      <a:pt x="1557" y="54"/>
                    </a:lnTo>
                    <a:lnTo>
                      <a:pt x="1561" y="54"/>
                    </a:lnTo>
                    <a:lnTo>
                      <a:pt x="1563" y="54"/>
                    </a:lnTo>
                    <a:lnTo>
                      <a:pt x="1564" y="51"/>
                    </a:lnTo>
                    <a:lnTo>
                      <a:pt x="1570" y="49"/>
                    </a:lnTo>
                    <a:lnTo>
                      <a:pt x="1572" y="49"/>
                    </a:lnTo>
                    <a:lnTo>
                      <a:pt x="1576" y="51"/>
                    </a:lnTo>
                    <a:lnTo>
                      <a:pt x="1572" y="54"/>
                    </a:lnTo>
                    <a:lnTo>
                      <a:pt x="1576" y="58"/>
                    </a:lnTo>
                    <a:lnTo>
                      <a:pt x="1576" y="54"/>
                    </a:lnTo>
                    <a:lnTo>
                      <a:pt x="1578" y="53"/>
                    </a:lnTo>
                    <a:lnTo>
                      <a:pt x="1581" y="49"/>
                    </a:lnTo>
                    <a:lnTo>
                      <a:pt x="1585" y="51"/>
                    </a:lnTo>
                    <a:lnTo>
                      <a:pt x="1581" y="54"/>
                    </a:lnTo>
                    <a:lnTo>
                      <a:pt x="1581" y="54"/>
                    </a:lnTo>
                    <a:lnTo>
                      <a:pt x="1581" y="60"/>
                    </a:lnTo>
                    <a:lnTo>
                      <a:pt x="1581" y="62"/>
                    </a:lnTo>
                    <a:lnTo>
                      <a:pt x="1585" y="60"/>
                    </a:lnTo>
                    <a:lnTo>
                      <a:pt x="1585" y="58"/>
                    </a:lnTo>
                    <a:lnTo>
                      <a:pt x="1585" y="54"/>
                    </a:lnTo>
                    <a:lnTo>
                      <a:pt x="1591" y="54"/>
                    </a:lnTo>
                    <a:lnTo>
                      <a:pt x="1593" y="54"/>
                    </a:lnTo>
                    <a:lnTo>
                      <a:pt x="1591" y="64"/>
                    </a:lnTo>
                    <a:lnTo>
                      <a:pt x="1589" y="64"/>
                    </a:lnTo>
                    <a:lnTo>
                      <a:pt x="1591" y="64"/>
                    </a:lnTo>
                    <a:lnTo>
                      <a:pt x="1593" y="68"/>
                    </a:lnTo>
                    <a:lnTo>
                      <a:pt x="1591" y="73"/>
                    </a:lnTo>
                    <a:lnTo>
                      <a:pt x="1587" y="75"/>
                    </a:lnTo>
                    <a:lnTo>
                      <a:pt x="1587" y="79"/>
                    </a:lnTo>
                    <a:lnTo>
                      <a:pt x="1581" y="85"/>
                    </a:lnTo>
                    <a:lnTo>
                      <a:pt x="1585" y="86"/>
                    </a:lnTo>
                    <a:lnTo>
                      <a:pt x="1587" y="85"/>
                    </a:lnTo>
                    <a:lnTo>
                      <a:pt x="1589" y="81"/>
                    </a:lnTo>
                    <a:lnTo>
                      <a:pt x="1593" y="81"/>
                    </a:lnTo>
                    <a:lnTo>
                      <a:pt x="1593" y="79"/>
                    </a:lnTo>
                    <a:lnTo>
                      <a:pt x="1596" y="79"/>
                    </a:lnTo>
                    <a:lnTo>
                      <a:pt x="1600" y="83"/>
                    </a:lnTo>
                    <a:lnTo>
                      <a:pt x="1602" y="88"/>
                    </a:lnTo>
                    <a:lnTo>
                      <a:pt x="1602" y="94"/>
                    </a:lnTo>
                    <a:lnTo>
                      <a:pt x="1602" y="102"/>
                    </a:lnTo>
                    <a:lnTo>
                      <a:pt x="1596" y="109"/>
                    </a:lnTo>
                    <a:lnTo>
                      <a:pt x="1589" y="113"/>
                    </a:lnTo>
                    <a:lnTo>
                      <a:pt x="1587" y="115"/>
                    </a:lnTo>
                    <a:lnTo>
                      <a:pt x="1585" y="115"/>
                    </a:lnTo>
                    <a:lnTo>
                      <a:pt x="1581" y="117"/>
                    </a:lnTo>
                    <a:lnTo>
                      <a:pt x="1581" y="118"/>
                    </a:lnTo>
                    <a:lnTo>
                      <a:pt x="1578" y="118"/>
                    </a:lnTo>
                    <a:lnTo>
                      <a:pt x="1568" y="124"/>
                    </a:lnTo>
                    <a:lnTo>
                      <a:pt x="1564" y="128"/>
                    </a:lnTo>
                    <a:lnTo>
                      <a:pt x="1561" y="128"/>
                    </a:lnTo>
                    <a:lnTo>
                      <a:pt x="1555" y="132"/>
                    </a:lnTo>
                    <a:lnTo>
                      <a:pt x="1551" y="132"/>
                    </a:lnTo>
                    <a:lnTo>
                      <a:pt x="1548" y="128"/>
                    </a:lnTo>
                    <a:lnTo>
                      <a:pt x="1546" y="132"/>
                    </a:lnTo>
                    <a:lnTo>
                      <a:pt x="1544" y="132"/>
                    </a:lnTo>
                    <a:lnTo>
                      <a:pt x="1540" y="132"/>
                    </a:lnTo>
                    <a:lnTo>
                      <a:pt x="1534" y="128"/>
                    </a:lnTo>
                    <a:lnTo>
                      <a:pt x="1529" y="128"/>
                    </a:lnTo>
                    <a:lnTo>
                      <a:pt x="1529" y="132"/>
                    </a:lnTo>
                    <a:lnTo>
                      <a:pt x="1534" y="132"/>
                    </a:lnTo>
                    <a:lnTo>
                      <a:pt x="1536" y="132"/>
                    </a:lnTo>
                    <a:lnTo>
                      <a:pt x="1532" y="134"/>
                    </a:lnTo>
                    <a:lnTo>
                      <a:pt x="1529" y="132"/>
                    </a:lnTo>
                    <a:lnTo>
                      <a:pt x="1527" y="132"/>
                    </a:lnTo>
                    <a:lnTo>
                      <a:pt x="1523" y="132"/>
                    </a:lnTo>
                    <a:lnTo>
                      <a:pt x="1517" y="132"/>
                    </a:lnTo>
                    <a:lnTo>
                      <a:pt x="1516" y="128"/>
                    </a:lnTo>
                    <a:lnTo>
                      <a:pt x="1514" y="128"/>
                    </a:lnTo>
                    <a:lnTo>
                      <a:pt x="1512" y="128"/>
                    </a:lnTo>
                    <a:lnTo>
                      <a:pt x="1504" y="122"/>
                    </a:lnTo>
                    <a:lnTo>
                      <a:pt x="1502" y="118"/>
                    </a:lnTo>
                    <a:lnTo>
                      <a:pt x="1502" y="122"/>
                    </a:lnTo>
                    <a:lnTo>
                      <a:pt x="1506" y="128"/>
                    </a:lnTo>
                    <a:lnTo>
                      <a:pt x="1506" y="128"/>
                    </a:lnTo>
                    <a:lnTo>
                      <a:pt x="1504" y="128"/>
                    </a:lnTo>
                    <a:lnTo>
                      <a:pt x="1499" y="128"/>
                    </a:lnTo>
                    <a:lnTo>
                      <a:pt x="1502" y="132"/>
                    </a:lnTo>
                    <a:lnTo>
                      <a:pt x="1514" y="132"/>
                    </a:lnTo>
                    <a:lnTo>
                      <a:pt x="1521" y="134"/>
                    </a:lnTo>
                    <a:lnTo>
                      <a:pt x="1523" y="135"/>
                    </a:lnTo>
                    <a:lnTo>
                      <a:pt x="1517" y="137"/>
                    </a:lnTo>
                    <a:lnTo>
                      <a:pt x="1502" y="145"/>
                    </a:lnTo>
                    <a:lnTo>
                      <a:pt x="1493" y="147"/>
                    </a:lnTo>
                    <a:lnTo>
                      <a:pt x="1489" y="147"/>
                    </a:lnTo>
                    <a:lnTo>
                      <a:pt x="1484" y="149"/>
                    </a:lnTo>
                    <a:lnTo>
                      <a:pt x="1478" y="147"/>
                    </a:lnTo>
                    <a:lnTo>
                      <a:pt x="1478" y="145"/>
                    </a:lnTo>
                    <a:lnTo>
                      <a:pt x="1474" y="147"/>
                    </a:lnTo>
                    <a:lnTo>
                      <a:pt x="1472" y="145"/>
                    </a:lnTo>
                    <a:lnTo>
                      <a:pt x="1468" y="147"/>
                    </a:lnTo>
                    <a:lnTo>
                      <a:pt x="1467" y="149"/>
                    </a:lnTo>
                    <a:lnTo>
                      <a:pt x="1468" y="149"/>
                    </a:lnTo>
                    <a:lnTo>
                      <a:pt x="1472" y="152"/>
                    </a:lnTo>
                    <a:lnTo>
                      <a:pt x="1474" y="149"/>
                    </a:lnTo>
                    <a:lnTo>
                      <a:pt x="1485" y="149"/>
                    </a:lnTo>
                    <a:lnTo>
                      <a:pt x="1491" y="149"/>
                    </a:lnTo>
                    <a:lnTo>
                      <a:pt x="1504" y="149"/>
                    </a:lnTo>
                    <a:lnTo>
                      <a:pt x="1514" y="149"/>
                    </a:lnTo>
                    <a:lnTo>
                      <a:pt x="1517" y="143"/>
                    </a:lnTo>
                    <a:lnTo>
                      <a:pt x="1523" y="141"/>
                    </a:lnTo>
                    <a:lnTo>
                      <a:pt x="1527" y="143"/>
                    </a:lnTo>
                    <a:lnTo>
                      <a:pt x="1531" y="143"/>
                    </a:lnTo>
                    <a:lnTo>
                      <a:pt x="1536" y="143"/>
                    </a:lnTo>
                    <a:lnTo>
                      <a:pt x="1534" y="149"/>
                    </a:lnTo>
                    <a:lnTo>
                      <a:pt x="1531" y="152"/>
                    </a:lnTo>
                    <a:lnTo>
                      <a:pt x="1527" y="156"/>
                    </a:lnTo>
                    <a:lnTo>
                      <a:pt x="1523" y="156"/>
                    </a:lnTo>
                    <a:lnTo>
                      <a:pt x="1516" y="158"/>
                    </a:lnTo>
                    <a:lnTo>
                      <a:pt x="1514" y="162"/>
                    </a:lnTo>
                    <a:lnTo>
                      <a:pt x="1510" y="162"/>
                    </a:lnTo>
                    <a:lnTo>
                      <a:pt x="1506" y="167"/>
                    </a:lnTo>
                    <a:lnTo>
                      <a:pt x="1502" y="169"/>
                    </a:lnTo>
                    <a:lnTo>
                      <a:pt x="1497" y="169"/>
                    </a:lnTo>
                    <a:lnTo>
                      <a:pt x="1493" y="171"/>
                    </a:lnTo>
                    <a:lnTo>
                      <a:pt x="1491" y="171"/>
                    </a:lnTo>
                    <a:lnTo>
                      <a:pt x="1487" y="173"/>
                    </a:lnTo>
                    <a:lnTo>
                      <a:pt x="1480" y="173"/>
                    </a:lnTo>
                    <a:lnTo>
                      <a:pt x="1478" y="179"/>
                    </a:lnTo>
                    <a:lnTo>
                      <a:pt x="1472" y="181"/>
                    </a:lnTo>
                    <a:lnTo>
                      <a:pt x="1468" y="183"/>
                    </a:lnTo>
                    <a:lnTo>
                      <a:pt x="1465" y="183"/>
                    </a:lnTo>
                    <a:lnTo>
                      <a:pt x="1459" y="183"/>
                    </a:lnTo>
                    <a:lnTo>
                      <a:pt x="1459" y="183"/>
                    </a:lnTo>
                    <a:lnTo>
                      <a:pt x="1457" y="186"/>
                    </a:lnTo>
                    <a:lnTo>
                      <a:pt x="1457" y="188"/>
                    </a:lnTo>
                    <a:lnTo>
                      <a:pt x="1453" y="192"/>
                    </a:lnTo>
                    <a:lnTo>
                      <a:pt x="1452" y="196"/>
                    </a:lnTo>
                    <a:lnTo>
                      <a:pt x="1444" y="196"/>
                    </a:lnTo>
                    <a:lnTo>
                      <a:pt x="1438" y="198"/>
                    </a:lnTo>
                    <a:lnTo>
                      <a:pt x="1438" y="196"/>
                    </a:lnTo>
                    <a:lnTo>
                      <a:pt x="1435" y="194"/>
                    </a:lnTo>
                    <a:lnTo>
                      <a:pt x="1438" y="192"/>
                    </a:lnTo>
                    <a:lnTo>
                      <a:pt x="1438" y="188"/>
                    </a:lnTo>
                    <a:lnTo>
                      <a:pt x="1435" y="186"/>
                    </a:lnTo>
                    <a:lnTo>
                      <a:pt x="1435" y="192"/>
                    </a:lnTo>
                    <a:lnTo>
                      <a:pt x="1435" y="194"/>
                    </a:lnTo>
                    <a:lnTo>
                      <a:pt x="1435" y="196"/>
                    </a:lnTo>
                    <a:lnTo>
                      <a:pt x="1438" y="199"/>
                    </a:lnTo>
                    <a:lnTo>
                      <a:pt x="1438" y="203"/>
                    </a:lnTo>
                    <a:lnTo>
                      <a:pt x="1435" y="207"/>
                    </a:lnTo>
                    <a:lnTo>
                      <a:pt x="1433" y="207"/>
                    </a:lnTo>
                    <a:lnTo>
                      <a:pt x="1429" y="203"/>
                    </a:lnTo>
                    <a:lnTo>
                      <a:pt x="1427" y="205"/>
                    </a:lnTo>
                    <a:lnTo>
                      <a:pt x="1420" y="203"/>
                    </a:lnTo>
                    <a:lnTo>
                      <a:pt x="1418" y="205"/>
                    </a:lnTo>
                    <a:lnTo>
                      <a:pt x="1416" y="205"/>
                    </a:lnTo>
                    <a:lnTo>
                      <a:pt x="1416" y="201"/>
                    </a:lnTo>
                    <a:lnTo>
                      <a:pt x="1414" y="199"/>
                    </a:lnTo>
                    <a:lnTo>
                      <a:pt x="1414" y="203"/>
                    </a:lnTo>
                    <a:lnTo>
                      <a:pt x="1410" y="203"/>
                    </a:lnTo>
                    <a:lnTo>
                      <a:pt x="1410" y="207"/>
                    </a:lnTo>
                    <a:lnTo>
                      <a:pt x="1416" y="207"/>
                    </a:lnTo>
                    <a:lnTo>
                      <a:pt x="1425" y="207"/>
                    </a:lnTo>
                    <a:lnTo>
                      <a:pt x="1429" y="211"/>
                    </a:lnTo>
                    <a:lnTo>
                      <a:pt x="1427" y="213"/>
                    </a:lnTo>
                    <a:lnTo>
                      <a:pt x="1423" y="216"/>
                    </a:lnTo>
                    <a:lnTo>
                      <a:pt x="1418" y="216"/>
                    </a:lnTo>
                    <a:lnTo>
                      <a:pt x="1414" y="216"/>
                    </a:lnTo>
                    <a:lnTo>
                      <a:pt x="1414" y="216"/>
                    </a:lnTo>
                    <a:lnTo>
                      <a:pt x="1414" y="218"/>
                    </a:lnTo>
                    <a:lnTo>
                      <a:pt x="1416" y="216"/>
                    </a:lnTo>
                    <a:lnTo>
                      <a:pt x="1418" y="218"/>
                    </a:lnTo>
                    <a:lnTo>
                      <a:pt x="1418" y="222"/>
                    </a:lnTo>
                    <a:lnTo>
                      <a:pt x="1414" y="228"/>
                    </a:lnTo>
                    <a:lnTo>
                      <a:pt x="1408" y="228"/>
                    </a:lnTo>
                    <a:lnTo>
                      <a:pt x="1397" y="228"/>
                    </a:lnTo>
                    <a:lnTo>
                      <a:pt x="1397" y="226"/>
                    </a:lnTo>
                    <a:lnTo>
                      <a:pt x="1393" y="226"/>
                    </a:lnTo>
                    <a:lnTo>
                      <a:pt x="1391" y="226"/>
                    </a:lnTo>
                    <a:lnTo>
                      <a:pt x="1391" y="216"/>
                    </a:lnTo>
                    <a:lnTo>
                      <a:pt x="1386" y="216"/>
                    </a:lnTo>
                    <a:lnTo>
                      <a:pt x="1386" y="216"/>
                    </a:lnTo>
                    <a:lnTo>
                      <a:pt x="1386" y="213"/>
                    </a:lnTo>
                    <a:lnTo>
                      <a:pt x="1384" y="211"/>
                    </a:lnTo>
                    <a:lnTo>
                      <a:pt x="1380" y="211"/>
                    </a:lnTo>
                    <a:lnTo>
                      <a:pt x="1378" y="211"/>
                    </a:lnTo>
                    <a:lnTo>
                      <a:pt x="1372" y="211"/>
                    </a:lnTo>
                    <a:lnTo>
                      <a:pt x="1371" y="213"/>
                    </a:lnTo>
                    <a:lnTo>
                      <a:pt x="1374" y="213"/>
                    </a:lnTo>
                    <a:lnTo>
                      <a:pt x="1376" y="213"/>
                    </a:lnTo>
                    <a:lnTo>
                      <a:pt x="1378" y="213"/>
                    </a:lnTo>
                    <a:lnTo>
                      <a:pt x="1386" y="220"/>
                    </a:lnTo>
                    <a:lnTo>
                      <a:pt x="1386" y="231"/>
                    </a:lnTo>
                    <a:lnTo>
                      <a:pt x="1386" y="233"/>
                    </a:lnTo>
                    <a:lnTo>
                      <a:pt x="1380" y="231"/>
                    </a:lnTo>
                    <a:lnTo>
                      <a:pt x="1378" y="230"/>
                    </a:lnTo>
                    <a:lnTo>
                      <a:pt x="1376" y="230"/>
                    </a:lnTo>
                    <a:lnTo>
                      <a:pt x="1376" y="233"/>
                    </a:lnTo>
                    <a:lnTo>
                      <a:pt x="1374" y="233"/>
                    </a:lnTo>
                    <a:lnTo>
                      <a:pt x="1371" y="230"/>
                    </a:lnTo>
                    <a:lnTo>
                      <a:pt x="1367" y="230"/>
                    </a:lnTo>
                    <a:lnTo>
                      <a:pt x="1365" y="233"/>
                    </a:lnTo>
                    <a:lnTo>
                      <a:pt x="1363" y="233"/>
                    </a:lnTo>
                    <a:lnTo>
                      <a:pt x="1361" y="230"/>
                    </a:lnTo>
                    <a:lnTo>
                      <a:pt x="1359" y="230"/>
                    </a:lnTo>
                    <a:lnTo>
                      <a:pt x="1356" y="226"/>
                    </a:lnTo>
                    <a:lnTo>
                      <a:pt x="1354" y="226"/>
                    </a:lnTo>
                    <a:lnTo>
                      <a:pt x="1354" y="222"/>
                    </a:lnTo>
                    <a:lnTo>
                      <a:pt x="1350" y="220"/>
                    </a:lnTo>
                    <a:lnTo>
                      <a:pt x="1344" y="220"/>
                    </a:lnTo>
                    <a:lnTo>
                      <a:pt x="1342" y="216"/>
                    </a:lnTo>
                    <a:lnTo>
                      <a:pt x="1340" y="218"/>
                    </a:lnTo>
                    <a:lnTo>
                      <a:pt x="1342" y="222"/>
                    </a:lnTo>
                    <a:lnTo>
                      <a:pt x="1346" y="226"/>
                    </a:lnTo>
                    <a:lnTo>
                      <a:pt x="1350" y="226"/>
                    </a:lnTo>
                    <a:lnTo>
                      <a:pt x="1356" y="231"/>
                    </a:lnTo>
                    <a:lnTo>
                      <a:pt x="1354" y="235"/>
                    </a:lnTo>
                    <a:lnTo>
                      <a:pt x="1342" y="231"/>
                    </a:lnTo>
                    <a:lnTo>
                      <a:pt x="1339" y="230"/>
                    </a:lnTo>
                    <a:lnTo>
                      <a:pt x="1339" y="226"/>
                    </a:lnTo>
                    <a:lnTo>
                      <a:pt x="1337" y="222"/>
                    </a:lnTo>
                    <a:lnTo>
                      <a:pt x="1335" y="226"/>
                    </a:lnTo>
                    <a:lnTo>
                      <a:pt x="1337" y="226"/>
                    </a:lnTo>
                    <a:lnTo>
                      <a:pt x="1335" y="230"/>
                    </a:lnTo>
                    <a:lnTo>
                      <a:pt x="1331" y="228"/>
                    </a:lnTo>
                    <a:lnTo>
                      <a:pt x="1331" y="226"/>
                    </a:lnTo>
                    <a:lnTo>
                      <a:pt x="1325" y="228"/>
                    </a:lnTo>
                    <a:lnTo>
                      <a:pt x="1325" y="230"/>
                    </a:lnTo>
                    <a:lnTo>
                      <a:pt x="1331" y="231"/>
                    </a:lnTo>
                    <a:lnTo>
                      <a:pt x="1331" y="235"/>
                    </a:lnTo>
                    <a:lnTo>
                      <a:pt x="1335" y="235"/>
                    </a:lnTo>
                    <a:lnTo>
                      <a:pt x="1335" y="233"/>
                    </a:lnTo>
                    <a:lnTo>
                      <a:pt x="1339" y="233"/>
                    </a:lnTo>
                    <a:lnTo>
                      <a:pt x="1340" y="237"/>
                    </a:lnTo>
                    <a:lnTo>
                      <a:pt x="1346" y="237"/>
                    </a:lnTo>
                    <a:lnTo>
                      <a:pt x="1348" y="241"/>
                    </a:lnTo>
                    <a:lnTo>
                      <a:pt x="1352" y="241"/>
                    </a:lnTo>
                    <a:lnTo>
                      <a:pt x="1354" y="241"/>
                    </a:lnTo>
                    <a:lnTo>
                      <a:pt x="1363" y="243"/>
                    </a:lnTo>
                    <a:lnTo>
                      <a:pt x="1365" y="243"/>
                    </a:lnTo>
                    <a:lnTo>
                      <a:pt x="1361" y="247"/>
                    </a:lnTo>
                    <a:lnTo>
                      <a:pt x="1363" y="250"/>
                    </a:lnTo>
                    <a:lnTo>
                      <a:pt x="1363" y="252"/>
                    </a:lnTo>
                    <a:lnTo>
                      <a:pt x="1363" y="256"/>
                    </a:lnTo>
                    <a:lnTo>
                      <a:pt x="1361" y="258"/>
                    </a:lnTo>
                    <a:lnTo>
                      <a:pt x="1359" y="258"/>
                    </a:lnTo>
                    <a:lnTo>
                      <a:pt x="1359" y="254"/>
                    </a:lnTo>
                    <a:lnTo>
                      <a:pt x="1354" y="254"/>
                    </a:lnTo>
                    <a:lnTo>
                      <a:pt x="1348" y="250"/>
                    </a:lnTo>
                    <a:lnTo>
                      <a:pt x="1346" y="247"/>
                    </a:lnTo>
                    <a:lnTo>
                      <a:pt x="1348" y="243"/>
                    </a:lnTo>
                    <a:lnTo>
                      <a:pt x="1346" y="241"/>
                    </a:lnTo>
                    <a:lnTo>
                      <a:pt x="1339" y="241"/>
                    </a:lnTo>
                    <a:lnTo>
                      <a:pt x="1331" y="237"/>
                    </a:lnTo>
                    <a:lnTo>
                      <a:pt x="1329" y="237"/>
                    </a:lnTo>
                    <a:lnTo>
                      <a:pt x="1325" y="237"/>
                    </a:lnTo>
                    <a:lnTo>
                      <a:pt x="1325" y="237"/>
                    </a:lnTo>
                    <a:lnTo>
                      <a:pt x="1329" y="241"/>
                    </a:lnTo>
                    <a:lnTo>
                      <a:pt x="1337" y="241"/>
                    </a:lnTo>
                    <a:lnTo>
                      <a:pt x="1344" y="243"/>
                    </a:lnTo>
                    <a:lnTo>
                      <a:pt x="1344" y="247"/>
                    </a:lnTo>
                    <a:lnTo>
                      <a:pt x="1342" y="247"/>
                    </a:lnTo>
                    <a:lnTo>
                      <a:pt x="1339" y="247"/>
                    </a:lnTo>
                    <a:lnTo>
                      <a:pt x="1331" y="247"/>
                    </a:lnTo>
                    <a:lnTo>
                      <a:pt x="1325" y="247"/>
                    </a:lnTo>
                    <a:lnTo>
                      <a:pt x="1325" y="243"/>
                    </a:lnTo>
                    <a:lnTo>
                      <a:pt x="1325" y="243"/>
                    </a:lnTo>
                    <a:lnTo>
                      <a:pt x="1318" y="243"/>
                    </a:lnTo>
                    <a:lnTo>
                      <a:pt x="1316" y="241"/>
                    </a:lnTo>
                    <a:lnTo>
                      <a:pt x="1316" y="243"/>
                    </a:lnTo>
                    <a:lnTo>
                      <a:pt x="1322" y="247"/>
                    </a:lnTo>
                    <a:lnTo>
                      <a:pt x="1322" y="247"/>
                    </a:lnTo>
                    <a:lnTo>
                      <a:pt x="1322" y="250"/>
                    </a:lnTo>
                    <a:lnTo>
                      <a:pt x="1325" y="250"/>
                    </a:lnTo>
                    <a:lnTo>
                      <a:pt x="1325" y="250"/>
                    </a:lnTo>
                    <a:lnTo>
                      <a:pt x="1325" y="250"/>
                    </a:lnTo>
                    <a:lnTo>
                      <a:pt x="1331" y="250"/>
                    </a:lnTo>
                    <a:lnTo>
                      <a:pt x="1331" y="247"/>
                    </a:lnTo>
                    <a:lnTo>
                      <a:pt x="1331" y="250"/>
                    </a:lnTo>
                    <a:lnTo>
                      <a:pt x="1335" y="247"/>
                    </a:lnTo>
                    <a:lnTo>
                      <a:pt x="1339" y="250"/>
                    </a:lnTo>
                    <a:lnTo>
                      <a:pt x="1344" y="254"/>
                    </a:lnTo>
                    <a:lnTo>
                      <a:pt x="1344" y="256"/>
                    </a:lnTo>
                    <a:lnTo>
                      <a:pt x="1339" y="256"/>
                    </a:lnTo>
                    <a:lnTo>
                      <a:pt x="1335" y="258"/>
                    </a:lnTo>
                    <a:lnTo>
                      <a:pt x="1335" y="260"/>
                    </a:lnTo>
                    <a:lnTo>
                      <a:pt x="1339" y="258"/>
                    </a:lnTo>
                    <a:lnTo>
                      <a:pt x="1342" y="258"/>
                    </a:lnTo>
                    <a:lnTo>
                      <a:pt x="1344" y="258"/>
                    </a:lnTo>
                    <a:lnTo>
                      <a:pt x="1348" y="262"/>
                    </a:lnTo>
                    <a:lnTo>
                      <a:pt x="1352" y="263"/>
                    </a:lnTo>
                    <a:lnTo>
                      <a:pt x="1352" y="267"/>
                    </a:lnTo>
                    <a:lnTo>
                      <a:pt x="1348" y="275"/>
                    </a:lnTo>
                    <a:lnTo>
                      <a:pt x="1346" y="280"/>
                    </a:lnTo>
                    <a:lnTo>
                      <a:pt x="1344" y="280"/>
                    </a:lnTo>
                    <a:lnTo>
                      <a:pt x="1339" y="282"/>
                    </a:lnTo>
                    <a:lnTo>
                      <a:pt x="1337" y="282"/>
                    </a:lnTo>
                    <a:lnTo>
                      <a:pt x="1335" y="282"/>
                    </a:lnTo>
                    <a:lnTo>
                      <a:pt x="1331" y="280"/>
                    </a:lnTo>
                    <a:lnTo>
                      <a:pt x="1331" y="280"/>
                    </a:lnTo>
                    <a:lnTo>
                      <a:pt x="1325" y="277"/>
                    </a:lnTo>
                    <a:lnTo>
                      <a:pt x="1322" y="277"/>
                    </a:lnTo>
                    <a:lnTo>
                      <a:pt x="1322" y="280"/>
                    </a:lnTo>
                    <a:lnTo>
                      <a:pt x="1329" y="280"/>
                    </a:lnTo>
                    <a:lnTo>
                      <a:pt x="1329" y="282"/>
                    </a:lnTo>
                    <a:lnTo>
                      <a:pt x="1331" y="282"/>
                    </a:lnTo>
                    <a:lnTo>
                      <a:pt x="1335" y="286"/>
                    </a:lnTo>
                    <a:lnTo>
                      <a:pt x="1335" y="292"/>
                    </a:lnTo>
                    <a:lnTo>
                      <a:pt x="1335" y="294"/>
                    </a:lnTo>
                    <a:lnTo>
                      <a:pt x="1331" y="294"/>
                    </a:lnTo>
                    <a:lnTo>
                      <a:pt x="1329" y="297"/>
                    </a:lnTo>
                    <a:lnTo>
                      <a:pt x="1325" y="297"/>
                    </a:lnTo>
                    <a:lnTo>
                      <a:pt x="1320" y="294"/>
                    </a:lnTo>
                    <a:lnTo>
                      <a:pt x="1316" y="294"/>
                    </a:lnTo>
                    <a:lnTo>
                      <a:pt x="1314" y="292"/>
                    </a:lnTo>
                    <a:lnTo>
                      <a:pt x="1310" y="292"/>
                    </a:lnTo>
                    <a:lnTo>
                      <a:pt x="1310" y="294"/>
                    </a:lnTo>
                    <a:lnTo>
                      <a:pt x="1310" y="296"/>
                    </a:lnTo>
                    <a:lnTo>
                      <a:pt x="1320" y="301"/>
                    </a:lnTo>
                    <a:lnTo>
                      <a:pt x="1325" y="301"/>
                    </a:lnTo>
                    <a:lnTo>
                      <a:pt x="1325" y="305"/>
                    </a:lnTo>
                    <a:lnTo>
                      <a:pt x="1322" y="305"/>
                    </a:lnTo>
                    <a:lnTo>
                      <a:pt x="1318" y="311"/>
                    </a:lnTo>
                    <a:lnTo>
                      <a:pt x="1316" y="311"/>
                    </a:lnTo>
                    <a:lnTo>
                      <a:pt x="1312" y="305"/>
                    </a:lnTo>
                    <a:lnTo>
                      <a:pt x="1310" y="305"/>
                    </a:lnTo>
                    <a:lnTo>
                      <a:pt x="1305" y="311"/>
                    </a:lnTo>
                    <a:lnTo>
                      <a:pt x="1301" y="311"/>
                    </a:lnTo>
                    <a:lnTo>
                      <a:pt x="1297" y="305"/>
                    </a:lnTo>
                    <a:lnTo>
                      <a:pt x="1292" y="305"/>
                    </a:lnTo>
                    <a:lnTo>
                      <a:pt x="1286" y="305"/>
                    </a:lnTo>
                    <a:lnTo>
                      <a:pt x="1284" y="312"/>
                    </a:lnTo>
                    <a:lnTo>
                      <a:pt x="1280" y="316"/>
                    </a:lnTo>
                    <a:lnTo>
                      <a:pt x="1284" y="314"/>
                    </a:lnTo>
                    <a:lnTo>
                      <a:pt x="1286" y="316"/>
                    </a:lnTo>
                    <a:lnTo>
                      <a:pt x="1286" y="320"/>
                    </a:lnTo>
                    <a:lnTo>
                      <a:pt x="1280" y="324"/>
                    </a:lnTo>
                    <a:lnTo>
                      <a:pt x="1280" y="328"/>
                    </a:lnTo>
                    <a:lnTo>
                      <a:pt x="1276" y="329"/>
                    </a:lnTo>
                    <a:lnTo>
                      <a:pt x="1276" y="328"/>
                    </a:lnTo>
                    <a:lnTo>
                      <a:pt x="1273" y="329"/>
                    </a:lnTo>
                    <a:lnTo>
                      <a:pt x="1273" y="331"/>
                    </a:lnTo>
                    <a:lnTo>
                      <a:pt x="1271" y="331"/>
                    </a:lnTo>
                    <a:lnTo>
                      <a:pt x="1267" y="331"/>
                    </a:lnTo>
                    <a:lnTo>
                      <a:pt x="1267" y="331"/>
                    </a:lnTo>
                    <a:lnTo>
                      <a:pt x="1267" y="331"/>
                    </a:lnTo>
                    <a:lnTo>
                      <a:pt x="1265" y="331"/>
                    </a:lnTo>
                    <a:lnTo>
                      <a:pt x="1263" y="337"/>
                    </a:lnTo>
                    <a:lnTo>
                      <a:pt x="1260" y="339"/>
                    </a:lnTo>
                    <a:lnTo>
                      <a:pt x="1252" y="335"/>
                    </a:lnTo>
                    <a:lnTo>
                      <a:pt x="1246" y="335"/>
                    </a:lnTo>
                    <a:lnTo>
                      <a:pt x="1246" y="335"/>
                    </a:lnTo>
                    <a:lnTo>
                      <a:pt x="1243" y="335"/>
                    </a:lnTo>
                    <a:lnTo>
                      <a:pt x="1233" y="326"/>
                    </a:lnTo>
                    <a:lnTo>
                      <a:pt x="1231" y="316"/>
                    </a:lnTo>
                    <a:lnTo>
                      <a:pt x="1235" y="314"/>
                    </a:lnTo>
                    <a:lnTo>
                      <a:pt x="1235" y="312"/>
                    </a:lnTo>
                    <a:lnTo>
                      <a:pt x="1233" y="311"/>
                    </a:lnTo>
                    <a:lnTo>
                      <a:pt x="1235" y="307"/>
                    </a:lnTo>
                    <a:lnTo>
                      <a:pt x="1231" y="311"/>
                    </a:lnTo>
                    <a:lnTo>
                      <a:pt x="1231" y="314"/>
                    </a:lnTo>
                    <a:lnTo>
                      <a:pt x="1229" y="320"/>
                    </a:lnTo>
                    <a:lnTo>
                      <a:pt x="1228" y="322"/>
                    </a:lnTo>
                    <a:lnTo>
                      <a:pt x="1231" y="328"/>
                    </a:lnTo>
                    <a:lnTo>
                      <a:pt x="1229" y="329"/>
                    </a:lnTo>
                    <a:lnTo>
                      <a:pt x="1228" y="329"/>
                    </a:lnTo>
                    <a:lnTo>
                      <a:pt x="1222" y="329"/>
                    </a:lnTo>
                    <a:lnTo>
                      <a:pt x="1222" y="329"/>
                    </a:lnTo>
                    <a:lnTo>
                      <a:pt x="1218" y="329"/>
                    </a:lnTo>
                    <a:lnTo>
                      <a:pt x="1222" y="331"/>
                    </a:lnTo>
                    <a:lnTo>
                      <a:pt x="1222" y="337"/>
                    </a:lnTo>
                    <a:lnTo>
                      <a:pt x="1222" y="337"/>
                    </a:lnTo>
                    <a:lnTo>
                      <a:pt x="1226" y="331"/>
                    </a:lnTo>
                    <a:lnTo>
                      <a:pt x="1229" y="331"/>
                    </a:lnTo>
                    <a:lnTo>
                      <a:pt x="1229" y="331"/>
                    </a:lnTo>
                    <a:lnTo>
                      <a:pt x="1233" y="331"/>
                    </a:lnTo>
                    <a:lnTo>
                      <a:pt x="1237" y="331"/>
                    </a:lnTo>
                    <a:lnTo>
                      <a:pt x="1241" y="337"/>
                    </a:lnTo>
                    <a:lnTo>
                      <a:pt x="1239" y="341"/>
                    </a:lnTo>
                    <a:lnTo>
                      <a:pt x="1243" y="337"/>
                    </a:lnTo>
                    <a:lnTo>
                      <a:pt x="1248" y="335"/>
                    </a:lnTo>
                    <a:lnTo>
                      <a:pt x="1254" y="337"/>
                    </a:lnTo>
                    <a:lnTo>
                      <a:pt x="1254" y="341"/>
                    </a:lnTo>
                    <a:lnTo>
                      <a:pt x="1252" y="344"/>
                    </a:lnTo>
                    <a:lnTo>
                      <a:pt x="1252" y="350"/>
                    </a:lnTo>
                    <a:lnTo>
                      <a:pt x="1248" y="350"/>
                    </a:lnTo>
                    <a:lnTo>
                      <a:pt x="1246" y="354"/>
                    </a:lnTo>
                    <a:lnTo>
                      <a:pt x="1248" y="354"/>
                    </a:lnTo>
                    <a:lnTo>
                      <a:pt x="1252" y="354"/>
                    </a:lnTo>
                    <a:lnTo>
                      <a:pt x="1252" y="356"/>
                    </a:lnTo>
                    <a:lnTo>
                      <a:pt x="1246" y="360"/>
                    </a:lnTo>
                    <a:lnTo>
                      <a:pt x="1252" y="360"/>
                    </a:lnTo>
                    <a:lnTo>
                      <a:pt x="1252" y="356"/>
                    </a:lnTo>
                    <a:lnTo>
                      <a:pt x="1258" y="354"/>
                    </a:lnTo>
                    <a:lnTo>
                      <a:pt x="1260" y="354"/>
                    </a:lnTo>
                    <a:lnTo>
                      <a:pt x="1261" y="354"/>
                    </a:lnTo>
                    <a:lnTo>
                      <a:pt x="1263" y="354"/>
                    </a:lnTo>
                    <a:lnTo>
                      <a:pt x="1263" y="356"/>
                    </a:lnTo>
                    <a:lnTo>
                      <a:pt x="1263" y="361"/>
                    </a:lnTo>
                    <a:lnTo>
                      <a:pt x="1263" y="365"/>
                    </a:lnTo>
                    <a:lnTo>
                      <a:pt x="1258" y="373"/>
                    </a:lnTo>
                    <a:lnTo>
                      <a:pt x="1254" y="373"/>
                    </a:lnTo>
                    <a:lnTo>
                      <a:pt x="1252" y="377"/>
                    </a:lnTo>
                    <a:lnTo>
                      <a:pt x="1248" y="380"/>
                    </a:lnTo>
                    <a:lnTo>
                      <a:pt x="1246" y="384"/>
                    </a:lnTo>
                    <a:lnTo>
                      <a:pt x="1243" y="382"/>
                    </a:lnTo>
                    <a:lnTo>
                      <a:pt x="1246" y="377"/>
                    </a:lnTo>
                    <a:lnTo>
                      <a:pt x="1246" y="373"/>
                    </a:lnTo>
                    <a:lnTo>
                      <a:pt x="1246" y="373"/>
                    </a:lnTo>
                    <a:lnTo>
                      <a:pt x="1243" y="373"/>
                    </a:lnTo>
                    <a:lnTo>
                      <a:pt x="1241" y="378"/>
                    </a:lnTo>
                    <a:lnTo>
                      <a:pt x="1237" y="380"/>
                    </a:lnTo>
                    <a:lnTo>
                      <a:pt x="1231" y="384"/>
                    </a:lnTo>
                    <a:lnTo>
                      <a:pt x="1231" y="384"/>
                    </a:lnTo>
                    <a:lnTo>
                      <a:pt x="1228" y="384"/>
                    </a:lnTo>
                    <a:lnTo>
                      <a:pt x="1222" y="388"/>
                    </a:lnTo>
                    <a:lnTo>
                      <a:pt x="1218" y="388"/>
                    </a:lnTo>
                    <a:lnTo>
                      <a:pt x="1216" y="390"/>
                    </a:lnTo>
                    <a:lnTo>
                      <a:pt x="1212" y="390"/>
                    </a:lnTo>
                    <a:lnTo>
                      <a:pt x="1212" y="386"/>
                    </a:lnTo>
                    <a:lnTo>
                      <a:pt x="1211" y="384"/>
                    </a:lnTo>
                    <a:lnTo>
                      <a:pt x="1214" y="382"/>
                    </a:lnTo>
                    <a:lnTo>
                      <a:pt x="1216" y="378"/>
                    </a:lnTo>
                    <a:lnTo>
                      <a:pt x="1216" y="375"/>
                    </a:lnTo>
                    <a:lnTo>
                      <a:pt x="1212" y="369"/>
                    </a:lnTo>
                    <a:lnTo>
                      <a:pt x="1209" y="373"/>
                    </a:lnTo>
                    <a:lnTo>
                      <a:pt x="1205" y="371"/>
                    </a:lnTo>
                    <a:lnTo>
                      <a:pt x="1203" y="369"/>
                    </a:lnTo>
                    <a:lnTo>
                      <a:pt x="1205" y="365"/>
                    </a:lnTo>
                    <a:lnTo>
                      <a:pt x="1209" y="363"/>
                    </a:lnTo>
                    <a:lnTo>
                      <a:pt x="1207" y="363"/>
                    </a:lnTo>
                    <a:lnTo>
                      <a:pt x="1203" y="361"/>
                    </a:lnTo>
                    <a:lnTo>
                      <a:pt x="1201" y="356"/>
                    </a:lnTo>
                    <a:lnTo>
                      <a:pt x="1203" y="354"/>
                    </a:lnTo>
                    <a:lnTo>
                      <a:pt x="1203" y="350"/>
                    </a:lnTo>
                    <a:lnTo>
                      <a:pt x="1201" y="346"/>
                    </a:lnTo>
                    <a:lnTo>
                      <a:pt x="1201" y="350"/>
                    </a:lnTo>
                    <a:lnTo>
                      <a:pt x="1197" y="356"/>
                    </a:lnTo>
                    <a:lnTo>
                      <a:pt x="1201" y="363"/>
                    </a:lnTo>
                    <a:lnTo>
                      <a:pt x="1201" y="365"/>
                    </a:lnTo>
                    <a:lnTo>
                      <a:pt x="1199" y="365"/>
                    </a:lnTo>
                    <a:lnTo>
                      <a:pt x="1199" y="371"/>
                    </a:lnTo>
                    <a:lnTo>
                      <a:pt x="1197" y="373"/>
                    </a:lnTo>
                    <a:lnTo>
                      <a:pt x="1194" y="371"/>
                    </a:lnTo>
                    <a:lnTo>
                      <a:pt x="1192" y="371"/>
                    </a:lnTo>
                    <a:lnTo>
                      <a:pt x="1188" y="369"/>
                    </a:lnTo>
                    <a:lnTo>
                      <a:pt x="1188" y="369"/>
                    </a:lnTo>
                    <a:lnTo>
                      <a:pt x="1192" y="361"/>
                    </a:lnTo>
                    <a:lnTo>
                      <a:pt x="1188" y="356"/>
                    </a:lnTo>
                    <a:lnTo>
                      <a:pt x="1192" y="354"/>
                    </a:lnTo>
                    <a:lnTo>
                      <a:pt x="1194" y="350"/>
                    </a:lnTo>
                    <a:lnTo>
                      <a:pt x="1188" y="350"/>
                    </a:lnTo>
                    <a:lnTo>
                      <a:pt x="1188" y="354"/>
                    </a:lnTo>
                    <a:lnTo>
                      <a:pt x="1188" y="360"/>
                    </a:lnTo>
                    <a:lnTo>
                      <a:pt x="1188" y="363"/>
                    </a:lnTo>
                    <a:lnTo>
                      <a:pt x="1184" y="369"/>
                    </a:lnTo>
                    <a:lnTo>
                      <a:pt x="1182" y="369"/>
                    </a:lnTo>
                    <a:lnTo>
                      <a:pt x="1179" y="365"/>
                    </a:lnTo>
                    <a:lnTo>
                      <a:pt x="1179" y="363"/>
                    </a:lnTo>
                    <a:lnTo>
                      <a:pt x="1177" y="363"/>
                    </a:lnTo>
                    <a:lnTo>
                      <a:pt x="1177" y="360"/>
                    </a:lnTo>
                    <a:lnTo>
                      <a:pt x="1179" y="356"/>
                    </a:lnTo>
                    <a:lnTo>
                      <a:pt x="1180" y="354"/>
                    </a:lnTo>
                    <a:lnTo>
                      <a:pt x="1179" y="350"/>
                    </a:lnTo>
                    <a:lnTo>
                      <a:pt x="1177" y="350"/>
                    </a:lnTo>
                    <a:lnTo>
                      <a:pt x="1177" y="352"/>
                    </a:lnTo>
                    <a:lnTo>
                      <a:pt x="1177" y="356"/>
                    </a:lnTo>
                    <a:lnTo>
                      <a:pt x="1175" y="356"/>
                    </a:lnTo>
                    <a:lnTo>
                      <a:pt x="1173" y="361"/>
                    </a:lnTo>
                    <a:lnTo>
                      <a:pt x="1173" y="363"/>
                    </a:lnTo>
                    <a:lnTo>
                      <a:pt x="1169" y="363"/>
                    </a:lnTo>
                    <a:lnTo>
                      <a:pt x="1169" y="363"/>
                    </a:lnTo>
                    <a:lnTo>
                      <a:pt x="1167" y="365"/>
                    </a:lnTo>
                    <a:lnTo>
                      <a:pt x="1167" y="365"/>
                    </a:lnTo>
                    <a:lnTo>
                      <a:pt x="1167" y="365"/>
                    </a:lnTo>
                    <a:lnTo>
                      <a:pt x="1167" y="365"/>
                    </a:lnTo>
                    <a:close/>
                    <a:moveTo>
                      <a:pt x="1267" y="913"/>
                    </a:moveTo>
                    <a:lnTo>
                      <a:pt x="1267" y="921"/>
                    </a:lnTo>
                    <a:lnTo>
                      <a:pt x="1265" y="925"/>
                    </a:lnTo>
                    <a:lnTo>
                      <a:pt x="1267" y="928"/>
                    </a:lnTo>
                    <a:lnTo>
                      <a:pt x="1267" y="927"/>
                    </a:lnTo>
                    <a:lnTo>
                      <a:pt x="1267" y="923"/>
                    </a:lnTo>
                    <a:lnTo>
                      <a:pt x="1267" y="919"/>
                    </a:lnTo>
                    <a:lnTo>
                      <a:pt x="1267" y="915"/>
                    </a:lnTo>
                    <a:lnTo>
                      <a:pt x="1267" y="913"/>
                    </a:lnTo>
                    <a:lnTo>
                      <a:pt x="1267" y="913"/>
                    </a:lnTo>
                    <a:lnTo>
                      <a:pt x="1267" y="913"/>
                    </a:lnTo>
                    <a:lnTo>
                      <a:pt x="1267" y="913"/>
                    </a:lnTo>
                    <a:close/>
                    <a:moveTo>
                      <a:pt x="1263" y="895"/>
                    </a:moveTo>
                    <a:lnTo>
                      <a:pt x="1261" y="893"/>
                    </a:lnTo>
                    <a:lnTo>
                      <a:pt x="1263" y="891"/>
                    </a:lnTo>
                    <a:lnTo>
                      <a:pt x="1265" y="893"/>
                    </a:lnTo>
                    <a:lnTo>
                      <a:pt x="1265" y="895"/>
                    </a:lnTo>
                    <a:lnTo>
                      <a:pt x="1263" y="895"/>
                    </a:lnTo>
                    <a:lnTo>
                      <a:pt x="1263" y="895"/>
                    </a:lnTo>
                    <a:lnTo>
                      <a:pt x="1263" y="895"/>
                    </a:lnTo>
                    <a:lnTo>
                      <a:pt x="1263" y="895"/>
                    </a:lnTo>
                    <a:close/>
                    <a:moveTo>
                      <a:pt x="1258" y="883"/>
                    </a:moveTo>
                    <a:lnTo>
                      <a:pt x="1260" y="879"/>
                    </a:lnTo>
                    <a:lnTo>
                      <a:pt x="1263" y="879"/>
                    </a:lnTo>
                    <a:lnTo>
                      <a:pt x="1263" y="879"/>
                    </a:lnTo>
                    <a:lnTo>
                      <a:pt x="1261" y="883"/>
                    </a:lnTo>
                    <a:lnTo>
                      <a:pt x="1260" y="883"/>
                    </a:lnTo>
                    <a:lnTo>
                      <a:pt x="1258" y="883"/>
                    </a:lnTo>
                    <a:lnTo>
                      <a:pt x="1258" y="883"/>
                    </a:lnTo>
                    <a:lnTo>
                      <a:pt x="1258" y="883"/>
                    </a:lnTo>
                    <a:lnTo>
                      <a:pt x="1258" y="883"/>
                    </a:lnTo>
                    <a:close/>
                    <a:moveTo>
                      <a:pt x="1228" y="606"/>
                    </a:moveTo>
                    <a:lnTo>
                      <a:pt x="1228" y="603"/>
                    </a:lnTo>
                    <a:lnTo>
                      <a:pt x="1229" y="603"/>
                    </a:lnTo>
                    <a:lnTo>
                      <a:pt x="1229" y="606"/>
                    </a:lnTo>
                    <a:lnTo>
                      <a:pt x="1228" y="606"/>
                    </a:lnTo>
                    <a:lnTo>
                      <a:pt x="1228" y="606"/>
                    </a:lnTo>
                    <a:lnTo>
                      <a:pt x="1228" y="606"/>
                    </a:lnTo>
                    <a:lnTo>
                      <a:pt x="1228" y="606"/>
                    </a:lnTo>
                    <a:close/>
                    <a:moveTo>
                      <a:pt x="1233" y="608"/>
                    </a:moveTo>
                    <a:lnTo>
                      <a:pt x="1233" y="606"/>
                    </a:lnTo>
                    <a:lnTo>
                      <a:pt x="1233" y="603"/>
                    </a:lnTo>
                    <a:lnTo>
                      <a:pt x="1235" y="603"/>
                    </a:lnTo>
                    <a:lnTo>
                      <a:pt x="1237" y="606"/>
                    </a:lnTo>
                    <a:lnTo>
                      <a:pt x="1235" y="608"/>
                    </a:lnTo>
                    <a:lnTo>
                      <a:pt x="1233" y="608"/>
                    </a:lnTo>
                    <a:lnTo>
                      <a:pt x="1233" y="608"/>
                    </a:lnTo>
                    <a:lnTo>
                      <a:pt x="1233" y="608"/>
                    </a:lnTo>
                    <a:lnTo>
                      <a:pt x="1233" y="608"/>
                    </a:lnTo>
                    <a:close/>
                    <a:moveTo>
                      <a:pt x="1228" y="618"/>
                    </a:moveTo>
                    <a:lnTo>
                      <a:pt x="1226" y="616"/>
                    </a:lnTo>
                    <a:lnTo>
                      <a:pt x="1226" y="614"/>
                    </a:lnTo>
                    <a:lnTo>
                      <a:pt x="1226" y="612"/>
                    </a:lnTo>
                    <a:lnTo>
                      <a:pt x="1228" y="608"/>
                    </a:lnTo>
                    <a:lnTo>
                      <a:pt x="1229" y="612"/>
                    </a:lnTo>
                    <a:lnTo>
                      <a:pt x="1231" y="612"/>
                    </a:lnTo>
                    <a:lnTo>
                      <a:pt x="1233" y="612"/>
                    </a:lnTo>
                    <a:lnTo>
                      <a:pt x="1229" y="614"/>
                    </a:lnTo>
                    <a:lnTo>
                      <a:pt x="1228" y="618"/>
                    </a:lnTo>
                    <a:lnTo>
                      <a:pt x="1228" y="618"/>
                    </a:lnTo>
                    <a:lnTo>
                      <a:pt x="1228" y="618"/>
                    </a:lnTo>
                    <a:lnTo>
                      <a:pt x="1228" y="618"/>
                    </a:lnTo>
                    <a:lnTo>
                      <a:pt x="1228" y="618"/>
                    </a:lnTo>
                    <a:close/>
                    <a:moveTo>
                      <a:pt x="1282" y="701"/>
                    </a:moveTo>
                    <a:lnTo>
                      <a:pt x="1284" y="701"/>
                    </a:lnTo>
                    <a:lnTo>
                      <a:pt x="1288" y="701"/>
                    </a:lnTo>
                    <a:lnTo>
                      <a:pt x="1286" y="701"/>
                    </a:lnTo>
                    <a:lnTo>
                      <a:pt x="1284" y="701"/>
                    </a:lnTo>
                    <a:lnTo>
                      <a:pt x="1282" y="701"/>
                    </a:lnTo>
                    <a:lnTo>
                      <a:pt x="1282" y="701"/>
                    </a:lnTo>
                    <a:lnTo>
                      <a:pt x="1282" y="701"/>
                    </a:lnTo>
                    <a:lnTo>
                      <a:pt x="1282" y="701"/>
                    </a:lnTo>
                    <a:close/>
                    <a:moveTo>
                      <a:pt x="1276" y="701"/>
                    </a:moveTo>
                    <a:lnTo>
                      <a:pt x="1276" y="697"/>
                    </a:lnTo>
                    <a:lnTo>
                      <a:pt x="1280" y="697"/>
                    </a:lnTo>
                    <a:lnTo>
                      <a:pt x="1280" y="697"/>
                    </a:lnTo>
                    <a:lnTo>
                      <a:pt x="1282" y="697"/>
                    </a:lnTo>
                    <a:lnTo>
                      <a:pt x="1280" y="701"/>
                    </a:lnTo>
                    <a:lnTo>
                      <a:pt x="1276" y="701"/>
                    </a:lnTo>
                    <a:lnTo>
                      <a:pt x="1276" y="701"/>
                    </a:lnTo>
                    <a:lnTo>
                      <a:pt x="1276" y="701"/>
                    </a:lnTo>
                    <a:lnTo>
                      <a:pt x="1276" y="701"/>
                    </a:lnTo>
                    <a:lnTo>
                      <a:pt x="1276" y="701"/>
                    </a:lnTo>
                    <a:close/>
                    <a:moveTo>
                      <a:pt x="1265" y="738"/>
                    </a:moveTo>
                    <a:lnTo>
                      <a:pt x="1267" y="740"/>
                    </a:lnTo>
                    <a:lnTo>
                      <a:pt x="1271" y="738"/>
                    </a:lnTo>
                    <a:lnTo>
                      <a:pt x="1267" y="738"/>
                    </a:lnTo>
                    <a:lnTo>
                      <a:pt x="1265" y="738"/>
                    </a:lnTo>
                    <a:lnTo>
                      <a:pt x="1265" y="738"/>
                    </a:lnTo>
                    <a:lnTo>
                      <a:pt x="1265" y="738"/>
                    </a:lnTo>
                    <a:lnTo>
                      <a:pt x="1265" y="738"/>
                    </a:lnTo>
                    <a:close/>
                    <a:moveTo>
                      <a:pt x="1280" y="755"/>
                    </a:moveTo>
                    <a:lnTo>
                      <a:pt x="1284" y="757"/>
                    </a:lnTo>
                    <a:lnTo>
                      <a:pt x="1286" y="755"/>
                    </a:lnTo>
                    <a:lnTo>
                      <a:pt x="1284" y="755"/>
                    </a:lnTo>
                    <a:lnTo>
                      <a:pt x="1282" y="755"/>
                    </a:lnTo>
                    <a:lnTo>
                      <a:pt x="1282" y="755"/>
                    </a:lnTo>
                    <a:lnTo>
                      <a:pt x="1280" y="755"/>
                    </a:lnTo>
                    <a:lnTo>
                      <a:pt x="1280" y="755"/>
                    </a:lnTo>
                    <a:lnTo>
                      <a:pt x="1280" y="755"/>
                    </a:lnTo>
                    <a:lnTo>
                      <a:pt x="1280" y="755"/>
                    </a:lnTo>
                    <a:close/>
                    <a:moveTo>
                      <a:pt x="1310" y="781"/>
                    </a:moveTo>
                    <a:lnTo>
                      <a:pt x="1310" y="780"/>
                    </a:lnTo>
                    <a:lnTo>
                      <a:pt x="1310" y="778"/>
                    </a:lnTo>
                    <a:lnTo>
                      <a:pt x="1312" y="780"/>
                    </a:lnTo>
                    <a:lnTo>
                      <a:pt x="1312" y="781"/>
                    </a:lnTo>
                    <a:lnTo>
                      <a:pt x="1310" y="781"/>
                    </a:lnTo>
                    <a:lnTo>
                      <a:pt x="1310" y="781"/>
                    </a:lnTo>
                    <a:lnTo>
                      <a:pt x="1310" y="781"/>
                    </a:lnTo>
                    <a:lnTo>
                      <a:pt x="1310" y="781"/>
                    </a:lnTo>
                    <a:lnTo>
                      <a:pt x="1310" y="781"/>
                    </a:lnTo>
                    <a:close/>
                    <a:moveTo>
                      <a:pt x="1322" y="800"/>
                    </a:moveTo>
                    <a:lnTo>
                      <a:pt x="1322" y="797"/>
                    </a:lnTo>
                    <a:lnTo>
                      <a:pt x="1325" y="795"/>
                    </a:lnTo>
                    <a:lnTo>
                      <a:pt x="1329" y="795"/>
                    </a:lnTo>
                    <a:lnTo>
                      <a:pt x="1331" y="795"/>
                    </a:lnTo>
                    <a:lnTo>
                      <a:pt x="1325" y="798"/>
                    </a:lnTo>
                    <a:lnTo>
                      <a:pt x="1325" y="800"/>
                    </a:lnTo>
                    <a:lnTo>
                      <a:pt x="1325" y="800"/>
                    </a:lnTo>
                    <a:lnTo>
                      <a:pt x="1322" y="800"/>
                    </a:lnTo>
                    <a:lnTo>
                      <a:pt x="1322" y="800"/>
                    </a:lnTo>
                    <a:lnTo>
                      <a:pt x="1322" y="800"/>
                    </a:lnTo>
                    <a:lnTo>
                      <a:pt x="1322" y="800"/>
                    </a:lnTo>
                    <a:close/>
                    <a:moveTo>
                      <a:pt x="1222" y="405"/>
                    </a:moveTo>
                    <a:lnTo>
                      <a:pt x="1222" y="399"/>
                    </a:lnTo>
                    <a:lnTo>
                      <a:pt x="1222" y="399"/>
                    </a:lnTo>
                    <a:lnTo>
                      <a:pt x="1226" y="395"/>
                    </a:lnTo>
                    <a:lnTo>
                      <a:pt x="1233" y="390"/>
                    </a:lnTo>
                    <a:lnTo>
                      <a:pt x="1237" y="390"/>
                    </a:lnTo>
                    <a:lnTo>
                      <a:pt x="1235" y="395"/>
                    </a:lnTo>
                    <a:lnTo>
                      <a:pt x="1229" y="399"/>
                    </a:lnTo>
                    <a:lnTo>
                      <a:pt x="1228" y="401"/>
                    </a:lnTo>
                    <a:lnTo>
                      <a:pt x="1229" y="403"/>
                    </a:lnTo>
                    <a:lnTo>
                      <a:pt x="1229" y="405"/>
                    </a:lnTo>
                    <a:lnTo>
                      <a:pt x="1228" y="405"/>
                    </a:lnTo>
                    <a:lnTo>
                      <a:pt x="1226" y="401"/>
                    </a:lnTo>
                    <a:lnTo>
                      <a:pt x="1224" y="403"/>
                    </a:lnTo>
                    <a:lnTo>
                      <a:pt x="1222" y="405"/>
                    </a:lnTo>
                    <a:lnTo>
                      <a:pt x="1222" y="405"/>
                    </a:lnTo>
                    <a:lnTo>
                      <a:pt x="1222" y="405"/>
                    </a:lnTo>
                    <a:lnTo>
                      <a:pt x="1222" y="405"/>
                    </a:lnTo>
                    <a:lnTo>
                      <a:pt x="1222" y="405"/>
                    </a:lnTo>
                    <a:close/>
                    <a:moveTo>
                      <a:pt x="1203" y="388"/>
                    </a:moveTo>
                    <a:lnTo>
                      <a:pt x="1203" y="388"/>
                    </a:lnTo>
                    <a:lnTo>
                      <a:pt x="1205" y="390"/>
                    </a:lnTo>
                    <a:lnTo>
                      <a:pt x="1207" y="390"/>
                    </a:lnTo>
                    <a:lnTo>
                      <a:pt x="1209" y="388"/>
                    </a:lnTo>
                    <a:lnTo>
                      <a:pt x="1207" y="386"/>
                    </a:lnTo>
                    <a:lnTo>
                      <a:pt x="1203" y="388"/>
                    </a:lnTo>
                    <a:lnTo>
                      <a:pt x="1203" y="388"/>
                    </a:lnTo>
                    <a:lnTo>
                      <a:pt x="1203" y="388"/>
                    </a:lnTo>
                    <a:lnTo>
                      <a:pt x="1203" y="388"/>
                    </a:lnTo>
                    <a:close/>
                    <a:moveTo>
                      <a:pt x="1105" y="344"/>
                    </a:moveTo>
                    <a:lnTo>
                      <a:pt x="1100" y="341"/>
                    </a:lnTo>
                    <a:lnTo>
                      <a:pt x="1100" y="337"/>
                    </a:lnTo>
                    <a:lnTo>
                      <a:pt x="1100" y="331"/>
                    </a:lnTo>
                    <a:lnTo>
                      <a:pt x="1098" y="329"/>
                    </a:lnTo>
                    <a:lnTo>
                      <a:pt x="1098" y="326"/>
                    </a:lnTo>
                    <a:lnTo>
                      <a:pt x="1098" y="324"/>
                    </a:lnTo>
                    <a:lnTo>
                      <a:pt x="1101" y="322"/>
                    </a:lnTo>
                    <a:lnTo>
                      <a:pt x="1105" y="326"/>
                    </a:lnTo>
                    <a:lnTo>
                      <a:pt x="1109" y="329"/>
                    </a:lnTo>
                    <a:lnTo>
                      <a:pt x="1105" y="335"/>
                    </a:lnTo>
                    <a:lnTo>
                      <a:pt x="1105" y="337"/>
                    </a:lnTo>
                    <a:lnTo>
                      <a:pt x="1105" y="339"/>
                    </a:lnTo>
                    <a:lnTo>
                      <a:pt x="1105" y="344"/>
                    </a:lnTo>
                    <a:lnTo>
                      <a:pt x="1105" y="344"/>
                    </a:lnTo>
                    <a:lnTo>
                      <a:pt x="1105" y="344"/>
                    </a:lnTo>
                    <a:lnTo>
                      <a:pt x="1105" y="344"/>
                    </a:lnTo>
                    <a:lnTo>
                      <a:pt x="1105" y="344"/>
                    </a:lnTo>
                    <a:close/>
                    <a:moveTo>
                      <a:pt x="1103" y="137"/>
                    </a:moveTo>
                    <a:lnTo>
                      <a:pt x="1105" y="134"/>
                    </a:lnTo>
                    <a:lnTo>
                      <a:pt x="1109" y="128"/>
                    </a:lnTo>
                    <a:lnTo>
                      <a:pt x="1109" y="124"/>
                    </a:lnTo>
                    <a:lnTo>
                      <a:pt x="1115" y="122"/>
                    </a:lnTo>
                    <a:lnTo>
                      <a:pt x="1118" y="118"/>
                    </a:lnTo>
                    <a:lnTo>
                      <a:pt x="1115" y="115"/>
                    </a:lnTo>
                    <a:lnTo>
                      <a:pt x="1111" y="115"/>
                    </a:lnTo>
                    <a:lnTo>
                      <a:pt x="1109" y="115"/>
                    </a:lnTo>
                    <a:lnTo>
                      <a:pt x="1109" y="111"/>
                    </a:lnTo>
                    <a:lnTo>
                      <a:pt x="1109" y="111"/>
                    </a:lnTo>
                    <a:lnTo>
                      <a:pt x="1105" y="115"/>
                    </a:lnTo>
                    <a:lnTo>
                      <a:pt x="1100" y="117"/>
                    </a:lnTo>
                    <a:lnTo>
                      <a:pt x="1098" y="118"/>
                    </a:lnTo>
                    <a:lnTo>
                      <a:pt x="1096" y="122"/>
                    </a:lnTo>
                    <a:lnTo>
                      <a:pt x="1096" y="122"/>
                    </a:lnTo>
                    <a:lnTo>
                      <a:pt x="1100" y="124"/>
                    </a:lnTo>
                    <a:lnTo>
                      <a:pt x="1103" y="122"/>
                    </a:lnTo>
                    <a:lnTo>
                      <a:pt x="1103" y="128"/>
                    </a:lnTo>
                    <a:lnTo>
                      <a:pt x="1100" y="132"/>
                    </a:lnTo>
                    <a:lnTo>
                      <a:pt x="1100" y="134"/>
                    </a:lnTo>
                    <a:lnTo>
                      <a:pt x="1101" y="134"/>
                    </a:lnTo>
                    <a:lnTo>
                      <a:pt x="1103" y="137"/>
                    </a:lnTo>
                    <a:lnTo>
                      <a:pt x="1103" y="137"/>
                    </a:lnTo>
                    <a:lnTo>
                      <a:pt x="1103" y="137"/>
                    </a:lnTo>
                    <a:lnTo>
                      <a:pt x="1103" y="137"/>
                    </a:lnTo>
                    <a:close/>
                    <a:moveTo>
                      <a:pt x="1056" y="250"/>
                    </a:moveTo>
                    <a:lnTo>
                      <a:pt x="1056" y="247"/>
                    </a:lnTo>
                    <a:lnTo>
                      <a:pt x="1056" y="243"/>
                    </a:lnTo>
                    <a:lnTo>
                      <a:pt x="1056" y="241"/>
                    </a:lnTo>
                    <a:lnTo>
                      <a:pt x="1056" y="235"/>
                    </a:lnTo>
                    <a:lnTo>
                      <a:pt x="1051" y="233"/>
                    </a:lnTo>
                    <a:lnTo>
                      <a:pt x="1054" y="231"/>
                    </a:lnTo>
                    <a:lnTo>
                      <a:pt x="1054" y="228"/>
                    </a:lnTo>
                    <a:lnTo>
                      <a:pt x="1060" y="230"/>
                    </a:lnTo>
                    <a:lnTo>
                      <a:pt x="1062" y="231"/>
                    </a:lnTo>
                    <a:lnTo>
                      <a:pt x="1064" y="233"/>
                    </a:lnTo>
                    <a:lnTo>
                      <a:pt x="1064" y="230"/>
                    </a:lnTo>
                    <a:lnTo>
                      <a:pt x="1060" y="226"/>
                    </a:lnTo>
                    <a:lnTo>
                      <a:pt x="1056" y="220"/>
                    </a:lnTo>
                    <a:lnTo>
                      <a:pt x="1056" y="218"/>
                    </a:lnTo>
                    <a:lnTo>
                      <a:pt x="1060" y="218"/>
                    </a:lnTo>
                    <a:lnTo>
                      <a:pt x="1056" y="216"/>
                    </a:lnTo>
                    <a:lnTo>
                      <a:pt x="1060" y="213"/>
                    </a:lnTo>
                    <a:lnTo>
                      <a:pt x="1060" y="207"/>
                    </a:lnTo>
                    <a:lnTo>
                      <a:pt x="1062" y="201"/>
                    </a:lnTo>
                    <a:lnTo>
                      <a:pt x="1064" y="201"/>
                    </a:lnTo>
                    <a:lnTo>
                      <a:pt x="1068" y="199"/>
                    </a:lnTo>
                    <a:lnTo>
                      <a:pt x="1068" y="194"/>
                    </a:lnTo>
                    <a:lnTo>
                      <a:pt x="1069" y="192"/>
                    </a:lnTo>
                    <a:lnTo>
                      <a:pt x="1075" y="188"/>
                    </a:lnTo>
                    <a:lnTo>
                      <a:pt x="1079" y="188"/>
                    </a:lnTo>
                    <a:lnTo>
                      <a:pt x="1081" y="194"/>
                    </a:lnTo>
                    <a:lnTo>
                      <a:pt x="1084" y="198"/>
                    </a:lnTo>
                    <a:lnTo>
                      <a:pt x="1084" y="201"/>
                    </a:lnTo>
                    <a:lnTo>
                      <a:pt x="1084" y="203"/>
                    </a:lnTo>
                    <a:lnTo>
                      <a:pt x="1086" y="205"/>
                    </a:lnTo>
                    <a:lnTo>
                      <a:pt x="1086" y="209"/>
                    </a:lnTo>
                    <a:lnTo>
                      <a:pt x="1088" y="211"/>
                    </a:lnTo>
                    <a:lnTo>
                      <a:pt x="1088" y="213"/>
                    </a:lnTo>
                    <a:lnTo>
                      <a:pt x="1090" y="216"/>
                    </a:lnTo>
                    <a:lnTo>
                      <a:pt x="1094" y="216"/>
                    </a:lnTo>
                    <a:lnTo>
                      <a:pt x="1094" y="216"/>
                    </a:lnTo>
                    <a:lnTo>
                      <a:pt x="1096" y="220"/>
                    </a:lnTo>
                    <a:lnTo>
                      <a:pt x="1098" y="228"/>
                    </a:lnTo>
                    <a:lnTo>
                      <a:pt x="1094" y="231"/>
                    </a:lnTo>
                    <a:lnTo>
                      <a:pt x="1092" y="233"/>
                    </a:lnTo>
                    <a:lnTo>
                      <a:pt x="1088" y="233"/>
                    </a:lnTo>
                    <a:lnTo>
                      <a:pt x="1086" y="233"/>
                    </a:lnTo>
                    <a:lnTo>
                      <a:pt x="1088" y="235"/>
                    </a:lnTo>
                    <a:lnTo>
                      <a:pt x="1090" y="235"/>
                    </a:lnTo>
                    <a:lnTo>
                      <a:pt x="1090" y="243"/>
                    </a:lnTo>
                    <a:lnTo>
                      <a:pt x="1090" y="247"/>
                    </a:lnTo>
                    <a:lnTo>
                      <a:pt x="1084" y="250"/>
                    </a:lnTo>
                    <a:lnTo>
                      <a:pt x="1081" y="250"/>
                    </a:lnTo>
                    <a:lnTo>
                      <a:pt x="1081" y="250"/>
                    </a:lnTo>
                    <a:lnTo>
                      <a:pt x="1081" y="247"/>
                    </a:lnTo>
                    <a:lnTo>
                      <a:pt x="1079" y="247"/>
                    </a:lnTo>
                    <a:lnTo>
                      <a:pt x="1075" y="250"/>
                    </a:lnTo>
                    <a:lnTo>
                      <a:pt x="1071" y="247"/>
                    </a:lnTo>
                    <a:lnTo>
                      <a:pt x="1066" y="250"/>
                    </a:lnTo>
                    <a:lnTo>
                      <a:pt x="1062" y="250"/>
                    </a:lnTo>
                    <a:lnTo>
                      <a:pt x="1062" y="247"/>
                    </a:lnTo>
                    <a:lnTo>
                      <a:pt x="1060" y="247"/>
                    </a:lnTo>
                    <a:lnTo>
                      <a:pt x="1060" y="247"/>
                    </a:lnTo>
                    <a:lnTo>
                      <a:pt x="1056" y="250"/>
                    </a:lnTo>
                    <a:lnTo>
                      <a:pt x="1056" y="250"/>
                    </a:lnTo>
                    <a:lnTo>
                      <a:pt x="1056" y="250"/>
                    </a:lnTo>
                    <a:lnTo>
                      <a:pt x="1056" y="250"/>
                    </a:lnTo>
                    <a:close/>
                    <a:moveTo>
                      <a:pt x="1098" y="243"/>
                    </a:moveTo>
                    <a:lnTo>
                      <a:pt x="1100" y="243"/>
                    </a:lnTo>
                    <a:lnTo>
                      <a:pt x="1100" y="241"/>
                    </a:lnTo>
                    <a:lnTo>
                      <a:pt x="1100" y="233"/>
                    </a:lnTo>
                    <a:lnTo>
                      <a:pt x="1098" y="233"/>
                    </a:lnTo>
                    <a:lnTo>
                      <a:pt x="1096" y="237"/>
                    </a:lnTo>
                    <a:lnTo>
                      <a:pt x="1096" y="241"/>
                    </a:lnTo>
                    <a:lnTo>
                      <a:pt x="1098" y="243"/>
                    </a:lnTo>
                    <a:lnTo>
                      <a:pt x="1098" y="243"/>
                    </a:lnTo>
                    <a:lnTo>
                      <a:pt x="1098" y="243"/>
                    </a:lnTo>
                    <a:lnTo>
                      <a:pt x="1098" y="243"/>
                    </a:lnTo>
                    <a:close/>
                    <a:moveTo>
                      <a:pt x="1111" y="299"/>
                    </a:moveTo>
                    <a:lnTo>
                      <a:pt x="1111" y="301"/>
                    </a:lnTo>
                    <a:lnTo>
                      <a:pt x="1115" y="305"/>
                    </a:lnTo>
                    <a:lnTo>
                      <a:pt x="1118" y="305"/>
                    </a:lnTo>
                    <a:lnTo>
                      <a:pt x="1122" y="305"/>
                    </a:lnTo>
                    <a:lnTo>
                      <a:pt x="1126" y="297"/>
                    </a:lnTo>
                    <a:lnTo>
                      <a:pt x="1126" y="296"/>
                    </a:lnTo>
                    <a:lnTo>
                      <a:pt x="1124" y="294"/>
                    </a:lnTo>
                    <a:lnTo>
                      <a:pt x="1126" y="292"/>
                    </a:lnTo>
                    <a:lnTo>
                      <a:pt x="1124" y="290"/>
                    </a:lnTo>
                    <a:lnTo>
                      <a:pt x="1120" y="290"/>
                    </a:lnTo>
                    <a:lnTo>
                      <a:pt x="1118" y="284"/>
                    </a:lnTo>
                    <a:lnTo>
                      <a:pt x="1115" y="284"/>
                    </a:lnTo>
                    <a:lnTo>
                      <a:pt x="1111" y="288"/>
                    </a:lnTo>
                    <a:lnTo>
                      <a:pt x="1111" y="292"/>
                    </a:lnTo>
                    <a:lnTo>
                      <a:pt x="1109" y="296"/>
                    </a:lnTo>
                    <a:lnTo>
                      <a:pt x="1111" y="299"/>
                    </a:lnTo>
                    <a:lnTo>
                      <a:pt x="1111" y="299"/>
                    </a:lnTo>
                    <a:lnTo>
                      <a:pt x="1111" y="299"/>
                    </a:lnTo>
                    <a:lnTo>
                      <a:pt x="1111" y="299"/>
                    </a:lnTo>
                    <a:close/>
                    <a:moveTo>
                      <a:pt x="1105" y="301"/>
                    </a:moveTo>
                    <a:lnTo>
                      <a:pt x="1105" y="301"/>
                    </a:lnTo>
                    <a:lnTo>
                      <a:pt x="1105" y="305"/>
                    </a:lnTo>
                    <a:lnTo>
                      <a:pt x="1109" y="307"/>
                    </a:lnTo>
                    <a:lnTo>
                      <a:pt x="1109" y="305"/>
                    </a:lnTo>
                    <a:lnTo>
                      <a:pt x="1109" y="305"/>
                    </a:lnTo>
                    <a:lnTo>
                      <a:pt x="1109" y="301"/>
                    </a:lnTo>
                    <a:lnTo>
                      <a:pt x="1109" y="301"/>
                    </a:lnTo>
                    <a:lnTo>
                      <a:pt x="1105" y="301"/>
                    </a:lnTo>
                    <a:lnTo>
                      <a:pt x="1105" y="301"/>
                    </a:lnTo>
                    <a:lnTo>
                      <a:pt x="1105" y="301"/>
                    </a:lnTo>
                    <a:lnTo>
                      <a:pt x="1105" y="301"/>
                    </a:lnTo>
                    <a:close/>
                    <a:moveTo>
                      <a:pt x="1051" y="271"/>
                    </a:moveTo>
                    <a:lnTo>
                      <a:pt x="1051" y="267"/>
                    </a:lnTo>
                    <a:lnTo>
                      <a:pt x="1054" y="262"/>
                    </a:lnTo>
                    <a:lnTo>
                      <a:pt x="1056" y="258"/>
                    </a:lnTo>
                    <a:lnTo>
                      <a:pt x="1060" y="258"/>
                    </a:lnTo>
                    <a:lnTo>
                      <a:pt x="1062" y="258"/>
                    </a:lnTo>
                    <a:lnTo>
                      <a:pt x="1066" y="258"/>
                    </a:lnTo>
                    <a:lnTo>
                      <a:pt x="1068" y="258"/>
                    </a:lnTo>
                    <a:lnTo>
                      <a:pt x="1071" y="258"/>
                    </a:lnTo>
                    <a:lnTo>
                      <a:pt x="1071" y="260"/>
                    </a:lnTo>
                    <a:lnTo>
                      <a:pt x="1075" y="262"/>
                    </a:lnTo>
                    <a:lnTo>
                      <a:pt x="1075" y="260"/>
                    </a:lnTo>
                    <a:lnTo>
                      <a:pt x="1079" y="262"/>
                    </a:lnTo>
                    <a:lnTo>
                      <a:pt x="1081" y="262"/>
                    </a:lnTo>
                    <a:lnTo>
                      <a:pt x="1084" y="267"/>
                    </a:lnTo>
                    <a:lnTo>
                      <a:pt x="1086" y="267"/>
                    </a:lnTo>
                    <a:lnTo>
                      <a:pt x="1084" y="269"/>
                    </a:lnTo>
                    <a:lnTo>
                      <a:pt x="1086" y="271"/>
                    </a:lnTo>
                    <a:lnTo>
                      <a:pt x="1088" y="271"/>
                    </a:lnTo>
                    <a:lnTo>
                      <a:pt x="1092" y="269"/>
                    </a:lnTo>
                    <a:lnTo>
                      <a:pt x="1094" y="271"/>
                    </a:lnTo>
                    <a:lnTo>
                      <a:pt x="1096" y="275"/>
                    </a:lnTo>
                    <a:lnTo>
                      <a:pt x="1096" y="277"/>
                    </a:lnTo>
                    <a:lnTo>
                      <a:pt x="1098" y="277"/>
                    </a:lnTo>
                    <a:lnTo>
                      <a:pt x="1096" y="280"/>
                    </a:lnTo>
                    <a:lnTo>
                      <a:pt x="1090" y="280"/>
                    </a:lnTo>
                    <a:lnTo>
                      <a:pt x="1086" y="282"/>
                    </a:lnTo>
                    <a:lnTo>
                      <a:pt x="1084" y="284"/>
                    </a:lnTo>
                    <a:lnTo>
                      <a:pt x="1079" y="280"/>
                    </a:lnTo>
                    <a:lnTo>
                      <a:pt x="1073" y="280"/>
                    </a:lnTo>
                    <a:lnTo>
                      <a:pt x="1068" y="277"/>
                    </a:lnTo>
                    <a:lnTo>
                      <a:pt x="1064" y="277"/>
                    </a:lnTo>
                    <a:lnTo>
                      <a:pt x="1060" y="277"/>
                    </a:lnTo>
                    <a:lnTo>
                      <a:pt x="1060" y="271"/>
                    </a:lnTo>
                    <a:lnTo>
                      <a:pt x="1056" y="271"/>
                    </a:lnTo>
                    <a:lnTo>
                      <a:pt x="1051" y="271"/>
                    </a:lnTo>
                    <a:lnTo>
                      <a:pt x="1051" y="271"/>
                    </a:lnTo>
                    <a:lnTo>
                      <a:pt x="1051" y="271"/>
                    </a:lnTo>
                    <a:lnTo>
                      <a:pt x="1051" y="271"/>
                    </a:lnTo>
                    <a:close/>
                    <a:moveTo>
                      <a:pt x="1007" y="211"/>
                    </a:moveTo>
                    <a:lnTo>
                      <a:pt x="1007" y="209"/>
                    </a:lnTo>
                    <a:lnTo>
                      <a:pt x="1009" y="209"/>
                    </a:lnTo>
                    <a:lnTo>
                      <a:pt x="1011" y="209"/>
                    </a:lnTo>
                    <a:lnTo>
                      <a:pt x="1009" y="213"/>
                    </a:lnTo>
                    <a:lnTo>
                      <a:pt x="1007" y="213"/>
                    </a:lnTo>
                    <a:lnTo>
                      <a:pt x="1007" y="211"/>
                    </a:lnTo>
                    <a:lnTo>
                      <a:pt x="1007" y="211"/>
                    </a:lnTo>
                    <a:lnTo>
                      <a:pt x="1007" y="211"/>
                    </a:lnTo>
                    <a:lnTo>
                      <a:pt x="1007" y="211"/>
                    </a:lnTo>
                    <a:close/>
                    <a:moveTo>
                      <a:pt x="1009" y="231"/>
                    </a:moveTo>
                    <a:lnTo>
                      <a:pt x="1011" y="237"/>
                    </a:lnTo>
                    <a:lnTo>
                      <a:pt x="1015" y="241"/>
                    </a:lnTo>
                    <a:lnTo>
                      <a:pt x="1017" y="241"/>
                    </a:lnTo>
                    <a:lnTo>
                      <a:pt x="1020" y="241"/>
                    </a:lnTo>
                    <a:lnTo>
                      <a:pt x="1022" y="243"/>
                    </a:lnTo>
                    <a:lnTo>
                      <a:pt x="1024" y="243"/>
                    </a:lnTo>
                    <a:lnTo>
                      <a:pt x="1030" y="237"/>
                    </a:lnTo>
                    <a:lnTo>
                      <a:pt x="1030" y="237"/>
                    </a:lnTo>
                    <a:lnTo>
                      <a:pt x="1032" y="235"/>
                    </a:lnTo>
                    <a:lnTo>
                      <a:pt x="1036" y="230"/>
                    </a:lnTo>
                    <a:lnTo>
                      <a:pt x="1036" y="226"/>
                    </a:lnTo>
                    <a:lnTo>
                      <a:pt x="1037" y="218"/>
                    </a:lnTo>
                    <a:lnTo>
                      <a:pt x="1039" y="216"/>
                    </a:lnTo>
                    <a:lnTo>
                      <a:pt x="1037" y="213"/>
                    </a:lnTo>
                    <a:lnTo>
                      <a:pt x="1037" y="213"/>
                    </a:lnTo>
                    <a:lnTo>
                      <a:pt x="1039" y="211"/>
                    </a:lnTo>
                    <a:lnTo>
                      <a:pt x="1043" y="205"/>
                    </a:lnTo>
                    <a:lnTo>
                      <a:pt x="1045" y="205"/>
                    </a:lnTo>
                    <a:lnTo>
                      <a:pt x="1049" y="201"/>
                    </a:lnTo>
                    <a:lnTo>
                      <a:pt x="1051" y="198"/>
                    </a:lnTo>
                    <a:lnTo>
                      <a:pt x="1051" y="194"/>
                    </a:lnTo>
                    <a:lnTo>
                      <a:pt x="1051" y="192"/>
                    </a:lnTo>
                    <a:lnTo>
                      <a:pt x="1056" y="188"/>
                    </a:lnTo>
                    <a:lnTo>
                      <a:pt x="1056" y="186"/>
                    </a:lnTo>
                    <a:lnTo>
                      <a:pt x="1054" y="183"/>
                    </a:lnTo>
                    <a:lnTo>
                      <a:pt x="1054" y="179"/>
                    </a:lnTo>
                    <a:lnTo>
                      <a:pt x="1051" y="179"/>
                    </a:lnTo>
                    <a:lnTo>
                      <a:pt x="1049" y="177"/>
                    </a:lnTo>
                    <a:lnTo>
                      <a:pt x="1045" y="177"/>
                    </a:lnTo>
                    <a:lnTo>
                      <a:pt x="1043" y="173"/>
                    </a:lnTo>
                    <a:lnTo>
                      <a:pt x="1045" y="171"/>
                    </a:lnTo>
                    <a:lnTo>
                      <a:pt x="1051" y="169"/>
                    </a:lnTo>
                    <a:lnTo>
                      <a:pt x="1051" y="167"/>
                    </a:lnTo>
                    <a:lnTo>
                      <a:pt x="1049" y="164"/>
                    </a:lnTo>
                    <a:lnTo>
                      <a:pt x="1049" y="162"/>
                    </a:lnTo>
                    <a:lnTo>
                      <a:pt x="1049" y="156"/>
                    </a:lnTo>
                    <a:lnTo>
                      <a:pt x="1045" y="152"/>
                    </a:lnTo>
                    <a:lnTo>
                      <a:pt x="1043" y="152"/>
                    </a:lnTo>
                    <a:lnTo>
                      <a:pt x="1039" y="156"/>
                    </a:lnTo>
                    <a:lnTo>
                      <a:pt x="1034" y="156"/>
                    </a:lnTo>
                    <a:lnTo>
                      <a:pt x="1032" y="162"/>
                    </a:lnTo>
                    <a:lnTo>
                      <a:pt x="1030" y="162"/>
                    </a:lnTo>
                    <a:lnTo>
                      <a:pt x="1026" y="162"/>
                    </a:lnTo>
                    <a:lnTo>
                      <a:pt x="1026" y="158"/>
                    </a:lnTo>
                    <a:lnTo>
                      <a:pt x="1030" y="156"/>
                    </a:lnTo>
                    <a:lnTo>
                      <a:pt x="1032" y="156"/>
                    </a:lnTo>
                    <a:lnTo>
                      <a:pt x="1032" y="149"/>
                    </a:lnTo>
                    <a:lnTo>
                      <a:pt x="1034" y="143"/>
                    </a:lnTo>
                    <a:lnTo>
                      <a:pt x="1032" y="139"/>
                    </a:lnTo>
                    <a:lnTo>
                      <a:pt x="1030" y="137"/>
                    </a:lnTo>
                    <a:lnTo>
                      <a:pt x="1030" y="134"/>
                    </a:lnTo>
                    <a:lnTo>
                      <a:pt x="1026" y="132"/>
                    </a:lnTo>
                    <a:lnTo>
                      <a:pt x="1022" y="132"/>
                    </a:lnTo>
                    <a:lnTo>
                      <a:pt x="1017" y="132"/>
                    </a:lnTo>
                    <a:lnTo>
                      <a:pt x="1013" y="135"/>
                    </a:lnTo>
                    <a:lnTo>
                      <a:pt x="1009" y="134"/>
                    </a:lnTo>
                    <a:lnTo>
                      <a:pt x="1009" y="128"/>
                    </a:lnTo>
                    <a:lnTo>
                      <a:pt x="1009" y="128"/>
                    </a:lnTo>
                    <a:lnTo>
                      <a:pt x="1005" y="132"/>
                    </a:lnTo>
                    <a:lnTo>
                      <a:pt x="1005" y="134"/>
                    </a:lnTo>
                    <a:lnTo>
                      <a:pt x="1002" y="135"/>
                    </a:lnTo>
                    <a:lnTo>
                      <a:pt x="998" y="139"/>
                    </a:lnTo>
                    <a:lnTo>
                      <a:pt x="996" y="145"/>
                    </a:lnTo>
                    <a:lnTo>
                      <a:pt x="996" y="149"/>
                    </a:lnTo>
                    <a:lnTo>
                      <a:pt x="998" y="149"/>
                    </a:lnTo>
                    <a:lnTo>
                      <a:pt x="1002" y="149"/>
                    </a:lnTo>
                    <a:lnTo>
                      <a:pt x="1005" y="147"/>
                    </a:lnTo>
                    <a:lnTo>
                      <a:pt x="1005" y="149"/>
                    </a:lnTo>
                    <a:lnTo>
                      <a:pt x="1002" y="152"/>
                    </a:lnTo>
                    <a:lnTo>
                      <a:pt x="998" y="156"/>
                    </a:lnTo>
                    <a:lnTo>
                      <a:pt x="992" y="162"/>
                    </a:lnTo>
                    <a:lnTo>
                      <a:pt x="992" y="162"/>
                    </a:lnTo>
                    <a:lnTo>
                      <a:pt x="998" y="158"/>
                    </a:lnTo>
                    <a:lnTo>
                      <a:pt x="1005" y="156"/>
                    </a:lnTo>
                    <a:lnTo>
                      <a:pt x="1005" y="156"/>
                    </a:lnTo>
                    <a:lnTo>
                      <a:pt x="1009" y="152"/>
                    </a:lnTo>
                    <a:lnTo>
                      <a:pt x="1011" y="156"/>
                    </a:lnTo>
                    <a:lnTo>
                      <a:pt x="1009" y="162"/>
                    </a:lnTo>
                    <a:lnTo>
                      <a:pt x="1007" y="162"/>
                    </a:lnTo>
                    <a:lnTo>
                      <a:pt x="1002" y="164"/>
                    </a:lnTo>
                    <a:lnTo>
                      <a:pt x="1002" y="167"/>
                    </a:lnTo>
                    <a:lnTo>
                      <a:pt x="1002" y="169"/>
                    </a:lnTo>
                    <a:lnTo>
                      <a:pt x="1007" y="167"/>
                    </a:lnTo>
                    <a:lnTo>
                      <a:pt x="1011" y="169"/>
                    </a:lnTo>
                    <a:lnTo>
                      <a:pt x="1007" y="173"/>
                    </a:lnTo>
                    <a:lnTo>
                      <a:pt x="1002" y="173"/>
                    </a:lnTo>
                    <a:lnTo>
                      <a:pt x="998" y="173"/>
                    </a:lnTo>
                    <a:lnTo>
                      <a:pt x="998" y="177"/>
                    </a:lnTo>
                    <a:lnTo>
                      <a:pt x="1002" y="177"/>
                    </a:lnTo>
                    <a:lnTo>
                      <a:pt x="1002" y="181"/>
                    </a:lnTo>
                    <a:lnTo>
                      <a:pt x="998" y="186"/>
                    </a:lnTo>
                    <a:lnTo>
                      <a:pt x="996" y="186"/>
                    </a:lnTo>
                    <a:lnTo>
                      <a:pt x="992" y="181"/>
                    </a:lnTo>
                    <a:lnTo>
                      <a:pt x="990" y="179"/>
                    </a:lnTo>
                    <a:lnTo>
                      <a:pt x="988" y="173"/>
                    </a:lnTo>
                    <a:lnTo>
                      <a:pt x="981" y="179"/>
                    </a:lnTo>
                    <a:lnTo>
                      <a:pt x="981" y="181"/>
                    </a:lnTo>
                    <a:lnTo>
                      <a:pt x="975" y="186"/>
                    </a:lnTo>
                    <a:lnTo>
                      <a:pt x="981" y="192"/>
                    </a:lnTo>
                    <a:lnTo>
                      <a:pt x="981" y="194"/>
                    </a:lnTo>
                    <a:lnTo>
                      <a:pt x="983" y="196"/>
                    </a:lnTo>
                    <a:lnTo>
                      <a:pt x="985" y="192"/>
                    </a:lnTo>
                    <a:lnTo>
                      <a:pt x="988" y="192"/>
                    </a:lnTo>
                    <a:lnTo>
                      <a:pt x="992" y="194"/>
                    </a:lnTo>
                    <a:lnTo>
                      <a:pt x="998" y="194"/>
                    </a:lnTo>
                    <a:lnTo>
                      <a:pt x="1002" y="196"/>
                    </a:lnTo>
                    <a:lnTo>
                      <a:pt x="1005" y="194"/>
                    </a:lnTo>
                    <a:lnTo>
                      <a:pt x="1005" y="198"/>
                    </a:lnTo>
                    <a:lnTo>
                      <a:pt x="1002" y="198"/>
                    </a:lnTo>
                    <a:lnTo>
                      <a:pt x="1002" y="199"/>
                    </a:lnTo>
                    <a:lnTo>
                      <a:pt x="1002" y="203"/>
                    </a:lnTo>
                    <a:lnTo>
                      <a:pt x="1007" y="203"/>
                    </a:lnTo>
                    <a:lnTo>
                      <a:pt x="1011" y="207"/>
                    </a:lnTo>
                    <a:lnTo>
                      <a:pt x="1013" y="213"/>
                    </a:lnTo>
                    <a:lnTo>
                      <a:pt x="1017" y="213"/>
                    </a:lnTo>
                    <a:lnTo>
                      <a:pt x="1019" y="213"/>
                    </a:lnTo>
                    <a:lnTo>
                      <a:pt x="1017" y="216"/>
                    </a:lnTo>
                    <a:lnTo>
                      <a:pt x="1017" y="220"/>
                    </a:lnTo>
                    <a:lnTo>
                      <a:pt x="1009" y="231"/>
                    </a:lnTo>
                    <a:lnTo>
                      <a:pt x="1009" y="231"/>
                    </a:lnTo>
                    <a:lnTo>
                      <a:pt x="1009" y="231"/>
                    </a:lnTo>
                    <a:lnTo>
                      <a:pt x="1009" y="231"/>
                    </a:lnTo>
                    <a:close/>
                    <a:moveTo>
                      <a:pt x="990" y="205"/>
                    </a:moveTo>
                    <a:lnTo>
                      <a:pt x="992" y="201"/>
                    </a:lnTo>
                    <a:lnTo>
                      <a:pt x="996" y="199"/>
                    </a:lnTo>
                    <a:lnTo>
                      <a:pt x="998" y="199"/>
                    </a:lnTo>
                    <a:lnTo>
                      <a:pt x="998" y="199"/>
                    </a:lnTo>
                    <a:lnTo>
                      <a:pt x="998" y="203"/>
                    </a:lnTo>
                    <a:lnTo>
                      <a:pt x="992" y="205"/>
                    </a:lnTo>
                    <a:lnTo>
                      <a:pt x="990" y="205"/>
                    </a:lnTo>
                    <a:lnTo>
                      <a:pt x="990" y="205"/>
                    </a:lnTo>
                    <a:lnTo>
                      <a:pt x="990" y="205"/>
                    </a:lnTo>
                    <a:lnTo>
                      <a:pt x="990" y="205"/>
                    </a:lnTo>
                    <a:close/>
                    <a:moveTo>
                      <a:pt x="983" y="226"/>
                    </a:moveTo>
                    <a:lnTo>
                      <a:pt x="985" y="220"/>
                    </a:lnTo>
                    <a:lnTo>
                      <a:pt x="992" y="220"/>
                    </a:lnTo>
                    <a:lnTo>
                      <a:pt x="996" y="222"/>
                    </a:lnTo>
                    <a:lnTo>
                      <a:pt x="1002" y="228"/>
                    </a:lnTo>
                    <a:lnTo>
                      <a:pt x="1002" y="231"/>
                    </a:lnTo>
                    <a:lnTo>
                      <a:pt x="1002" y="237"/>
                    </a:lnTo>
                    <a:lnTo>
                      <a:pt x="998" y="237"/>
                    </a:lnTo>
                    <a:lnTo>
                      <a:pt x="996" y="237"/>
                    </a:lnTo>
                    <a:lnTo>
                      <a:pt x="992" y="237"/>
                    </a:lnTo>
                    <a:lnTo>
                      <a:pt x="990" y="237"/>
                    </a:lnTo>
                    <a:lnTo>
                      <a:pt x="987" y="233"/>
                    </a:lnTo>
                    <a:lnTo>
                      <a:pt x="983" y="230"/>
                    </a:lnTo>
                    <a:lnTo>
                      <a:pt x="983" y="226"/>
                    </a:lnTo>
                    <a:lnTo>
                      <a:pt x="983" y="226"/>
                    </a:lnTo>
                    <a:lnTo>
                      <a:pt x="983" y="226"/>
                    </a:lnTo>
                    <a:lnTo>
                      <a:pt x="983" y="226"/>
                    </a:lnTo>
                    <a:close/>
                    <a:moveTo>
                      <a:pt x="938" y="256"/>
                    </a:moveTo>
                    <a:lnTo>
                      <a:pt x="940" y="254"/>
                    </a:lnTo>
                    <a:lnTo>
                      <a:pt x="943" y="254"/>
                    </a:lnTo>
                    <a:lnTo>
                      <a:pt x="943" y="256"/>
                    </a:lnTo>
                    <a:lnTo>
                      <a:pt x="940" y="258"/>
                    </a:lnTo>
                    <a:lnTo>
                      <a:pt x="938" y="256"/>
                    </a:lnTo>
                    <a:lnTo>
                      <a:pt x="938" y="256"/>
                    </a:lnTo>
                    <a:lnTo>
                      <a:pt x="938" y="256"/>
                    </a:lnTo>
                    <a:lnTo>
                      <a:pt x="938" y="256"/>
                    </a:lnTo>
                    <a:close/>
                    <a:moveTo>
                      <a:pt x="934" y="250"/>
                    </a:moveTo>
                    <a:lnTo>
                      <a:pt x="932" y="247"/>
                    </a:lnTo>
                    <a:lnTo>
                      <a:pt x="934" y="243"/>
                    </a:lnTo>
                    <a:lnTo>
                      <a:pt x="936" y="237"/>
                    </a:lnTo>
                    <a:lnTo>
                      <a:pt x="936" y="235"/>
                    </a:lnTo>
                    <a:lnTo>
                      <a:pt x="940" y="231"/>
                    </a:lnTo>
                    <a:lnTo>
                      <a:pt x="940" y="230"/>
                    </a:lnTo>
                    <a:lnTo>
                      <a:pt x="941" y="228"/>
                    </a:lnTo>
                    <a:lnTo>
                      <a:pt x="941" y="226"/>
                    </a:lnTo>
                    <a:lnTo>
                      <a:pt x="943" y="220"/>
                    </a:lnTo>
                    <a:lnTo>
                      <a:pt x="943" y="216"/>
                    </a:lnTo>
                    <a:lnTo>
                      <a:pt x="943" y="216"/>
                    </a:lnTo>
                    <a:lnTo>
                      <a:pt x="947" y="216"/>
                    </a:lnTo>
                    <a:lnTo>
                      <a:pt x="947" y="222"/>
                    </a:lnTo>
                    <a:lnTo>
                      <a:pt x="949" y="226"/>
                    </a:lnTo>
                    <a:lnTo>
                      <a:pt x="947" y="231"/>
                    </a:lnTo>
                    <a:lnTo>
                      <a:pt x="947" y="235"/>
                    </a:lnTo>
                    <a:lnTo>
                      <a:pt x="943" y="237"/>
                    </a:lnTo>
                    <a:lnTo>
                      <a:pt x="947" y="241"/>
                    </a:lnTo>
                    <a:lnTo>
                      <a:pt x="943" y="250"/>
                    </a:lnTo>
                    <a:lnTo>
                      <a:pt x="940" y="252"/>
                    </a:lnTo>
                    <a:lnTo>
                      <a:pt x="934" y="250"/>
                    </a:lnTo>
                    <a:lnTo>
                      <a:pt x="934" y="250"/>
                    </a:lnTo>
                    <a:lnTo>
                      <a:pt x="934" y="250"/>
                    </a:lnTo>
                    <a:lnTo>
                      <a:pt x="934" y="250"/>
                    </a:lnTo>
                    <a:close/>
                    <a:moveTo>
                      <a:pt x="892" y="166"/>
                    </a:moveTo>
                    <a:lnTo>
                      <a:pt x="889" y="162"/>
                    </a:lnTo>
                    <a:lnTo>
                      <a:pt x="889" y="158"/>
                    </a:lnTo>
                    <a:lnTo>
                      <a:pt x="892" y="156"/>
                    </a:lnTo>
                    <a:lnTo>
                      <a:pt x="889" y="156"/>
                    </a:lnTo>
                    <a:lnTo>
                      <a:pt x="885" y="156"/>
                    </a:lnTo>
                    <a:lnTo>
                      <a:pt x="883" y="152"/>
                    </a:lnTo>
                    <a:lnTo>
                      <a:pt x="881" y="156"/>
                    </a:lnTo>
                    <a:lnTo>
                      <a:pt x="876" y="156"/>
                    </a:lnTo>
                    <a:lnTo>
                      <a:pt x="872" y="156"/>
                    </a:lnTo>
                    <a:lnTo>
                      <a:pt x="872" y="152"/>
                    </a:lnTo>
                    <a:lnTo>
                      <a:pt x="876" y="149"/>
                    </a:lnTo>
                    <a:lnTo>
                      <a:pt x="877" y="147"/>
                    </a:lnTo>
                    <a:lnTo>
                      <a:pt x="881" y="147"/>
                    </a:lnTo>
                    <a:lnTo>
                      <a:pt x="885" y="147"/>
                    </a:lnTo>
                    <a:lnTo>
                      <a:pt x="894" y="143"/>
                    </a:lnTo>
                    <a:lnTo>
                      <a:pt x="898" y="145"/>
                    </a:lnTo>
                    <a:lnTo>
                      <a:pt x="902" y="147"/>
                    </a:lnTo>
                    <a:lnTo>
                      <a:pt x="904" y="147"/>
                    </a:lnTo>
                    <a:lnTo>
                      <a:pt x="908" y="147"/>
                    </a:lnTo>
                    <a:lnTo>
                      <a:pt x="913" y="143"/>
                    </a:lnTo>
                    <a:lnTo>
                      <a:pt x="917" y="143"/>
                    </a:lnTo>
                    <a:lnTo>
                      <a:pt x="919" y="143"/>
                    </a:lnTo>
                    <a:lnTo>
                      <a:pt x="923" y="141"/>
                    </a:lnTo>
                    <a:lnTo>
                      <a:pt x="924" y="143"/>
                    </a:lnTo>
                    <a:lnTo>
                      <a:pt x="924" y="145"/>
                    </a:lnTo>
                    <a:lnTo>
                      <a:pt x="926" y="149"/>
                    </a:lnTo>
                    <a:lnTo>
                      <a:pt x="926" y="152"/>
                    </a:lnTo>
                    <a:lnTo>
                      <a:pt x="923" y="156"/>
                    </a:lnTo>
                    <a:lnTo>
                      <a:pt x="926" y="162"/>
                    </a:lnTo>
                    <a:lnTo>
                      <a:pt x="923" y="169"/>
                    </a:lnTo>
                    <a:lnTo>
                      <a:pt x="919" y="171"/>
                    </a:lnTo>
                    <a:lnTo>
                      <a:pt x="917" y="173"/>
                    </a:lnTo>
                    <a:lnTo>
                      <a:pt x="913" y="173"/>
                    </a:lnTo>
                    <a:lnTo>
                      <a:pt x="909" y="173"/>
                    </a:lnTo>
                    <a:lnTo>
                      <a:pt x="908" y="171"/>
                    </a:lnTo>
                    <a:lnTo>
                      <a:pt x="904" y="173"/>
                    </a:lnTo>
                    <a:lnTo>
                      <a:pt x="900" y="167"/>
                    </a:lnTo>
                    <a:lnTo>
                      <a:pt x="900" y="162"/>
                    </a:lnTo>
                    <a:lnTo>
                      <a:pt x="896" y="158"/>
                    </a:lnTo>
                    <a:lnTo>
                      <a:pt x="894" y="162"/>
                    </a:lnTo>
                    <a:lnTo>
                      <a:pt x="894" y="164"/>
                    </a:lnTo>
                    <a:lnTo>
                      <a:pt x="892" y="166"/>
                    </a:lnTo>
                    <a:lnTo>
                      <a:pt x="892" y="166"/>
                    </a:lnTo>
                    <a:lnTo>
                      <a:pt x="892" y="166"/>
                    </a:lnTo>
                    <a:lnTo>
                      <a:pt x="892" y="166"/>
                    </a:lnTo>
                    <a:close/>
                    <a:moveTo>
                      <a:pt x="840" y="196"/>
                    </a:moveTo>
                    <a:lnTo>
                      <a:pt x="844" y="192"/>
                    </a:lnTo>
                    <a:lnTo>
                      <a:pt x="844" y="188"/>
                    </a:lnTo>
                    <a:lnTo>
                      <a:pt x="849" y="186"/>
                    </a:lnTo>
                    <a:lnTo>
                      <a:pt x="849" y="183"/>
                    </a:lnTo>
                    <a:lnTo>
                      <a:pt x="853" y="181"/>
                    </a:lnTo>
                    <a:lnTo>
                      <a:pt x="855" y="177"/>
                    </a:lnTo>
                    <a:lnTo>
                      <a:pt x="859" y="177"/>
                    </a:lnTo>
                    <a:lnTo>
                      <a:pt x="868" y="173"/>
                    </a:lnTo>
                    <a:lnTo>
                      <a:pt x="868" y="177"/>
                    </a:lnTo>
                    <a:lnTo>
                      <a:pt x="872" y="177"/>
                    </a:lnTo>
                    <a:lnTo>
                      <a:pt x="876" y="179"/>
                    </a:lnTo>
                    <a:lnTo>
                      <a:pt x="879" y="179"/>
                    </a:lnTo>
                    <a:lnTo>
                      <a:pt x="881" y="177"/>
                    </a:lnTo>
                    <a:lnTo>
                      <a:pt x="889" y="179"/>
                    </a:lnTo>
                    <a:lnTo>
                      <a:pt x="889" y="181"/>
                    </a:lnTo>
                    <a:lnTo>
                      <a:pt x="892" y="181"/>
                    </a:lnTo>
                    <a:lnTo>
                      <a:pt x="896" y="181"/>
                    </a:lnTo>
                    <a:lnTo>
                      <a:pt x="898" y="183"/>
                    </a:lnTo>
                    <a:lnTo>
                      <a:pt x="902" y="183"/>
                    </a:lnTo>
                    <a:lnTo>
                      <a:pt x="904" y="183"/>
                    </a:lnTo>
                    <a:lnTo>
                      <a:pt x="900" y="192"/>
                    </a:lnTo>
                    <a:lnTo>
                      <a:pt x="896" y="188"/>
                    </a:lnTo>
                    <a:lnTo>
                      <a:pt x="889" y="192"/>
                    </a:lnTo>
                    <a:lnTo>
                      <a:pt x="885" y="192"/>
                    </a:lnTo>
                    <a:lnTo>
                      <a:pt x="881" y="198"/>
                    </a:lnTo>
                    <a:lnTo>
                      <a:pt x="881" y="199"/>
                    </a:lnTo>
                    <a:lnTo>
                      <a:pt x="885" y="199"/>
                    </a:lnTo>
                    <a:lnTo>
                      <a:pt x="887" y="199"/>
                    </a:lnTo>
                    <a:lnTo>
                      <a:pt x="887" y="201"/>
                    </a:lnTo>
                    <a:lnTo>
                      <a:pt x="883" y="207"/>
                    </a:lnTo>
                    <a:lnTo>
                      <a:pt x="881" y="211"/>
                    </a:lnTo>
                    <a:lnTo>
                      <a:pt x="877" y="211"/>
                    </a:lnTo>
                    <a:lnTo>
                      <a:pt x="877" y="213"/>
                    </a:lnTo>
                    <a:lnTo>
                      <a:pt x="876" y="216"/>
                    </a:lnTo>
                    <a:lnTo>
                      <a:pt x="872" y="216"/>
                    </a:lnTo>
                    <a:lnTo>
                      <a:pt x="868" y="216"/>
                    </a:lnTo>
                    <a:lnTo>
                      <a:pt x="864" y="216"/>
                    </a:lnTo>
                    <a:lnTo>
                      <a:pt x="859" y="213"/>
                    </a:lnTo>
                    <a:lnTo>
                      <a:pt x="859" y="216"/>
                    </a:lnTo>
                    <a:lnTo>
                      <a:pt x="855" y="216"/>
                    </a:lnTo>
                    <a:lnTo>
                      <a:pt x="851" y="216"/>
                    </a:lnTo>
                    <a:lnTo>
                      <a:pt x="849" y="213"/>
                    </a:lnTo>
                    <a:lnTo>
                      <a:pt x="851" y="213"/>
                    </a:lnTo>
                    <a:lnTo>
                      <a:pt x="849" y="207"/>
                    </a:lnTo>
                    <a:lnTo>
                      <a:pt x="845" y="205"/>
                    </a:lnTo>
                    <a:lnTo>
                      <a:pt x="844" y="203"/>
                    </a:lnTo>
                    <a:lnTo>
                      <a:pt x="844" y="199"/>
                    </a:lnTo>
                    <a:lnTo>
                      <a:pt x="840" y="196"/>
                    </a:lnTo>
                    <a:lnTo>
                      <a:pt x="840" y="196"/>
                    </a:lnTo>
                    <a:lnTo>
                      <a:pt x="840" y="196"/>
                    </a:lnTo>
                    <a:lnTo>
                      <a:pt x="840" y="196"/>
                    </a:lnTo>
                    <a:close/>
                    <a:moveTo>
                      <a:pt x="836" y="183"/>
                    </a:moveTo>
                    <a:lnTo>
                      <a:pt x="838" y="183"/>
                    </a:lnTo>
                    <a:lnTo>
                      <a:pt x="844" y="183"/>
                    </a:lnTo>
                    <a:lnTo>
                      <a:pt x="847" y="179"/>
                    </a:lnTo>
                    <a:lnTo>
                      <a:pt x="847" y="173"/>
                    </a:lnTo>
                    <a:lnTo>
                      <a:pt x="847" y="171"/>
                    </a:lnTo>
                    <a:lnTo>
                      <a:pt x="847" y="167"/>
                    </a:lnTo>
                    <a:lnTo>
                      <a:pt x="849" y="164"/>
                    </a:lnTo>
                    <a:lnTo>
                      <a:pt x="845" y="164"/>
                    </a:lnTo>
                    <a:lnTo>
                      <a:pt x="844" y="164"/>
                    </a:lnTo>
                    <a:lnTo>
                      <a:pt x="840" y="162"/>
                    </a:lnTo>
                    <a:lnTo>
                      <a:pt x="838" y="166"/>
                    </a:lnTo>
                    <a:lnTo>
                      <a:pt x="834" y="166"/>
                    </a:lnTo>
                    <a:lnTo>
                      <a:pt x="834" y="169"/>
                    </a:lnTo>
                    <a:lnTo>
                      <a:pt x="834" y="173"/>
                    </a:lnTo>
                    <a:lnTo>
                      <a:pt x="834" y="177"/>
                    </a:lnTo>
                    <a:lnTo>
                      <a:pt x="836" y="183"/>
                    </a:lnTo>
                    <a:lnTo>
                      <a:pt x="836" y="183"/>
                    </a:lnTo>
                    <a:lnTo>
                      <a:pt x="836" y="183"/>
                    </a:lnTo>
                    <a:lnTo>
                      <a:pt x="836" y="183"/>
                    </a:lnTo>
                    <a:close/>
                    <a:moveTo>
                      <a:pt x="1147" y="454"/>
                    </a:moveTo>
                    <a:lnTo>
                      <a:pt x="1147" y="454"/>
                    </a:lnTo>
                    <a:lnTo>
                      <a:pt x="1152" y="458"/>
                    </a:lnTo>
                    <a:lnTo>
                      <a:pt x="1156" y="454"/>
                    </a:lnTo>
                    <a:lnTo>
                      <a:pt x="1156" y="459"/>
                    </a:lnTo>
                    <a:lnTo>
                      <a:pt x="1160" y="459"/>
                    </a:lnTo>
                    <a:lnTo>
                      <a:pt x="1160" y="459"/>
                    </a:lnTo>
                    <a:lnTo>
                      <a:pt x="1164" y="459"/>
                    </a:lnTo>
                    <a:lnTo>
                      <a:pt x="1169" y="458"/>
                    </a:lnTo>
                    <a:lnTo>
                      <a:pt x="1173" y="458"/>
                    </a:lnTo>
                    <a:lnTo>
                      <a:pt x="1179" y="459"/>
                    </a:lnTo>
                    <a:lnTo>
                      <a:pt x="1182" y="459"/>
                    </a:lnTo>
                    <a:lnTo>
                      <a:pt x="1184" y="459"/>
                    </a:lnTo>
                    <a:lnTo>
                      <a:pt x="1184" y="459"/>
                    </a:lnTo>
                    <a:lnTo>
                      <a:pt x="1184" y="454"/>
                    </a:lnTo>
                    <a:lnTo>
                      <a:pt x="1188" y="450"/>
                    </a:lnTo>
                    <a:lnTo>
                      <a:pt x="1192" y="450"/>
                    </a:lnTo>
                    <a:lnTo>
                      <a:pt x="1192" y="450"/>
                    </a:lnTo>
                    <a:lnTo>
                      <a:pt x="1188" y="444"/>
                    </a:lnTo>
                    <a:lnTo>
                      <a:pt x="1188" y="441"/>
                    </a:lnTo>
                    <a:lnTo>
                      <a:pt x="1192" y="442"/>
                    </a:lnTo>
                    <a:lnTo>
                      <a:pt x="1192" y="446"/>
                    </a:lnTo>
                    <a:lnTo>
                      <a:pt x="1194" y="450"/>
                    </a:lnTo>
                    <a:lnTo>
                      <a:pt x="1194" y="448"/>
                    </a:lnTo>
                    <a:lnTo>
                      <a:pt x="1197" y="448"/>
                    </a:lnTo>
                    <a:lnTo>
                      <a:pt x="1199" y="446"/>
                    </a:lnTo>
                    <a:lnTo>
                      <a:pt x="1201" y="448"/>
                    </a:lnTo>
                    <a:lnTo>
                      <a:pt x="1201" y="446"/>
                    </a:lnTo>
                    <a:lnTo>
                      <a:pt x="1201" y="442"/>
                    </a:lnTo>
                    <a:lnTo>
                      <a:pt x="1201" y="439"/>
                    </a:lnTo>
                    <a:lnTo>
                      <a:pt x="1199" y="437"/>
                    </a:lnTo>
                    <a:lnTo>
                      <a:pt x="1194" y="439"/>
                    </a:lnTo>
                    <a:lnTo>
                      <a:pt x="1192" y="439"/>
                    </a:lnTo>
                    <a:lnTo>
                      <a:pt x="1192" y="435"/>
                    </a:lnTo>
                    <a:lnTo>
                      <a:pt x="1194" y="435"/>
                    </a:lnTo>
                    <a:lnTo>
                      <a:pt x="1194" y="435"/>
                    </a:lnTo>
                    <a:lnTo>
                      <a:pt x="1197" y="435"/>
                    </a:lnTo>
                    <a:lnTo>
                      <a:pt x="1199" y="431"/>
                    </a:lnTo>
                    <a:lnTo>
                      <a:pt x="1201" y="433"/>
                    </a:lnTo>
                    <a:lnTo>
                      <a:pt x="1205" y="433"/>
                    </a:lnTo>
                    <a:lnTo>
                      <a:pt x="1207" y="429"/>
                    </a:lnTo>
                    <a:lnTo>
                      <a:pt x="1205" y="425"/>
                    </a:lnTo>
                    <a:lnTo>
                      <a:pt x="1207" y="424"/>
                    </a:lnTo>
                    <a:lnTo>
                      <a:pt x="1207" y="420"/>
                    </a:lnTo>
                    <a:lnTo>
                      <a:pt x="1209" y="420"/>
                    </a:lnTo>
                    <a:lnTo>
                      <a:pt x="1211" y="420"/>
                    </a:lnTo>
                    <a:lnTo>
                      <a:pt x="1205" y="418"/>
                    </a:lnTo>
                    <a:lnTo>
                      <a:pt x="1201" y="420"/>
                    </a:lnTo>
                    <a:lnTo>
                      <a:pt x="1203" y="416"/>
                    </a:lnTo>
                    <a:lnTo>
                      <a:pt x="1205" y="416"/>
                    </a:lnTo>
                    <a:lnTo>
                      <a:pt x="1205" y="412"/>
                    </a:lnTo>
                    <a:lnTo>
                      <a:pt x="1201" y="409"/>
                    </a:lnTo>
                    <a:lnTo>
                      <a:pt x="1194" y="409"/>
                    </a:lnTo>
                    <a:lnTo>
                      <a:pt x="1194" y="407"/>
                    </a:lnTo>
                    <a:lnTo>
                      <a:pt x="1194" y="405"/>
                    </a:lnTo>
                    <a:lnTo>
                      <a:pt x="1197" y="405"/>
                    </a:lnTo>
                    <a:lnTo>
                      <a:pt x="1194" y="401"/>
                    </a:lnTo>
                    <a:lnTo>
                      <a:pt x="1188" y="395"/>
                    </a:lnTo>
                    <a:lnTo>
                      <a:pt x="1184" y="395"/>
                    </a:lnTo>
                    <a:lnTo>
                      <a:pt x="1184" y="399"/>
                    </a:lnTo>
                    <a:lnTo>
                      <a:pt x="1179" y="399"/>
                    </a:lnTo>
                    <a:lnTo>
                      <a:pt x="1173" y="399"/>
                    </a:lnTo>
                    <a:lnTo>
                      <a:pt x="1167" y="395"/>
                    </a:lnTo>
                    <a:lnTo>
                      <a:pt x="1167" y="393"/>
                    </a:lnTo>
                    <a:lnTo>
                      <a:pt x="1164" y="390"/>
                    </a:lnTo>
                    <a:lnTo>
                      <a:pt x="1160" y="393"/>
                    </a:lnTo>
                    <a:lnTo>
                      <a:pt x="1158" y="393"/>
                    </a:lnTo>
                    <a:lnTo>
                      <a:pt x="1156" y="395"/>
                    </a:lnTo>
                    <a:lnTo>
                      <a:pt x="1152" y="395"/>
                    </a:lnTo>
                    <a:lnTo>
                      <a:pt x="1150" y="399"/>
                    </a:lnTo>
                    <a:lnTo>
                      <a:pt x="1148" y="395"/>
                    </a:lnTo>
                    <a:lnTo>
                      <a:pt x="1145" y="393"/>
                    </a:lnTo>
                    <a:lnTo>
                      <a:pt x="1143" y="395"/>
                    </a:lnTo>
                    <a:lnTo>
                      <a:pt x="1139" y="395"/>
                    </a:lnTo>
                    <a:lnTo>
                      <a:pt x="1139" y="399"/>
                    </a:lnTo>
                    <a:lnTo>
                      <a:pt x="1135" y="399"/>
                    </a:lnTo>
                    <a:lnTo>
                      <a:pt x="1135" y="395"/>
                    </a:lnTo>
                    <a:lnTo>
                      <a:pt x="1135" y="395"/>
                    </a:lnTo>
                    <a:lnTo>
                      <a:pt x="1130" y="395"/>
                    </a:lnTo>
                    <a:lnTo>
                      <a:pt x="1124" y="395"/>
                    </a:lnTo>
                    <a:lnTo>
                      <a:pt x="1122" y="395"/>
                    </a:lnTo>
                    <a:lnTo>
                      <a:pt x="1124" y="399"/>
                    </a:lnTo>
                    <a:lnTo>
                      <a:pt x="1124" y="401"/>
                    </a:lnTo>
                    <a:lnTo>
                      <a:pt x="1128" y="403"/>
                    </a:lnTo>
                    <a:lnTo>
                      <a:pt x="1124" y="403"/>
                    </a:lnTo>
                    <a:lnTo>
                      <a:pt x="1122" y="399"/>
                    </a:lnTo>
                    <a:lnTo>
                      <a:pt x="1120" y="399"/>
                    </a:lnTo>
                    <a:lnTo>
                      <a:pt x="1115" y="401"/>
                    </a:lnTo>
                    <a:lnTo>
                      <a:pt x="1115" y="399"/>
                    </a:lnTo>
                    <a:lnTo>
                      <a:pt x="1118" y="399"/>
                    </a:lnTo>
                    <a:lnTo>
                      <a:pt x="1118" y="395"/>
                    </a:lnTo>
                    <a:lnTo>
                      <a:pt x="1115" y="390"/>
                    </a:lnTo>
                    <a:lnTo>
                      <a:pt x="1115" y="390"/>
                    </a:lnTo>
                    <a:lnTo>
                      <a:pt x="1111" y="388"/>
                    </a:lnTo>
                    <a:lnTo>
                      <a:pt x="1109" y="390"/>
                    </a:lnTo>
                    <a:lnTo>
                      <a:pt x="1109" y="393"/>
                    </a:lnTo>
                    <a:lnTo>
                      <a:pt x="1109" y="395"/>
                    </a:lnTo>
                    <a:lnTo>
                      <a:pt x="1105" y="393"/>
                    </a:lnTo>
                    <a:lnTo>
                      <a:pt x="1105" y="390"/>
                    </a:lnTo>
                    <a:lnTo>
                      <a:pt x="1105" y="390"/>
                    </a:lnTo>
                    <a:lnTo>
                      <a:pt x="1103" y="388"/>
                    </a:lnTo>
                    <a:lnTo>
                      <a:pt x="1100" y="390"/>
                    </a:lnTo>
                    <a:lnTo>
                      <a:pt x="1098" y="390"/>
                    </a:lnTo>
                    <a:lnTo>
                      <a:pt x="1098" y="386"/>
                    </a:lnTo>
                    <a:lnTo>
                      <a:pt x="1098" y="384"/>
                    </a:lnTo>
                    <a:lnTo>
                      <a:pt x="1098" y="380"/>
                    </a:lnTo>
                    <a:lnTo>
                      <a:pt x="1094" y="382"/>
                    </a:lnTo>
                    <a:lnTo>
                      <a:pt x="1090" y="386"/>
                    </a:lnTo>
                    <a:lnTo>
                      <a:pt x="1090" y="390"/>
                    </a:lnTo>
                    <a:lnTo>
                      <a:pt x="1088" y="390"/>
                    </a:lnTo>
                    <a:lnTo>
                      <a:pt x="1086" y="388"/>
                    </a:lnTo>
                    <a:lnTo>
                      <a:pt x="1088" y="384"/>
                    </a:lnTo>
                    <a:lnTo>
                      <a:pt x="1088" y="382"/>
                    </a:lnTo>
                    <a:lnTo>
                      <a:pt x="1090" y="377"/>
                    </a:lnTo>
                    <a:lnTo>
                      <a:pt x="1086" y="373"/>
                    </a:lnTo>
                    <a:lnTo>
                      <a:pt x="1084" y="375"/>
                    </a:lnTo>
                    <a:lnTo>
                      <a:pt x="1084" y="373"/>
                    </a:lnTo>
                    <a:lnTo>
                      <a:pt x="1086" y="371"/>
                    </a:lnTo>
                    <a:lnTo>
                      <a:pt x="1088" y="369"/>
                    </a:lnTo>
                    <a:lnTo>
                      <a:pt x="1086" y="365"/>
                    </a:lnTo>
                    <a:lnTo>
                      <a:pt x="1084" y="365"/>
                    </a:lnTo>
                    <a:lnTo>
                      <a:pt x="1081" y="365"/>
                    </a:lnTo>
                    <a:lnTo>
                      <a:pt x="1081" y="365"/>
                    </a:lnTo>
                    <a:lnTo>
                      <a:pt x="1079" y="365"/>
                    </a:lnTo>
                    <a:lnTo>
                      <a:pt x="1081" y="365"/>
                    </a:lnTo>
                    <a:lnTo>
                      <a:pt x="1079" y="363"/>
                    </a:lnTo>
                    <a:lnTo>
                      <a:pt x="1077" y="363"/>
                    </a:lnTo>
                    <a:lnTo>
                      <a:pt x="1075" y="365"/>
                    </a:lnTo>
                    <a:lnTo>
                      <a:pt x="1069" y="365"/>
                    </a:lnTo>
                    <a:lnTo>
                      <a:pt x="1069" y="365"/>
                    </a:lnTo>
                    <a:lnTo>
                      <a:pt x="1071" y="363"/>
                    </a:lnTo>
                    <a:lnTo>
                      <a:pt x="1073" y="360"/>
                    </a:lnTo>
                    <a:lnTo>
                      <a:pt x="1075" y="356"/>
                    </a:lnTo>
                    <a:lnTo>
                      <a:pt x="1077" y="356"/>
                    </a:lnTo>
                    <a:lnTo>
                      <a:pt x="1081" y="361"/>
                    </a:lnTo>
                    <a:lnTo>
                      <a:pt x="1084" y="361"/>
                    </a:lnTo>
                    <a:lnTo>
                      <a:pt x="1084" y="360"/>
                    </a:lnTo>
                    <a:lnTo>
                      <a:pt x="1081" y="356"/>
                    </a:lnTo>
                    <a:lnTo>
                      <a:pt x="1079" y="354"/>
                    </a:lnTo>
                    <a:lnTo>
                      <a:pt x="1081" y="354"/>
                    </a:lnTo>
                    <a:lnTo>
                      <a:pt x="1075" y="348"/>
                    </a:lnTo>
                    <a:lnTo>
                      <a:pt x="1071" y="346"/>
                    </a:lnTo>
                    <a:lnTo>
                      <a:pt x="1073" y="346"/>
                    </a:lnTo>
                    <a:lnTo>
                      <a:pt x="1075" y="344"/>
                    </a:lnTo>
                    <a:lnTo>
                      <a:pt x="1077" y="344"/>
                    </a:lnTo>
                    <a:lnTo>
                      <a:pt x="1079" y="346"/>
                    </a:lnTo>
                    <a:lnTo>
                      <a:pt x="1081" y="350"/>
                    </a:lnTo>
                    <a:lnTo>
                      <a:pt x="1084" y="352"/>
                    </a:lnTo>
                    <a:lnTo>
                      <a:pt x="1088" y="356"/>
                    </a:lnTo>
                    <a:lnTo>
                      <a:pt x="1090" y="354"/>
                    </a:lnTo>
                    <a:lnTo>
                      <a:pt x="1092" y="356"/>
                    </a:lnTo>
                    <a:lnTo>
                      <a:pt x="1098" y="356"/>
                    </a:lnTo>
                    <a:lnTo>
                      <a:pt x="1103" y="356"/>
                    </a:lnTo>
                    <a:lnTo>
                      <a:pt x="1103" y="354"/>
                    </a:lnTo>
                    <a:lnTo>
                      <a:pt x="1103" y="350"/>
                    </a:lnTo>
                    <a:lnTo>
                      <a:pt x="1094" y="344"/>
                    </a:lnTo>
                    <a:lnTo>
                      <a:pt x="1092" y="341"/>
                    </a:lnTo>
                    <a:lnTo>
                      <a:pt x="1088" y="341"/>
                    </a:lnTo>
                    <a:lnTo>
                      <a:pt x="1088" y="337"/>
                    </a:lnTo>
                    <a:lnTo>
                      <a:pt x="1084" y="335"/>
                    </a:lnTo>
                    <a:lnTo>
                      <a:pt x="1084" y="335"/>
                    </a:lnTo>
                    <a:lnTo>
                      <a:pt x="1081" y="331"/>
                    </a:lnTo>
                    <a:lnTo>
                      <a:pt x="1084" y="331"/>
                    </a:lnTo>
                    <a:lnTo>
                      <a:pt x="1084" y="331"/>
                    </a:lnTo>
                    <a:lnTo>
                      <a:pt x="1088" y="335"/>
                    </a:lnTo>
                    <a:lnTo>
                      <a:pt x="1090" y="335"/>
                    </a:lnTo>
                    <a:lnTo>
                      <a:pt x="1092" y="337"/>
                    </a:lnTo>
                    <a:lnTo>
                      <a:pt x="1094" y="337"/>
                    </a:lnTo>
                    <a:lnTo>
                      <a:pt x="1096" y="335"/>
                    </a:lnTo>
                    <a:lnTo>
                      <a:pt x="1094" y="329"/>
                    </a:lnTo>
                    <a:lnTo>
                      <a:pt x="1088" y="324"/>
                    </a:lnTo>
                    <a:lnTo>
                      <a:pt x="1086" y="324"/>
                    </a:lnTo>
                    <a:lnTo>
                      <a:pt x="1084" y="324"/>
                    </a:lnTo>
                    <a:lnTo>
                      <a:pt x="1081" y="324"/>
                    </a:lnTo>
                    <a:lnTo>
                      <a:pt x="1079" y="326"/>
                    </a:lnTo>
                    <a:lnTo>
                      <a:pt x="1075" y="326"/>
                    </a:lnTo>
                    <a:lnTo>
                      <a:pt x="1071" y="324"/>
                    </a:lnTo>
                    <a:lnTo>
                      <a:pt x="1069" y="324"/>
                    </a:lnTo>
                    <a:lnTo>
                      <a:pt x="1066" y="322"/>
                    </a:lnTo>
                    <a:lnTo>
                      <a:pt x="1062" y="328"/>
                    </a:lnTo>
                    <a:lnTo>
                      <a:pt x="1056" y="329"/>
                    </a:lnTo>
                    <a:lnTo>
                      <a:pt x="1056" y="331"/>
                    </a:lnTo>
                    <a:lnTo>
                      <a:pt x="1054" y="335"/>
                    </a:lnTo>
                    <a:lnTo>
                      <a:pt x="1054" y="331"/>
                    </a:lnTo>
                    <a:lnTo>
                      <a:pt x="1056" y="328"/>
                    </a:lnTo>
                    <a:lnTo>
                      <a:pt x="1060" y="328"/>
                    </a:lnTo>
                    <a:lnTo>
                      <a:pt x="1066" y="320"/>
                    </a:lnTo>
                    <a:lnTo>
                      <a:pt x="1066" y="318"/>
                    </a:lnTo>
                    <a:lnTo>
                      <a:pt x="1064" y="314"/>
                    </a:lnTo>
                    <a:lnTo>
                      <a:pt x="1066" y="305"/>
                    </a:lnTo>
                    <a:lnTo>
                      <a:pt x="1066" y="305"/>
                    </a:lnTo>
                    <a:lnTo>
                      <a:pt x="1064" y="301"/>
                    </a:lnTo>
                    <a:lnTo>
                      <a:pt x="1062" y="305"/>
                    </a:lnTo>
                    <a:lnTo>
                      <a:pt x="1056" y="305"/>
                    </a:lnTo>
                    <a:lnTo>
                      <a:pt x="1056" y="301"/>
                    </a:lnTo>
                    <a:lnTo>
                      <a:pt x="1056" y="299"/>
                    </a:lnTo>
                    <a:lnTo>
                      <a:pt x="1056" y="296"/>
                    </a:lnTo>
                    <a:lnTo>
                      <a:pt x="1051" y="294"/>
                    </a:lnTo>
                    <a:lnTo>
                      <a:pt x="1047" y="290"/>
                    </a:lnTo>
                    <a:lnTo>
                      <a:pt x="1043" y="290"/>
                    </a:lnTo>
                    <a:lnTo>
                      <a:pt x="1039" y="288"/>
                    </a:lnTo>
                    <a:lnTo>
                      <a:pt x="1037" y="290"/>
                    </a:lnTo>
                    <a:lnTo>
                      <a:pt x="1030" y="292"/>
                    </a:lnTo>
                    <a:lnTo>
                      <a:pt x="1030" y="292"/>
                    </a:lnTo>
                    <a:lnTo>
                      <a:pt x="1026" y="292"/>
                    </a:lnTo>
                    <a:lnTo>
                      <a:pt x="1026" y="296"/>
                    </a:lnTo>
                    <a:lnTo>
                      <a:pt x="1030" y="299"/>
                    </a:lnTo>
                    <a:lnTo>
                      <a:pt x="1030" y="301"/>
                    </a:lnTo>
                    <a:lnTo>
                      <a:pt x="1026" y="301"/>
                    </a:lnTo>
                    <a:lnTo>
                      <a:pt x="1024" y="297"/>
                    </a:lnTo>
                    <a:lnTo>
                      <a:pt x="1024" y="301"/>
                    </a:lnTo>
                    <a:lnTo>
                      <a:pt x="1024" y="305"/>
                    </a:lnTo>
                    <a:lnTo>
                      <a:pt x="1026" y="305"/>
                    </a:lnTo>
                    <a:lnTo>
                      <a:pt x="1030" y="311"/>
                    </a:lnTo>
                    <a:lnTo>
                      <a:pt x="1034" y="311"/>
                    </a:lnTo>
                    <a:lnTo>
                      <a:pt x="1032" y="312"/>
                    </a:lnTo>
                    <a:lnTo>
                      <a:pt x="1030" y="312"/>
                    </a:lnTo>
                    <a:lnTo>
                      <a:pt x="1030" y="316"/>
                    </a:lnTo>
                    <a:lnTo>
                      <a:pt x="1034" y="324"/>
                    </a:lnTo>
                    <a:lnTo>
                      <a:pt x="1037" y="326"/>
                    </a:lnTo>
                    <a:lnTo>
                      <a:pt x="1037" y="328"/>
                    </a:lnTo>
                    <a:lnTo>
                      <a:pt x="1036" y="326"/>
                    </a:lnTo>
                    <a:lnTo>
                      <a:pt x="1030" y="326"/>
                    </a:lnTo>
                    <a:lnTo>
                      <a:pt x="1030" y="328"/>
                    </a:lnTo>
                    <a:lnTo>
                      <a:pt x="1026" y="329"/>
                    </a:lnTo>
                    <a:lnTo>
                      <a:pt x="1026" y="331"/>
                    </a:lnTo>
                    <a:lnTo>
                      <a:pt x="1032" y="329"/>
                    </a:lnTo>
                    <a:lnTo>
                      <a:pt x="1034" y="331"/>
                    </a:lnTo>
                    <a:lnTo>
                      <a:pt x="1039" y="329"/>
                    </a:lnTo>
                    <a:lnTo>
                      <a:pt x="1041" y="331"/>
                    </a:lnTo>
                    <a:lnTo>
                      <a:pt x="1045" y="331"/>
                    </a:lnTo>
                    <a:lnTo>
                      <a:pt x="1045" y="335"/>
                    </a:lnTo>
                    <a:lnTo>
                      <a:pt x="1051" y="339"/>
                    </a:lnTo>
                    <a:lnTo>
                      <a:pt x="1051" y="339"/>
                    </a:lnTo>
                    <a:lnTo>
                      <a:pt x="1051" y="335"/>
                    </a:lnTo>
                    <a:lnTo>
                      <a:pt x="1054" y="337"/>
                    </a:lnTo>
                    <a:lnTo>
                      <a:pt x="1056" y="335"/>
                    </a:lnTo>
                    <a:lnTo>
                      <a:pt x="1060" y="335"/>
                    </a:lnTo>
                    <a:lnTo>
                      <a:pt x="1060" y="339"/>
                    </a:lnTo>
                    <a:lnTo>
                      <a:pt x="1060" y="344"/>
                    </a:lnTo>
                    <a:lnTo>
                      <a:pt x="1060" y="348"/>
                    </a:lnTo>
                    <a:lnTo>
                      <a:pt x="1056" y="354"/>
                    </a:lnTo>
                    <a:lnTo>
                      <a:pt x="1056" y="356"/>
                    </a:lnTo>
                    <a:lnTo>
                      <a:pt x="1060" y="361"/>
                    </a:lnTo>
                    <a:lnTo>
                      <a:pt x="1060" y="365"/>
                    </a:lnTo>
                    <a:lnTo>
                      <a:pt x="1060" y="369"/>
                    </a:lnTo>
                    <a:lnTo>
                      <a:pt x="1056" y="371"/>
                    </a:lnTo>
                    <a:lnTo>
                      <a:pt x="1051" y="375"/>
                    </a:lnTo>
                    <a:lnTo>
                      <a:pt x="1049" y="377"/>
                    </a:lnTo>
                    <a:lnTo>
                      <a:pt x="1047" y="378"/>
                    </a:lnTo>
                    <a:lnTo>
                      <a:pt x="1043" y="384"/>
                    </a:lnTo>
                    <a:lnTo>
                      <a:pt x="1043" y="386"/>
                    </a:lnTo>
                    <a:lnTo>
                      <a:pt x="1039" y="390"/>
                    </a:lnTo>
                    <a:lnTo>
                      <a:pt x="1037" y="390"/>
                    </a:lnTo>
                    <a:lnTo>
                      <a:pt x="1037" y="395"/>
                    </a:lnTo>
                    <a:lnTo>
                      <a:pt x="1041" y="395"/>
                    </a:lnTo>
                    <a:lnTo>
                      <a:pt x="1041" y="399"/>
                    </a:lnTo>
                    <a:lnTo>
                      <a:pt x="1037" y="399"/>
                    </a:lnTo>
                    <a:lnTo>
                      <a:pt x="1036" y="403"/>
                    </a:lnTo>
                    <a:lnTo>
                      <a:pt x="1037" y="405"/>
                    </a:lnTo>
                    <a:lnTo>
                      <a:pt x="1036" y="409"/>
                    </a:lnTo>
                    <a:lnTo>
                      <a:pt x="1034" y="412"/>
                    </a:lnTo>
                    <a:lnTo>
                      <a:pt x="1036" y="416"/>
                    </a:lnTo>
                    <a:lnTo>
                      <a:pt x="1039" y="416"/>
                    </a:lnTo>
                    <a:lnTo>
                      <a:pt x="1039" y="420"/>
                    </a:lnTo>
                    <a:lnTo>
                      <a:pt x="1041" y="420"/>
                    </a:lnTo>
                    <a:lnTo>
                      <a:pt x="1043" y="420"/>
                    </a:lnTo>
                    <a:lnTo>
                      <a:pt x="1045" y="418"/>
                    </a:lnTo>
                    <a:lnTo>
                      <a:pt x="1045" y="416"/>
                    </a:lnTo>
                    <a:lnTo>
                      <a:pt x="1047" y="418"/>
                    </a:lnTo>
                    <a:lnTo>
                      <a:pt x="1049" y="418"/>
                    </a:lnTo>
                    <a:lnTo>
                      <a:pt x="1051" y="412"/>
                    </a:lnTo>
                    <a:lnTo>
                      <a:pt x="1054" y="414"/>
                    </a:lnTo>
                    <a:lnTo>
                      <a:pt x="1051" y="420"/>
                    </a:lnTo>
                    <a:lnTo>
                      <a:pt x="1049" y="420"/>
                    </a:lnTo>
                    <a:lnTo>
                      <a:pt x="1049" y="420"/>
                    </a:lnTo>
                    <a:lnTo>
                      <a:pt x="1049" y="424"/>
                    </a:lnTo>
                    <a:lnTo>
                      <a:pt x="1051" y="425"/>
                    </a:lnTo>
                    <a:lnTo>
                      <a:pt x="1051" y="429"/>
                    </a:lnTo>
                    <a:lnTo>
                      <a:pt x="1056" y="429"/>
                    </a:lnTo>
                    <a:lnTo>
                      <a:pt x="1056" y="429"/>
                    </a:lnTo>
                    <a:lnTo>
                      <a:pt x="1062" y="429"/>
                    </a:lnTo>
                    <a:lnTo>
                      <a:pt x="1064" y="429"/>
                    </a:lnTo>
                    <a:lnTo>
                      <a:pt x="1068" y="425"/>
                    </a:lnTo>
                    <a:lnTo>
                      <a:pt x="1068" y="424"/>
                    </a:lnTo>
                    <a:lnTo>
                      <a:pt x="1069" y="424"/>
                    </a:lnTo>
                    <a:lnTo>
                      <a:pt x="1071" y="420"/>
                    </a:lnTo>
                    <a:lnTo>
                      <a:pt x="1071" y="424"/>
                    </a:lnTo>
                    <a:lnTo>
                      <a:pt x="1071" y="425"/>
                    </a:lnTo>
                    <a:lnTo>
                      <a:pt x="1071" y="425"/>
                    </a:lnTo>
                    <a:lnTo>
                      <a:pt x="1073" y="425"/>
                    </a:lnTo>
                    <a:lnTo>
                      <a:pt x="1075" y="420"/>
                    </a:lnTo>
                    <a:lnTo>
                      <a:pt x="1079" y="420"/>
                    </a:lnTo>
                    <a:lnTo>
                      <a:pt x="1079" y="420"/>
                    </a:lnTo>
                    <a:lnTo>
                      <a:pt x="1079" y="425"/>
                    </a:lnTo>
                    <a:lnTo>
                      <a:pt x="1073" y="431"/>
                    </a:lnTo>
                    <a:lnTo>
                      <a:pt x="1071" y="433"/>
                    </a:lnTo>
                    <a:lnTo>
                      <a:pt x="1071" y="437"/>
                    </a:lnTo>
                    <a:lnTo>
                      <a:pt x="1075" y="439"/>
                    </a:lnTo>
                    <a:lnTo>
                      <a:pt x="1079" y="441"/>
                    </a:lnTo>
                    <a:lnTo>
                      <a:pt x="1081" y="441"/>
                    </a:lnTo>
                    <a:lnTo>
                      <a:pt x="1081" y="442"/>
                    </a:lnTo>
                    <a:lnTo>
                      <a:pt x="1084" y="442"/>
                    </a:lnTo>
                    <a:lnTo>
                      <a:pt x="1086" y="439"/>
                    </a:lnTo>
                    <a:lnTo>
                      <a:pt x="1090" y="439"/>
                    </a:lnTo>
                    <a:lnTo>
                      <a:pt x="1088" y="441"/>
                    </a:lnTo>
                    <a:lnTo>
                      <a:pt x="1090" y="444"/>
                    </a:lnTo>
                    <a:lnTo>
                      <a:pt x="1092" y="444"/>
                    </a:lnTo>
                    <a:lnTo>
                      <a:pt x="1096" y="446"/>
                    </a:lnTo>
                    <a:lnTo>
                      <a:pt x="1098" y="444"/>
                    </a:lnTo>
                    <a:lnTo>
                      <a:pt x="1096" y="442"/>
                    </a:lnTo>
                    <a:lnTo>
                      <a:pt x="1096" y="439"/>
                    </a:lnTo>
                    <a:lnTo>
                      <a:pt x="1100" y="437"/>
                    </a:lnTo>
                    <a:lnTo>
                      <a:pt x="1100" y="439"/>
                    </a:lnTo>
                    <a:lnTo>
                      <a:pt x="1100" y="442"/>
                    </a:lnTo>
                    <a:lnTo>
                      <a:pt x="1100" y="446"/>
                    </a:lnTo>
                    <a:lnTo>
                      <a:pt x="1101" y="446"/>
                    </a:lnTo>
                    <a:lnTo>
                      <a:pt x="1103" y="442"/>
                    </a:lnTo>
                    <a:lnTo>
                      <a:pt x="1105" y="441"/>
                    </a:lnTo>
                    <a:lnTo>
                      <a:pt x="1105" y="441"/>
                    </a:lnTo>
                    <a:lnTo>
                      <a:pt x="1105" y="442"/>
                    </a:lnTo>
                    <a:lnTo>
                      <a:pt x="1105" y="444"/>
                    </a:lnTo>
                    <a:lnTo>
                      <a:pt x="1105" y="446"/>
                    </a:lnTo>
                    <a:lnTo>
                      <a:pt x="1109" y="446"/>
                    </a:lnTo>
                    <a:lnTo>
                      <a:pt x="1111" y="444"/>
                    </a:lnTo>
                    <a:lnTo>
                      <a:pt x="1115" y="439"/>
                    </a:lnTo>
                    <a:lnTo>
                      <a:pt x="1115" y="442"/>
                    </a:lnTo>
                    <a:lnTo>
                      <a:pt x="1115" y="444"/>
                    </a:lnTo>
                    <a:lnTo>
                      <a:pt x="1115" y="446"/>
                    </a:lnTo>
                    <a:lnTo>
                      <a:pt x="1118" y="446"/>
                    </a:lnTo>
                    <a:lnTo>
                      <a:pt x="1120" y="441"/>
                    </a:lnTo>
                    <a:lnTo>
                      <a:pt x="1120" y="439"/>
                    </a:lnTo>
                    <a:lnTo>
                      <a:pt x="1120" y="446"/>
                    </a:lnTo>
                    <a:lnTo>
                      <a:pt x="1120" y="450"/>
                    </a:lnTo>
                    <a:lnTo>
                      <a:pt x="1124" y="450"/>
                    </a:lnTo>
                    <a:lnTo>
                      <a:pt x="1130" y="450"/>
                    </a:lnTo>
                    <a:lnTo>
                      <a:pt x="1133" y="450"/>
                    </a:lnTo>
                    <a:lnTo>
                      <a:pt x="1135" y="450"/>
                    </a:lnTo>
                    <a:lnTo>
                      <a:pt x="1135" y="454"/>
                    </a:lnTo>
                    <a:lnTo>
                      <a:pt x="1139" y="450"/>
                    </a:lnTo>
                    <a:lnTo>
                      <a:pt x="1143" y="450"/>
                    </a:lnTo>
                    <a:lnTo>
                      <a:pt x="1143" y="446"/>
                    </a:lnTo>
                    <a:lnTo>
                      <a:pt x="1147" y="442"/>
                    </a:lnTo>
                    <a:lnTo>
                      <a:pt x="1147" y="441"/>
                    </a:lnTo>
                    <a:lnTo>
                      <a:pt x="1145" y="437"/>
                    </a:lnTo>
                    <a:lnTo>
                      <a:pt x="1147" y="433"/>
                    </a:lnTo>
                    <a:lnTo>
                      <a:pt x="1148" y="433"/>
                    </a:lnTo>
                    <a:lnTo>
                      <a:pt x="1148" y="439"/>
                    </a:lnTo>
                    <a:lnTo>
                      <a:pt x="1150" y="439"/>
                    </a:lnTo>
                    <a:lnTo>
                      <a:pt x="1152" y="441"/>
                    </a:lnTo>
                    <a:lnTo>
                      <a:pt x="1148" y="442"/>
                    </a:lnTo>
                    <a:lnTo>
                      <a:pt x="1147" y="448"/>
                    </a:lnTo>
                    <a:lnTo>
                      <a:pt x="1147" y="454"/>
                    </a:lnTo>
                    <a:lnTo>
                      <a:pt x="1147" y="454"/>
                    </a:lnTo>
                    <a:lnTo>
                      <a:pt x="1147" y="454"/>
                    </a:lnTo>
                    <a:lnTo>
                      <a:pt x="1147" y="454"/>
                    </a:lnTo>
                    <a:close/>
                    <a:moveTo>
                      <a:pt x="1022" y="288"/>
                    </a:moveTo>
                    <a:lnTo>
                      <a:pt x="1024" y="286"/>
                    </a:lnTo>
                    <a:lnTo>
                      <a:pt x="1024" y="284"/>
                    </a:lnTo>
                    <a:lnTo>
                      <a:pt x="1022" y="284"/>
                    </a:lnTo>
                    <a:lnTo>
                      <a:pt x="1020" y="286"/>
                    </a:lnTo>
                    <a:lnTo>
                      <a:pt x="1022" y="288"/>
                    </a:lnTo>
                    <a:lnTo>
                      <a:pt x="1022" y="288"/>
                    </a:lnTo>
                    <a:lnTo>
                      <a:pt x="1022" y="288"/>
                    </a:lnTo>
                    <a:lnTo>
                      <a:pt x="1022" y="288"/>
                    </a:lnTo>
                    <a:close/>
                    <a:moveTo>
                      <a:pt x="1015" y="311"/>
                    </a:moveTo>
                    <a:lnTo>
                      <a:pt x="1017" y="307"/>
                    </a:lnTo>
                    <a:lnTo>
                      <a:pt x="1019" y="305"/>
                    </a:lnTo>
                    <a:lnTo>
                      <a:pt x="1019" y="307"/>
                    </a:lnTo>
                    <a:lnTo>
                      <a:pt x="1017" y="311"/>
                    </a:lnTo>
                    <a:lnTo>
                      <a:pt x="1015" y="311"/>
                    </a:lnTo>
                    <a:lnTo>
                      <a:pt x="1015" y="311"/>
                    </a:lnTo>
                    <a:lnTo>
                      <a:pt x="1015" y="311"/>
                    </a:lnTo>
                    <a:lnTo>
                      <a:pt x="1015" y="311"/>
                    </a:lnTo>
                    <a:close/>
                    <a:moveTo>
                      <a:pt x="926" y="344"/>
                    </a:moveTo>
                    <a:lnTo>
                      <a:pt x="924" y="344"/>
                    </a:lnTo>
                    <a:lnTo>
                      <a:pt x="926" y="344"/>
                    </a:lnTo>
                    <a:lnTo>
                      <a:pt x="926" y="344"/>
                    </a:lnTo>
                    <a:lnTo>
                      <a:pt x="926" y="344"/>
                    </a:lnTo>
                    <a:lnTo>
                      <a:pt x="926" y="344"/>
                    </a:lnTo>
                    <a:lnTo>
                      <a:pt x="926" y="344"/>
                    </a:lnTo>
                    <a:lnTo>
                      <a:pt x="926" y="344"/>
                    </a:lnTo>
                    <a:close/>
                    <a:moveTo>
                      <a:pt x="983" y="286"/>
                    </a:moveTo>
                    <a:lnTo>
                      <a:pt x="983" y="288"/>
                    </a:lnTo>
                    <a:lnTo>
                      <a:pt x="985" y="292"/>
                    </a:lnTo>
                    <a:lnTo>
                      <a:pt x="987" y="294"/>
                    </a:lnTo>
                    <a:lnTo>
                      <a:pt x="988" y="292"/>
                    </a:lnTo>
                    <a:lnTo>
                      <a:pt x="987" y="288"/>
                    </a:lnTo>
                    <a:lnTo>
                      <a:pt x="985" y="286"/>
                    </a:lnTo>
                    <a:lnTo>
                      <a:pt x="983" y="286"/>
                    </a:lnTo>
                    <a:lnTo>
                      <a:pt x="983" y="286"/>
                    </a:lnTo>
                    <a:lnTo>
                      <a:pt x="983" y="286"/>
                    </a:lnTo>
                    <a:lnTo>
                      <a:pt x="983" y="286"/>
                    </a:lnTo>
                    <a:close/>
                    <a:moveTo>
                      <a:pt x="956" y="288"/>
                    </a:moveTo>
                    <a:lnTo>
                      <a:pt x="956" y="290"/>
                    </a:lnTo>
                    <a:lnTo>
                      <a:pt x="958" y="292"/>
                    </a:lnTo>
                    <a:lnTo>
                      <a:pt x="960" y="290"/>
                    </a:lnTo>
                    <a:lnTo>
                      <a:pt x="964" y="288"/>
                    </a:lnTo>
                    <a:lnTo>
                      <a:pt x="968" y="290"/>
                    </a:lnTo>
                    <a:lnTo>
                      <a:pt x="972" y="286"/>
                    </a:lnTo>
                    <a:lnTo>
                      <a:pt x="973" y="286"/>
                    </a:lnTo>
                    <a:lnTo>
                      <a:pt x="977" y="284"/>
                    </a:lnTo>
                    <a:lnTo>
                      <a:pt x="975" y="282"/>
                    </a:lnTo>
                    <a:lnTo>
                      <a:pt x="972" y="282"/>
                    </a:lnTo>
                    <a:lnTo>
                      <a:pt x="968" y="284"/>
                    </a:lnTo>
                    <a:lnTo>
                      <a:pt x="968" y="284"/>
                    </a:lnTo>
                    <a:lnTo>
                      <a:pt x="964" y="286"/>
                    </a:lnTo>
                    <a:lnTo>
                      <a:pt x="964" y="286"/>
                    </a:lnTo>
                    <a:lnTo>
                      <a:pt x="962" y="284"/>
                    </a:lnTo>
                    <a:lnTo>
                      <a:pt x="958" y="286"/>
                    </a:lnTo>
                    <a:lnTo>
                      <a:pt x="956" y="288"/>
                    </a:lnTo>
                    <a:lnTo>
                      <a:pt x="956" y="288"/>
                    </a:lnTo>
                    <a:lnTo>
                      <a:pt x="956" y="288"/>
                    </a:lnTo>
                    <a:lnTo>
                      <a:pt x="956" y="288"/>
                    </a:lnTo>
                    <a:close/>
                    <a:moveTo>
                      <a:pt x="926" y="297"/>
                    </a:moveTo>
                    <a:lnTo>
                      <a:pt x="924" y="296"/>
                    </a:lnTo>
                    <a:lnTo>
                      <a:pt x="919" y="296"/>
                    </a:lnTo>
                    <a:lnTo>
                      <a:pt x="917" y="294"/>
                    </a:lnTo>
                    <a:lnTo>
                      <a:pt x="917" y="288"/>
                    </a:lnTo>
                    <a:lnTo>
                      <a:pt x="917" y="286"/>
                    </a:lnTo>
                    <a:lnTo>
                      <a:pt x="919" y="282"/>
                    </a:lnTo>
                    <a:lnTo>
                      <a:pt x="917" y="280"/>
                    </a:lnTo>
                    <a:lnTo>
                      <a:pt x="919" y="277"/>
                    </a:lnTo>
                    <a:lnTo>
                      <a:pt x="923" y="277"/>
                    </a:lnTo>
                    <a:lnTo>
                      <a:pt x="926" y="277"/>
                    </a:lnTo>
                    <a:lnTo>
                      <a:pt x="926" y="277"/>
                    </a:lnTo>
                    <a:lnTo>
                      <a:pt x="928" y="277"/>
                    </a:lnTo>
                    <a:lnTo>
                      <a:pt x="930" y="280"/>
                    </a:lnTo>
                    <a:lnTo>
                      <a:pt x="926" y="280"/>
                    </a:lnTo>
                    <a:lnTo>
                      <a:pt x="926" y="282"/>
                    </a:lnTo>
                    <a:lnTo>
                      <a:pt x="928" y="282"/>
                    </a:lnTo>
                    <a:lnTo>
                      <a:pt x="932" y="282"/>
                    </a:lnTo>
                    <a:lnTo>
                      <a:pt x="930" y="284"/>
                    </a:lnTo>
                    <a:lnTo>
                      <a:pt x="930" y="286"/>
                    </a:lnTo>
                    <a:lnTo>
                      <a:pt x="930" y="290"/>
                    </a:lnTo>
                    <a:lnTo>
                      <a:pt x="932" y="294"/>
                    </a:lnTo>
                    <a:lnTo>
                      <a:pt x="930" y="297"/>
                    </a:lnTo>
                    <a:lnTo>
                      <a:pt x="926" y="297"/>
                    </a:lnTo>
                    <a:lnTo>
                      <a:pt x="926" y="297"/>
                    </a:lnTo>
                    <a:lnTo>
                      <a:pt x="926" y="297"/>
                    </a:lnTo>
                    <a:lnTo>
                      <a:pt x="926" y="297"/>
                    </a:lnTo>
                    <a:close/>
                    <a:moveTo>
                      <a:pt x="923" y="311"/>
                    </a:moveTo>
                    <a:lnTo>
                      <a:pt x="930" y="311"/>
                    </a:lnTo>
                    <a:lnTo>
                      <a:pt x="932" y="311"/>
                    </a:lnTo>
                    <a:lnTo>
                      <a:pt x="936" y="305"/>
                    </a:lnTo>
                    <a:lnTo>
                      <a:pt x="932" y="301"/>
                    </a:lnTo>
                    <a:lnTo>
                      <a:pt x="928" y="301"/>
                    </a:lnTo>
                    <a:lnTo>
                      <a:pt x="924" y="299"/>
                    </a:lnTo>
                    <a:lnTo>
                      <a:pt x="919" y="299"/>
                    </a:lnTo>
                    <a:lnTo>
                      <a:pt x="917" y="299"/>
                    </a:lnTo>
                    <a:lnTo>
                      <a:pt x="913" y="299"/>
                    </a:lnTo>
                    <a:lnTo>
                      <a:pt x="913" y="301"/>
                    </a:lnTo>
                    <a:lnTo>
                      <a:pt x="911" y="301"/>
                    </a:lnTo>
                    <a:lnTo>
                      <a:pt x="909" y="305"/>
                    </a:lnTo>
                    <a:lnTo>
                      <a:pt x="911" y="305"/>
                    </a:lnTo>
                    <a:lnTo>
                      <a:pt x="911" y="305"/>
                    </a:lnTo>
                    <a:lnTo>
                      <a:pt x="913" y="307"/>
                    </a:lnTo>
                    <a:lnTo>
                      <a:pt x="917" y="311"/>
                    </a:lnTo>
                    <a:lnTo>
                      <a:pt x="917" y="311"/>
                    </a:lnTo>
                    <a:lnTo>
                      <a:pt x="923" y="311"/>
                    </a:lnTo>
                    <a:lnTo>
                      <a:pt x="923" y="311"/>
                    </a:lnTo>
                    <a:lnTo>
                      <a:pt x="923" y="311"/>
                    </a:lnTo>
                    <a:lnTo>
                      <a:pt x="923" y="311"/>
                    </a:lnTo>
                    <a:close/>
                    <a:moveTo>
                      <a:pt x="909" y="316"/>
                    </a:moveTo>
                    <a:lnTo>
                      <a:pt x="917" y="318"/>
                    </a:lnTo>
                    <a:lnTo>
                      <a:pt x="923" y="316"/>
                    </a:lnTo>
                    <a:lnTo>
                      <a:pt x="924" y="316"/>
                    </a:lnTo>
                    <a:lnTo>
                      <a:pt x="924" y="318"/>
                    </a:lnTo>
                    <a:lnTo>
                      <a:pt x="928" y="316"/>
                    </a:lnTo>
                    <a:lnTo>
                      <a:pt x="932" y="316"/>
                    </a:lnTo>
                    <a:lnTo>
                      <a:pt x="932" y="314"/>
                    </a:lnTo>
                    <a:lnTo>
                      <a:pt x="928" y="312"/>
                    </a:lnTo>
                    <a:lnTo>
                      <a:pt x="923" y="314"/>
                    </a:lnTo>
                    <a:lnTo>
                      <a:pt x="917" y="314"/>
                    </a:lnTo>
                    <a:lnTo>
                      <a:pt x="917" y="312"/>
                    </a:lnTo>
                    <a:lnTo>
                      <a:pt x="911" y="312"/>
                    </a:lnTo>
                    <a:lnTo>
                      <a:pt x="909" y="314"/>
                    </a:lnTo>
                    <a:lnTo>
                      <a:pt x="909" y="316"/>
                    </a:lnTo>
                    <a:lnTo>
                      <a:pt x="909" y="316"/>
                    </a:lnTo>
                    <a:lnTo>
                      <a:pt x="909" y="316"/>
                    </a:lnTo>
                    <a:lnTo>
                      <a:pt x="909" y="316"/>
                    </a:lnTo>
                    <a:close/>
                    <a:moveTo>
                      <a:pt x="908" y="326"/>
                    </a:moveTo>
                    <a:lnTo>
                      <a:pt x="911" y="326"/>
                    </a:lnTo>
                    <a:lnTo>
                      <a:pt x="913" y="324"/>
                    </a:lnTo>
                    <a:lnTo>
                      <a:pt x="917" y="322"/>
                    </a:lnTo>
                    <a:lnTo>
                      <a:pt x="924" y="320"/>
                    </a:lnTo>
                    <a:lnTo>
                      <a:pt x="926" y="320"/>
                    </a:lnTo>
                    <a:lnTo>
                      <a:pt x="928" y="320"/>
                    </a:lnTo>
                    <a:lnTo>
                      <a:pt x="932" y="320"/>
                    </a:lnTo>
                    <a:lnTo>
                      <a:pt x="932" y="322"/>
                    </a:lnTo>
                    <a:lnTo>
                      <a:pt x="928" y="324"/>
                    </a:lnTo>
                    <a:lnTo>
                      <a:pt x="926" y="324"/>
                    </a:lnTo>
                    <a:lnTo>
                      <a:pt x="923" y="326"/>
                    </a:lnTo>
                    <a:lnTo>
                      <a:pt x="923" y="328"/>
                    </a:lnTo>
                    <a:lnTo>
                      <a:pt x="917" y="329"/>
                    </a:lnTo>
                    <a:lnTo>
                      <a:pt x="913" y="328"/>
                    </a:lnTo>
                    <a:lnTo>
                      <a:pt x="911" y="328"/>
                    </a:lnTo>
                    <a:lnTo>
                      <a:pt x="909" y="328"/>
                    </a:lnTo>
                    <a:lnTo>
                      <a:pt x="908" y="328"/>
                    </a:lnTo>
                    <a:lnTo>
                      <a:pt x="908" y="326"/>
                    </a:lnTo>
                    <a:lnTo>
                      <a:pt x="908" y="326"/>
                    </a:lnTo>
                    <a:lnTo>
                      <a:pt x="908" y="326"/>
                    </a:lnTo>
                    <a:lnTo>
                      <a:pt x="908" y="326"/>
                    </a:lnTo>
                    <a:close/>
                    <a:moveTo>
                      <a:pt x="821" y="213"/>
                    </a:moveTo>
                    <a:lnTo>
                      <a:pt x="819" y="213"/>
                    </a:lnTo>
                    <a:lnTo>
                      <a:pt x="821" y="211"/>
                    </a:lnTo>
                    <a:lnTo>
                      <a:pt x="825" y="211"/>
                    </a:lnTo>
                    <a:lnTo>
                      <a:pt x="823" y="213"/>
                    </a:lnTo>
                    <a:lnTo>
                      <a:pt x="821" y="213"/>
                    </a:lnTo>
                    <a:lnTo>
                      <a:pt x="821" y="213"/>
                    </a:lnTo>
                    <a:lnTo>
                      <a:pt x="821" y="213"/>
                    </a:lnTo>
                    <a:lnTo>
                      <a:pt x="821" y="213"/>
                    </a:lnTo>
                    <a:close/>
                    <a:moveTo>
                      <a:pt x="796" y="226"/>
                    </a:moveTo>
                    <a:lnTo>
                      <a:pt x="800" y="226"/>
                    </a:lnTo>
                    <a:lnTo>
                      <a:pt x="800" y="222"/>
                    </a:lnTo>
                    <a:lnTo>
                      <a:pt x="806" y="226"/>
                    </a:lnTo>
                    <a:lnTo>
                      <a:pt x="810" y="226"/>
                    </a:lnTo>
                    <a:lnTo>
                      <a:pt x="812" y="226"/>
                    </a:lnTo>
                    <a:lnTo>
                      <a:pt x="812" y="228"/>
                    </a:lnTo>
                    <a:lnTo>
                      <a:pt x="813" y="230"/>
                    </a:lnTo>
                    <a:lnTo>
                      <a:pt x="812" y="233"/>
                    </a:lnTo>
                    <a:lnTo>
                      <a:pt x="810" y="235"/>
                    </a:lnTo>
                    <a:lnTo>
                      <a:pt x="806" y="233"/>
                    </a:lnTo>
                    <a:lnTo>
                      <a:pt x="804" y="233"/>
                    </a:lnTo>
                    <a:lnTo>
                      <a:pt x="800" y="230"/>
                    </a:lnTo>
                    <a:lnTo>
                      <a:pt x="800" y="226"/>
                    </a:lnTo>
                    <a:lnTo>
                      <a:pt x="796" y="226"/>
                    </a:lnTo>
                    <a:lnTo>
                      <a:pt x="796" y="226"/>
                    </a:lnTo>
                    <a:lnTo>
                      <a:pt x="796" y="226"/>
                    </a:lnTo>
                    <a:lnTo>
                      <a:pt x="796" y="226"/>
                    </a:lnTo>
                    <a:lnTo>
                      <a:pt x="796" y="226"/>
                    </a:lnTo>
                    <a:lnTo>
                      <a:pt x="796" y="226"/>
                    </a:lnTo>
                    <a:close/>
                    <a:moveTo>
                      <a:pt x="668" y="231"/>
                    </a:moveTo>
                    <a:lnTo>
                      <a:pt x="663" y="231"/>
                    </a:lnTo>
                    <a:lnTo>
                      <a:pt x="663" y="230"/>
                    </a:lnTo>
                    <a:lnTo>
                      <a:pt x="663" y="228"/>
                    </a:lnTo>
                    <a:lnTo>
                      <a:pt x="668" y="230"/>
                    </a:lnTo>
                    <a:lnTo>
                      <a:pt x="668" y="231"/>
                    </a:lnTo>
                    <a:lnTo>
                      <a:pt x="668" y="231"/>
                    </a:lnTo>
                    <a:lnTo>
                      <a:pt x="668" y="231"/>
                    </a:lnTo>
                    <a:lnTo>
                      <a:pt x="668" y="231"/>
                    </a:lnTo>
                    <a:lnTo>
                      <a:pt x="668" y="231"/>
                    </a:lnTo>
                    <a:close/>
                    <a:moveTo>
                      <a:pt x="680" y="250"/>
                    </a:moveTo>
                    <a:lnTo>
                      <a:pt x="685" y="247"/>
                    </a:lnTo>
                    <a:lnTo>
                      <a:pt x="685" y="250"/>
                    </a:lnTo>
                    <a:lnTo>
                      <a:pt x="680" y="250"/>
                    </a:lnTo>
                    <a:lnTo>
                      <a:pt x="680" y="250"/>
                    </a:lnTo>
                    <a:lnTo>
                      <a:pt x="680" y="250"/>
                    </a:lnTo>
                    <a:lnTo>
                      <a:pt x="680" y="250"/>
                    </a:lnTo>
                    <a:lnTo>
                      <a:pt x="680" y="250"/>
                    </a:lnTo>
                    <a:lnTo>
                      <a:pt x="680" y="250"/>
                    </a:lnTo>
                    <a:close/>
                    <a:moveTo>
                      <a:pt x="687" y="247"/>
                    </a:moveTo>
                    <a:lnTo>
                      <a:pt x="689" y="243"/>
                    </a:lnTo>
                    <a:lnTo>
                      <a:pt x="689" y="241"/>
                    </a:lnTo>
                    <a:lnTo>
                      <a:pt x="691" y="237"/>
                    </a:lnTo>
                    <a:lnTo>
                      <a:pt x="693" y="235"/>
                    </a:lnTo>
                    <a:lnTo>
                      <a:pt x="693" y="233"/>
                    </a:lnTo>
                    <a:lnTo>
                      <a:pt x="697" y="231"/>
                    </a:lnTo>
                    <a:lnTo>
                      <a:pt x="700" y="233"/>
                    </a:lnTo>
                    <a:lnTo>
                      <a:pt x="700" y="235"/>
                    </a:lnTo>
                    <a:lnTo>
                      <a:pt x="697" y="237"/>
                    </a:lnTo>
                    <a:lnTo>
                      <a:pt x="693" y="243"/>
                    </a:lnTo>
                    <a:lnTo>
                      <a:pt x="697" y="247"/>
                    </a:lnTo>
                    <a:lnTo>
                      <a:pt x="693" y="247"/>
                    </a:lnTo>
                    <a:lnTo>
                      <a:pt x="693" y="250"/>
                    </a:lnTo>
                    <a:lnTo>
                      <a:pt x="693" y="252"/>
                    </a:lnTo>
                    <a:lnTo>
                      <a:pt x="697" y="250"/>
                    </a:lnTo>
                    <a:lnTo>
                      <a:pt x="697" y="250"/>
                    </a:lnTo>
                    <a:lnTo>
                      <a:pt x="697" y="252"/>
                    </a:lnTo>
                    <a:lnTo>
                      <a:pt x="700" y="254"/>
                    </a:lnTo>
                    <a:lnTo>
                      <a:pt x="704" y="250"/>
                    </a:lnTo>
                    <a:lnTo>
                      <a:pt x="708" y="247"/>
                    </a:lnTo>
                    <a:lnTo>
                      <a:pt x="710" y="247"/>
                    </a:lnTo>
                    <a:lnTo>
                      <a:pt x="712" y="243"/>
                    </a:lnTo>
                    <a:lnTo>
                      <a:pt x="712" y="241"/>
                    </a:lnTo>
                    <a:lnTo>
                      <a:pt x="714" y="241"/>
                    </a:lnTo>
                    <a:lnTo>
                      <a:pt x="717" y="237"/>
                    </a:lnTo>
                    <a:lnTo>
                      <a:pt x="717" y="231"/>
                    </a:lnTo>
                    <a:lnTo>
                      <a:pt x="717" y="231"/>
                    </a:lnTo>
                    <a:lnTo>
                      <a:pt x="717" y="231"/>
                    </a:lnTo>
                    <a:lnTo>
                      <a:pt x="717" y="235"/>
                    </a:lnTo>
                    <a:lnTo>
                      <a:pt x="717" y="237"/>
                    </a:lnTo>
                    <a:lnTo>
                      <a:pt x="717" y="243"/>
                    </a:lnTo>
                    <a:lnTo>
                      <a:pt x="721" y="247"/>
                    </a:lnTo>
                    <a:lnTo>
                      <a:pt x="721" y="247"/>
                    </a:lnTo>
                    <a:lnTo>
                      <a:pt x="725" y="243"/>
                    </a:lnTo>
                    <a:lnTo>
                      <a:pt x="725" y="237"/>
                    </a:lnTo>
                    <a:lnTo>
                      <a:pt x="727" y="237"/>
                    </a:lnTo>
                    <a:lnTo>
                      <a:pt x="731" y="235"/>
                    </a:lnTo>
                    <a:lnTo>
                      <a:pt x="732" y="230"/>
                    </a:lnTo>
                    <a:lnTo>
                      <a:pt x="732" y="226"/>
                    </a:lnTo>
                    <a:lnTo>
                      <a:pt x="732" y="222"/>
                    </a:lnTo>
                    <a:lnTo>
                      <a:pt x="734" y="218"/>
                    </a:lnTo>
                    <a:lnTo>
                      <a:pt x="736" y="222"/>
                    </a:lnTo>
                    <a:lnTo>
                      <a:pt x="742" y="218"/>
                    </a:lnTo>
                    <a:lnTo>
                      <a:pt x="746" y="213"/>
                    </a:lnTo>
                    <a:lnTo>
                      <a:pt x="746" y="211"/>
                    </a:lnTo>
                    <a:lnTo>
                      <a:pt x="749" y="211"/>
                    </a:lnTo>
                    <a:lnTo>
                      <a:pt x="751" y="209"/>
                    </a:lnTo>
                    <a:lnTo>
                      <a:pt x="751" y="211"/>
                    </a:lnTo>
                    <a:lnTo>
                      <a:pt x="755" y="209"/>
                    </a:lnTo>
                    <a:lnTo>
                      <a:pt x="757" y="209"/>
                    </a:lnTo>
                    <a:lnTo>
                      <a:pt x="755" y="216"/>
                    </a:lnTo>
                    <a:lnTo>
                      <a:pt x="751" y="220"/>
                    </a:lnTo>
                    <a:lnTo>
                      <a:pt x="751" y="226"/>
                    </a:lnTo>
                    <a:lnTo>
                      <a:pt x="749" y="226"/>
                    </a:lnTo>
                    <a:lnTo>
                      <a:pt x="748" y="228"/>
                    </a:lnTo>
                    <a:lnTo>
                      <a:pt x="746" y="230"/>
                    </a:lnTo>
                    <a:lnTo>
                      <a:pt x="740" y="237"/>
                    </a:lnTo>
                    <a:lnTo>
                      <a:pt x="740" y="241"/>
                    </a:lnTo>
                    <a:lnTo>
                      <a:pt x="742" y="243"/>
                    </a:lnTo>
                    <a:lnTo>
                      <a:pt x="742" y="247"/>
                    </a:lnTo>
                    <a:lnTo>
                      <a:pt x="742" y="247"/>
                    </a:lnTo>
                    <a:lnTo>
                      <a:pt x="748" y="247"/>
                    </a:lnTo>
                    <a:lnTo>
                      <a:pt x="749" y="247"/>
                    </a:lnTo>
                    <a:lnTo>
                      <a:pt x="751" y="243"/>
                    </a:lnTo>
                    <a:lnTo>
                      <a:pt x="755" y="241"/>
                    </a:lnTo>
                    <a:lnTo>
                      <a:pt x="755" y="237"/>
                    </a:lnTo>
                    <a:lnTo>
                      <a:pt x="755" y="235"/>
                    </a:lnTo>
                    <a:lnTo>
                      <a:pt x="757" y="231"/>
                    </a:lnTo>
                    <a:lnTo>
                      <a:pt x="761" y="231"/>
                    </a:lnTo>
                    <a:lnTo>
                      <a:pt x="763" y="231"/>
                    </a:lnTo>
                    <a:lnTo>
                      <a:pt x="764" y="233"/>
                    </a:lnTo>
                    <a:lnTo>
                      <a:pt x="768" y="233"/>
                    </a:lnTo>
                    <a:lnTo>
                      <a:pt x="770" y="231"/>
                    </a:lnTo>
                    <a:lnTo>
                      <a:pt x="776" y="230"/>
                    </a:lnTo>
                    <a:lnTo>
                      <a:pt x="776" y="228"/>
                    </a:lnTo>
                    <a:lnTo>
                      <a:pt x="780" y="220"/>
                    </a:lnTo>
                    <a:lnTo>
                      <a:pt x="781" y="216"/>
                    </a:lnTo>
                    <a:lnTo>
                      <a:pt x="781" y="213"/>
                    </a:lnTo>
                    <a:lnTo>
                      <a:pt x="785" y="211"/>
                    </a:lnTo>
                    <a:lnTo>
                      <a:pt x="787" y="216"/>
                    </a:lnTo>
                    <a:lnTo>
                      <a:pt x="789" y="216"/>
                    </a:lnTo>
                    <a:lnTo>
                      <a:pt x="791" y="213"/>
                    </a:lnTo>
                    <a:lnTo>
                      <a:pt x="791" y="213"/>
                    </a:lnTo>
                    <a:lnTo>
                      <a:pt x="787" y="207"/>
                    </a:lnTo>
                    <a:lnTo>
                      <a:pt x="787" y="203"/>
                    </a:lnTo>
                    <a:lnTo>
                      <a:pt x="791" y="199"/>
                    </a:lnTo>
                    <a:lnTo>
                      <a:pt x="795" y="199"/>
                    </a:lnTo>
                    <a:lnTo>
                      <a:pt x="798" y="198"/>
                    </a:lnTo>
                    <a:lnTo>
                      <a:pt x="800" y="199"/>
                    </a:lnTo>
                    <a:lnTo>
                      <a:pt x="804" y="198"/>
                    </a:lnTo>
                    <a:lnTo>
                      <a:pt x="806" y="194"/>
                    </a:lnTo>
                    <a:lnTo>
                      <a:pt x="806" y="192"/>
                    </a:lnTo>
                    <a:lnTo>
                      <a:pt x="806" y="183"/>
                    </a:lnTo>
                    <a:lnTo>
                      <a:pt x="806" y="183"/>
                    </a:lnTo>
                    <a:lnTo>
                      <a:pt x="806" y="181"/>
                    </a:lnTo>
                    <a:lnTo>
                      <a:pt x="806" y="177"/>
                    </a:lnTo>
                    <a:lnTo>
                      <a:pt x="800" y="173"/>
                    </a:lnTo>
                    <a:lnTo>
                      <a:pt x="800" y="177"/>
                    </a:lnTo>
                    <a:lnTo>
                      <a:pt x="795" y="179"/>
                    </a:lnTo>
                    <a:lnTo>
                      <a:pt x="795" y="183"/>
                    </a:lnTo>
                    <a:lnTo>
                      <a:pt x="795" y="186"/>
                    </a:lnTo>
                    <a:lnTo>
                      <a:pt x="795" y="188"/>
                    </a:lnTo>
                    <a:lnTo>
                      <a:pt x="793" y="188"/>
                    </a:lnTo>
                    <a:lnTo>
                      <a:pt x="791" y="186"/>
                    </a:lnTo>
                    <a:lnTo>
                      <a:pt x="789" y="186"/>
                    </a:lnTo>
                    <a:lnTo>
                      <a:pt x="789" y="186"/>
                    </a:lnTo>
                    <a:lnTo>
                      <a:pt x="787" y="188"/>
                    </a:lnTo>
                    <a:lnTo>
                      <a:pt x="785" y="186"/>
                    </a:lnTo>
                    <a:lnTo>
                      <a:pt x="785" y="183"/>
                    </a:lnTo>
                    <a:lnTo>
                      <a:pt x="781" y="179"/>
                    </a:lnTo>
                    <a:lnTo>
                      <a:pt x="780" y="179"/>
                    </a:lnTo>
                    <a:lnTo>
                      <a:pt x="780" y="181"/>
                    </a:lnTo>
                    <a:lnTo>
                      <a:pt x="776" y="179"/>
                    </a:lnTo>
                    <a:lnTo>
                      <a:pt x="772" y="179"/>
                    </a:lnTo>
                    <a:lnTo>
                      <a:pt x="768" y="179"/>
                    </a:lnTo>
                    <a:lnTo>
                      <a:pt x="761" y="177"/>
                    </a:lnTo>
                    <a:lnTo>
                      <a:pt x="757" y="181"/>
                    </a:lnTo>
                    <a:lnTo>
                      <a:pt x="755" y="183"/>
                    </a:lnTo>
                    <a:lnTo>
                      <a:pt x="755" y="186"/>
                    </a:lnTo>
                    <a:lnTo>
                      <a:pt x="751" y="183"/>
                    </a:lnTo>
                    <a:lnTo>
                      <a:pt x="751" y="183"/>
                    </a:lnTo>
                    <a:lnTo>
                      <a:pt x="742" y="192"/>
                    </a:lnTo>
                    <a:lnTo>
                      <a:pt x="738" y="194"/>
                    </a:lnTo>
                    <a:lnTo>
                      <a:pt x="736" y="194"/>
                    </a:lnTo>
                    <a:lnTo>
                      <a:pt x="731" y="198"/>
                    </a:lnTo>
                    <a:lnTo>
                      <a:pt x="727" y="198"/>
                    </a:lnTo>
                    <a:lnTo>
                      <a:pt x="727" y="199"/>
                    </a:lnTo>
                    <a:lnTo>
                      <a:pt x="725" y="203"/>
                    </a:lnTo>
                    <a:lnTo>
                      <a:pt x="717" y="203"/>
                    </a:lnTo>
                    <a:lnTo>
                      <a:pt x="717" y="203"/>
                    </a:lnTo>
                    <a:lnTo>
                      <a:pt x="714" y="203"/>
                    </a:lnTo>
                    <a:lnTo>
                      <a:pt x="712" y="205"/>
                    </a:lnTo>
                    <a:lnTo>
                      <a:pt x="708" y="205"/>
                    </a:lnTo>
                    <a:lnTo>
                      <a:pt x="702" y="211"/>
                    </a:lnTo>
                    <a:lnTo>
                      <a:pt x="700" y="213"/>
                    </a:lnTo>
                    <a:lnTo>
                      <a:pt x="693" y="211"/>
                    </a:lnTo>
                    <a:lnTo>
                      <a:pt x="691" y="213"/>
                    </a:lnTo>
                    <a:lnTo>
                      <a:pt x="682" y="213"/>
                    </a:lnTo>
                    <a:lnTo>
                      <a:pt x="678" y="218"/>
                    </a:lnTo>
                    <a:lnTo>
                      <a:pt x="676" y="218"/>
                    </a:lnTo>
                    <a:lnTo>
                      <a:pt x="672" y="220"/>
                    </a:lnTo>
                    <a:lnTo>
                      <a:pt x="668" y="226"/>
                    </a:lnTo>
                    <a:lnTo>
                      <a:pt x="672" y="226"/>
                    </a:lnTo>
                    <a:lnTo>
                      <a:pt x="672" y="226"/>
                    </a:lnTo>
                    <a:lnTo>
                      <a:pt x="672" y="226"/>
                    </a:lnTo>
                    <a:lnTo>
                      <a:pt x="668" y="228"/>
                    </a:lnTo>
                    <a:lnTo>
                      <a:pt x="672" y="230"/>
                    </a:lnTo>
                    <a:lnTo>
                      <a:pt x="672" y="233"/>
                    </a:lnTo>
                    <a:lnTo>
                      <a:pt x="667" y="235"/>
                    </a:lnTo>
                    <a:lnTo>
                      <a:pt x="667" y="237"/>
                    </a:lnTo>
                    <a:lnTo>
                      <a:pt x="668" y="237"/>
                    </a:lnTo>
                    <a:lnTo>
                      <a:pt x="672" y="237"/>
                    </a:lnTo>
                    <a:lnTo>
                      <a:pt x="676" y="233"/>
                    </a:lnTo>
                    <a:lnTo>
                      <a:pt x="678" y="233"/>
                    </a:lnTo>
                    <a:lnTo>
                      <a:pt x="682" y="235"/>
                    </a:lnTo>
                    <a:lnTo>
                      <a:pt x="684" y="237"/>
                    </a:lnTo>
                    <a:lnTo>
                      <a:pt x="684" y="243"/>
                    </a:lnTo>
                    <a:lnTo>
                      <a:pt x="687" y="247"/>
                    </a:lnTo>
                    <a:lnTo>
                      <a:pt x="687" y="247"/>
                    </a:lnTo>
                    <a:lnTo>
                      <a:pt x="687" y="247"/>
                    </a:lnTo>
                    <a:lnTo>
                      <a:pt x="687" y="247"/>
                    </a:lnTo>
                    <a:close/>
                    <a:moveTo>
                      <a:pt x="1039" y="454"/>
                    </a:moveTo>
                    <a:lnTo>
                      <a:pt x="1039" y="450"/>
                    </a:lnTo>
                    <a:lnTo>
                      <a:pt x="1045" y="454"/>
                    </a:lnTo>
                    <a:lnTo>
                      <a:pt x="1045" y="454"/>
                    </a:lnTo>
                    <a:lnTo>
                      <a:pt x="1043" y="458"/>
                    </a:lnTo>
                    <a:lnTo>
                      <a:pt x="1041" y="454"/>
                    </a:lnTo>
                    <a:lnTo>
                      <a:pt x="1039" y="454"/>
                    </a:lnTo>
                    <a:lnTo>
                      <a:pt x="1039" y="454"/>
                    </a:lnTo>
                    <a:lnTo>
                      <a:pt x="1039" y="454"/>
                    </a:lnTo>
                    <a:lnTo>
                      <a:pt x="1039" y="454"/>
                    </a:lnTo>
                    <a:close/>
                    <a:moveTo>
                      <a:pt x="998" y="371"/>
                    </a:moveTo>
                    <a:lnTo>
                      <a:pt x="996" y="369"/>
                    </a:lnTo>
                    <a:lnTo>
                      <a:pt x="992" y="369"/>
                    </a:lnTo>
                    <a:lnTo>
                      <a:pt x="990" y="371"/>
                    </a:lnTo>
                    <a:lnTo>
                      <a:pt x="992" y="371"/>
                    </a:lnTo>
                    <a:lnTo>
                      <a:pt x="996" y="373"/>
                    </a:lnTo>
                    <a:lnTo>
                      <a:pt x="996" y="373"/>
                    </a:lnTo>
                    <a:lnTo>
                      <a:pt x="990" y="375"/>
                    </a:lnTo>
                    <a:lnTo>
                      <a:pt x="988" y="375"/>
                    </a:lnTo>
                    <a:lnTo>
                      <a:pt x="990" y="378"/>
                    </a:lnTo>
                    <a:lnTo>
                      <a:pt x="992" y="380"/>
                    </a:lnTo>
                    <a:lnTo>
                      <a:pt x="992" y="380"/>
                    </a:lnTo>
                    <a:lnTo>
                      <a:pt x="987" y="380"/>
                    </a:lnTo>
                    <a:lnTo>
                      <a:pt x="983" y="380"/>
                    </a:lnTo>
                    <a:lnTo>
                      <a:pt x="981" y="384"/>
                    </a:lnTo>
                    <a:lnTo>
                      <a:pt x="981" y="388"/>
                    </a:lnTo>
                    <a:lnTo>
                      <a:pt x="977" y="388"/>
                    </a:lnTo>
                    <a:lnTo>
                      <a:pt x="977" y="390"/>
                    </a:lnTo>
                    <a:lnTo>
                      <a:pt x="981" y="390"/>
                    </a:lnTo>
                    <a:lnTo>
                      <a:pt x="981" y="390"/>
                    </a:lnTo>
                    <a:lnTo>
                      <a:pt x="981" y="393"/>
                    </a:lnTo>
                    <a:lnTo>
                      <a:pt x="981" y="395"/>
                    </a:lnTo>
                    <a:lnTo>
                      <a:pt x="981" y="390"/>
                    </a:lnTo>
                    <a:lnTo>
                      <a:pt x="983" y="390"/>
                    </a:lnTo>
                    <a:lnTo>
                      <a:pt x="981" y="395"/>
                    </a:lnTo>
                    <a:lnTo>
                      <a:pt x="981" y="395"/>
                    </a:lnTo>
                    <a:lnTo>
                      <a:pt x="985" y="399"/>
                    </a:lnTo>
                    <a:lnTo>
                      <a:pt x="987" y="399"/>
                    </a:lnTo>
                    <a:lnTo>
                      <a:pt x="987" y="399"/>
                    </a:lnTo>
                    <a:lnTo>
                      <a:pt x="988" y="401"/>
                    </a:lnTo>
                    <a:lnTo>
                      <a:pt x="988" y="401"/>
                    </a:lnTo>
                    <a:lnTo>
                      <a:pt x="990" y="399"/>
                    </a:lnTo>
                    <a:lnTo>
                      <a:pt x="992" y="399"/>
                    </a:lnTo>
                    <a:lnTo>
                      <a:pt x="992" y="405"/>
                    </a:lnTo>
                    <a:lnTo>
                      <a:pt x="992" y="407"/>
                    </a:lnTo>
                    <a:lnTo>
                      <a:pt x="998" y="407"/>
                    </a:lnTo>
                    <a:lnTo>
                      <a:pt x="998" y="410"/>
                    </a:lnTo>
                    <a:lnTo>
                      <a:pt x="1002" y="410"/>
                    </a:lnTo>
                    <a:lnTo>
                      <a:pt x="1005" y="412"/>
                    </a:lnTo>
                    <a:lnTo>
                      <a:pt x="1007" y="412"/>
                    </a:lnTo>
                    <a:lnTo>
                      <a:pt x="1009" y="414"/>
                    </a:lnTo>
                    <a:lnTo>
                      <a:pt x="1011" y="412"/>
                    </a:lnTo>
                    <a:lnTo>
                      <a:pt x="1009" y="410"/>
                    </a:lnTo>
                    <a:lnTo>
                      <a:pt x="1013" y="409"/>
                    </a:lnTo>
                    <a:lnTo>
                      <a:pt x="1015" y="403"/>
                    </a:lnTo>
                    <a:lnTo>
                      <a:pt x="1013" y="399"/>
                    </a:lnTo>
                    <a:lnTo>
                      <a:pt x="1017" y="395"/>
                    </a:lnTo>
                    <a:lnTo>
                      <a:pt x="1019" y="395"/>
                    </a:lnTo>
                    <a:lnTo>
                      <a:pt x="1020" y="388"/>
                    </a:lnTo>
                    <a:lnTo>
                      <a:pt x="1020" y="382"/>
                    </a:lnTo>
                    <a:lnTo>
                      <a:pt x="1020" y="382"/>
                    </a:lnTo>
                    <a:lnTo>
                      <a:pt x="1020" y="378"/>
                    </a:lnTo>
                    <a:lnTo>
                      <a:pt x="1017" y="375"/>
                    </a:lnTo>
                    <a:lnTo>
                      <a:pt x="1017" y="371"/>
                    </a:lnTo>
                    <a:lnTo>
                      <a:pt x="1015" y="369"/>
                    </a:lnTo>
                    <a:lnTo>
                      <a:pt x="1015" y="365"/>
                    </a:lnTo>
                    <a:lnTo>
                      <a:pt x="1009" y="365"/>
                    </a:lnTo>
                    <a:lnTo>
                      <a:pt x="1005" y="365"/>
                    </a:lnTo>
                    <a:lnTo>
                      <a:pt x="1002" y="365"/>
                    </a:lnTo>
                    <a:lnTo>
                      <a:pt x="998" y="365"/>
                    </a:lnTo>
                    <a:lnTo>
                      <a:pt x="998" y="369"/>
                    </a:lnTo>
                    <a:lnTo>
                      <a:pt x="998" y="369"/>
                    </a:lnTo>
                    <a:lnTo>
                      <a:pt x="998" y="371"/>
                    </a:lnTo>
                    <a:lnTo>
                      <a:pt x="998" y="371"/>
                    </a:lnTo>
                    <a:lnTo>
                      <a:pt x="998" y="371"/>
                    </a:lnTo>
                    <a:lnTo>
                      <a:pt x="998" y="371"/>
                    </a:lnTo>
                    <a:lnTo>
                      <a:pt x="998" y="371"/>
                    </a:lnTo>
                    <a:close/>
                    <a:moveTo>
                      <a:pt x="1022" y="344"/>
                    </a:moveTo>
                    <a:lnTo>
                      <a:pt x="1020" y="341"/>
                    </a:lnTo>
                    <a:lnTo>
                      <a:pt x="1020" y="339"/>
                    </a:lnTo>
                    <a:lnTo>
                      <a:pt x="1024" y="339"/>
                    </a:lnTo>
                    <a:lnTo>
                      <a:pt x="1024" y="339"/>
                    </a:lnTo>
                    <a:lnTo>
                      <a:pt x="1022" y="344"/>
                    </a:lnTo>
                    <a:lnTo>
                      <a:pt x="1022" y="344"/>
                    </a:lnTo>
                    <a:lnTo>
                      <a:pt x="1022" y="344"/>
                    </a:lnTo>
                    <a:lnTo>
                      <a:pt x="1022" y="344"/>
                    </a:lnTo>
                    <a:close/>
                    <a:moveTo>
                      <a:pt x="1019" y="361"/>
                    </a:moveTo>
                    <a:lnTo>
                      <a:pt x="1017" y="360"/>
                    </a:lnTo>
                    <a:lnTo>
                      <a:pt x="1015" y="356"/>
                    </a:lnTo>
                    <a:lnTo>
                      <a:pt x="1017" y="356"/>
                    </a:lnTo>
                    <a:lnTo>
                      <a:pt x="1017" y="354"/>
                    </a:lnTo>
                    <a:lnTo>
                      <a:pt x="1017" y="350"/>
                    </a:lnTo>
                    <a:lnTo>
                      <a:pt x="1019" y="348"/>
                    </a:lnTo>
                    <a:lnTo>
                      <a:pt x="1024" y="348"/>
                    </a:lnTo>
                    <a:lnTo>
                      <a:pt x="1020" y="356"/>
                    </a:lnTo>
                    <a:lnTo>
                      <a:pt x="1019" y="361"/>
                    </a:lnTo>
                    <a:lnTo>
                      <a:pt x="1019" y="361"/>
                    </a:lnTo>
                    <a:lnTo>
                      <a:pt x="1019" y="361"/>
                    </a:lnTo>
                    <a:lnTo>
                      <a:pt x="1019" y="361"/>
                    </a:lnTo>
                    <a:lnTo>
                      <a:pt x="1019" y="361"/>
                    </a:lnTo>
                    <a:lnTo>
                      <a:pt x="1019" y="361"/>
                    </a:lnTo>
                    <a:close/>
                    <a:moveTo>
                      <a:pt x="992" y="354"/>
                    </a:moveTo>
                    <a:lnTo>
                      <a:pt x="990" y="352"/>
                    </a:lnTo>
                    <a:lnTo>
                      <a:pt x="992" y="350"/>
                    </a:lnTo>
                    <a:lnTo>
                      <a:pt x="996" y="348"/>
                    </a:lnTo>
                    <a:lnTo>
                      <a:pt x="998" y="350"/>
                    </a:lnTo>
                    <a:lnTo>
                      <a:pt x="996" y="352"/>
                    </a:lnTo>
                    <a:lnTo>
                      <a:pt x="992" y="352"/>
                    </a:lnTo>
                    <a:lnTo>
                      <a:pt x="992" y="354"/>
                    </a:lnTo>
                    <a:lnTo>
                      <a:pt x="992" y="354"/>
                    </a:lnTo>
                    <a:lnTo>
                      <a:pt x="992" y="354"/>
                    </a:lnTo>
                    <a:lnTo>
                      <a:pt x="992" y="354"/>
                    </a:lnTo>
                    <a:close/>
                    <a:moveTo>
                      <a:pt x="985" y="356"/>
                    </a:moveTo>
                    <a:lnTo>
                      <a:pt x="985" y="356"/>
                    </a:lnTo>
                    <a:lnTo>
                      <a:pt x="987" y="356"/>
                    </a:lnTo>
                    <a:lnTo>
                      <a:pt x="988" y="356"/>
                    </a:lnTo>
                    <a:lnTo>
                      <a:pt x="987" y="356"/>
                    </a:lnTo>
                    <a:lnTo>
                      <a:pt x="985" y="356"/>
                    </a:lnTo>
                    <a:lnTo>
                      <a:pt x="985" y="356"/>
                    </a:lnTo>
                    <a:lnTo>
                      <a:pt x="985" y="356"/>
                    </a:lnTo>
                    <a:lnTo>
                      <a:pt x="985" y="356"/>
                    </a:lnTo>
                    <a:close/>
                    <a:moveTo>
                      <a:pt x="990" y="365"/>
                    </a:moveTo>
                    <a:lnTo>
                      <a:pt x="992" y="365"/>
                    </a:lnTo>
                    <a:lnTo>
                      <a:pt x="990" y="363"/>
                    </a:lnTo>
                    <a:lnTo>
                      <a:pt x="990" y="360"/>
                    </a:lnTo>
                    <a:lnTo>
                      <a:pt x="992" y="360"/>
                    </a:lnTo>
                    <a:lnTo>
                      <a:pt x="992" y="361"/>
                    </a:lnTo>
                    <a:lnTo>
                      <a:pt x="996" y="363"/>
                    </a:lnTo>
                    <a:lnTo>
                      <a:pt x="992" y="365"/>
                    </a:lnTo>
                    <a:lnTo>
                      <a:pt x="990" y="365"/>
                    </a:lnTo>
                    <a:lnTo>
                      <a:pt x="990" y="365"/>
                    </a:lnTo>
                    <a:lnTo>
                      <a:pt x="990" y="365"/>
                    </a:lnTo>
                    <a:lnTo>
                      <a:pt x="990" y="365"/>
                    </a:lnTo>
                    <a:close/>
                    <a:moveTo>
                      <a:pt x="983" y="369"/>
                    </a:moveTo>
                    <a:lnTo>
                      <a:pt x="981" y="369"/>
                    </a:lnTo>
                    <a:lnTo>
                      <a:pt x="981" y="363"/>
                    </a:lnTo>
                    <a:lnTo>
                      <a:pt x="981" y="363"/>
                    </a:lnTo>
                    <a:lnTo>
                      <a:pt x="983" y="361"/>
                    </a:lnTo>
                    <a:lnTo>
                      <a:pt x="985" y="361"/>
                    </a:lnTo>
                    <a:lnTo>
                      <a:pt x="988" y="363"/>
                    </a:lnTo>
                    <a:lnTo>
                      <a:pt x="988" y="363"/>
                    </a:lnTo>
                    <a:lnTo>
                      <a:pt x="988" y="365"/>
                    </a:lnTo>
                    <a:lnTo>
                      <a:pt x="988" y="365"/>
                    </a:lnTo>
                    <a:lnTo>
                      <a:pt x="985" y="369"/>
                    </a:lnTo>
                    <a:lnTo>
                      <a:pt x="985" y="369"/>
                    </a:lnTo>
                    <a:lnTo>
                      <a:pt x="983" y="369"/>
                    </a:lnTo>
                    <a:lnTo>
                      <a:pt x="983" y="369"/>
                    </a:lnTo>
                    <a:lnTo>
                      <a:pt x="983" y="369"/>
                    </a:lnTo>
                    <a:lnTo>
                      <a:pt x="983" y="369"/>
                    </a:lnTo>
                    <a:close/>
                    <a:moveTo>
                      <a:pt x="973" y="371"/>
                    </a:moveTo>
                    <a:lnTo>
                      <a:pt x="972" y="369"/>
                    </a:lnTo>
                    <a:lnTo>
                      <a:pt x="973" y="369"/>
                    </a:lnTo>
                    <a:lnTo>
                      <a:pt x="975" y="369"/>
                    </a:lnTo>
                    <a:lnTo>
                      <a:pt x="973" y="371"/>
                    </a:lnTo>
                    <a:lnTo>
                      <a:pt x="973" y="371"/>
                    </a:lnTo>
                    <a:lnTo>
                      <a:pt x="973" y="371"/>
                    </a:lnTo>
                    <a:lnTo>
                      <a:pt x="973" y="371"/>
                    </a:lnTo>
                    <a:lnTo>
                      <a:pt x="973" y="371"/>
                    </a:lnTo>
                    <a:close/>
                    <a:moveTo>
                      <a:pt x="936" y="377"/>
                    </a:moveTo>
                    <a:lnTo>
                      <a:pt x="934" y="375"/>
                    </a:lnTo>
                    <a:lnTo>
                      <a:pt x="930" y="375"/>
                    </a:lnTo>
                    <a:lnTo>
                      <a:pt x="928" y="373"/>
                    </a:lnTo>
                    <a:lnTo>
                      <a:pt x="928" y="369"/>
                    </a:lnTo>
                    <a:lnTo>
                      <a:pt x="930" y="369"/>
                    </a:lnTo>
                    <a:lnTo>
                      <a:pt x="928" y="365"/>
                    </a:lnTo>
                    <a:lnTo>
                      <a:pt x="930" y="363"/>
                    </a:lnTo>
                    <a:lnTo>
                      <a:pt x="932" y="363"/>
                    </a:lnTo>
                    <a:lnTo>
                      <a:pt x="934" y="365"/>
                    </a:lnTo>
                    <a:lnTo>
                      <a:pt x="936" y="365"/>
                    </a:lnTo>
                    <a:lnTo>
                      <a:pt x="934" y="363"/>
                    </a:lnTo>
                    <a:lnTo>
                      <a:pt x="934" y="360"/>
                    </a:lnTo>
                    <a:lnTo>
                      <a:pt x="932" y="360"/>
                    </a:lnTo>
                    <a:lnTo>
                      <a:pt x="930" y="356"/>
                    </a:lnTo>
                    <a:lnTo>
                      <a:pt x="930" y="356"/>
                    </a:lnTo>
                    <a:lnTo>
                      <a:pt x="928" y="354"/>
                    </a:lnTo>
                    <a:lnTo>
                      <a:pt x="930" y="354"/>
                    </a:lnTo>
                    <a:lnTo>
                      <a:pt x="932" y="356"/>
                    </a:lnTo>
                    <a:lnTo>
                      <a:pt x="934" y="354"/>
                    </a:lnTo>
                    <a:lnTo>
                      <a:pt x="932" y="352"/>
                    </a:lnTo>
                    <a:lnTo>
                      <a:pt x="936" y="352"/>
                    </a:lnTo>
                    <a:lnTo>
                      <a:pt x="938" y="352"/>
                    </a:lnTo>
                    <a:lnTo>
                      <a:pt x="943" y="354"/>
                    </a:lnTo>
                    <a:lnTo>
                      <a:pt x="943" y="352"/>
                    </a:lnTo>
                    <a:lnTo>
                      <a:pt x="943" y="350"/>
                    </a:lnTo>
                    <a:lnTo>
                      <a:pt x="941" y="350"/>
                    </a:lnTo>
                    <a:lnTo>
                      <a:pt x="943" y="350"/>
                    </a:lnTo>
                    <a:lnTo>
                      <a:pt x="947" y="350"/>
                    </a:lnTo>
                    <a:lnTo>
                      <a:pt x="951" y="346"/>
                    </a:lnTo>
                    <a:lnTo>
                      <a:pt x="955" y="346"/>
                    </a:lnTo>
                    <a:lnTo>
                      <a:pt x="960" y="348"/>
                    </a:lnTo>
                    <a:lnTo>
                      <a:pt x="962" y="346"/>
                    </a:lnTo>
                    <a:lnTo>
                      <a:pt x="960" y="344"/>
                    </a:lnTo>
                    <a:lnTo>
                      <a:pt x="947" y="341"/>
                    </a:lnTo>
                    <a:lnTo>
                      <a:pt x="943" y="341"/>
                    </a:lnTo>
                    <a:lnTo>
                      <a:pt x="940" y="341"/>
                    </a:lnTo>
                    <a:lnTo>
                      <a:pt x="934" y="341"/>
                    </a:lnTo>
                    <a:lnTo>
                      <a:pt x="930" y="339"/>
                    </a:lnTo>
                    <a:lnTo>
                      <a:pt x="928" y="339"/>
                    </a:lnTo>
                    <a:lnTo>
                      <a:pt x="924" y="339"/>
                    </a:lnTo>
                    <a:lnTo>
                      <a:pt x="923" y="339"/>
                    </a:lnTo>
                    <a:lnTo>
                      <a:pt x="923" y="339"/>
                    </a:lnTo>
                    <a:lnTo>
                      <a:pt x="919" y="339"/>
                    </a:lnTo>
                    <a:lnTo>
                      <a:pt x="917" y="339"/>
                    </a:lnTo>
                    <a:lnTo>
                      <a:pt x="913" y="337"/>
                    </a:lnTo>
                    <a:lnTo>
                      <a:pt x="913" y="335"/>
                    </a:lnTo>
                    <a:lnTo>
                      <a:pt x="917" y="335"/>
                    </a:lnTo>
                    <a:lnTo>
                      <a:pt x="919" y="331"/>
                    </a:lnTo>
                    <a:lnTo>
                      <a:pt x="923" y="335"/>
                    </a:lnTo>
                    <a:lnTo>
                      <a:pt x="924" y="331"/>
                    </a:lnTo>
                    <a:lnTo>
                      <a:pt x="923" y="331"/>
                    </a:lnTo>
                    <a:lnTo>
                      <a:pt x="923" y="329"/>
                    </a:lnTo>
                    <a:lnTo>
                      <a:pt x="926" y="328"/>
                    </a:lnTo>
                    <a:lnTo>
                      <a:pt x="930" y="328"/>
                    </a:lnTo>
                    <a:lnTo>
                      <a:pt x="932" y="326"/>
                    </a:lnTo>
                    <a:lnTo>
                      <a:pt x="932" y="329"/>
                    </a:lnTo>
                    <a:lnTo>
                      <a:pt x="934" y="331"/>
                    </a:lnTo>
                    <a:lnTo>
                      <a:pt x="934" y="335"/>
                    </a:lnTo>
                    <a:lnTo>
                      <a:pt x="936" y="335"/>
                    </a:lnTo>
                    <a:lnTo>
                      <a:pt x="938" y="335"/>
                    </a:lnTo>
                    <a:lnTo>
                      <a:pt x="936" y="331"/>
                    </a:lnTo>
                    <a:lnTo>
                      <a:pt x="934" y="328"/>
                    </a:lnTo>
                    <a:lnTo>
                      <a:pt x="936" y="326"/>
                    </a:lnTo>
                    <a:lnTo>
                      <a:pt x="940" y="324"/>
                    </a:lnTo>
                    <a:lnTo>
                      <a:pt x="940" y="322"/>
                    </a:lnTo>
                    <a:lnTo>
                      <a:pt x="938" y="320"/>
                    </a:lnTo>
                    <a:lnTo>
                      <a:pt x="938" y="314"/>
                    </a:lnTo>
                    <a:lnTo>
                      <a:pt x="941" y="314"/>
                    </a:lnTo>
                    <a:lnTo>
                      <a:pt x="943" y="311"/>
                    </a:lnTo>
                    <a:lnTo>
                      <a:pt x="947" y="311"/>
                    </a:lnTo>
                    <a:lnTo>
                      <a:pt x="943" y="307"/>
                    </a:lnTo>
                    <a:lnTo>
                      <a:pt x="943" y="307"/>
                    </a:lnTo>
                    <a:lnTo>
                      <a:pt x="941" y="307"/>
                    </a:lnTo>
                    <a:lnTo>
                      <a:pt x="941" y="305"/>
                    </a:lnTo>
                    <a:lnTo>
                      <a:pt x="943" y="301"/>
                    </a:lnTo>
                    <a:lnTo>
                      <a:pt x="943" y="301"/>
                    </a:lnTo>
                    <a:lnTo>
                      <a:pt x="947" y="299"/>
                    </a:lnTo>
                    <a:lnTo>
                      <a:pt x="949" y="301"/>
                    </a:lnTo>
                    <a:lnTo>
                      <a:pt x="951" y="305"/>
                    </a:lnTo>
                    <a:lnTo>
                      <a:pt x="953" y="305"/>
                    </a:lnTo>
                    <a:lnTo>
                      <a:pt x="953" y="311"/>
                    </a:lnTo>
                    <a:lnTo>
                      <a:pt x="951" y="311"/>
                    </a:lnTo>
                    <a:lnTo>
                      <a:pt x="953" y="312"/>
                    </a:lnTo>
                    <a:lnTo>
                      <a:pt x="955" y="314"/>
                    </a:lnTo>
                    <a:lnTo>
                      <a:pt x="956" y="326"/>
                    </a:lnTo>
                    <a:lnTo>
                      <a:pt x="955" y="329"/>
                    </a:lnTo>
                    <a:lnTo>
                      <a:pt x="955" y="331"/>
                    </a:lnTo>
                    <a:lnTo>
                      <a:pt x="958" y="331"/>
                    </a:lnTo>
                    <a:lnTo>
                      <a:pt x="962" y="329"/>
                    </a:lnTo>
                    <a:lnTo>
                      <a:pt x="960" y="328"/>
                    </a:lnTo>
                    <a:lnTo>
                      <a:pt x="962" y="322"/>
                    </a:lnTo>
                    <a:lnTo>
                      <a:pt x="964" y="322"/>
                    </a:lnTo>
                    <a:lnTo>
                      <a:pt x="964" y="318"/>
                    </a:lnTo>
                    <a:lnTo>
                      <a:pt x="958" y="314"/>
                    </a:lnTo>
                    <a:lnTo>
                      <a:pt x="960" y="312"/>
                    </a:lnTo>
                    <a:lnTo>
                      <a:pt x="962" y="312"/>
                    </a:lnTo>
                    <a:lnTo>
                      <a:pt x="966" y="314"/>
                    </a:lnTo>
                    <a:lnTo>
                      <a:pt x="966" y="311"/>
                    </a:lnTo>
                    <a:lnTo>
                      <a:pt x="962" y="307"/>
                    </a:lnTo>
                    <a:lnTo>
                      <a:pt x="960" y="305"/>
                    </a:lnTo>
                    <a:lnTo>
                      <a:pt x="962" y="301"/>
                    </a:lnTo>
                    <a:lnTo>
                      <a:pt x="962" y="297"/>
                    </a:lnTo>
                    <a:lnTo>
                      <a:pt x="964" y="296"/>
                    </a:lnTo>
                    <a:lnTo>
                      <a:pt x="968" y="296"/>
                    </a:lnTo>
                    <a:lnTo>
                      <a:pt x="968" y="294"/>
                    </a:lnTo>
                    <a:lnTo>
                      <a:pt x="972" y="294"/>
                    </a:lnTo>
                    <a:lnTo>
                      <a:pt x="972" y="294"/>
                    </a:lnTo>
                    <a:lnTo>
                      <a:pt x="975" y="292"/>
                    </a:lnTo>
                    <a:lnTo>
                      <a:pt x="975" y="292"/>
                    </a:lnTo>
                    <a:lnTo>
                      <a:pt x="977" y="292"/>
                    </a:lnTo>
                    <a:lnTo>
                      <a:pt x="981" y="294"/>
                    </a:lnTo>
                    <a:lnTo>
                      <a:pt x="981" y="296"/>
                    </a:lnTo>
                    <a:lnTo>
                      <a:pt x="985" y="296"/>
                    </a:lnTo>
                    <a:lnTo>
                      <a:pt x="987" y="297"/>
                    </a:lnTo>
                    <a:lnTo>
                      <a:pt x="985" y="305"/>
                    </a:lnTo>
                    <a:lnTo>
                      <a:pt x="983" y="305"/>
                    </a:lnTo>
                    <a:lnTo>
                      <a:pt x="983" y="311"/>
                    </a:lnTo>
                    <a:lnTo>
                      <a:pt x="985" y="311"/>
                    </a:lnTo>
                    <a:lnTo>
                      <a:pt x="987" y="307"/>
                    </a:lnTo>
                    <a:lnTo>
                      <a:pt x="988" y="307"/>
                    </a:lnTo>
                    <a:lnTo>
                      <a:pt x="990" y="305"/>
                    </a:lnTo>
                    <a:lnTo>
                      <a:pt x="990" y="301"/>
                    </a:lnTo>
                    <a:lnTo>
                      <a:pt x="992" y="299"/>
                    </a:lnTo>
                    <a:lnTo>
                      <a:pt x="996" y="301"/>
                    </a:lnTo>
                    <a:lnTo>
                      <a:pt x="998" y="299"/>
                    </a:lnTo>
                    <a:lnTo>
                      <a:pt x="998" y="297"/>
                    </a:lnTo>
                    <a:lnTo>
                      <a:pt x="998" y="296"/>
                    </a:lnTo>
                    <a:lnTo>
                      <a:pt x="998" y="296"/>
                    </a:lnTo>
                    <a:lnTo>
                      <a:pt x="1002" y="297"/>
                    </a:lnTo>
                    <a:lnTo>
                      <a:pt x="1002" y="301"/>
                    </a:lnTo>
                    <a:lnTo>
                      <a:pt x="1002" y="301"/>
                    </a:lnTo>
                    <a:lnTo>
                      <a:pt x="1002" y="305"/>
                    </a:lnTo>
                    <a:lnTo>
                      <a:pt x="998" y="301"/>
                    </a:lnTo>
                    <a:lnTo>
                      <a:pt x="1002" y="305"/>
                    </a:lnTo>
                    <a:lnTo>
                      <a:pt x="1002" y="307"/>
                    </a:lnTo>
                    <a:lnTo>
                      <a:pt x="1005" y="311"/>
                    </a:lnTo>
                    <a:lnTo>
                      <a:pt x="1005" y="314"/>
                    </a:lnTo>
                    <a:lnTo>
                      <a:pt x="1002" y="316"/>
                    </a:lnTo>
                    <a:lnTo>
                      <a:pt x="998" y="322"/>
                    </a:lnTo>
                    <a:lnTo>
                      <a:pt x="998" y="328"/>
                    </a:lnTo>
                    <a:lnTo>
                      <a:pt x="998" y="329"/>
                    </a:lnTo>
                    <a:lnTo>
                      <a:pt x="992" y="331"/>
                    </a:lnTo>
                    <a:lnTo>
                      <a:pt x="990" y="335"/>
                    </a:lnTo>
                    <a:lnTo>
                      <a:pt x="988" y="337"/>
                    </a:lnTo>
                    <a:lnTo>
                      <a:pt x="985" y="341"/>
                    </a:lnTo>
                    <a:lnTo>
                      <a:pt x="985" y="344"/>
                    </a:lnTo>
                    <a:lnTo>
                      <a:pt x="983" y="346"/>
                    </a:lnTo>
                    <a:lnTo>
                      <a:pt x="981" y="346"/>
                    </a:lnTo>
                    <a:lnTo>
                      <a:pt x="981" y="346"/>
                    </a:lnTo>
                    <a:lnTo>
                      <a:pt x="977" y="346"/>
                    </a:lnTo>
                    <a:lnTo>
                      <a:pt x="977" y="348"/>
                    </a:lnTo>
                    <a:lnTo>
                      <a:pt x="981" y="352"/>
                    </a:lnTo>
                    <a:lnTo>
                      <a:pt x="981" y="354"/>
                    </a:lnTo>
                    <a:lnTo>
                      <a:pt x="977" y="360"/>
                    </a:lnTo>
                    <a:lnTo>
                      <a:pt x="975" y="361"/>
                    </a:lnTo>
                    <a:lnTo>
                      <a:pt x="975" y="360"/>
                    </a:lnTo>
                    <a:lnTo>
                      <a:pt x="975" y="356"/>
                    </a:lnTo>
                    <a:lnTo>
                      <a:pt x="972" y="356"/>
                    </a:lnTo>
                    <a:lnTo>
                      <a:pt x="972" y="356"/>
                    </a:lnTo>
                    <a:lnTo>
                      <a:pt x="972" y="360"/>
                    </a:lnTo>
                    <a:lnTo>
                      <a:pt x="968" y="361"/>
                    </a:lnTo>
                    <a:lnTo>
                      <a:pt x="968" y="363"/>
                    </a:lnTo>
                    <a:lnTo>
                      <a:pt x="964" y="365"/>
                    </a:lnTo>
                    <a:lnTo>
                      <a:pt x="962" y="369"/>
                    </a:lnTo>
                    <a:lnTo>
                      <a:pt x="964" y="369"/>
                    </a:lnTo>
                    <a:lnTo>
                      <a:pt x="968" y="369"/>
                    </a:lnTo>
                    <a:lnTo>
                      <a:pt x="968" y="369"/>
                    </a:lnTo>
                    <a:lnTo>
                      <a:pt x="966" y="371"/>
                    </a:lnTo>
                    <a:lnTo>
                      <a:pt x="966" y="373"/>
                    </a:lnTo>
                    <a:lnTo>
                      <a:pt x="966" y="377"/>
                    </a:lnTo>
                    <a:lnTo>
                      <a:pt x="964" y="378"/>
                    </a:lnTo>
                    <a:lnTo>
                      <a:pt x="962" y="375"/>
                    </a:lnTo>
                    <a:lnTo>
                      <a:pt x="962" y="371"/>
                    </a:lnTo>
                    <a:lnTo>
                      <a:pt x="960" y="369"/>
                    </a:lnTo>
                    <a:lnTo>
                      <a:pt x="960" y="371"/>
                    </a:lnTo>
                    <a:lnTo>
                      <a:pt x="958" y="373"/>
                    </a:lnTo>
                    <a:lnTo>
                      <a:pt x="960" y="377"/>
                    </a:lnTo>
                    <a:lnTo>
                      <a:pt x="956" y="380"/>
                    </a:lnTo>
                    <a:lnTo>
                      <a:pt x="947" y="378"/>
                    </a:lnTo>
                    <a:lnTo>
                      <a:pt x="947" y="377"/>
                    </a:lnTo>
                    <a:lnTo>
                      <a:pt x="947" y="375"/>
                    </a:lnTo>
                    <a:lnTo>
                      <a:pt x="943" y="377"/>
                    </a:lnTo>
                    <a:lnTo>
                      <a:pt x="941" y="377"/>
                    </a:lnTo>
                    <a:lnTo>
                      <a:pt x="941" y="375"/>
                    </a:lnTo>
                    <a:lnTo>
                      <a:pt x="943" y="371"/>
                    </a:lnTo>
                    <a:lnTo>
                      <a:pt x="940" y="373"/>
                    </a:lnTo>
                    <a:lnTo>
                      <a:pt x="938" y="375"/>
                    </a:lnTo>
                    <a:lnTo>
                      <a:pt x="936" y="377"/>
                    </a:lnTo>
                    <a:lnTo>
                      <a:pt x="936" y="377"/>
                    </a:lnTo>
                    <a:lnTo>
                      <a:pt x="936" y="377"/>
                    </a:lnTo>
                    <a:lnTo>
                      <a:pt x="936" y="377"/>
                    </a:lnTo>
                    <a:close/>
                    <a:moveTo>
                      <a:pt x="697" y="275"/>
                    </a:moveTo>
                    <a:lnTo>
                      <a:pt x="693" y="275"/>
                    </a:lnTo>
                    <a:lnTo>
                      <a:pt x="697" y="269"/>
                    </a:lnTo>
                    <a:lnTo>
                      <a:pt x="702" y="263"/>
                    </a:lnTo>
                    <a:lnTo>
                      <a:pt x="708" y="262"/>
                    </a:lnTo>
                    <a:lnTo>
                      <a:pt x="712" y="260"/>
                    </a:lnTo>
                    <a:lnTo>
                      <a:pt x="714" y="258"/>
                    </a:lnTo>
                    <a:lnTo>
                      <a:pt x="717" y="254"/>
                    </a:lnTo>
                    <a:lnTo>
                      <a:pt x="725" y="254"/>
                    </a:lnTo>
                    <a:lnTo>
                      <a:pt x="727" y="252"/>
                    </a:lnTo>
                    <a:lnTo>
                      <a:pt x="731" y="252"/>
                    </a:lnTo>
                    <a:lnTo>
                      <a:pt x="734" y="250"/>
                    </a:lnTo>
                    <a:lnTo>
                      <a:pt x="736" y="252"/>
                    </a:lnTo>
                    <a:lnTo>
                      <a:pt x="736" y="254"/>
                    </a:lnTo>
                    <a:lnTo>
                      <a:pt x="731" y="258"/>
                    </a:lnTo>
                    <a:lnTo>
                      <a:pt x="725" y="262"/>
                    </a:lnTo>
                    <a:lnTo>
                      <a:pt x="714" y="271"/>
                    </a:lnTo>
                    <a:lnTo>
                      <a:pt x="710" y="277"/>
                    </a:lnTo>
                    <a:lnTo>
                      <a:pt x="706" y="277"/>
                    </a:lnTo>
                    <a:lnTo>
                      <a:pt x="704" y="277"/>
                    </a:lnTo>
                    <a:lnTo>
                      <a:pt x="702" y="280"/>
                    </a:lnTo>
                    <a:lnTo>
                      <a:pt x="700" y="280"/>
                    </a:lnTo>
                    <a:lnTo>
                      <a:pt x="700" y="275"/>
                    </a:lnTo>
                    <a:lnTo>
                      <a:pt x="697" y="275"/>
                    </a:lnTo>
                    <a:lnTo>
                      <a:pt x="697" y="275"/>
                    </a:lnTo>
                    <a:lnTo>
                      <a:pt x="697" y="275"/>
                    </a:lnTo>
                    <a:lnTo>
                      <a:pt x="697" y="275"/>
                    </a:lnTo>
                    <a:lnTo>
                      <a:pt x="697" y="275"/>
                    </a:lnTo>
                    <a:close/>
                    <a:moveTo>
                      <a:pt x="874" y="350"/>
                    </a:moveTo>
                    <a:lnTo>
                      <a:pt x="872" y="348"/>
                    </a:lnTo>
                    <a:lnTo>
                      <a:pt x="874" y="348"/>
                    </a:lnTo>
                    <a:lnTo>
                      <a:pt x="877" y="346"/>
                    </a:lnTo>
                    <a:lnTo>
                      <a:pt x="879" y="344"/>
                    </a:lnTo>
                    <a:lnTo>
                      <a:pt x="879" y="341"/>
                    </a:lnTo>
                    <a:lnTo>
                      <a:pt x="885" y="339"/>
                    </a:lnTo>
                    <a:lnTo>
                      <a:pt x="885" y="337"/>
                    </a:lnTo>
                    <a:lnTo>
                      <a:pt x="889" y="337"/>
                    </a:lnTo>
                    <a:lnTo>
                      <a:pt x="889" y="341"/>
                    </a:lnTo>
                    <a:lnTo>
                      <a:pt x="889" y="344"/>
                    </a:lnTo>
                    <a:lnTo>
                      <a:pt x="889" y="348"/>
                    </a:lnTo>
                    <a:lnTo>
                      <a:pt x="889" y="352"/>
                    </a:lnTo>
                    <a:lnTo>
                      <a:pt x="885" y="354"/>
                    </a:lnTo>
                    <a:lnTo>
                      <a:pt x="883" y="354"/>
                    </a:lnTo>
                    <a:lnTo>
                      <a:pt x="881" y="356"/>
                    </a:lnTo>
                    <a:lnTo>
                      <a:pt x="877" y="356"/>
                    </a:lnTo>
                    <a:lnTo>
                      <a:pt x="876" y="352"/>
                    </a:lnTo>
                    <a:lnTo>
                      <a:pt x="874" y="350"/>
                    </a:lnTo>
                    <a:lnTo>
                      <a:pt x="874" y="350"/>
                    </a:lnTo>
                    <a:lnTo>
                      <a:pt x="874" y="350"/>
                    </a:lnTo>
                    <a:lnTo>
                      <a:pt x="874" y="350"/>
                    </a:lnTo>
                    <a:close/>
                    <a:moveTo>
                      <a:pt x="731" y="344"/>
                    </a:moveTo>
                    <a:lnTo>
                      <a:pt x="732" y="341"/>
                    </a:lnTo>
                    <a:lnTo>
                      <a:pt x="731" y="337"/>
                    </a:lnTo>
                    <a:lnTo>
                      <a:pt x="732" y="331"/>
                    </a:lnTo>
                    <a:lnTo>
                      <a:pt x="738" y="331"/>
                    </a:lnTo>
                    <a:lnTo>
                      <a:pt x="742" y="331"/>
                    </a:lnTo>
                    <a:lnTo>
                      <a:pt x="748" y="331"/>
                    </a:lnTo>
                    <a:lnTo>
                      <a:pt x="751" y="331"/>
                    </a:lnTo>
                    <a:lnTo>
                      <a:pt x="755" y="331"/>
                    </a:lnTo>
                    <a:lnTo>
                      <a:pt x="759" y="329"/>
                    </a:lnTo>
                    <a:lnTo>
                      <a:pt x="764" y="329"/>
                    </a:lnTo>
                    <a:lnTo>
                      <a:pt x="770" y="331"/>
                    </a:lnTo>
                    <a:lnTo>
                      <a:pt x="776" y="331"/>
                    </a:lnTo>
                    <a:lnTo>
                      <a:pt x="776" y="331"/>
                    </a:lnTo>
                    <a:lnTo>
                      <a:pt x="780" y="329"/>
                    </a:lnTo>
                    <a:lnTo>
                      <a:pt x="789" y="329"/>
                    </a:lnTo>
                    <a:lnTo>
                      <a:pt x="789" y="328"/>
                    </a:lnTo>
                    <a:lnTo>
                      <a:pt x="793" y="326"/>
                    </a:lnTo>
                    <a:lnTo>
                      <a:pt x="791" y="324"/>
                    </a:lnTo>
                    <a:lnTo>
                      <a:pt x="787" y="326"/>
                    </a:lnTo>
                    <a:lnTo>
                      <a:pt x="785" y="326"/>
                    </a:lnTo>
                    <a:lnTo>
                      <a:pt x="781" y="324"/>
                    </a:lnTo>
                    <a:lnTo>
                      <a:pt x="776" y="326"/>
                    </a:lnTo>
                    <a:lnTo>
                      <a:pt x="774" y="326"/>
                    </a:lnTo>
                    <a:lnTo>
                      <a:pt x="774" y="324"/>
                    </a:lnTo>
                    <a:lnTo>
                      <a:pt x="772" y="322"/>
                    </a:lnTo>
                    <a:lnTo>
                      <a:pt x="768" y="324"/>
                    </a:lnTo>
                    <a:lnTo>
                      <a:pt x="764" y="324"/>
                    </a:lnTo>
                    <a:lnTo>
                      <a:pt x="761" y="326"/>
                    </a:lnTo>
                    <a:lnTo>
                      <a:pt x="759" y="324"/>
                    </a:lnTo>
                    <a:lnTo>
                      <a:pt x="755" y="324"/>
                    </a:lnTo>
                    <a:lnTo>
                      <a:pt x="751" y="324"/>
                    </a:lnTo>
                    <a:lnTo>
                      <a:pt x="751" y="320"/>
                    </a:lnTo>
                    <a:lnTo>
                      <a:pt x="755" y="316"/>
                    </a:lnTo>
                    <a:lnTo>
                      <a:pt x="759" y="312"/>
                    </a:lnTo>
                    <a:lnTo>
                      <a:pt x="757" y="312"/>
                    </a:lnTo>
                    <a:lnTo>
                      <a:pt x="755" y="314"/>
                    </a:lnTo>
                    <a:lnTo>
                      <a:pt x="751" y="316"/>
                    </a:lnTo>
                    <a:lnTo>
                      <a:pt x="749" y="312"/>
                    </a:lnTo>
                    <a:lnTo>
                      <a:pt x="748" y="314"/>
                    </a:lnTo>
                    <a:lnTo>
                      <a:pt x="748" y="318"/>
                    </a:lnTo>
                    <a:lnTo>
                      <a:pt x="742" y="322"/>
                    </a:lnTo>
                    <a:lnTo>
                      <a:pt x="740" y="324"/>
                    </a:lnTo>
                    <a:lnTo>
                      <a:pt x="736" y="324"/>
                    </a:lnTo>
                    <a:lnTo>
                      <a:pt x="732" y="322"/>
                    </a:lnTo>
                    <a:lnTo>
                      <a:pt x="732" y="318"/>
                    </a:lnTo>
                    <a:lnTo>
                      <a:pt x="734" y="316"/>
                    </a:lnTo>
                    <a:lnTo>
                      <a:pt x="731" y="316"/>
                    </a:lnTo>
                    <a:lnTo>
                      <a:pt x="731" y="314"/>
                    </a:lnTo>
                    <a:lnTo>
                      <a:pt x="731" y="320"/>
                    </a:lnTo>
                    <a:lnTo>
                      <a:pt x="727" y="322"/>
                    </a:lnTo>
                    <a:lnTo>
                      <a:pt x="725" y="320"/>
                    </a:lnTo>
                    <a:lnTo>
                      <a:pt x="725" y="314"/>
                    </a:lnTo>
                    <a:lnTo>
                      <a:pt x="717" y="312"/>
                    </a:lnTo>
                    <a:lnTo>
                      <a:pt x="721" y="311"/>
                    </a:lnTo>
                    <a:lnTo>
                      <a:pt x="717" y="311"/>
                    </a:lnTo>
                    <a:lnTo>
                      <a:pt x="717" y="312"/>
                    </a:lnTo>
                    <a:lnTo>
                      <a:pt x="716" y="312"/>
                    </a:lnTo>
                    <a:lnTo>
                      <a:pt x="712" y="307"/>
                    </a:lnTo>
                    <a:lnTo>
                      <a:pt x="706" y="301"/>
                    </a:lnTo>
                    <a:lnTo>
                      <a:pt x="706" y="301"/>
                    </a:lnTo>
                    <a:lnTo>
                      <a:pt x="710" y="301"/>
                    </a:lnTo>
                    <a:lnTo>
                      <a:pt x="710" y="297"/>
                    </a:lnTo>
                    <a:lnTo>
                      <a:pt x="708" y="296"/>
                    </a:lnTo>
                    <a:lnTo>
                      <a:pt x="716" y="290"/>
                    </a:lnTo>
                    <a:lnTo>
                      <a:pt x="717" y="290"/>
                    </a:lnTo>
                    <a:lnTo>
                      <a:pt x="721" y="290"/>
                    </a:lnTo>
                    <a:lnTo>
                      <a:pt x="727" y="290"/>
                    </a:lnTo>
                    <a:lnTo>
                      <a:pt x="732" y="294"/>
                    </a:lnTo>
                    <a:lnTo>
                      <a:pt x="736" y="294"/>
                    </a:lnTo>
                    <a:lnTo>
                      <a:pt x="740" y="292"/>
                    </a:lnTo>
                    <a:lnTo>
                      <a:pt x="746" y="292"/>
                    </a:lnTo>
                    <a:lnTo>
                      <a:pt x="749" y="288"/>
                    </a:lnTo>
                    <a:lnTo>
                      <a:pt x="746" y="286"/>
                    </a:lnTo>
                    <a:lnTo>
                      <a:pt x="742" y="284"/>
                    </a:lnTo>
                    <a:lnTo>
                      <a:pt x="740" y="284"/>
                    </a:lnTo>
                    <a:lnTo>
                      <a:pt x="736" y="286"/>
                    </a:lnTo>
                    <a:lnTo>
                      <a:pt x="731" y="282"/>
                    </a:lnTo>
                    <a:lnTo>
                      <a:pt x="727" y="282"/>
                    </a:lnTo>
                    <a:lnTo>
                      <a:pt x="727" y="282"/>
                    </a:lnTo>
                    <a:lnTo>
                      <a:pt x="731" y="277"/>
                    </a:lnTo>
                    <a:lnTo>
                      <a:pt x="734" y="271"/>
                    </a:lnTo>
                    <a:lnTo>
                      <a:pt x="738" y="271"/>
                    </a:lnTo>
                    <a:lnTo>
                      <a:pt x="742" y="271"/>
                    </a:lnTo>
                    <a:lnTo>
                      <a:pt x="749" y="271"/>
                    </a:lnTo>
                    <a:lnTo>
                      <a:pt x="755" y="271"/>
                    </a:lnTo>
                    <a:lnTo>
                      <a:pt x="761" y="271"/>
                    </a:lnTo>
                    <a:lnTo>
                      <a:pt x="763" y="271"/>
                    </a:lnTo>
                    <a:lnTo>
                      <a:pt x="761" y="271"/>
                    </a:lnTo>
                    <a:lnTo>
                      <a:pt x="759" y="271"/>
                    </a:lnTo>
                    <a:lnTo>
                      <a:pt x="755" y="269"/>
                    </a:lnTo>
                    <a:lnTo>
                      <a:pt x="751" y="269"/>
                    </a:lnTo>
                    <a:lnTo>
                      <a:pt x="742" y="265"/>
                    </a:lnTo>
                    <a:lnTo>
                      <a:pt x="742" y="263"/>
                    </a:lnTo>
                    <a:lnTo>
                      <a:pt x="746" y="260"/>
                    </a:lnTo>
                    <a:lnTo>
                      <a:pt x="749" y="256"/>
                    </a:lnTo>
                    <a:lnTo>
                      <a:pt x="751" y="254"/>
                    </a:lnTo>
                    <a:lnTo>
                      <a:pt x="751" y="254"/>
                    </a:lnTo>
                    <a:lnTo>
                      <a:pt x="757" y="252"/>
                    </a:lnTo>
                    <a:lnTo>
                      <a:pt x="761" y="252"/>
                    </a:lnTo>
                    <a:lnTo>
                      <a:pt x="761" y="254"/>
                    </a:lnTo>
                    <a:lnTo>
                      <a:pt x="764" y="254"/>
                    </a:lnTo>
                    <a:lnTo>
                      <a:pt x="768" y="258"/>
                    </a:lnTo>
                    <a:lnTo>
                      <a:pt x="772" y="258"/>
                    </a:lnTo>
                    <a:lnTo>
                      <a:pt x="770" y="254"/>
                    </a:lnTo>
                    <a:lnTo>
                      <a:pt x="766" y="252"/>
                    </a:lnTo>
                    <a:lnTo>
                      <a:pt x="764" y="250"/>
                    </a:lnTo>
                    <a:lnTo>
                      <a:pt x="763" y="247"/>
                    </a:lnTo>
                    <a:lnTo>
                      <a:pt x="766" y="247"/>
                    </a:lnTo>
                    <a:lnTo>
                      <a:pt x="776" y="243"/>
                    </a:lnTo>
                    <a:lnTo>
                      <a:pt x="780" y="243"/>
                    </a:lnTo>
                    <a:lnTo>
                      <a:pt x="785" y="243"/>
                    </a:lnTo>
                    <a:lnTo>
                      <a:pt x="787" y="247"/>
                    </a:lnTo>
                    <a:lnTo>
                      <a:pt x="789" y="252"/>
                    </a:lnTo>
                    <a:lnTo>
                      <a:pt x="787" y="254"/>
                    </a:lnTo>
                    <a:lnTo>
                      <a:pt x="785" y="260"/>
                    </a:lnTo>
                    <a:lnTo>
                      <a:pt x="785" y="262"/>
                    </a:lnTo>
                    <a:lnTo>
                      <a:pt x="793" y="262"/>
                    </a:lnTo>
                    <a:lnTo>
                      <a:pt x="795" y="260"/>
                    </a:lnTo>
                    <a:lnTo>
                      <a:pt x="796" y="262"/>
                    </a:lnTo>
                    <a:lnTo>
                      <a:pt x="800" y="262"/>
                    </a:lnTo>
                    <a:lnTo>
                      <a:pt x="800" y="263"/>
                    </a:lnTo>
                    <a:lnTo>
                      <a:pt x="800" y="267"/>
                    </a:lnTo>
                    <a:lnTo>
                      <a:pt x="804" y="269"/>
                    </a:lnTo>
                    <a:lnTo>
                      <a:pt x="804" y="271"/>
                    </a:lnTo>
                    <a:lnTo>
                      <a:pt x="800" y="271"/>
                    </a:lnTo>
                    <a:lnTo>
                      <a:pt x="800" y="275"/>
                    </a:lnTo>
                    <a:lnTo>
                      <a:pt x="800" y="280"/>
                    </a:lnTo>
                    <a:lnTo>
                      <a:pt x="804" y="286"/>
                    </a:lnTo>
                    <a:lnTo>
                      <a:pt x="800" y="290"/>
                    </a:lnTo>
                    <a:lnTo>
                      <a:pt x="798" y="288"/>
                    </a:lnTo>
                    <a:lnTo>
                      <a:pt x="795" y="290"/>
                    </a:lnTo>
                    <a:lnTo>
                      <a:pt x="795" y="292"/>
                    </a:lnTo>
                    <a:lnTo>
                      <a:pt x="798" y="290"/>
                    </a:lnTo>
                    <a:lnTo>
                      <a:pt x="804" y="292"/>
                    </a:lnTo>
                    <a:lnTo>
                      <a:pt x="806" y="292"/>
                    </a:lnTo>
                    <a:lnTo>
                      <a:pt x="804" y="301"/>
                    </a:lnTo>
                    <a:lnTo>
                      <a:pt x="800" y="301"/>
                    </a:lnTo>
                    <a:lnTo>
                      <a:pt x="800" y="311"/>
                    </a:lnTo>
                    <a:lnTo>
                      <a:pt x="800" y="311"/>
                    </a:lnTo>
                    <a:lnTo>
                      <a:pt x="806" y="311"/>
                    </a:lnTo>
                    <a:lnTo>
                      <a:pt x="810" y="305"/>
                    </a:lnTo>
                    <a:lnTo>
                      <a:pt x="810" y="307"/>
                    </a:lnTo>
                    <a:lnTo>
                      <a:pt x="810" y="311"/>
                    </a:lnTo>
                    <a:lnTo>
                      <a:pt x="813" y="311"/>
                    </a:lnTo>
                    <a:lnTo>
                      <a:pt x="815" y="311"/>
                    </a:lnTo>
                    <a:lnTo>
                      <a:pt x="823" y="312"/>
                    </a:lnTo>
                    <a:lnTo>
                      <a:pt x="827" y="316"/>
                    </a:lnTo>
                    <a:lnTo>
                      <a:pt x="828" y="316"/>
                    </a:lnTo>
                    <a:lnTo>
                      <a:pt x="828" y="312"/>
                    </a:lnTo>
                    <a:lnTo>
                      <a:pt x="827" y="312"/>
                    </a:lnTo>
                    <a:lnTo>
                      <a:pt x="830" y="311"/>
                    </a:lnTo>
                    <a:lnTo>
                      <a:pt x="830" y="305"/>
                    </a:lnTo>
                    <a:lnTo>
                      <a:pt x="828" y="301"/>
                    </a:lnTo>
                    <a:lnTo>
                      <a:pt x="828" y="297"/>
                    </a:lnTo>
                    <a:lnTo>
                      <a:pt x="827" y="294"/>
                    </a:lnTo>
                    <a:lnTo>
                      <a:pt x="827" y="292"/>
                    </a:lnTo>
                    <a:lnTo>
                      <a:pt x="830" y="292"/>
                    </a:lnTo>
                    <a:lnTo>
                      <a:pt x="834" y="290"/>
                    </a:lnTo>
                    <a:lnTo>
                      <a:pt x="838" y="290"/>
                    </a:lnTo>
                    <a:lnTo>
                      <a:pt x="840" y="284"/>
                    </a:lnTo>
                    <a:lnTo>
                      <a:pt x="838" y="280"/>
                    </a:lnTo>
                    <a:lnTo>
                      <a:pt x="836" y="277"/>
                    </a:lnTo>
                    <a:lnTo>
                      <a:pt x="836" y="275"/>
                    </a:lnTo>
                    <a:lnTo>
                      <a:pt x="834" y="269"/>
                    </a:lnTo>
                    <a:lnTo>
                      <a:pt x="838" y="265"/>
                    </a:lnTo>
                    <a:lnTo>
                      <a:pt x="840" y="263"/>
                    </a:lnTo>
                    <a:lnTo>
                      <a:pt x="844" y="263"/>
                    </a:lnTo>
                    <a:lnTo>
                      <a:pt x="847" y="263"/>
                    </a:lnTo>
                    <a:lnTo>
                      <a:pt x="845" y="262"/>
                    </a:lnTo>
                    <a:lnTo>
                      <a:pt x="847" y="258"/>
                    </a:lnTo>
                    <a:lnTo>
                      <a:pt x="851" y="256"/>
                    </a:lnTo>
                    <a:lnTo>
                      <a:pt x="859" y="250"/>
                    </a:lnTo>
                    <a:lnTo>
                      <a:pt x="862" y="250"/>
                    </a:lnTo>
                    <a:lnTo>
                      <a:pt x="868" y="252"/>
                    </a:lnTo>
                    <a:lnTo>
                      <a:pt x="868" y="254"/>
                    </a:lnTo>
                    <a:lnTo>
                      <a:pt x="868" y="256"/>
                    </a:lnTo>
                    <a:lnTo>
                      <a:pt x="868" y="260"/>
                    </a:lnTo>
                    <a:lnTo>
                      <a:pt x="864" y="260"/>
                    </a:lnTo>
                    <a:lnTo>
                      <a:pt x="862" y="262"/>
                    </a:lnTo>
                    <a:lnTo>
                      <a:pt x="862" y="265"/>
                    </a:lnTo>
                    <a:lnTo>
                      <a:pt x="859" y="269"/>
                    </a:lnTo>
                    <a:lnTo>
                      <a:pt x="859" y="271"/>
                    </a:lnTo>
                    <a:lnTo>
                      <a:pt x="862" y="275"/>
                    </a:lnTo>
                    <a:lnTo>
                      <a:pt x="862" y="282"/>
                    </a:lnTo>
                    <a:lnTo>
                      <a:pt x="859" y="284"/>
                    </a:lnTo>
                    <a:lnTo>
                      <a:pt x="859" y="284"/>
                    </a:lnTo>
                    <a:lnTo>
                      <a:pt x="853" y="290"/>
                    </a:lnTo>
                    <a:lnTo>
                      <a:pt x="849" y="292"/>
                    </a:lnTo>
                    <a:lnTo>
                      <a:pt x="849" y="294"/>
                    </a:lnTo>
                    <a:lnTo>
                      <a:pt x="851" y="294"/>
                    </a:lnTo>
                    <a:lnTo>
                      <a:pt x="855" y="292"/>
                    </a:lnTo>
                    <a:lnTo>
                      <a:pt x="859" y="292"/>
                    </a:lnTo>
                    <a:lnTo>
                      <a:pt x="862" y="294"/>
                    </a:lnTo>
                    <a:lnTo>
                      <a:pt x="859" y="299"/>
                    </a:lnTo>
                    <a:lnTo>
                      <a:pt x="853" y="301"/>
                    </a:lnTo>
                    <a:lnTo>
                      <a:pt x="847" y="305"/>
                    </a:lnTo>
                    <a:lnTo>
                      <a:pt x="845" y="311"/>
                    </a:lnTo>
                    <a:lnTo>
                      <a:pt x="847" y="311"/>
                    </a:lnTo>
                    <a:lnTo>
                      <a:pt x="849" y="307"/>
                    </a:lnTo>
                    <a:lnTo>
                      <a:pt x="855" y="305"/>
                    </a:lnTo>
                    <a:lnTo>
                      <a:pt x="859" y="301"/>
                    </a:lnTo>
                    <a:lnTo>
                      <a:pt x="862" y="301"/>
                    </a:lnTo>
                    <a:lnTo>
                      <a:pt x="864" y="305"/>
                    </a:lnTo>
                    <a:lnTo>
                      <a:pt x="864" y="311"/>
                    </a:lnTo>
                    <a:lnTo>
                      <a:pt x="862" y="314"/>
                    </a:lnTo>
                    <a:lnTo>
                      <a:pt x="864" y="316"/>
                    </a:lnTo>
                    <a:lnTo>
                      <a:pt x="868" y="312"/>
                    </a:lnTo>
                    <a:lnTo>
                      <a:pt x="868" y="312"/>
                    </a:lnTo>
                    <a:lnTo>
                      <a:pt x="870" y="311"/>
                    </a:lnTo>
                    <a:lnTo>
                      <a:pt x="868" y="311"/>
                    </a:lnTo>
                    <a:lnTo>
                      <a:pt x="872" y="305"/>
                    </a:lnTo>
                    <a:lnTo>
                      <a:pt x="872" y="301"/>
                    </a:lnTo>
                    <a:lnTo>
                      <a:pt x="877" y="299"/>
                    </a:lnTo>
                    <a:lnTo>
                      <a:pt x="879" y="299"/>
                    </a:lnTo>
                    <a:lnTo>
                      <a:pt x="885" y="301"/>
                    </a:lnTo>
                    <a:lnTo>
                      <a:pt x="887" y="307"/>
                    </a:lnTo>
                    <a:lnTo>
                      <a:pt x="889" y="311"/>
                    </a:lnTo>
                    <a:lnTo>
                      <a:pt x="889" y="314"/>
                    </a:lnTo>
                    <a:lnTo>
                      <a:pt x="883" y="324"/>
                    </a:lnTo>
                    <a:lnTo>
                      <a:pt x="877" y="328"/>
                    </a:lnTo>
                    <a:lnTo>
                      <a:pt x="874" y="329"/>
                    </a:lnTo>
                    <a:lnTo>
                      <a:pt x="872" y="329"/>
                    </a:lnTo>
                    <a:lnTo>
                      <a:pt x="872" y="331"/>
                    </a:lnTo>
                    <a:lnTo>
                      <a:pt x="872" y="335"/>
                    </a:lnTo>
                    <a:lnTo>
                      <a:pt x="868" y="339"/>
                    </a:lnTo>
                    <a:lnTo>
                      <a:pt x="864" y="339"/>
                    </a:lnTo>
                    <a:lnTo>
                      <a:pt x="862" y="341"/>
                    </a:lnTo>
                    <a:lnTo>
                      <a:pt x="862" y="344"/>
                    </a:lnTo>
                    <a:lnTo>
                      <a:pt x="859" y="346"/>
                    </a:lnTo>
                    <a:lnTo>
                      <a:pt x="859" y="346"/>
                    </a:lnTo>
                    <a:lnTo>
                      <a:pt x="855" y="348"/>
                    </a:lnTo>
                    <a:lnTo>
                      <a:pt x="855" y="350"/>
                    </a:lnTo>
                    <a:lnTo>
                      <a:pt x="855" y="350"/>
                    </a:lnTo>
                    <a:lnTo>
                      <a:pt x="853" y="348"/>
                    </a:lnTo>
                    <a:lnTo>
                      <a:pt x="849" y="350"/>
                    </a:lnTo>
                    <a:lnTo>
                      <a:pt x="845" y="348"/>
                    </a:lnTo>
                    <a:lnTo>
                      <a:pt x="840" y="352"/>
                    </a:lnTo>
                    <a:lnTo>
                      <a:pt x="834" y="354"/>
                    </a:lnTo>
                    <a:lnTo>
                      <a:pt x="830" y="352"/>
                    </a:lnTo>
                    <a:lnTo>
                      <a:pt x="830" y="348"/>
                    </a:lnTo>
                    <a:lnTo>
                      <a:pt x="830" y="344"/>
                    </a:lnTo>
                    <a:lnTo>
                      <a:pt x="830" y="344"/>
                    </a:lnTo>
                    <a:lnTo>
                      <a:pt x="830" y="344"/>
                    </a:lnTo>
                    <a:lnTo>
                      <a:pt x="827" y="344"/>
                    </a:lnTo>
                    <a:lnTo>
                      <a:pt x="827" y="346"/>
                    </a:lnTo>
                    <a:lnTo>
                      <a:pt x="823" y="348"/>
                    </a:lnTo>
                    <a:lnTo>
                      <a:pt x="817" y="346"/>
                    </a:lnTo>
                    <a:lnTo>
                      <a:pt x="817" y="344"/>
                    </a:lnTo>
                    <a:lnTo>
                      <a:pt x="819" y="344"/>
                    </a:lnTo>
                    <a:lnTo>
                      <a:pt x="819" y="339"/>
                    </a:lnTo>
                    <a:lnTo>
                      <a:pt x="815" y="339"/>
                    </a:lnTo>
                    <a:lnTo>
                      <a:pt x="815" y="341"/>
                    </a:lnTo>
                    <a:lnTo>
                      <a:pt x="813" y="344"/>
                    </a:lnTo>
                    <a:lnTo>
                      <a:pt x="810" y="344"/>
                    </a:lnTo>
                    <a:lnTo>
                      <a:pt x="806" y="344"/>
                    </a:lnTo>
                    <a:lnTo>
                      <a:pt x="804" y="346"/>
                    </a:lnTo>
                    <a:lnTo>
                      <a:pt x="800" y="346"/>
                    </a:lnTo>
                    <a:lnTo>
                      <a:pt x="798" y="344"/>
                    </a:lnTo>
                    <a:lnTo>
                      <a:pt x="795" y="346"/>
                    </a:lnTo>
                    <a:lnTo>
                      <a:pt x="791" y="344"/>
                    </a:lnTo>
                    <a:lnTo>
                      <a:pt x="789" y="346"/>
                    </a:lnTo>
                    <a:lnTo>
                      <a:pt x="787" y="346"/>
                    </a:lnTo>
                    <a:lnTo>
                      <a:pt x="785" y="348"/>
                    </a:lnTo>
                    <a:lnTo>
                      <a:pt x="785" y="350"/>
                    </a:lnTo>
                    <a:lnTo>
                      <a:pt x="781" y="352"/>
                    </a:lnTo>
                    <a:lnTo>
                      <a:pt x="780" y="352"/>
                    </a:lnTo>
                    <a:lnTo>
                      <a:pt x="776" y="354"/>
                    </a:lnTo>
                    <a:lnTo>
                      <a:pt x="774" y="356"/>
                    </a:lnTo>
                    <a:lnTo>
                      <a:pt x="772" y="356"/>
                    </a:lnTo>
                    <a:lnTo>
                      <a:pt x="768" y="356"/>
                    </a:lnTo>
                    <a:lnTo>
                      <a:pt x="764" y="356"/>
                    </a:lnTo>
                    <a:lnTo>
                      <a:pt x="763" y="354"/>
                    </a:lnTo>
                    <a:lnTo>
                      <a:pt x="757" y="356"/>
                    </a:lnTo>
                    <a:lnTo>
                      <a:pt x="751" y="356"/>
                    </a:lnTo>
                    <a:lnTo>
                      <a:pt x="748" y="356"/>
                    </a:lnTo>
                    <a:lnTo>
                      <a:pt x="742" y="354"/>
                    </a:lnTo>
                    <a:lnTo>
                      <a:pt x="738" y="352"/>
                    </a:lnTo>
                    <a:lnTo>
                      <a:pt x="734" y="348"/>
                    </a:lnTo>
                    <a:lnTo>
                      <a:pt x="731" y="344"/>
                    </a:lnTo>
                    <a:lnTo>
                      <a:pt x="731" y="344"/>
                    </a:lnTo>
                    <a:lnTo>
                      <a:pt x="731" y="344"/>
                    </a:lnTo>
                    <a:lnTo>
                      <a:pt x="731" y="344"/>
                    </a:lnTo>
                    <a:close/>
                    <a:moveTo>
                      <a:pt x="514" y="463"/>
                    </a:moveTo>
                    <a:lnTo>
                      <a:pt x="514" y="454"/>
                    </a:lnTo>
                    <a:lnTo>
                      <a:pt x="514" y="448"/>
                    </a:lnTo>
                    <a:lnTo>
                      <a:pt x="514" y="444"/>
                    </a:lnTo>
                    <a:lnTo>
                      <a:pt x="514" y="439"/>
                    </a:lnTo>
                    <a:lnTo>
                      <a:pt x="514" y="433"/>
                    </a:lnTo>
                    <a:lnTo>
                      <a:pt x="514" y="431"/>
                    </a:lnTo>
                    <a:lnTo>
                      <a:pt x="508" y="424"/>
                    </a:lnTo>
                    <a:lnTo>
                      <a:pt x="514" y="424"/>
                    </a:lnTo>
                    <a:lnTo>
                      <a:pt x="514" y="420"/>
                    </a:lnTo>
                    <a:lnTo>
                      <a:pt x="507" y="420"/>
                    </a:lnTo>
                    <a:lnTo>
                      <a:pt x="501" y="418"/>
                    </a:lnTo>
                    <a:lnTo>
                      <a:pt x="501" y="416"/>
                    </a:lnTo>
                    <a:lnTo>
                      <a:pt x="505" y="416"/>
                    </a:lnTo>
                    <a:lnTo>
                      <a:pt x="507" y="414"/>
                    </a:lnTo>
                    <a:lnTo>
                      <a:pt x="514" y="410"/>
                    </a:lnTo>
                    <a:lnTo>
                      <a:pt x="514" y="409"/>
                    </a:lnTo>
                    <a:lnTo>
                      <a:pt x="516" y="409"/>
                    </a:lnTo>
                    <a:lnTo>
                      <a:pt x="518" y="405"/>
                    </a:lnTo>
                    <a:lnTo>
                      <a:pt x="522" y="403"/>
                    </a:lnTo>
                    <a:lnTo>
                      <a:pt x="524" y="399"/>
                    </a:lnTo>
                    <a:lnTo>
                      <a:pt x="529" y="395"/>
                    </a:lnTo>
                    <a:lnTo>
                      <a:pt x="529" y="395"/>
                    </a:lnTo>
                    <a:lnTo>
                      <a:pt x="535" y="395"/>
                    </a:lnTo>
                    <a:lnTo>
                      <a:pt x="539" y="390"/>
                    </a:lnTo>
                    <a:lnTo>
                      <a:pt x="539" y="384"/>
                    </a:lnTo>
                    <a:lnTo>
                      <a:pt x="539" y="386"/>
                    </a:lnTo>
                    <a:lnTo>
                      <a:pt x="548" y="388"/>
                    </a:lnTo>
                    <a:lnTo>
                      <a:pt x="548" y="382"/>
                    </a:lnTo>
                    <a:lnTo>
                      <a:pt x="546" y="377"/>
                    </a:lnTo>
                    <a:lnTo>
                      <a:pt x="546" y="373"/>
                    </a:lnTo>
                    <a:lnTo>
                      <a:pt x="550" y="371"/>
                    </a:lnTo>
                    <a:lnTo>
                      <a:pt x="559" y="365"/>
                    </a:lnTo>
                    <a:lnTo>
                      <a:pt x="563" y="361"/>
                    </a:lnTo>
                    <a:lnTo>
                      <a:pt x="569" y="360"/>
                    </a:lnTo>
                    <a:lnTo>
                      <a:pt x="571" y="356"/>
                    </a:lnTo>
                    <a:lnTo>
                      <a:pt x="576" y="350"/>
                    </a:lnTo>
                    <a:lnTo>
                      <a:pt x="580" y="350"/>
                    </a:lnTo>
                    <a:lnTo>
                      <a:pt x="584" y="346"/>
                    </a:lnTo>
                    <a:lnTo>
                      <a:pt x="580" y="344"/>
                    </a:lnTo>
                    <a:lnTo>
                      <a:pt x="582" y="335"/>
                    </a:lnTo>
                    <a:lnTo>
                      <a:pt x="582" y="331"/>
                    </a:lnTo>
                    <a:lnTo>
                      <a:pt x="584" y="328"/>
                    </a:lnTo>
                    <a:lnTo>
                      <a:pt x="582" y="326"/>
                    </a:lnTo>
                    <a:lnTo>
                      <a:pt x="584" y="324"/>
                    </a:lnTo>
                    <a:lnTo>
                      <a:pt x="588" y="322"/>
                    </a:lnTo>
                    <a:lnTo>
                      <a:pt x="593" y="322"/>
                    </a:lnTo>
                    <a:lnTo>
                      <a:pt x="603" y="322"/>
                    </a:lnTo>
                    <a:lnTo>
                      <a:pt x="604" y="322"/>
                    </a:lnTo>
                    <a:lnTo>
                      <a:pt x="618" y="322"/>
                    </a:lnTo>
                    <a:lnTo>
                      <a:pt x="625" y="318"/>
                    </a:lnTo>
                    <a:lnTo>
                      <a:pt x="636" y="322"/>
                    </a:lnTo>
                    <a:lnTo>
                      <a:pt x="635" y="326"/>
                    </a:lnTo>
                    <a:lnTo>
                      <a:pt x="638" y="328"/>
                    </a:lnTo>
                    <a:lnTo>
                      <a:pt x="638" y="331"/>
                    </a:lnTo>
                    <a:lnTo>
                      <a:pt x="648" y="337"/>
                    </a:lnTo>
                    <a:lnTo>
                      <a:pt x="650" y="339"/>
                    </a:lnTo>
                    <a:lnTo>
                      <a:pt x="646" y="344"/>
                    </a:lnTo>
                    <a:lnTo>
                      <a:pt x="650" y="341"/>
                    </a:lnTo>
                    <a:lnTo>
                      <a:pt x="653" y="339"/>
                    </a:lnTo>
                    <a:lnTo>
                      <a:pt x="657" y="344"/>
                    </a:lnTo>
                    <a:lnTo>
                      <a:pt x="655" y="346"/>
                    </a:lnTo>
                    <a:lnTo>
                      <a:pt x="650" y="352"/>
                    </a:lnTo>
                    <a:lnTo>
                      <a:pt x="652" y="354"/>
                    </a:lnTo>
                    <a:lnTo>
                      <a:pt x="659" y="350"/>
                    </a:lnTo>
                    <a:lnTo>
                      <a:pt x="659" y="346"/>
                    </a:lnTo>
                    <a:lnTo>
                      <a:pt x="661" y="344"/>
                    </a:lnTo>
                    <a:lnTo>
                      <a:pt x="667" y="344"/>
                    </a:lnTo>
                    <a:lnTo>
                      <a:pt x="672" y="344"/>
                    </a:lnTo>
                    <a:lnTo>
                      <a:pt x="672" y="344"/>
                    </a:lnTo>
                    <a:lnTo>
                      <a:pt x="676" y="346"/>
                    </a:lnTo>
                    <a:lnTo>
                      <a:pt x="680" y="354"/>
                    </a:lnTo>
                    <a:lnTo>
                      <a:pt x="682" y="363"/>
                    </a:lnTo>
                    <a:lnTo>
                      <a:pt x="680" y="365"/>
                    </a:lnTo>
                    <a:lnTo>
                      <a:pt x="684" y="373"/>
                    </a:lnTo>
                    <a:lnTo>
                      <a:pt x="682" y="378"/>
                    </a:lnTo>
                    <a:lnTo>
                      <a:pt x="682" y="380"/>
                    </a:lnTo>
                    <a:lnTo>
                      <a:pt x="684" y="382"/>
                    </a:lnTo>
                    <a:lnTo>
                      <a:pt x="684" y="386"/>
                    </a:lnTo>
                    <a:lnTo>
                      <a:pt x="684" y="390"/>
                    </a:lnTo>
                    <a:lnTo>
                      <a:pt x="680" y="395"/>
                    </a:lnTo>
                    <a:lnTo>
                      <a:pt x="672" y="395"/>
                    </a:lnTo>
                    <a:lnTo>
                      <a:pt x="672" y="399"/>
                    </a:lnTo>
                    <a:lnTo>
                      <a:pt x="663" y="399"/>
                    </a:lnTo>
                    <a:lnTo>
                      <a:pt x="657" y="399"/>
                    </a:lnTo>
                    <a:lnTo>
                      <a:pt x="648" y="401"/>
                    </a:lnTo>
                    <a:lnTo>
                      <a:pt x="642" y="403"/>
                    </a:lnTo>
                    <a:lnTo>
                      <a:pt x="633" y="407"/>
                    </a:lnTo>
                    <a:lnTo>
                      <a:pt x="631" y="407"/>
                    </a:lnTo>
                    <a:lnTo>
                      <a:pt x="625" y="409"/>
                    </a:lnTo>
                    <a:lnTo>
                      <a:pt x="620" y="409"/>
                    </a:lnTo>
                    <a:lnTo>
                      <a:pt x="618" y="410"/>
                    </a:lnTo>
                    <a:lnTo>
                      <a:pt x="614" y="409"/>
                    </a:lnTo>
                    <a:lnTo>
                      <a:pt x="614" y="410"/>
                    </a:lnTo>
                    <a:lnTo>
                      <a:pt x="606" y="412"/>
                    </a:lnTo>
                    <a:lnTo>
                      <a:pt x="604" y="416"/>
                    </a:lnTo>
                    <a:lnTo>
                      <a:pt x="601" y="420"/>
                    </a:lnTo>
                    <a:lnTo>
                      <a:pt x="599" y="420"/>
                    </a:lnTo>
                    <a:lnTo>
                      <a:pt x="597" y="425"/>
                    </a:lnTo>
                    <a:lnTo>
                      <a:pt x="593" y="425"/>
                    </a:lnTo>
                    <a:lnTo>
                      <a:pt x="588" y="429"/>
                    </a:lnTo>
                    <a:lnTo>
                      <a:pt x="584" y="429"/>
                    </a:lnTo>
                    <a:lnTo>
                      <a:pt x="582" y="425"/>
                    </a:lnTo>
                    <a:lnTo>
                      <a:pt x="580" y="429"/>
                    </a:lnTo>
                    <a:lnTo>
                      <a:pt x="578" y="433"/>
                    </a:lnTo>
                    <a:lnTo>
                      <a:pt x="574" y="435"/>
                    </a:lnTo>
                    <a:lnTo>
                      <a:pt x="569" y="441"/>
                    </a:lnTo>
                    <a:lnTo>
                      <a:pt x="569" y="442"/>
                    </a:lnTo>
                    <a:lnTo>
                      <a:pt x="563" y="448"/>
                    </a:lnTo>
                    <a:lnTo>
                      <a:pt x="565" y="450"/>
                    </a:lnTo>
                    <a:lnTo>
                      <a:pt x="559" y="454"/>
                    </a:lnTo>
                    <a:lnTo>
                      <a:pt x="556" y="459"/>
                    </a:lnTo>
                    <a:lnTo>
                      <a:pt x="552" y="459"/>
                    </a:lnTo>
                    <a:lnTo>
                      <a:pt x="546" y="459"/>
                    </a:lnTo>
                    <a:lnTo>
                      <a:pt x="542" y="459"/>
                    </a:lnTo>
                    <a:lnTo>
                      <a:pt x="540" y="459"/>
                    </a:lnTo>
                    <a:lnTo>
                      <a:pt x="544" y="454"/>
                    </a:lnTo>
                    <a:lnTo>
                      <a:pt x="542" y="450"/>
                    </a:lnTo>
                    <a:lnTo>
                      <a:pt x="540" y="450"/>
                    </a:lnTo>
                    <a:lnTo>
                      <a:pt x="539" y="450"/>
                    </a:lnTo>
                    <a:lnTo>
                      <a:pt x="539" y="454"/>
                    </a:lnTo>
                    <a:lnTo>
                      <a:pt x="535" y="454"/>
                    </a:lnTo>
                    <a:lnTo>
                      <a:pt x="529" y="459"/>
                    </a:lnTo>
                    <a:lnTo>
                      <a:pt x="525" y="459"/>
                    </a:lnTo>
                    <a:lnTo>
                      <a:pt x="524" y="459"/>
                    </a:lnTo>
                    <a:lnTo>
                      <a:pt x="520" y="459"/>
                    </a:lnTo>
                    <a:lnTo>
                      <a:pt x="516" y="463"/>
                    </a:lnTo>
                    <a:lnTo>
                      <a:pt x="514" y="463"/>
                    </a:lnTo>
                    <a:lnTo>
                      <a:pt x="510" y="463"/>
                    </a:lnTo>
                    <a:lnTo>
                      <a:pt x="514" y="463"/>
                    </a:lnTo>
                    <a:lnTo>
                      <a:pt x="514" y="463"/>
                    </a:lnTo>
                    <a:lnTo>
                      <a:pt x="514" y="463"/>
                    </a:lnTo>
                    <a:lnTo>
                      <a:pt x="514" y="463"/>
                    </a:lnTo>
                    <a:close/>
                    <a:moveTo>
                      <a:pt x="981" y="405"/>
                    </a:moveTo>
                    <a:lnTo>
                      <a:pt x="983" y="407"/>
                    </a:lnTo>
                    <a:lnTo>
                      <a:pt x="983" y="409"/>
                    </a:lnTo>
                    <a:lnTo>
                      <a:pt x="983" y="412"/>
                    </a:lnTo>
                    <a:lnTo>
                      <a:pt x="981" y="414"/>
                    </a:lnTo>
                    <a:lnTo>
                      <a:pt x="981" y="412"/>
                    </a:lnTo>
                    <a:lnTo>
                      <a:pt x="981" y="407"/>
                    </a:lnTo>
                    <a:lnTo>
                      <a:pt x="981" y="405"/>
                    </a:lnTo>
                    <a:lnTo>
                      <a:pt x="981" y="405"/>
                    </a:lnTo>
                    <a:lnTo>
                      <a:pt x="981" y="405"/>
                    </a:lnTo>
                    <a:lnTo>
                      <a:pt x="981" y="405"/>
                    </a:lnTo>
                    <a:close/>
                    <a:moveTo>
                      <a:pt x="943" y="407"/>
                    </a:moveTo>
                    <a:lnTo>
                      <a:pt x="947" y="401"/>
                    </a:lnTo>
                    <a:lnTo>
                      <a:pt x="951" y="399"/>
                    </a:lnTo>
                    <a:lnTo>
                      <a:pt x="953" y="401"/>
                    </a:lnTo>
                    <a:lnTo>
                      <a:pt x="953" y="405"/>
                    </a:lnTo>
                    <a:lnTo>
                      <a:pt x="949" y="405"/>
                    </a:lnTo>
                    <a:lnTo>
                      <a:pt x="947" y="407"/>
                    </a:lnTo>
                    <a:lnTo>
                      <a:pt x="943" y="407"/>
                    </a:lnTo>
                    <a:lnTo>
                      <a:pt x="943" y="407"/>
                    </a:lnTo>
                    <a:lnTo>
                      <a:pt x="943" y="407"/>
                    </a:lnTo>
                    <a:lnTo>
                      <a:pt x="943" y="407"/>
                    </a:lnTo>
                    <a:close/>
                    <a:moveTo>
                      <a:pt x="909" y="425"/>
                    </a:moveTo>
                    <a:lnTo>
                      <a:pt x="911" y="429"/>
                    </a:lnTo>
                    <a:lnTo>
                      <a:pt x="917" y="429"/>
                    </a:lnTo>
                    <a:lnTo>
                      <a:pt x="923" y="433"/>
                    </a:lnTo>
                    <a:lnTo>
                      <a:pt x="923" y="431"/>
                    </a:lnTo>
                    <a:lnTo>
                      <a:pt x="924" y="433"/>
                    </a:lnTo>
                    <a:lnTo>
                      <a:pt x="930" y="429"/>
                    </a:lnTo>
                    <a:lnTo>
                      <a:pt x="932" y="431"/>
                    </a:lnTo>
                    <a:lnTo>
                      <a:pt x="936" y="431"/>
                    </a:lnTo>
                    <a:lnTo>
                      <a:pt x="938" y="429"/>
                    </a:lnTo>
                    <a:lnTo>
                      <a:pt x="943" y="429"/>
                    </a:lnTo>
                    <a:lnTo>
                      <a:pt x="943" y="425"/>
                    </a:lnTo>
                    <a:lnTo>
                      <a:pt x="938" y="424"/>
                    </a:lnTo>
                    <a:lnTo>
                      <a:pt x="934" y="425"/>
                    </a:lnTo>
                    <a:lnTo>
                      <a:pt x="930" y="425"/>
                    </a:lnTo>
                    <a:lnTo>
                      <a:pt x="928" y="425"/>
                    </a:lnTo>
                    <a:lnTo>
                      <a:pt x="923" y="425"/>
                    </a:lnTo>
                    <a:lnTo>
                      <a:pt x="919" y="424"/>
                    </a:lnTo>
                    <a:lnTo>
                      <a:pt x="917" y="425"/>
                    </a:lnTo>
                    <a:lnTo>
                      <a:pt x="911" y="425"/>
                    </a:lnTo>
                    <a:lnTo>
                      <a:pt x="909" y="425"/>
                    </a:lnTo>
                    <a:lnTo>
                      <a:pt x="909" y="425"/>
                    </a:lnTo>
                    <a:lnTo>
                      <a:pt x="909" y="425"/>
                    </a:lnTo>
                    <a:lnTo>
                      <a:pt x="909" y="425"/>
                    </a:lnTo>
                    <a:close/>
                    <a:moveTo>
                      <a:pt x="889" y="555"/>
                    </a:moveTo>
                    <a:lnTo>
                      <a:pt x="889" y="554"/>
                    </a:lnTo>
                    <a:lnTo>
                      <a:pt x="889" y="552"/>
                    </a:lnTo>
                    <a:lnTo>
                      <a:pt x="889" y="552"/>
                    </a:lnTo>
                    <a:lnTo>
                      <a:pt x="889" y="555"/>
                    </a:lnTo>
                    <a:lnTo>
                      <a:pt x="889" y="555"/>
                    </a:lnTo>
                    <a:lnTo>
                      <a:pt x="889" y="555"/>
                    </a:lnTo>
                    <a:lnTo>
                      <a:pt x="889" y="555"/>
                    </a:lnTo>
                    <a:lnTo>
                      <a:pt x="889" y="555"/>
                    </a:lnTo>
                    <a:close/>
                    <a:moveTo>
                      <a:pt x="868" y="552"/>
                    </a:moveTo>
                    <a:lnTo>
                      <a:pt x="864" y="552"/>
                    </a:lnTo>
                    <a:lnTo>
                      <a:pt x="864" y="548"/>
                    </a:lnTo>
                    <a:lnTo>
                      <a:pt x="864" y="544"/>
                    </a:lnTo>
                    <a:lnTo>
                      <a:pt x="862" y="548"/>
                    </a:lnTo>
                    <a:lnTo>
                      <a:pt x="859" y="544"/>
                    </a:lnTo>
                    <a:lnTo>
                      <a:pt x="862" y="542"/>
                    </a:lnTo>
                    <a:lnTo>
                      <a:pt x="859" y="537"/>
                    </a:lnTo>
                    <a:lnTo>
                      <a:pt x="859" y="535"/>
                    </a:lnTo>
                    <a:lnTo>
                      <a:pt x="859" y="531"/>
                    </a:lnTo>
                    <a:lnTo>
                      <a:pt x="859" y="525"/>
                    </a:lnTo>
                    <a:lnTo>
                      <a:pt x="859" y="522"/>
                    </a:lnTo>
                    <a:lnTo>
                      <a:pt x="859" y="522"/>
                    </a:lnTo>
                    <a:lnTo>
                      <a:pt x="855" y="518"/>
                    </a:lnTo>
                    <a:lnTo>
                      <a:pt x="855" y="514"/>
                    </a:lnTo>
                    <a:lnTo>
                      <a:pt x="853" y="512"/>
                    </a:lnTo>
                    <a:lnTo>
                      <a:pt x="853" y="506"/>
                    </a:lnTo>
                    <a:lnTo>
                      <a:pt x="851" y="501"/>
                    </a:lnTo>
                    <a:lnTo>
                      <a:pt x="849" y="501"/>
                    </a:lnTo>
                    <a:lnTo>
                      <a:pt x="847" y="499"/>
                    </a:lnTo>
                    <a:lnTo>
                      <a:pt x="847" y="495"/>
                    </a:lnTo>
                    <a:lnTo>
                      <a:pt x="845" y="493"/>
                    </a:lnTo>
                    <a:lnTo>
                      <a:pt x="844" y="495"/>
                    </a:lnTo>
                    <a:lnTo>
                      <a:pt x="844" y="493"/>
                    </a:lnTo>
                    <a:lnTo>
                      <a:pt x="838" y="495"/>
                    </a:lnTo>
                    <a:lnTo>
                      <a:pt x="836" y="493"/>
                    </a:lnTo>
                    <a:lnTo>
                      <a:pt x="836" y="488"/>
                    </a:lnTo>
                    <a:lnTo>
                      <a:pt x="840" y="488"/>
                    </a:lnTo>
                    <a:lnTo>
                      <a:pt x="844" y="482"/>
                    </a:lnTo>
                    <a:lnTo>
                      <a:pt x="840" y="480"/>
                    </a:lnTo>
                    <a:lnTo>
                      <a:pt x="840" y="478"/>
                    </a:lnTo>
                    <a:lnTo>
                      <a:pt x="840" y="471"/>
                    </a:lnTo>
                    <a:lnTo>
                      <a:pt x="840" y="469"/>
                    </a:lnTo>
                    <a:lnTo>
                      <a:pt x="844" y="463"/>
                    </a:lnTo>
                    <a:lnTo>
                      <a:pt x="847" y="463"/>
                    </a:lnTo>
                    <a:lnTo>
                      <a:pt x="849" y="459"/>
                    </a:lnTo>
                    <a:lnTo>
                      <a:pt x="851" y="459"/>
                    </a:lnTo>
                    <a:lnTo>
                      <a:pt x="853" y="459"/>
                    </a:lnTo>
                    <a:lnTo>
                      <a:pt x="859" y="459"/>
                    </a:lnTo>
                    <a:lnTo>
                      <a:pt x="862" y="459"/>
                    </a:lnTo>
                    <a:lnTo>
                      <a:pt x="862" y="463"/>
                    </a:lnTo>
                    <a:lnTo>
                      <a:pt x="862" y="463"/>
                    </a:lnTo>
                    <a:lnTo>
                      <a:pt x="859" y="463"/>
                    </a:lnTo>
                    <a:lnTo>
                      <a:pt x="859" y="465"/>
                    </a:lnTo>
                    <a:lnTo>
                      <a:pt x="862" y="467"/>
                    </a:lnTo>
                    <a:lnTo>
                      <a:pt x="864" y="469"/>
                    </a:lnTo>
                    <a:lnTo>
                      <a:pt x="862" y="473"/>
                    </a:lnTo>
                    <a:lnTo>
                      <a:pt x="868" y="476"/>
                    </a:lnTo>
                    <a:lnTo>
                      <a:pt x="868" y="480"/>
                    </a:lnTo>
                    <a:lnTo>
                      <a:pt x="868" y="484"/>
                    </a:lnTo>
                    <a:lnTo>
                      <a:pt x="872" y="484"/>
                    </a:lnTo>
                    <a:lnTo>
                      <a:pt x="874" y="484"/>
                    </a:lnTo>
                    <a:lnTo>
                      <a:pt x="874" y="480"/>
                    </a:lnTo>
                    <a:lnTo>
                      <a:pt x="876" y="478"/>
                    </a:lnTo>
                    <a:lnTo>
                      <a:pt x="877" y="474"/>
                    </a:lnTo>
                    <a:lnTo>
                      <a:pt x="877" y="471"/>
                    </a:lnTo>
                    <a:lnTo>
                      <a:pt x="879" y="469"/>
                    </a:lnTo>
                    <a:lnTo>
                      <a:pt x="881" y="467"/>
                    </a:lnTo>
                    <a:lnTo>
                      <a:pt x="879" y="463"/>
                    </a:lnTo>
                    <a:lnTo>
                      <a:pt x="881" y="463"/>
                    </a:lnTo>
                    <a:lnTo>
                      <a:pt x="885" y="459"/>
                    </a:lnTo>
                    <a:lnTo>
                      <a:pt x="887" y="463"/>
                    </a:lnTo>
                    <a:lnTo>
                      <a:pt x="889" y="465"/>
                    </a:lnTo>
                    <a:lnTo>
                      <a:pt x="889" y="465"/>
                    </a:lnTo>
                    <a:lnTo>
                      <a:pt x="889" y="463"/>
                    </a:lnTo>
                    <a:lnTo>
                      <a:pt x="889" y="459"/>
                    </a:lnTo>
                    <a:lnTo>
                      <a:pt x="887" y="454"/>
                    </a:lnTo>
                    <a:lnTo>
                      <a:pt x="887" y="454"/>
                    </a:lnTo>
                    <a:lnTo>
                      <a:pt x="885" y="459"/>
                    </a:lnTo>
                    <a:lnTo>
                      <a:pt x="879" y="459"/>
                    </a:lnTo>
                    <a:lnTo>
                      <a:pt x="876" y="454"/>
                    </a:lnTo>
                    <a:lnTo>
                      <a:pt x="876" y="450"/>
                    </a:lnTo>
                    <a:lnTo>
                      <a:pt x="874" y="448"/>
                    </a:lnTo>
                    <a:lnTo>
                      <a:pt x="874" y="444"/>
                    </a:lnTo>
                    <a:lnTo>
                      <a:pt x="876" y="442"/>
                    </a:lnTo>
                    <a:lnTo>
                      <a:pt x="879" y="442"/>
                    </a:lnTo>
                    <a:lnTo>
                      <a:pt x="879" y="439"/>
                    </a:lnTo>
                    <a:lnTo>
                      <a:pt x="883" y="441"/>
                    </a:lnTo>
                    <a:lnTo>
                      <a:pt x="885" y="444"/>
                    </a:lnTo>
                    <a:lnTo>
                      <a:pt x="885" y="450"/>
                    </a:lnTo>
                    <a:lnTo>
                      <a:pt x="887" y="450"/>
                    </a:lnTo>
                    <a:lnTo>
                      <a:pt x="887" y="448"/>
                    </a:lnTo>
                    <a:lnTo>
                      <a:pt x="889" y="446"/>
                    </a:lnTo>
                    <a:lnTo>
                      <a:pt x="889" y="442"/>
                    </a:lnTo>
                    <a:lnTo>
                      <a:pt x="885" y="441"/>
                    </a:lnTo>
                    <a:lnTo>
                      <a:pt x="885" y="437"/>
                    </a:lnTo>
                    <a:lnTo>
                      <a:pt x="885" y="433"/>
                    </a:lnTo>
                    <a:lnTo>
                      <a:pt x="887" y="431"/>
                    </a:lnTo>
                    <a:lnTo>
                      <a:pt x="887" y="429"/>
                    </a:lnTo>
                    <a:lnTo>
                      <a:pt x="889" y="425"/>
                    </a:lnTo>
                    <a:lnTo>
                      <a:pt x="892" y="429"/>
                    </a:lnTo>
                    <a:lnTo>
                      <a:pt x="892" y="429"/>
                    </a:lnTo>
                    <a:lnTo>
                      <a:pt x="896" y="431"/>
                    </a:lnTo>
                    <a:lnTo>
                      <a:pt x="900" y="433"/>
                    </a:lnTo>
                    <a:lnTo>
                      <a:pt x="902" y="429"/>
                    </a:lnTo>
                    <a:lnTo>
                      <a:pt x="898" y="429"/>
                    </a:lnTo>
                    <a:lnTo>
                      <a:pt x="896" y="429"/>
                    </a:lnTo>
                    <a:lnTo>
                      <a:pt x="898" y="425"/>
                    </a:lnTo>
                    <a:lnTo>
                      <a:pt x="902" y="425"/>
                    </a:lnTo>
                    <a:lnTo>
                      <a:pt x="906" y="425"/>
                    </a:lnTo>
                    <a:lnTo>
                      <a:pt x="908" y="425"/>
                    </a:lnTo>
                    <a:lnTo>
                      <a:pt x="906" y="429"/>
                    </a:lnTo>
                    <a:lnTo>
                      <a:pt x="906" y="429"/>
                    </a:lnTo>
                    <a:lnTo>
                      <a:pt x="909" y="431"/>
                    </a:lnTo>
                    <a:lnTo>
                      <a:pt x="911" y="435"/>
                    </a:lnTo>
                    <a:lnTo>
                      <a:pt x="913" y="435"/>
                    </a:lnTo>
                    <a:lnTo>
                      <a:pt x="917" y="437"/>
                    </a:lnTo>
                    <a:lnTo>
                      <a:pt x="923" y="437"/>
                    </a:lnTo>
                    <a:lnTo>
                      <a:pt x="923" y="435"/>
                    </a:lnTo>
                    <a:lnTo>
                      <a:pt x="926" y="435"/>
                    </a:lnTo>
                    <a:lnTo>
                      <a:pt x="936" y="435"/>
                    </a:lnTo>
                    <a:lnTo>
                      <a:pt x="940" y="439"/>
                    </a:lnTo>
                    <a:lnTo>
                      <a:pt x="941" y="439"/>
                    </a:lnTo>
                    <a:lnTo>
                      <a:pt x="941" y="441"/>
                    </a:lnTo>
                    <a:lnTo>
                      <a:pt x="941" y="442"/>
                    </a:lnTo>
                    <a:lnTo>
                      <a:pt x="941" y="446"/>
                    </a:lnTo>
                    <a:lnTo>
                      <a:pt x="940" y="448"/>
                    </a:lnTo>
                    <a:lnTo>
                      <a:pt x="936" y="450"/>
                    </a:lnTo>
                    <a:lnTo>
                      <a:pt x="932" y="450"/>
                    </a:lnTo>
                    <a:lnTo>
                      <a:pt x="932" y="448"/>
                    </a:lnTo>
                    <a:lnTo>
                      <a:pt x="930" y="450"/>
                    </a:lnTo>
                    <a:lnTo>
                      <a:pt x="928" y="450"/>
                    </a:lnTo>
                    <a:lnTo>
                      <a:pt x="928" y="454"/>
                    </a:lnTo>
                    <a:lnTo>
                      <a:pt x="932" y="454"/>
                    </a:lnTo>
                    <a:lnTo>
                      <a:pt x="930" y="459"/>
                    </a:lnTo>
                    <a:lnTo>
                      <a:pt x="930" y="463"/>
                    </a:lnTo>
                    <a:lnTo>
                      <a:pt x="928" y="463"/>
                    </a:lnTo>
                    <a:lnTo>
                      <a:pt x="926" y="463"/>
                    </a:lnTo>
                    <a:lnTo>
                      <a:pt x="924" y="463"/>
                    </a:lnTo>
                    <a:lnTo>
                      <a:pt x="923" y="463"/>
                    </a:lnTo>
                    <a:lnTo>
                      <a:pt x="919" y="465"/>
                    </a:lnTo>
                    <a:lnTo>
                      <a:pt x="913" y="467"/>
                    </a:lnTo>
                    <a:lnTo>
                      <a:pt x="908" y="471"/>
                    </a:lnTo>
                    <a:lnTo>
                      <a:pt x="906" y="471"/>
                    </a:lnTo>
                    <a:lnTo>
                      <a:pt x="904" y="474"/>
                    </a:lnTo>
                    <a:lnTo>
                      <a:pt x="904" y="478"/>
                    </a:lnTo>
                    <a:lnTo>
                      <a:pt x="906" y="476"/>
                    </a:lnTo>
                    <a:lnTo>
                      <a:pt x="908" y="476"/>
                    </a:lnTo>
                    <a:lnTo>
                      <a:pt x="913" y="474"/>
                    </a:lnTo>
                    <a:lnTo>
                      <a:pt x="913" y="473"/>
                    </a:lnTo>
                    <a:lnTo>
                      <a:pt x="919" y="476"/>
                    </a:lnTo>
                    <a:lnTo>
                      <a:pt x="923" y="480"/>
                    </a:lnTo>
                    <a:lnTo>
                      <a:pt x="919" y="482"/>
                    </a:lnTo>
                    <a:lnTo>
                      <a:pt x="917" y="482"/>
                    </a:lnTo>
                    <a:lnTo>
                      <a:pt x="919" y="484"/>
                    </a:lnTo>
                    <a:lnTo>
                      <a:pt x="919" y="488"/>
                    </a:lnTo>
                    <a:lnTo>
                      <a:pt x="919" y="490"/>
                    </a:lnTo>
                    <a:lnTo>
                      <a:pt x="917" y="493"/>
                    </a:lnTo>
                    <a:lnTo>
                      <a:pt x="917" y="495"/>
                    </a:lnTo>
                    <a:lnTo>
                      <a:pt x="917" y="497"/>
                    </a:lnTo>
                    <a:lnTo>
                      <a:pt x="919" y="493"/>
                    </a:lnTo>
                    <a:lnTo>
                      <a:pt x="923" y="493"/>
                    </a:lnTo>
                    <a:lnTo>
                      <a:pt x="924" y="490"/>
                    </a:lnTo>
                    <a:lnTo>
                      <a:pt x="926" y="490"/>
                    </a:lnTo>
                    <a:lnTo>
                      <a:pt x="924" y="493"/>
                    </a:lnTo>
                    <a:lnTo>
                      <a:pt x="924" y="497"/>
                    </a:lnTo>
                    <a:lnTo>
                      <a:pt x="923" y="503"/>
                    </a:lnTo>
                    <a:lnTo>
                      <a:pt x="923" y="506"/>
                    </a:lnTo>
                    <a:lnTo>
                      <a:pt x="917" y="510"/>
                    </a:lnTo>
                    <a:lnTo>
                      <a:pt x="913" y="510"/>
                    </a:lnTo>
                    <a:lnTo>
                      <a:pt x="913" y="512"/>
                    </a:lnTo>
                    <a:lnTo>
                      <a:pt x="913" y="514"/>
                    </a:lnTo>
                    <a:lnTo>
                      <a:pt x="913" y="518"/>
                    </a:lnTo>
                    <a:lnTo>
                      <a:pt x="911" y="518"/>
                    </a:lnTo>
                    <a:lnTo>
                      <a:pt x="911" y="518"/>
                    </a:lnTo>
                    <a:lnTo>
                      <a:pt x="908" y="518"/>
                    </a:lnTo>
                    <a:lnTo>
                      <a:pt x="908" y="520"/>
                    </a:lnTo>
                    <a:lnTo>
                      <a:pt x="913" y="523"/>
                    </a:lnTo>
                    <a:lnTo>
                      <a:pt x="911" y="525"/>
                    </a:lnTo>
                    <a:lnTo>
                      <a:pt x="908" y="525"/>
                    </a:lnTo>
                    <a:lnTo>
                      <a:pt x="911" y="529"/>
                    </a:lnTo>
                    <a:lnTo>
                      <a:pt x="906" y="533"/>
                    </a:lnTo>
                    <a:lnTo>
                      <a:pt x="904" y="531"/>
                    </a:lnTo>
                    <a:lnTo>
                      <a:pt x="902" y="533"/>
                    </a:lnTo>
                    <a:lnTo>
                      <a:pt x="898" y="533"/>
                    </a:lnTo>
                    <a:lnTo>
                      <a:pt x="894" y="535"/>
                    </a:lnTo>
                    <a:lnTo>
                      <a:pt x="894" y="539"/>
                    </a:lnTo>
                    <a:lnTo>
                      <a:pt x="889" y="539"/>
                    </a:lnTo>
                    <a:lnTo>
                      <a:pt x="885" y="537"/>
                    </a:lnTo>
                    <a:lnTo>
                      <a:pt x="881" y="539"/>
                    </a:lnTo>
                    <a:lnTo>
                      <a:pt x="879" y="537"/>
                    </a:lnTo>
                    <a:lnTo>
                      <a:pt x="877" y="529"/>
                    </a:lnTo>
                    <a:lnTo>
                      <a:pt x="881" y="525"/>
                    </a:lnTo>
                    <a:lnTo>
                      <a:pt x="881" y="522"/>
                    </a:lnTo>
                    <a:lnTo>
                      <a:pt x="876" y="529"/>
                    </a:lnTo>
                    <a:lnTo>
                      <a:pt x="874" y="533"/>
                    </a:lnTo>
                    <a:lnTo>
                      <a:pt x="877" y="539"/>
                    </a:lnTo>
                    <a:lnTo>
                      <a:pt x="879" y="542"/>
                    </a:lnTo>
                    <a:lnTo>
                      <a:pt x="877" y="544"/>
                    </a:lnTo>
                    <a:lnTo>
                      <a:pt x="874" y="548"/>
                    </a:lnTo>
                    <a:lnTo>
                      <a:pt x="872" y="552"/>
                    </a:lnTo>
                    <a:lnTo>
                      <a:pt x="872" y="552"/>
                    </a:lnTo>
                    <a:lnTo>
                      <a:pt x="868" y="552"/>
                    </a:lnTo>
                    <a:lnTo>
                      <a:pt x="868" y="552"/>
                    </a:lnTo>
                    <a:lnTo>
                      <a:pt x="868" y="552"/>
                    </a:lnTo>
                    <a:lnTo>
                      <a:pt x="868" y="552"/>
                    </a:lnTo>
                    <a:close/>
                    <a:moveTo>
                      <a:pt x="928" y="465"/>
                    </a:moveTo>
                    <a:lnTo>
                      <a:pt x="928" y="467"/>
                    </a:lnTo>
                    <a:lnTo>
                      <a:pt x="930" y="467"/>
                    </a:lnTo>
                    <a:lnTo>
                      <a:pt x="932" y="465"/>
                    </a:lnTo>
                    <a:lnTo>
                      <a:pt x="928" y="465"/>
                    </a:lnTo>
                    <a:lnTo>
                      <a:pt x="928" y="465"/>
                    </a:lnTo>
                    <a:lnTo>
                      <a:pt x="928" y="465"/>
                    </a:lnTo>
                    <a:lnTo>
                      <a:pt x="928" y="465"/>
                    </a:lnTo>
                    <a:close/>
                    <a:moveTo>
                      <a:pt x="926" y="482"/>
                    </a:moveTo>
                    <a:lnTo>
                      <a:pt x="928" y="482"/>
                    </a:lnTo>
                    <a:lnTo>
                      <a:pt x="932" y="476"/>
                    </a:lnTo>
                    <a:lnTo>
                      <a:pt x="932" y="474"/>
                    </a:lnTo>
                    <a:lnTo>
                      <a:pt x="930" y="473"/>
                    </a:lnTo>
                    <a:lnTo>
                      <a:pt x="930" y="469"/>
                    </a:lnTo>
                    <a:lnTo>
                      <a:pt x="926" y="471"/>
                    </a:lnTo>
                    <a:lnTo>
                      <a:pt x="926" y="474"/>
                    </a:lnTo>
                    <a:lnTo>
                      <a:pt x="924" y="474"/>
                    </a:lnTo>
                    <a:lnTo>
                      <a:pt x="924" y="480"/>
                    </a:lnTo>
                    <a:lnTo>
                      <a:pt x="926" y="482"/>
                    </a:lnTo>
                    <a:lnTo>
                      <a:pt x="926" y="482"/>
                    </a:lnTo>
                    <a:lnTo>
                      <a:pt x="926" y="482"/>
                    </a:lnTo>
                    <a:lnTo>
                      <a:pt x="926" y="482"/>
                    </a:lnTo>
                    <a:close/>
                    <a:moveTo>
                      <a:pt x="924" y="488"/>
                    </a:moveTo>
                    <a:lnTo>
                      <a:pt x="926" y="488"/>
                    </a:lnTo>
                    <a:lnTo>
                      <a:pt x="926" y="484"/>
                    </a:lnTo>
                    <a:lnTo>
                      <a:pt x="924" y="484"/>
                    </a:lnTo>
                    <a:lnTo>
                      <a:pt x="923" y="484"/>
                    </a:lnTo>
                    <a:lnTo>
                      <a:pt x="923" y="488"/>
                    </a:lnTo>
                    <a:lnTo>
                      <a:pt x="924" y="488"/>
                    </a:lnTo>
                    <a:lnTo>
                      <a:pt x="924" y="488"/>
                    </a:lnTo>
                    <a:lnTo>
                      <a:pt x="924" y="488"/>
                    </a:lnTo>
                    <a:lnTo>
                      <a:pt x="924" y="488"/>
                    </a:lnTo>
                    <a:close/>
                    <a:moveTo>
                      <a:pt x="785" y="410"/>
                    </a:moveTo>
                    <a:lnTo>
                      <a:pt x="785" y="412"/>
                    </a:lnTo>
                    <a:lnTo>
                      <a:pt x="785" y="412"/>
                    </a:lnTo>
                    <a:lnTo>
                      <a:pt x="787" y="412"/>
                    </a:lnTo>
                    <a:lnTo>
                      <a:pt x="789" y="414"/>
                    </a:lnTo>
                    <a:lnTo>
                      <a:pt x="791" y="412"/>
                    </a:lnTo>
                    <a:lnTo>
                      <a:pt x="789" y="410"/>
                    </a:lnTo>
                    <a:lnTo>
                      <a:pt x="785" y="409"/>
                    </a:lnTo>
                    <a:lnTo>
                      <a:pt x="785" y="410"/>
                    </a:lnTo>
                    <a:lnTo>
                      <a:pt x="785" y="410"/>
                    </a:lnTo>
                    <a:lnTo>
                      <a:pt x="785" y="410"/>
                    </a:lnTo>
                    <a:lnTo>
                      <a:pt x="785" y="410"/>
                    </a:lnTo>
                    <a:close/>
                    <a:moveTo>
                      <a:pt x="806" y="458"/>
                    </a:moveTo>
                    <a:lnTo>
                      <a:pt x="806" y="454"/>
                    </a:lnTo>
                    <a:lnTo>
                      <a:pt x="804" y="446"/>
                    </a:lnTo>
                    <a:lnTo>
                      <a:pt x="800" y="441"/>
                    </a:lnTo>
                    <a:lnTo>
                      <a:pt x="800" y="439"/>
                    </a:lnTo>
                    <a:lnTo>
                      <a:pt x="804" y="437"/>
                    </a:lnTo>
                    <a:lnTo>
                      <a:pt x="800" y="431"/>
                    </a:lnTo>
                    <a:lnTo>
                      <a:pt x="800" y="429"/>
                    </a:lnTo>
                    <a:lnTo>
                      <a:pt x="798" y="424"/>
                    </a:lnTo>
                    <a:lnTo>
                      <a:pt x="795" y="420"/>
                    </a:lnTo>
                    <a:lnTo>
                      <a:pt x="796" y="420"/>
                    </a:lnTo>
                    <a:lnTo>
                      <a:pt x="800" y="414"/>
                    </a:lnTo>
                    <a:lnTo>
                      <a:pt x="804" y="412"/>
                    </a:lnTo>
                    <a:lnTo>
                      <a:pt x="806" y="410"/>
                    </a:lnTo>
                    <a:lnTo>
                      <a:pt x="812" y="409"/>
                    </a:lnTo>
                    <a:lnTo>
                      <a:pt x="815" y="412"/>
                    </a:lnTo>
                    <a:lnTo>
                      <a:pt x="817" y="412"/>
                    </a:lnTo>
                    <a:lnTo>
                      <a:pt x="821" y="414"/>
                    </a:lnTo>
                    <a:lnTo>
                      <a:pt x="823" y="412"/>
                    </a:lnTo>
                    <a:lnTo>
                      <a:pt x="827" y="414"/>
                    </a:lnTo>
                    <a:lnTo>
                      <a:pt x="828" y="414"/>
                    </a:lnTo>
                    <a:lnTo>
                      <a:pt x="830" y="414"/>
                    </a:lnTo>
                    <a:lnTo>
                      <a:pt x="834" y="420"/>
                    </a:lnTo>
                    <a:lnTo>
                      <a:pt x="834" y="420"/>
                    </a:lnTo>
                    <a:lnTo>
                      <a:pt x="834" y="424"/>
                    </a:lnTo>
                    <a:lnTo>
                      <a:pt x="834" y="425"/>
                    </a:lnTo>
                    <a:lnTo>
                      <a:pt x="834" y="429"/>
                    </a:lnTo>
                    <a:lnTo>
                      <a:pt x="834" y="429"/>
                    </a:lnTo>
                    <a:lnTo>
                      <a:pt x="834" y="433"/>
                    </a:lnTo>
                    <a:lnTo>
                      <a:pt x="830" y="437"/>
                    </a:lnTo>
                    <a:lnTo>
                      <a:pt x="828" y="437"/>
                    </a:lnTo>
                    <a:lnTo>
                      <a:pt x="823" y="442"/>
                    </a:lnTo>
                    <a:lnTo>
                      <a:pt x="817" y="446"/>
                    </a:lnTo>
                    <a:lnTo>
                      <a:pt x="813" y="450"/>
                    </a:lnTo>
                    <a:lnTo>
                      <a:pt x="810" y="450"/>
                    </a:lnTo>
                    <a:lnTo>
                      <a:pt x="810" y="454"/>
                    </a:lnTo>
                    <a:lnTo>
                      <a:pt x="810" y="454"/>
                    </a:lnTo>
                    <a:lnTo>
                      <a:pt x="806" y="458"/>
                    </a:lnTo>
                    <a:lnTo>
                      <a:pt x="806" y="458"/>
                    </a:lnTo>
                    <a:lnTo>
                      <a:pt x="806" y="458"/>
                    </a:lnTo>
                    <a:lnTo>
                      <a:pt x="806" y="458"/>
                    </a:lnTo>
                    <a:close/>
                    <a:moveTo>
                      <a:pt x="940" y="533"/>
                    </a:moveTo>
                    <a:lnTo>
                      <a:pt x="934" y="527"/>
                    </a:lnTo>
                    <a:lnTo>
                      <a:pt x="932" y="529"/>
                    </a:lnTo>
                    <a:lnTo>
                      <a:pt x="924" y="527"/>
                    </a:lnTo>
                    <a:lnTo>
                      <a:pt x="926" y="523"/>
                    </a:lnTo>
                    <a:lnTo>
                      <a:pt x="930" y="522"/>
                    </a:lnTo>
                    <a:lnTo>
                      <a:pt x="932" y="523"/>
                    </a:lnTo>
                    <a:lnTo>
                      <a:pt x="934" y="522"/>
                    </a:lnTo>
                    <a:lnTo>
                      <a:pt x="934" y="520"/>
                    </a:lnTo>
                    <a:lnTo>
                      <a:pt x="930" y="520"/>
                    </a:lnTo>
                    <a:lnTo>
                      <a:pt x="928" y="518"/>
                    </a:lnTo>
                    <a:lnTo>
                      <a:pt x="934" y="514"/>
                    </a:lnTo>
                    <a:lnTo>
                      <a:pt x="936" y="506"/>
                    </a:lnTo>
                    <a:lnTo>
                      <a:pt x="936" y="505"/>
                    </a:lnTo>
                    <a:lnTo>
                      <a:pt x="938" y="503"/>
                    </a:lnTo>
                    <a:lnTo>
                      <a:pt x="938" y="501"/>
                    </a:lnTo>
                    <a:lnTo>
                      <a:pt x="934" y="497"/>
                    </a:lnTo>
                    <a:lnTo>
                      <a:pt x="936" y="495"/>
                    </a:lnTo>
                    <a:lnTo>
                      <a:pt x="936" y="493"/>
                    </a:lnTo>
                    <a:lnTo>
                      <a:pt x="940" y="484"/>
                    </a:lnTo>
                    <a:lnTo>
                      <a:pt x="943" y="482"/>
                    </a:lnTo>
                    <a:lnTo>
                      <a:pt x="943" y="480"/>
                    </a:lnTo>
                    <a:lnTo>
                      <a:pt x="943" y="476"/>
                    </a:lnTo>
                    <a:lnTo>
                      <a:pt x="947" y="473"/>
                    </a:lnTo>
                    <a:lnTo>
                      <a:pt x="947" y="471"/>
                    </a:lnTo>
                    <a:lnTo>
                      <a:pt x="947" y="465"/>
                    </a:lnTo>
                    <a:lnTo>
                      <a:pt x="953" y="463"/>
                    </a:lnTo>
                    <a:lnTo>
                      <a:pt x="955" y="458"/>
                    </a:lnTo>
                    <a:lnTo>
                      <a:pt x="956" y="454"/>
                    </a:lnTo>
                    <a:lnTo>
                      <a:pt x="958" y="454"/>
                    </a:lnTo>
                    <a:lnTo>
                      <a:pt x="956" y="450"/>
                    </a:lnTo>
                    <a:lnTo>
                      <a:pt x="960" y="448"/>
                    </a:lnTo>
                    <a:lnTo>
                      <a:pt x="962" y="448"/>
                    </a:lnTo>
                    <a:lnTo>
                      <a:pt x="966" y="454"/>
                    </a:lnTo>
                    <a:lnTo>
                      <a:pt x="966" y="458"/>
                    </a:lnTo>
                    <a:lnTo>
                      <a:pt x="968" y="458"/>
                    </a:lnTo>
                    <a:lnTo>
                      <a:pt x="968" y="454"/>
                    </a:lnTo>
                    <a:lnTo>
                      <a:pt x="966" y="450"/>
                    </a:lnTo>
                    <a:lnTo>
                      <a:pt x="968" y="448"/>
                    </a:lnTo>
                    <a:lnTo>
                      <a:pt x="968" y="446"/>
                    </a:lnTo>
                    <a:lnTo>
                      <a:pt x="966" y="442"/>
                    </a:lnTo>
                    <a:lnTo>
                      <a:pt x="968" y="437"/>
                    </a:lnTo>
                    <a:lnTo>
                      <a:pt x="977" y="435"/>
                    </a:lnTo>
                    <a:lnTo>
                      <a:pt x="983" y="435"/>
                    </a:lnTo>
                    <a:lnTo>
                      <a:pt x="987" y="435"/>
                    </a:lnTo>
                    <a:lnTo>
                      <a:pt x="988" y="437"/>
                    </a:lnTo>
                    <a:lnTo>
                      <a:pt x="992" y="435"/>
                    </a:lnTo>
                    <a:lnTo>
                      <a:pt x="992" y="439"/>
                    </a:lnTo>
                    <a:lnTo>
                      <a:pt x="996" y="437"/>
                    </a:lnTo>
                    <a:lnTo>
                      <a:pt x="998" y="437"/>
                    </a:lnTo>
                    <a:lnTo>
                      <a:pt x="1002" y="441"/>
                    </a:lnTo>
                    <a:lnTo>
                      <a:pt x="1005" y="442"/>
                    </a:lnTo>
                    <a:lnTo>
                      <a:pt x="1005" y="442"/>
                    </a:lnTo>
                    <a:lnTo>
                      <a:pt x="1007" y="442"/>
                    </a:lnTo>
                    <a:lnTo>
                      <a:pt x="1009" y="446"/>
                    </a:lnTo>
                    <a:lnTo>
                      <a:pt x="1009" y="450"/>
                    </a:lnTo>
                    <a:lnTo>
                      <a:pt x="1011" y="450"/>
                    </a:lnTo>
                    <a:lnTo>
                      <a:pt x="1013" y="450"/>
                    </a:lnTo>
                    <a:lnTo>
                      <a:pt x="1019" y="450"/>
                    </a:lnTo>
                    <a:lnTo>
                      <a:pt x="1026" y="450"/>
                    </a:lnTo>
                    <a:lnTo>
                      <a:pt x="1032" y="454"/>
                    </a:lnTo>
                    <a:lnTo>
                      <a:pt x="1032" y="458"/>
                    </a:lnTo>
                    <a:lnTo>
                      <a:pt x="1034" y="459"/>
                    </a:lnTo>
                    <a:lnTo>
                      <a:pt x="1036" y="463"/>
                    </a:lnTo>
                    <a:lnTo>
                      <a:pt x="1034" y="459"/>
                    </a:lnTo>
                    <a:lnTo>
                      <a:pt x="1032" y="459"/>
                    </a:lnTo>
                    <a:lnTo>
                      <a:pt x="1030" y="465"/>
                    </a:lnTo>
                    <a:lnTo>
                      <a:pt x="1026" y="469"/>
                    </a:lnTo>
                    <a:lnTo>
                      <a:pt x="1022" y="474"/>
                    </a:lnTo>
                    <a:lnTo>
                      <a:pt x="1019" y="474"/>
                    </a:lnTo>
                    <a:lnTo>
                      <a:pt x="1019" y="476"/>
                    </a:lnTo>
                    <a:lnTo>
                      <a:pt x="1011" y="482"/>
                    </a:lnTo>
                    <a:lnTo>
                      <a:pt x="1007" y="488"/>
                    </a:lnTo>
                    <a:lnTo>
                      <a:pt x="1005" y="488"/>
                    </a:lnTo>
                    <a:lnTo>
                      <a:pt x="1002" y="488"/>
                    </a:lnTo>
                    <a:lnTo>
                      <a:pt x="1005" y="490"/>
                    </a:lnTo>
                    <a:lnTo>
                      <a:pt x="1002" y="493"/>
                    </a:lnTo>
                    <a:lnTo>
                      <a:pt x="998" y="497"/>
                    </a:lnTo>
                    <a:lnTo>
                      <a:pt x="992" y="501"/>
                    </a:lnTo>
                    <a:lnTo>
                      <a:pt x="985" y="506"/>
                    </a:lnTo>
                    <a:lnTo>
                      <a:pt x="981" y="508"/>
                    </a:lnTo>
                    <a:lnTo>
                      <a:pt x="981" y="506"/>
                    </a:lnTo>
                    <a:lnTo>
                      <a:pt x="977" y="506"/>
                    </a:lnTo>
                    <a:lnTo>
                      <a:pt x="975" y="506"/>
                    </a:lnTo>
                    <a:lnTo>
                      <a:pt x="972" y="501"/>
                    </a:lnTo>
                    <a:lnTo>
                      <a:pt x="972" y="499"/>
                    </a:lnTo>
                    <a:lnTo>
                      <a:pt x="968" y="497"/>
                    </a:lnTo>
                    <a:lnTo>
                      <a:pt x="966" y="499"/>
                    </a:lnTo>
                    <a:lnTo>
                      <a:pt x="962" y="497"/>
                    </a:lnTo>
                    <a:lnTo>
                      <a:pt x="958" y="497"/>
                    </a:lnTo>
                    <a:lnTo>
                      <a:pt x="956" y="497"/>
                    </a:lnTo>
                    <a:lnTo>
                      <a:pt x="953" y="497"/>
                    </a:lnTo>
                    <a:lnTo>
                      <a:pt x="953" y="499"/>
                    </a:lnTo>
                    <a:lnTo>
                      <a:pt x="955" y="501"/>
                    </a:lnTo>
                    <a:lnTo>
                      <a:pt x="962" y="501"/>
                    </a:lnTo>
                    <a:lnTo>
                      <a:pt x="960" y="503"/>
                    </a:lnTo>
                    <a:lnTo>
                      <a:pt x="958" y="506"/>
                    </a:lnTo>
                    <a:lnTo>
                      <a:pt x="960" y="508"/>
                    </a:lnTo>
                    <a:lnTo>
                      <a:pt x="960" y="512"/>
                    </a:lnTo>
                    <a:lnTo>
                      <a:pt x="958" y="514"/>
                    </a:lnTo>
                    <a:lnTo>
                      <a:pt x="956" y="518"/>
                    </a:lnTo>
                    <a:lnTo>
                      <a:pt x="953" y="520"/>
                    </a:lnTo>
                    <a:lnTo>
                      <a:pt x="949" y="518"/>
                    </a:lnTo>
                    <a:lnTo>
                      <a:pt x="947" y="522"/>
                    </a:lnTo>
                    <a:lnTo>
                      <a:pt x="947" y="525"/>
                    </a:lnTo>
                    <a:lnTo>
                      <a:pt x="943" y="527"/>
                    </a:lnTo>
                    <a:lnTo>
                      <a:pt x="941" y="527"/>
                    </a:lnTo>
                    <a:lnTo>
                      <a:pt x="941" y="531"/>
                    </a:lnTo>
                    <a:lnTo>
                      <a:pt x="941" y="531"/>
                    </a:lnTo>
                    <a:lnTo>
                      <a:pt x="940" y="533"/>
                    </a:lnTo>
                    <a:lnTo>
                      <a:pt x="940" y="533"/>
                    </a:lnTo>
                    <a:lnTo>
                      <a:pt x="940" y="533"/>
                    </a:lnTo>
                    <a:lnTo>
                      <a:pt x="940" y="533"/>
                    </a:lnTo>
                    <a:close/>
                    <a:moveTo>
                      <a:pt x="1167" y="548"/>
                    </a:moveTo>
                    <a:lnTo>
                      <a:pt x="1160" y="544"/>
                    </a:lnTo>
                    <a:lnTo>
                      <a:pt x="1158" y="544"/>
                    </a:lnTo>
                    <a:lnTo>
                      <a:pt x="1156" y="539"/>
                    </a:lnTo>
                    <a:lnTo>
                      <a:pt x="1154" y="539"/>
                    </a:lnTo>
                    <a:lnTo>
                      <a:pt x="1152" y="535"/>
                    </a:lnTo>
                    <a:lnTo>
                      <a:pt x="1154" y="531"/>
                    </a:lnTo>
                    <a:lnTo>
                      <a:pt x="1158" y="527"/>
                    </a:lnTo>
                    <a:lnTo>
                      <a:pt x="1158" y="525"/>
                    </a:lnTo>
                    <a:lnTo>
                      <a:pt x="1160" y="522"/>
                    </a:lnTo>
                    <a:lnTo>
                      <a:pt x="1158" y="520"/>
                    </a:lnTo>
                    <a:lnTo>
                      <a:pt x="1154" y="518"/>
                    </a:lnTo>
                    <a:lnTo>
                      <a:pt x="1152" y="518"/>
                    </a:lnTo>
                    <a:lnTo>
                      <a:pt x="1154" y="508"/>
                    </a:lnTo>
                    <a:lnTo>
                      <a:pt x="1158" y="510"/>
                    </a:lnTo>
                    <a:lnTo>
                      <a:pt x="1158" y="506"/>
                    </a:lnTo>
                    <a:lnTo>
                      <a:pt x="1158" y="503"/>
                    </a:lnTo>
                    <a:lnTo>
                      <a:pt x="1160" y="501"/>
                    </a:lnTo>
                    <a:lnTo>
                      <a:pt x="1160" y="495"/>
                    </a:lnTo>
                    <a:lnTo>
                      <a:pt x="1164" y="493"/>
                    </a:lnTo>
                    <a:lnTo>
                      <a:pt x="1167" y="497"/>
                    </a:lnTo>
                    <a:lnTo>
                      <a:pt x="1167" y="499"/>
                    </a:lnTo>
                    <a:lnTo>
                      <a:pt x="1175" y="503"/>
                    </a:lnTo>
                    <a:lnTo>
                      <a:pt x="1177" y="505"/>
                    </a:lnTo>
                    <a:lnTo>
                      <a:pt x="1180" y="506"/>
                    </a:lnTo>
                    <a:lnTo>
                      <a:pt x="1182" y="505"/>
                    </a:lnTo>
                    <a:lnTo>
                      <a:pt x="1188" y="506"/>
                    </a:lnTo>
                    <a:lnTo>
                      <a:pt x="1194" y="506"/>
                    </a:lnTo>
                    <a:lnTo>
                      <a:pt x="1197" y="508"/>
                    </a:lnTo>
                    <a:lnTo>
                      <a:pt x="1197" y="512"/>
                    </a:lnTo>
                    <a:lnTo>
                      <a:pt x="1203" y="514"/>
                    </a:lnTo>
                    <a:lnTo>
                      <a:pt x="1205" y="518"/>
                    </a:lnTo>
                    <a:lnTo>
                      <a:pt x="1203" y="522"/>
                    </a:lnTo>
                    <a:lnTo>
                      <a:pt x="1203" y="525"/>
                    </a:lnTo>
                    <a:lnTo>
                      <a:pt x="1207" y="527"/>
                    </a:lnTo>
                    <a:lnTo>
                      <a:pt x="1205" y="529"/>
                    </a:lnTo>
                    <a:lnTo>
                      <a:pt x="1207" y="533"/>
                    </a:lnTo>
                    <a:lnTo>
                      <a:pt x="1207" y="535"/>
                    </a:lnTo>
                    <a:lnTo>
                      <a:pt x="1209" y="539"/>
                    </a:lnTo>
                    <a:lnTo>
                      <a:pt x="1207" y="542"/>
                    </a:lnTo>
                    <a:lnTo>
                      <a:pt x="1205" y="544"/>
                    </a:lnTo>
                    <a:lnTo>
                      <a:pt x="1211" y="544"/>
                    </a:lnTo>
                    <a:lnTo>
                      <a:pt x="1211" y="548"/>
                    </a:lnTo>
                    <a:lnTo>
                      <a:pt x="1209" y="548"/>
                    </a:lnTo>
                    <a:lnTo>
                      <a:pt x="1207" y="552"/>
                    </a:lnTo>
                    <a:lnTo>
                      <a:pt x="1199" y="548"/>
                    </a:lnTo>
                    <a:lnTo>
                      <a:pt x="1197" y="548"/>
                    </a:lnTo>
                    <a:lnTo>
                      <a:pt x="1194" y="548"/>
                    </a:lnTo>
                    <a:lnTo>
                      <a:pt x="1188" y="544"/>
                    </a:lnTo>
                    <a:lnTo>
                      <a:pt x="1184" y="544"/>
                    </a:lnTo>
                    <a:lnTo>
                      <a:pt x="1184" y="544"/>
                    </a:lnTo>
                    <a:lnTo>
                      <a:pt x="1180" y="542"/>
                    </a:lnTo>
                    <a:lnTo>
                      <a:pt x="1175" y="544"/>
                    </a:lnTo>
                    <a:lnTo>
                      <a:pt x="1173" y="544"/>
                    </a:lnTo>
                    <a:lnTo>
                      <a:pt x="1167" y="548"/>
                    </a:lnTo>
                    <a:lnTo>
                      <a:pt x="1167" y="548"/>
                    </a:lnTo>
                    <a:lnTo>
                      <a:pt x="1167" y="548"/>
                    </a:lnTo>
                    <a:lnTo>
                      <a:pt x="1167" y="548"/>
                    </a:lnTo>
                    <a:lnTo>
                      <a:pt x="1167" y="548"/>
                    </a:lnTo>
                    <a:close/>
                    <a:moveTo>
                      <a:pt x="1145" y="554"/>
                    </a:moveTo>
                    <a:lnTo>
                      <a:pt x="1145" y="552"/>
                    </a:lnTo>
                    <a:lnTo>
                      <a:pt x="1147" y="548"/>
                    </a:lnTo>
                    <a:lnTo>
                      <a:pt x="1147" y="548"/>
                    </a:lnTo>
                    <a:lnTo>
                      <a:pt x="1147" y="552"/>
                    </a:lnTo>
                    <a:lnTo>
                      <a:pt x="1145" y="554"/>
                    </a:lnTo>
                    <a:lnTo>
                      <a:pt x="1145" y="554"/>
                    </a:lnTo>
                    <a:lnTo>
                      <a:pt x="1145" y="554"/>
                    </a:lnTo>
                    <a:lnTo>
                      <a:pt x="1145" y="554"/>
                    </a:lnTo>
                    <a:close/>
                    <a:moveTo>
                      <a:pt x="1150" y="557"/>
                    </a:moveTo>
                    <a:lnTo>
                      <a:pt x="1148" y="554"/>
                    </a:lnTo>
                    <a:lnTo>
                      <a:pt x="1150" y="552"/>
                    </a:lnTo>
                    <a:lnTo>
                      <a:pt x="1152" y="554"/>
                    </a:lnTo>
                    <a:lnTo>
                      <a:pt x="1152" y="555"/>
                    </a:lnTo>
                    <a:lnTo>
                      <a:pt x="1150" y="557"/>
                    </a:lnTo>
                    <a:lnTo>
                      <a:pt x="1150" y="557"/>
                    </a:lnTo>
                    <a:lnTo>
                      <a:pt x="1150" y="557"/>
                    </a:lnTo>
                    <a:lnTo>
                      <a:pt x="1150" y="557"/>
                    </a:lnTo>
                    <a:close/>
                    <a:moveTo>
                      <a:pt x="1160" y="557"/>
                    </a:moveTo>
                    <a:lnTo>
                      <a:pt x="1158" y="555"/>
                    </a:lnTo>
                    <a:lnTo>
                      <a:pt x="1158" y="554"/>
                    </a:lnTo>
                    <a:lnTo>
                      <a:pt x="1160" y="554"/>
                    </a:lnTo>
                    <a:lnTo>
                      <a:pt x="1160" y="555"/>
                    </a:lnTo>
                    <a:lnTo>
                      <a:pt x="1160" y="557"/>
                    </a:lnTo>
                    <a:lnTo>
                      <a:pt x="1160" y="557"/>
                    </a:lnTo>
                    <a:lnTo>
                      <a:pt x="1160" y="557"/>
                    </a:lnTo>
                    <a:lnTo>
                      <a:pt x="1160" y="557"/>
                    </a:lnTo>
                    <a:close/>
                    <a:moveTo>
                      <a:pt x="932" y="636"/>
                    </a:moveTo>
                    <a:lnTo>
                      <a:pt x="930" y="633"/>
                    </a:lnTo>
                    <a:lnTo>
                      <a:pt x="932" y="633"/>
                    </a:lnTo>
                    <a:lnTo>
                      <a:pt x="934" y="633"/>
                    </a:lnTo>
                    <a:lnTo>
                      <a:pt x="936" y="633"/>
                    </a:lnTo>
                    <a:lnTo>
                      <a:pt x="936" y="633"/>
                    </a:lnTo>
                    <a:lnTo>
                      <a:pt x="934" y="636"/>
                    </a:lnTo>
                    <a:lnTo>
                      <a:pt x="932" y="636"/>
                    </a:lnTo>
                    <a:lnTo>
                      <a:pt x="932" y="636"/>
                    </a:lnTo>
                    <a:lnTo>
                      <a:pt x="932" y="636"/>
                    </a:lnTo>
                    <a:lnTo>
                      <a:pt x="932" y="636"/>
                    </a:lnTo>
                    <a:close/>
                    <a:moveTo>
                      <a:pt x="943" y="653"/>
                    </a:moveTo>
                    <a:lnTo>
                      <a:pt x="943" y="659"/>
                    </a:lnTo>
                    <a:lnTo>
                      <a:pt x="943" y="657"/>
                    </a:lnTo>
                    <a:lnTo>
                      <a:pt x="947" y="657"/>
                    </a:lnTo>
                    <a:lnTo>
                      <a:pt x="947" y="653"/>
                    </a:lnTo>
                    <a:lnTo>
                      <a:pt x="943" y="652"/>
                    </a:lnTo>
                    <a:lnTo>
                      <a:pt x="943" y="653"/>
                    </a:lnTo>
                    <a:lnTo>
                      <a:pt x="943" y="653"/>
                    </a:lnTo>
                    <a:lnTo>
                      <a:pt x="943" y="653"/>
                    </a:lnTo>
                    <a:lnTo>
                      <a:pt x="943" y="653"/>
                    </a:lnTo>
                    <a:close/>
                    <a:moveTo>
                      <a:pt x="940" y="655"/>
                    </a:moveTo>
                    <a:lnTo>
                      <a:pt x="938" y="657"/>
                    </a:lnTo>
                    <a:lnTo>
                      <a:pt x="940" y="659"/>
                    </a:lnTo>
                    <a:lnTo>
                      <a:pt x="940" y="661"/>
                    </a:lnTo>
                    <a:lnTo>
                      <a:pt x="941" y="663"/>
                    </a:lnTo>
                    <a:lnTo>
                      <a:pt x="941" y="661"/>
                    </a:lnTo>
                    <a:lnTo>
                      <a:pt x="941" y="655"/>
                    </a:lnTo>
                    <a:lnTo>
                      <a:pt x="941" y="653"/>
                    </a:lnTo>
                    <a:lnTo>
                      <a:pt x="940" y="655"/>
                    </a:lnTo>
                    <a:lnTo>
                      <a:pt x="940" y="655"/>
                    </a:lnTo>
                    <a:lnTo>
                      <a:pt x="940" y="655"/>
                    </a:lnTo>
                    <a:lnTo>
                      <a:pt x="940" y="655"/>
                    </a:lnTo>
                    <a:close/>
                    <a:moveTo>
                      <a:pt x="1009" y="640"/>
                    </a:moveTo>
                    <a:lnTo>
                      <a:pt x="1009" y="638"/>
                    </a:lnTo>
                    <a:lnTo>
                      <a:pt x="1005" y="638"/>
                    </a:lnTo>
                    <a:lnTo>
                      <a:pt x="1005" y="636"/>
                    </a:lnTo>
                    <a:lnTo>
                      <a:pt x="1005" y="638"/>
                    </a:lnTo>
                    <a:lnTo>
                      <a:pt x="1002" y="638"/>
                    </a:lnTo>
                    <a:lnTo>
                      <a:pt x="1002" y="636"/>
                    </a:lnTo>
                    <a:lnTo>
                      <a:pt x="998" y="633"/>
                    </a:lnTo>
                    <a:lnTo>
                      <a:pt x="1005" y="633"/>
                    </a:lnTo>
                    <a:lnTo>
                      <a:pt x="1005" y="633"/>
                    </a:lnTo>
                    <a:lnTo>
                      <a:pt x="1007" y="633"/>
                    </a:lnTo>
                    <a:lnTo>
                      <a:pt x="1009" y="636"/>
                    </a:lnTo>
                    <a:lnTo>
                      <a:pt x="1013" y="636"/>
                    </a:lnTo>
                    <a:lnTo>
                      <a:pt x="1013" y="638"/>
                    </a:lnTo>
                    <a:lnTo>
                      <a:pt x="1013" y="640"/>
                    </a:lnTo>
                    <a:lnTo>
                      <a:pt x="1013" y="640"/>
                    </a:lnTo>
                    <a:lnTo>
                      <a:pt x="1009" y="640"/>
                    </a:lnTo>
                    <a:lnTo>
                      <a:pt x="1009" y="640"/>
                    </a:lnTo>
                    <a:lnTo>
                      <a:pt x="1009" y="640"/>
                    </a:lnTo>
                    <a:lnTo>
                      <a:pt x="1009" y="640"/>
                    </a:lnTo>
                    <a:close/>
                    <a:moveTo>
                      <a:pt x="1051" y="657"/>
                    </a:moveTo>
                    <a:lnTo>
                      <a:pt x="1049" y="657"/>
                    </a:lnTo>
                    <a:lnTo>
                      <a:pt x="1047" y="653"/>
                    </a:lnTo>
                    <a:lnTo>
                      <a:pt x="1049" y="655"/>
                    </a:lnTo>
                    <a:lnTo>
                      <a:pt x="1051" y="655"/>
                    </a:lnTo>
                    <a:lnTo>
                      <a:pt x="1051" y="657"/>
                    </a:lnTo>
                    <a:lnTo>
                      <a:pt x="1051" y="657"/>
                    </a:lnTo>
                    <a:lnTo>
                      <a:pt x="1051" y="657"/>
                    </a:lnTo>
                    <a:lnTo>
                      <a:pt x="1051" y="657"/>
                    </a:lnTo>
                    <a:lnTo>
                      <a:pt x="1051" y="657"/>
                    </a:lnTo>
                    <a:close/>
                    <a:moveTo>
                      <a:pt x="1056" y="659"/>
                    </a:moveTo>
                    <a:lnTo>
                      <a:pt x="1056" y="659"/>
                    </a:lnTo>
                    <a:lnTo>
                      <a:pt x="1056" y="657"/>
                    </a:lnTo>
                    <a:lnTo>
                      <a:pt x="1056" y="659"/>
                    </a:lnTo>
                    <a:lnTo>
                      <a:pt x="1056" y="659"/>
                    </a:lnTo>
                    <a:lnTo>
                      <a:pt x="1056" y="659"/>
                    </a:lnTo>
                    <a:lnTo>
                      <a:pt x="1056" y="659"/>
                    </a:lnTo>
                    <a:close/>
                    <a:moveTo>
                      <a:pt x="1060" y="661"/>
                    </a:moveTo>
                    <a:lnTo>
                      <a:pt x="1062" y="661"/>
                    </a:lnTo>
                    <a:lnTo>
                      <a:pt x="1064" y="663"/>
                    </a:lnTo>
                    <a:lnTo>
                      <a:pt x="1066" y="663"/>
                    </a:lnTo>
                    <a:lnTo>
                      <a:pt x="1066" y="661"/>
                    </a:lnTo>
                    <a:lnTo>
                      <a:pt x="1064" y="659"/>
                    </a:lnTo>
                    <a:lnTo>
                      <a:pt x="1062" y="657"/>
                    </a:lnTo>
                    <a:lnTo>
                      <a:pt x="1060" y="657"/>
                    </a:lnTo>
                    <a:lnTo>
                      <a:pt x="1060" y="659"/>
                    </a:lnTo>
                    <a:lnTo>
                      <a:pt x="1060" y="661"/>
                    </a:lnTo>
                    <a:lnTo>
                      <a:pt x="1060" y="661"/>
                    </a:lnTo>
                    <a:lnTo>
                      <a:pt x="1060" y="661"/>
                    </a:lnTo>
                    <a:lnTo>
                      <a:pt x="1060" y="661"/>
                    </a:lnTo>
                    <a:close/>
                    <a:moveTo>
                      <a:pt x="1103" y="717"/>
                    </a:moveTo>
                    <a:lnTo>
                      <a:pt x="1103" y="716"/>
                    </a:lnTo>
                    <a:lnTo>
                      <a:pt x="1105" y="714"/>
                    </a:lnTo>
                    <a:lnTo>
                      <a:pt x="1103" y="710"/>
                    </a:lnTo>
                    <a:lnTo>
                      <a:pt x="1105" y="712"/>
                    </a:lnTo>
                    <a:lnTo>
                      <a:pt x="1105" y="714"/>
                    </a:lnTo>
                    <a:lnTo>
                      <a:pt x="1105" y="716"/>
                    </a:lnTo>
                    <a:lnTo>
                      <a:pt x="1105" y="717"/>
                    </a:lnTo>
                    <a:lnTo>
                      <a:pt x="1103" y="717"/>
                    </a:lnTo>
                    <a:lnTo>
                      <a:pt x="1103" y="717"/>
                    </a:lnTo>
                    <a:lnTo>
                      <a:pt x="1103" y="717"/>
                    </a:lnTo>
                    <a:lnTo>
                      <a:pt x="1103" y="717"/>
                    </a:lnTo>
                    <a:close/>
                    <a:moveTo>
                      <a:pt x="1100" y="731"/>
                    </a:moveTo>
                    <a:lnTo>
                      <a:pt x="1098" y="725"/>
                    </a:lnTo>
                    <a:lnTo>
                      <a:pt x="1100" y="721"/>
                    </a:lnTo>
                    <a:lnTo>
                      <a:pt x="1101" y="721"/>
                    </a:lnTo>
                    <a:lnTo>
                      <a:pt x="1105" y="721"/>
                    </a:lnTo>
                    <a:lnTo>
                      <a:pt x="1105" y="727"/>
                    </a:lnTo>
                    <a:lnTo>
                      <a:pt x="1101" y="727"/>
                    </a:lnTo>
                    <a:lnTo>
                      <a:pt x="1101" y="727"/>
                    </a:lnTo>
                    <a:lnTo>
                      <a:pt x="1100" y="731"/>
                    </a:lnTo>
                    <a:lnTo>
                      <a:pt x="1100" y="731"/>
                    </a:lnTo>
                    <a:lnTo>
                      <a:pt x="1100" y="731"/>
                    </a:lnTo>
                    <a:lnTo>
                      <a:pt x="1100" y="731"/>
                    </a:lnTo>
                    <a:close/>
                    <a:moveTo>
                      <a:pt x="1075" y="672"/>
                    </a:moveTo>
                    <a:lnTo>
                      <a:pt x="1073" y="670"/>
                    </a:lnTo>
                    <a:lnTo>
                      <a:pt x="1075" y="670"/>
                    </a:lnTo>
                    <a:lnTo>
                      <a:pt x="1075" y="672"/>
                    </a:lnTo>
                    <a:lnTo>
                      <a:pt x="1075" y="672"/>
                    </a:lnTo>
                    <a:lnTo>
                      <a:pt x="1075" y="672"/>
                    </a:lnTo>
                    <a:lnTo>
                      <a:pt x="1075" y="672"/>
                    </a:lnTo>
                    <a:close/>
                    <a:moveTo>
                      <a:pt x="1069" y="676"/>
                    </a:moveTo>
                    <a:lnTo>
                      <a:pt x="1068" y="670"/>
                    </a:lnTo>
                    <a:lnTo>
                      <a:pt x="1069" y="670"/>
                    </a:lnTo>
                    <a:lnTo>
                      <a:pt x="1069" y="672"/>
                    </a:lnTo>
                    <a:lnTo>
                      <a:pt x="1069" y="676"/>
                    </a:lnTo>
                    <a:lnTo>
                      <a:pt x="1069" y="676"/>
                    </a:lnTo>
                    <a:lnTo>
                      <a:pt x="1069" y="676"/>
                    </a:lnTo>
                    <a:lnTo>
                      <a:pt x="1069" y="676"/>
                    </a:lnTo>
                    <a:close/>
                    <a:moveTo>
                      <a:pt x="1069" y="676"/>
                    </a:moveTo>
                    <a:lnTo>
                      <a:pt x="1071" y="678"/>
                    </a:lnTo>
                    <a:lnTo>
                      <a:pt x="1073" y="678"/>
                    </a:lnTo>
                    <a:lnTo>
                      <a:pt x="1075" y="678"/>
                    </a:lnTo>
                    <a:lnTo>
                      <a:pt x="1077" y="676"/>
                    </a:lnTo>
                    <a:lnTo>
                      <a:pt x="1073" y="676"/>
                    </a:lnTo>
                    <a:lnTo>
                      <a:pt x="1071" y="676"/>
                    </a:lnTo>
                    <a:lnTo>
                      <a:pt x="1069" y="676"/>
                    </a:lnTo>
                    <a:lnTo>
                      <a:pt x="1069" y="676"/>
                    </a:lnTo>
                    <a:lnTo>
                      <a:pt x="1069" y="676"/>
                    </a:lnTo>
                    <a:lnTo>
                      <a:pt x="1069" y="676"/>
                    </a:lnTo>
                    <a:close/>
                    <a:moveTo>
                      <a:pt x="1094" y="667"/>
                    </a:moveTo>
                    <a:lnTo>
                      <a:pt x="1096" y="667"/>
                    </a:lnTo>
                    <a:lnTo>
                      <a:pt x="1098" y="670"/>
                    </a:lnTo>
                    <a:lnTo>
                      <a:pt x="1098" y="670"/>
                    </a:lnTo>
                    <a:lnTo>
                      <a:pt x="1098" y="670"/>
                    </a:lnTo>
                    <a:lnTo>
                      <a:pt x="1100" y="672"/>
                    </a:lnTo>
                    <a:lnTo>
                      <a:pt x="1101" y="672"/>
                    </a:lnTo>
                    <a:lnTo>
                      <a:pt x="1101" y="670"/>
                    </a:lnTo>
                    <a:lnTo>
                      <a:pt x="1103" y="670"/>
                    </a:lnTo>
                    <a:lnTo>
                      <a:pt x="1105" y="670"/>
                    </a:lnTo>
                    <a:lnTo>
                      <a:pt x="1105" y="670"/>
                    </a:lnTo>
                    <a:lnTo>
                      <a:pt x="1109" y="670"/>
                    </a:lnTo>
                    <a:lnTo>
                      <a:pt x="1109" y="667"/>
                    </a:lnTo>
                    <a:lnTo>
                      <a:pt x="1103" y="667"/>
                    </a:lnTo>
                    <a:lnTo>
                      <a:pt x="1101" y="663"/>
                    </a:lnTo>
                    <a:lnTo>
                      <a:pt x="1098" y="663"/>
                    </a:lnTo>
                    <a:lnTo>
                      <a:pt x="1096" y="663"/>
                    </a:lnTo>
                    <a:lnTo>
                      <a:pt x="1096" y="663"/>
                    </a:lnTo>
                    <a:lnTo>
                      <a:pt x="1094" y="667"/>
                    </a:lnTo>
                    <a:lnTo>
                      <a:pt x="1094" y="667"/>
                    </a:lnTo>
                    <a:lnTo>
                      <a:pt x="1094" y="667"/>
                    </a:lnTo>
                    <a:lnTo>
                      <a:pt x="1094" y="667"/>
                    </a:lnTo>
                    <a:close/>
                    <a:moveTo>
                      <a:pt x="1135" y="663"/>
                    </a:moveTo>
                    <a:lnTo>
                      <a:pt x="1135" y="661"/>
                    </a:lnTo>
                    <a:lnTo>
                      <a:pt x="1139" y="661"/>
                    </a:lnTo>
                    <a:lnTo>
                      <a:pt x="1135" y="663"/>
                    </a:lnTo>
                    <a:lnTo>
                      <a:pt x="1135" y="663"/>
                    </a:lnTo>
                    <a:lnTo>
                      <a:pt x="1135" y="663"/>
                    </a:lnTo>
                    <a:lnTo>
                      <a:pt x="1135" y="663"/>
                    </a:lnTo>
                    <a:lnTo>
                      <a:pt x="1135" y="663"/>
                    </a:lnTo>
                    <a:close/>
                    <a:moveTo>
                      <a:pt x="1120" y="680"/>
                    </a:moveTo>
                    <a:lnTo>
                      <a:pt x="1124" y="678"/>
                    </a:lnTo>
                    <a:lnTo>
                      <a:pt x="1126" y="676"/>
                    </a:lnTo>
                    <a:lnTo>
                      <a:pt x="1128" y="676"/>
                    </a:lnTo>
                    <a:lnTo>
                      <a:pt x="1130" y="672"/>
                    </a:lnTo>
                    <a:lnTo>
                      <a:pt x="1130" y="672"/>
                    </a:lnTo>
                    <a:lnTo>
                      <a:pt x="1133" y="676"/>
                    </a:lnTo>
                    <a:lnTo>
                      <a:pt x="1130" y="676"/>
                    </a:lnTo>
                    <a:lnTo>
                      <a:pt x="1128" y="678"/>
                    </a:lnTo>
                    <a:lnTo>
                      <a:pt x="1126" y="680"/>
                    </a:lnTo>
                    <a:lnTo>
                      <a:pt x="1122" y="680"/>
                    </a:lnTo>
                    <a:lnTo>
                      <a:pt x="1120" y="680"/>
                    </a:lnTo>
                    <a:lnTo>
                      <a:pt x="1120" y="680"/>
                    </a:lnTo>
                    <a:lnTo>
                      <a:pt x="1120" y="680"/>
                    </a:lnTo>
                    <a:lnTo>
                      <a:pt x="1120" y="680"/>
                    </a:lnTo>
                    <a:close/>
                    <a:moveTo>
                      <a:pt x="1109" y="702"/>
                    </a:moveTo>
                    <a:lnTo>
                      <a:pt x="1115" y="697"/>
                    </a:lnTo>
                    <a:lnTo>
                      <a:pt x="1115" y="697"/>
                    </a:lnTo>
                    <a:lnTo>
                      <a:pt x="1118" y="697"/>
                    </a:lnTo>
                    <a:lnTo>
                      <a:pt x="1120" y="693"/>
                    </a:lnTo>
                    <a:lnTo>
                      <a:pt x="1124" y="687"/>
                    </a:lnTo>
                    <a:lnTo>
                      <a:pt x="1124" y="685"/>
                    </a:lnTo>
                    <a:lnTo>
                      <a:pt x="1122" y="685"/>
                    </a:lnTo>
                    <a:lnTo>
                      <a:pt x="1118" y="685"/>
                    </a:lnTo>
                    <a:lnTo>
                      <a:pt x="1118" y="687"/>
                    </a:lnTo>
                    <a:lnTo>
                      <a:pt x="1118" y="687"/>
                    </a:lnTo>
                    <a:lnTo>
                      <a:pt x="1115" y="693"/>
                    </a:lnTo>
                    <a:lnTo>
                      <a:pt x="1109" y="695"/>
                    </a:lnTo>
                    <a:lnTo>
                      <a:pt x="1105" y="695"/>
                    </a:lnTo>
                    <a:lnTo>
                      <a:pt x="1103" y="695"/>
                    </a:lnTo>
                    <a:lnTo>
                      <a:pt x="1101" y="697"/>
                    </a:lnTo>
                    <a:lnTo>
                      <a:pt x="1100" y="701"/>
                    </a:lnTo>
                    <a:lnTo>
                      <a:pt x="1100" y="702"/>
                    </a:lnTo>
                    <a:lnTo>
                      <a:pt x="1101" y="702"/>
                    </a:lnTo>
                    <a:lnTo>
                      <a:pt x="1105" y="702"/>
                    </a:lnTo>
                    <a:lnTo>
                      <a:pt x="1109" y="702"/>
                    </a:lnTo>
                    <a:lnTo>
                      <a:pt x="1109" y="702"/>
                    </a:lnTo>
                    <a:lnTo>
                      <a:pt x="1109" y="702"/>
                    </a:lnTo>
                    <a:lnTo>
                      <a:pt x="1109" y="702"/>
                    </a:lnTo>
                    <a:close/>
                    <a:moveTo>
                      <a:pt x="1135" y="701"/>
                    </a:moveTo>
                    <a:lnTo>
                      <a:pt x="1135" y="695"/>
                    </a:lnTo>
                    <a:lnTo>
                      <a:pt x="1139" y="693"/>
                    </a:lnTo>
                    <a:lnTo>
                      <a:pt x="1139" y="687"/>
                    </a:lnTo>
                    <a:lnTo>
                      <a:pt x="1143" y="687"/>
                    </a:lnTo>
                    <a:lnTo>
                      <a:pt x="1145" y="691"/>
                    </a:lnTo>
                    <a:lnTo>
                      <a:pt x="1145" y="695"/>
                    </a:lnTo>
                    <a:lnTo>
                      <a:pt x="1145" y="697"/>
                    </a:lnTo>
                    <a:lnTo>
                      <a:pt x="1143" y="697"/>
                    </a:lnTo>
                    <a:lnTo>
                      <a:pt x="1139" y="701"/>
                    </a:lnTo>
                    <a:lnTo>
                      <a:pt x="1135" y="701"/>
                    </a:lnTo>
                    <a:lnTo>
                      <a:pt x="1135" y="701"/>
                    </a:lnTo>
                    <a:lnTo>
                      <a:pt x="1135" y="701"/>
                    </a:lnTo>
                    <a:lnTo>
                      <a:pt x="1135" y="701"/>
                    </a:lnTo>
                    <a:close/>
                    <a:moveTo>
                      <a:pt x="1160" y="731"/>
                    </a:moveTo>
                    <a:lnTo>
                      <a:pt x="1160" y="725"/>
                    </a:lnTo>
                    <a:lnTo>
                      <a:pt x="1160" y="721"/>
                    </a:lnTo>
                    <a:lnTo>
                      <a:pt x="1160" y="717"/>
                    </a:lnTo>
                    <a:lnTo>
                      <a:pt x="1158" y="717"/>
                    </a:lnTo>
                    <a:lnTo>
                      <a:pt x="1158" y="721"/>
                    </a:lnTo>
                    <a:lnTo>
                      <a:pt x="1156" y="725"/>
                    </a:lnTo>
                    <a:lnTo>
                      <a:pt x="1156" y="727"/>
                    </a:lnTo>
                    <a:lnTo>
                      <a:pt x="1158" y="731"/>
                    </a:lnTo>
                    <a:lnTo>
                      <a:pt x="1158" y="733"/>
                    </a:lnTo>
                    <a:lnTo>
                      <a:pt x="1160" y="731"/>
                    </a:lnTo>
                    <a:lnTo>
                      <a:pt x="1160" y="731"/>
                    </a:lnTo>
                    <a:lnTo>
                      <a:pt x="1160" y="731"/>
                    </a:lnTo>
                    <a:lnTo>
                      <a:pt x="1160" y="731"/>
                    </a:lnTo>
                    <a:lnTo>
                      <a:pt x="1160" y="731"/>
                    </a:lnTo>
                    <a:close/>
                    <a:moveTo>
                      <a:pt x="1164" y="727"/>
                    </a:moveTo>
                    <a:lnTo>
                      <a:pt x="1164" y="725"/>
                    </a:lnTo>
                    <a:lnTo>
                      <a:pt x="1164" y="721"/>
                    </a:lnTo>
                    <a:lnTo>
                      <a:pt x="1164" y="725"/>
                    </a:lnTo>
                    <a:lnTo>
                      <a:pt x="1167" y="727"/>
                    </a:lnTo>
                    <a:lnTo>
                      <a:pt x="1164" y="727"/>
                    </a:lnTo>
                    <a:lnTo>
                      <a:pt x="1164" y="727"/>
                    </a:lnTo>
                    <a:lnTo>
                      <a:pt x="1164" y="727"/>
                    </a:lnTo>
                    <a:lnTo>
                      <a:pt x="1164" y="727"/>
                    </a:lnTo>
                    <a:lnTo>
                      <a:pt x="1164" y="727"/>
                    </a:lnTo>
                    <a:close/>
                    <a:moveTo>
                      <a:pt x="1169" y="734"/>
                    </a:moveTo>
                    <a:lnTo>
                      <a:pt x="1167" y="733"/>
                    </a:lnTo>
                    <a:lnTo>
                      <a:pt x="1167" y="731"/>
                    </a:lnTo>
                    <a:lnTo>
                      <a:pt x="1169" y="731"/>
                    </a:lnTo>
                    <a:lnTo>
                      <a:pt x="1169" y="734"/>
                    </a:lnTo>
                    <a:lnTo>
                      <a:pt x="1169" y="734"/>
                    </a:lnTo>
                    <a:lnTo>
                      <a:pt x="1169" y="734"/>
                    </a:lnTo>
                    <a:lnTo>
                      <a:pt x="1169" y="734"/>
                    </a:lnTo>
                    <a:lnTo>
                      <a:pt x="1169" y="734"/>
                    </a:lnTo>
                    <a:close/>
                    <a:moveTo>
                      <a:pt x="1158" y="742"/>
                    </a:moveTo>
                    <a:lnTo>
                      <a:pt x="1156" y="744"/>
                    </a:lnTo>
                    <a:lnTo>
                      <a:pt x="1158" y="748"/>
                    </a:lnTo>
                    <a:lnTo>
                      <a:pt x="1158" y="751"/>
                    </a:lnTo>
                    <a:lnTo>
                      <a:pt x="1160" y="751"/>
                    </a:lnTo>
                    <a:lnTo>
                      <a:pt x="1160" y="751"/>
                    </a:lnTo>
                    <a:lnTo>
                      <a:pt x="1164" y="751"/>
                    </a:lnTo>
                    <a:lnTo>
                      <a:pt x="1167" y="755"/>
                    </a:lnTo>
                    <a:lnTo>
                      <a:pt x="1169" y="755"/>
                    </a:lnTo>
                    <a:lnTo>
                      <a:pt x="1173" y="755"/>
                    </a:lnTo>
                    <a:lnTo>
                      <a:pt x="1173" y="751"/>
                    </a:lnTo>
                    <a:lnTo>
                      <a:pt x="1173" y="751"/>
                    </a:lnTo>
                    <a:lnTo>
                      <a:pt x="1173" y="746"/>
                    </a:lnTo>
                    <a:lnTo>
                      <a:pt x="1169" y="746"/>
                    </a:lnTo>
                    <a:lnTo>
                      <a:pt x="1167" y="744"/>
                    </a:lnTo>
                    <a:lnTo>
                      <a:pt x="1164" y="744"/>
                    </a:lnTo>
                    <a:lnTo>
                      <a:pt x="1164" y="744"/>
                    </a:lnTo>
                    <a:lnTo>
                      <a:pt x="1164" y="742"/>
                    </a:lnTo>
                    <a:lnTo>
                      <a:pt x="1164" y="740"/>
                    </a:lnTo>
                    <a:lnTo>
                      <a:pt x="1164" y="740"/>
                    </a:lnTo>
                    <a:lnTo>
                      <a:pt x="1160" y="742"/>
                    </a:lnTo>
                    <a:lnTo>
                      <a:pt x="1160" y="744"/>
                    </a:lnTo>
                    <a:lnTo>
                      <a:pt x="1158" y="742"/>
                    </a:lnTo>
                    <a:lnTo>
                      <a:pt x="1158" y="742"/>
                    </a:lnTo>
                    <a:lnTo>
                      <a:pt x="1158" y="742"/>
                    </a:lnTo>
                    <a:lnTo>
                      <a:pt x="1158" y="742"/>
                    </a:lnTo>
                    <a:close/>
                    <a:moveTo>
                      <a:pt x="1060" y="879"/>
                    </a:moveTo>
                    <a:lnTo>
                      <a:pt x="1064" y="879"/>
                    </a:lnTo>
                    <a:lnTo>
                      <a:pt x="1066" y="879"/>
                    </a:lnTo>
                    <a:lnTo>
                      <a:pt x="1064" y="876"/>
                    </a:lnTo>
                    <a:lnTo>
                      <a:pt x="1060" y="876"/>
                    </a:lnTo>
                    <a:lnTo>
                      <a:pt x="1060" y="879"/>
                    </a:lnTo>
                    <a:lnTo>
                      <a:pt x="1060" y="879"/>
                    </a:lnTo>
                    <a:lnTo>
                      <a:pt x="1060" y="879"/>
                    </a:lnTo>
                    <a:lnTo>
                      <a:pt x="1060" y="879"/>
                    </a:lnTo>
                    <a:close/>
                    <a:moveTo>
                      <a:pt x="1005" y="789"/>
                    </a:moveTo>
                    <a:lnTo>
                      <a:pt x="1009" y="791"/>
                    </a:lnTo>
                    <a:lnTo>
                      <a:pt x="1011" y="791"/>
                    </a:lnTo>
                    <a:lnTo>
                      <a:pt x="1011" y="789"/>
                    </a:lnTo>
                    <a:lnTo>
                      <a:pt x="1009" y="789"/>
                    </a:lnTo>
                    <a:lnTo>
                      <a:pt x="1007" y="789"/>
                    </a:lnTo>
                    <a:lnTo>
                      <a:pt x="1005" y="789"/>
                    </a:lnTo>
                    <a:lnTo>
                      <a:pt x="1005" y="789"/>
                    </a:lnTo>
                    <a:lnTo>
                      <a:pt x="1005" y="789"/>
                    </a:lnTo>
                    <a:lnTo>
                      <a:pt x="1005" y="789"/>
                    </a:lnTo>
                    <a:close/>
                    <a:moveTo>
                      <a:pt x="992" y="810"/>
                    </a:moveTo>
                    <a:lnTo>
                      <a:pt x="992" y="808"/>
                    </a:lnTo>
                    <a:lnTo>
                      <a:pt x="992" y="804"/>
                    </a:lnTo>
                    <a:lnTo>
                      <a:pt x="988" y="802"/>
                    </a:lnTo>
                    <a:lnTo>
                      <a:pt x="990" y="800"/>
                    </a:lnTo>
                    <a:lnTo>
                      <a:pt x="988" y="797"/>
                    </a:lnTo>
                    <a:lnTo>
                      <a:pt x="987" y="795"/>
                    </a:lnTo>
                    <a:lnTo>
                      <a:pt x="987" y="789"/>
                    </a:lnTo>
                    <a:lnTo>
                      <a:pt x="987" y="789"/>
                    </a:lnTo>
                    <a:lnTo>
                      <a:pt x="988" y="795"/>
                    </a:lnTo>
                    <a:lnTo>
                      <a:pt x="992" y="795"/>
                    </a:lnTo>
                    <a:lnTo>
                      <a:pt x="992" y="797"/>
                    </a:lnTo>
                    <a:lnTo>
                      <a:pt x="996" y="798"/>
                    </a:lnTo>
                    <a:lnTo>
                      <a:pt x="996" y="804"/>
                    </a:lnTo>
                    <a:lnTo>
                      <a:pt x="998" y="806"/>
                    </a:lnTo>
                    <a:lnTo>
                      <a:pt x="1002" y="806"/>
                    </a:lnTo>
                    <a:lnTo>
                      <a:pt x="1002" y="810"/>
                    </a:lnTo>
                    <a:lnTo>
                      <a:pt x="998" y="810"/>
                    </a:lnTo>
                    <a:lnTo>
                      <a:pt x="992" y="810"/>
                    </a:lnTo>
                    <a:lnTo>
                      <a:pt x="992" y="810"/>
                    </a:lnTo>
                    <a:lnTo>
                      <a:pt x="992" y="810"/>
                    </a:lnTo>
                    <a:lnTo>
                      <a:pt x="992" y="810"/>
                    </a:lnTo>
                    <a:close/>
                    <a:moveTo>
                      <a:pt x="972" y="808"/>
                    </a:moveTo>
                    <a:lnTo>
                      <a:pt x="972" y="804"/>
                    </a:lnTo>
                    <a:lnTo>
                      <a:pt x="972" y="802"/>
                    </a:lnTo>
                    <a:lnTo>
                      <a:pt x="972" y="800"/>
                    </a:lnTo>
                    <a:lnTo>
                      <a:pt x="972" y="795"/>
                    </a:lnTo>
                    <a:lnTo>
                      <a:pt x="973" y="791"/>
                    </a:lnTo>
                    <a:lnTo>
                      <a:pt x="975" y="795"/>
                    </a:lnTo>
                    <a:lnTo>
                      <a:pt x="977" y="795"/>
                    </a:lnTo>
                    <a:lnTo>
                      <a:pt x="975" y="797"/>
                    </a:lnTo>
                    <a:lnTo>
                      <a:pt x="975" y="798"/>
                    </a:lnTo>
                    <a:lnTo>
                      <a:pt x="977" y="802"/>
                    </a:lnTo>
                    <a:lnTo>
                      <a:pt x="973" y="808"/>
                    </a:lnTo>
                    <a:lnTo>
                      <a:pt x="972" y="808"/>
                    </a:lnTo>
                    <a:lnTo>
                      <a:pt x="972" y="808"/>
                    </a:lnTo>
                    <a:lnTo>
                      <a:pt x="972" y="808"/>
                    </a:lnTo>
                    <a:lnTo>
                      <a:pt x="972" y="808"/>
                    </a:lnTo>
                    <a:close/>
                    <a:moveTo>
                      <a:pt x="972" y="721"/>
                    </a:moveTo>
                    <a:lnTo>
                      <a:pt x="972" y="725"/>
                    </a:lnTo>
                    <a:lnTo>
                      <a:pt x="972" y="725"/>
                    </a:lnTo>
                    <a:lnTo>
                      <a:pt x="975" y="725"/>
                    </a:lnTo>
                    <a:lnTo>
                      <a:pt x="977" y="721"/>
                    </a:lnTo>
                    <a:lnTo>
                      <a:pt x="977" y="721"/>
                    </a:lnTo>
                    <a:lnTo>
                      <a:pt x="973" y="721"/>
                    </a:lnTo>
                    <a:lnTo>
                      <a:pt x="972" y="721"/>
                    </a:lnTo>
                    <a:lnTo>
                      <a:pt x="972" y="721"/>
                    </a:lnTo>
                    <a:lnTo>
                      <a:pt x="972" y="721"/>
                    </a:lnTo>
                    <a:lnTo>
                      <a:pt x="972" y="721"/>
                    </a:lnTo>
                    <a:close/>
                    <a:moveTo>
                      <a:pt x="972" y="719"/>
                    </a:moveTo>
                    <a:lnTo>
                      <a:pt x="973" y="716"/>
                    </a:lnTo>
                    <a:lnTo>
                      <a:pt x="973" y="712"/>
                    </a:lnTo>
                    <a:lnTo>
                      <a:pt x="977" y="708"/>
                    </a:lnTo>
                    <a:lnTo>
                      <a:pt x="981" y="706"/>
                    </a:lnTo>
                    <a:lnTo>
                      <a:pt x="981" y="706"/>
                    </a:lnTo>
                    <a:lnTo>
                      <a:pt x="981" y="710"/>
                    </a:lnTo>
                    <a:lnTo>
                      <a:pt x="981" y="716"/>
                    </a:lnTo>
                    <a:lnTo>
                      <a:pt x="981" y="717"/>
                    </a:lnTo>
                    <a:lnTo>
                      <a:pt x="975" y="719"/>
                    </a:lnTo>
                    <a:lnTo>
                      <a:pt x="972" y="719"/>
                    </a:lnTo>
                    <a:lnTo>
                      <a:pt x="972" y="719"/>
                    </a:lnTo>
                    <a:lnTo>
                      <a:pt x="972" y="719"/>
                    </a:lnTo>
                    <a:lnTo>
                      <a:pt x="972" y="719"/>
                    </a:lnTo>
                    <a:close/>
                    <a:moveTo>
                      <a:pt x="795" y="682"/>
                    </a:moveTo>
                    <a:lnTo>
                      <a:pt x="796" y="680"/>
                    </a:lnTo>
                    <a:lnTo>
                      <a:pt x="796" y="678"/>
                    </a:lnTo>
                    <a:lnTo>
                      <a:pt x="793" y="678"/>
                    </a:lnTo>
                    <a:lnTo>
                      <a:pt x="793" y="680"/>
                    </a:lnTo>
                    <a:lnTo>
                      <a:pt x="795" y="682"/>
                    </a:lnTo>
                    <a:lnTo>
                      <a:pt x="795" y="682"/>
                    </a:lnTo>
                    <a:lnTo>
                      <a:pt x="795" y="682"/>
                    </a:lnTo>
                    <a:lnTo>
                      <a:pt x="795" y="682"/>
                    </a:lnTo>
                    <a:close/>
                    <a:moveTo>
                      <a:pt x="644" y="638"/>
                    </a:moveTo>
                    <a:lnTo>
                      <a:pt x="644" y="636"/>
                    </a:lnTo>
                    <a:lnTo>
                      <a:pt x="648" y="636"/>
                    </a:lnTo>
                    <a:lnTo>
                      <a:pt x="646" y="638"/>
                    </a:lnTo>
                    <a:lnTo>
                      <a:pt x="646" y="638"/>
                    </a:lnTo>
                    <a:lnTo>
                      <a:pt x="644" y="638"/>
                    </a:lnTo>
                    <a:lnTo>
                      <a:pt x="644" y="638"/>
                    </a:lnTo>
                    <a:lnTo>
                      <a:pt x="644" y="638"/>
                    </a:lnTo>
                    <a:lnTo>
                      <a:pt x="644" y="638"/>
                    </a:lnTo>
                    <a:close/>
                    <a:moveTo>
                      <a:pt x="633" y="646"/>
                    </a:moveTo>
                    <a:lnTo>
                      <a:pt x="636" y="646"/>
                    </a:lnTo>
                    <a:lnTo>
                      <a:pt x="636" y="642"/>
                    </a:lnTo>
                    <a:lnTo>
                      <a:pt x="633" y="642"/>
                    </a:lnTo>
                    <a:lnTo>
                      <a:pt x="633" y="646"/>
                    </a:lnTo>
                    <a:lnTo>
                      <a:pt x="633" y="646"/>
                    </a:lnTo>
                    <a:lnTo>
                      <a:pt x="633" y="646"/>
                    </a:lnTo>
                    <a:lnTo>
                      <a:pt x="633" y="646"/>
                    </a:lnTo>
                    <a:close/>
                    <a:moveTo>
                      <a:pt x="638" y="659"/>
                    </a:moveTo>
                    <a:lnTo>
                      <a:pt x="636" y="657"/>
                    </a:lnTo>
                    <a:lnTo>
                      <a:pt x="638" y="655"/>
                    </a:lnTo>
                    <a:lnTo>
                      <a:pt x="638" y="659"/>
                    </a:lnTo>
                    <a:lnTo>
                      <a:pt x="638" y="659"/>
                    </a:lnTo>
                    <a:lnTo>
                      <a:pt x="638" y="659"/>
                    </a:lnTo>
                    <a:lnTo>
                      <a:pt x="638" y="659"/>
                    </a:lnTo>
                    <a:lnTo>
                      <a:pt x="638" y="659"/>
                    </a:lnTo>
                    <a:close/>
                    <a:moveTo>
                      <a:pt x="638" y="661"/>
                    </a:moveTo>
                    <a:lnTo>
                      <a:pt x="635" y="655"/>
                    </a:lnTo>
                    <a:lnTo>
                      <a:pt x="635" y="657"/>
                    </a:lnTo>
                    <a:lnTo>
                      <a:pt x="636" y="659"/>
                    </a:lnTo>
                    <a:lnTo>
                      <a:pt x="638" y="661"/>
                    </a:lnTo>
                    <a:lnTo>
                      <a:pt x="638" y="661"/>
                    </a:lnTo>
                    <a:lnTo>
                      <a:pt x="638" y="661"/>
                    </a:lnTo>
                    <a:lnTo>
                      <a:pt x="638" y="661"/>
                    </a:lnTo>
                    <a:close/>
                    <a:moveTo>
                      <a:pt x="642" y="667"/>
                    </a:moveTo>
                    <a:lnTo>
                      <a:pt x="644" y="672"/>
                    </a:lnTo>
                    <a:lnTo>
                      <a:pt x="646" y="672"/>
                    </a:lnTo>
                    <a:lnTo>
                      <a:pt x="648" y="670"/>
                    </a:lnTo>
                    <a:lnTo>
                      <a:pt x="648" y="670"/>
                    </a:lnTo>
                    <a:lnTo>
                      <a:pt x="650" y="667"/>
                    </a:lnTo>
                    <a:lnTo>
                      <a:pt x="646" y="667"/>
                    </a:lnTo>
                    <a:lnTo>
                      <a:pt x="646" y="670"/>
                    </a:lnTo>
                    <a:lnTo>
                      <a:pt x="644" y="667"/>
                    </a:lnTo>
                    <a:lnTo>
                      <a:pt x="642" y="667"/>
                    </a:lnTo>
                    <a:lnTo>
                      <a:pt x="642" y="667"/>
                    </a:lnTo>
                    <a:lnTo>
                      <a:pt x="642" y="667"/>
                    </a:lnTo>
                    <a:lnTo>
                      <a:pt x="642" y="667"/>
                    </a:lnTo>
                    <a:close/>
                    <a:moveTo>
                      <a:pt x="638" y="691"/>
                    </a:moveTo>
                    <a:lnTo>
                      <a:pt x="638" y="685"/>
                    </a:lnTo>
                    <a:lnTo>
                      <a:pt x="638" y="684"/>
                    </a:lnTo>
                    <a:lnTo>
                      <a:pt x="638" y="680"/>
                    </a:lnTo>
                    <a:lnTo>
                      <a:pt x="642" y="676"/>
                    </a:lnTo>
                    <a:lnTo>
                      <a:pt x="642" y="678"/>
                    </a:lnTo>
                    <a:lnTo>
                      <a:pt x="642" y="680"/>
                    </a:lnTo>
                    <a:lnTo>
                      <a:pt x="642" y="682"/>
                    </a:lnTo>
                    <a:lnTo>
                      <a:pt x="642" y="684"/>
                    </a:lnTo>
                    <a:lnTo>
                      <a:pt x="642" y="685"/>
                    </a:lnTo>
                    <a:lnTo>
                      <a:pt x="642" y="687"/>
                    </a:lnTo>
                    <a:lnTo>
                      <a:pt x="638" y="687"/>
                    </a:lnTo>
                    <a:lnTo>
                      <a:pt x="638" y="691"/>
                    </a:lnTo>
                    <a:lnTo>
                      <a:pt x="638" y="691"/>
                    </a:lnTo>
                    <a:lnTo>
                      <a:pt x="638" y="691"/>
                    </a:lnTo>
                    <a:lnTo>
                      <a:pt x="638" y="691"/>
                    </a:lnTo>
                    <a:close/>
                    <a:moveTo>
                      <a:pt x="776" y="606"/>
                    </a:moveTo>
                    <a:lnTo>
                      <a:pt x="776" y="603"/>
                    </a:lnTo>
                    <a:lnTo>
                      <a:pt x="776" y="603"/>
                    </a:lnTo>
                    <a:lnTo>
                      <a:pt x="776" y="603"/>
                    </a:lnTo>
                    <a:lnTo>
                      <a:pt x="776" y="606"/>
                    </a:lnTo>
                    <a:lnTo>
                      <a:pt x="776" y="606"/>
                    </a:lnTo>
                    <a:lnTo>
                      <a:pt x="776" y="606"/>
                    </a:lnTo>
                    <a:lnTo>
                      <a:pt x="776" y="606"/>
                    </a:lnTo>
                    <a:lnTo>
                      <a:pt x="776" y="606"/>
                    </a:lnTo>
                    <a:close/>
                    <a:moveTo>
                      <a:pt x="821" y="578"/>
                    </a:moveTo>
                    <a:lnTo>
                      <a:pt x="819" y="572"/>
                    </a:lnTo>
                    <a:lnTo>
                      <a:pt x="819" y="572"/>
                    </a:lnTo>
                    <a:lnTo>
                      <a:pt x="819" y="569"/>
                    </a:lnTo>
                    <a:lnTo>
                      <a:pt x="821" y="567"/>
                    </a:lnTo>
                    <a:lnTo>
                      <a:pt x="823" y="569"/>
                    </a:lnTo>
                    <a:lnTo>
                      <a:pt x="823" y="569"/>
                    </a:lnTo>
                    <a:lnTo>
                      <a:pt x="825" y="572"/>
                    </a:lnTo>
                    <a:lnTo>
                      <a:pt x="823" y="572"/>
                    </a:lnTo>
                    <a:lnTo>
                      <a:pt x="823" y="578"/>
                    </a:lnTo>
                    <a:lnTo>
                      <a:pt x="821" y="578"/>
                    </a:lnTo>
                    <a:lnTo>
                      <a:pt x="821" y="578"/>
                    </a:lnTo>
                    <a:lnTo>
                      <a:pt x="821" y="578"/>
                    </a:lnTo>
                    <a:lnTo>
                      <a:pt x="821" y="578"/>
                    </a:lnTo>
                    <a:close/>
                    <a:moveTo>
                      <a:pt x="770" y="633"/>
                    </a:moveTo>
                    <a:lnTo>
                      <a:pt x="770" y="633"/>
                    </a:lnTo>
                    <a:lnTo>
                      <a:pt x="770" y="631"/>
                    </a:lnTo>
                    <a:lnTo>
                      <a:pt x="772" y="629"/>
                    </a:lnTo>
                    <a:lnTo>
                      <a:pt x="772" y="627"/>
                    </a:lnTo>
                    <a:lnTo>
                      <a:pt x="774" y="625"/>
                    </a:lnTo>
                    <a:lnTo>
                      <a:pt x="774" y="621"/>
                    </a:lnTo>
                    <a:lnTo>
                      <a:pt x="770" y="621"/>
                    </a:lnTo>
                    <a:lnTo>
                      <a:pt x="770" y="620"/>
                    </a:lnTo>
                    <a:lnTo>
                      <a:pt x="770" y="616"/>
                    </a:lnTo>
                    <a:lnTo>
                      <a:pt x="774" y="616"/>
                    </a:lnTo>
                    <a:lnTo>
                      <a:pt x="774" y="612"/>
                    </a:lnTo>
                    <a:lnTo>
                      <a:pt x="770" y="612"/>
                    </a:lnTo>
                    <a:lnTo>
                      <a:pt x="768" y="612"/>
                    </a:lnTo>
                    <a:lnTo>
                      <a:pt x="768" y="612"/>
                    </a:lnTo>
                    <a:lnTo>
                      <a:pt x="766" y="614"/>
                    </a:lnTo>
                    <a:lnTo>
                      <a:pt x="764" y="612"/>
                    </a:lnTo>
                    <a:lnTo>
                      <a:pt x="759" y="612"/>
                    </a:lnTo>
                    <a:lnTo>
                      <a:pt x="755" y="618"/>
                    </a:lnTo>
                    <a:lnTo>
                      <a:pt x="751" y="620"/>
                    </a:lnTo>
                    <a:lnTo>
                      <a:pt x="751" y="618"/>
                    </a:lnTo>
                    <a:lnTo>
                      <a:pt x="755" y="616"/>
                    </a:lnTo>
                    <a:lnTo>
                      <a:pt x="757" y="612"/>
                    </a:lnTo>
                    <a:lnTo>
                      <a:pt x="757" y="608"/>
                    </a:lnTo>
                    <a:lnTo>
                      <a:pt x="755" y="612"/>
                    </a:lnTo>
                    <a:lnTo>
                      <a:pt x="755" y="612"/>
                    </a:lnTo>
                    <a:lnTo>
                      <a:pt x="755" y="606"/>
                    </a:lnTo>
                    <a:lnTo>
                      <a:pt x="757" y="606"/>
                    </a:lnTo>
                    <a:lnTo>
                      <a:pt x="755" y="603"/>
                    </a:lnTo>
                    <a:lnTo>
                      <a:pt x="757" y="599"/>
                    </a:lnTo>
                    <a:lnTo>
                      <a:pt x="759" y="599"/>
                    </a:lnTo>
                    <a:lnTo>
                      <a:pt x="759" y="601"/>
                    </a:lnTo>
                    <a:lnTo>
                      <a:pt x="761" y="606"/>
                    </a:lnTo>
                    <a:lnTo>
                      <a:pt x="763" y="606"/>
                    </a:lnTo>
                    <a:lnTo>
                      <a:pt x="764" y="606"/>
                    </a:lnTo>
                    <a:lnTo>
                      <a:pt x="768" y="606"/>
                    </a:lnTo>
                    <a:lnTo>
                      <a:pt x="770" y="603"/>
                    </a:lnTo>
                    <a:lnTo>
                      <a:pt x="768" y="603"/>
                    </a:lnTo>
                    <a:lnTo>
                      <a:pt x="768" y="601"/>
                    </a:lnTo>
                    <a:lnTo>
                      <a:pt x="772" y="601"/>
                    </a:lnTo>
                    <a:lnTo>
                      <a:pt x="772" y="601"/>
                    </a:lnTo>
                    <a:lnTo>
                      <a:pt x="774" y="601"/>
                    </a:lnTo>
                    <a:lnTo>
                      <a:pt x="776" y="597"/>
                    </a:lnTo>
                    <a:lnTo>
                      <a:pt x="780" y="593"/>
                    </a:lnTo>
                    <a:lnTo>
                      <a:pt x="780" y="597"/>
                    </a:lnTo>
                    <a:lnTo>
                      <a:pt x="780" y="597"/>
                    </a:lnTo>
                    <a:lnTo>
                      <a:pt x="785" y="595"/>
                    </a:lnTo>
                    <a:lnTo>
                      <a:pt x="780" y="601"/>
                    </a:lnTo>
                    <a:lnTo>
                      <a:pt x="780" y="606"/>
                    </a:lnTo>
                    <a:lnTo>
                      <a:pt x="781" y="603"/>
                    </a:lnTo>
                    <a:lnTo>
                      <a:pt x="785" y="606"/>
                    </a:lnTo>
                    <a:lnTo>
                      <a:pt x="781" y="606"/>
                    </a:lnTo>
                    <a:lnTo>
                      <a:pt x="785" y="606"/>
                    </a:lnTo>
                    <a:lnTo>
                      <a:pt x="785" y="603"/>
                    </a:lnTo>
                    <a:lnTo>
                      <a:pt x="787" y="603"/>
                    </a:lnTo>
                    <a:lnTo>
                      <a:pt x="791" y="597"/>
                    </a:lnTo>
                    <a:lnTo>
                      <a:pt x="793" y="597"/>
                    </a:lnTo>
                    <a:lnTo>
                      <a:pt x="793" y="601"/>
                    </a:lnTo>
                    <a:lnTo>
                      <a:pt x="789" y="603"/>
                    </a:lnTo>
                    <a:lnTo>
                      <a:pt x="789" y="608"/>
                    </a:lnTo>
                    <a:lnTo>
                      <a:pt x="793" y="608"/>
                    </a:lnTo>
                    <a:lnTo>
                      <a:pt x="795" y="612"/>
                    </a:lnTo>
                    <a:lnTo>
                      <a:pt x="796" y="608"/>
                    </a:lnTo>
                    <a:lnTo>
                      <a:pt x="800" y="603"/>
                    </a:lnTo>
                    <a:lnTo>
                      <a:pt x="800" y="599"/>
                    </a:lnTo>
                    <a:lnTo>
                      <a:pt x="804" y="595"/>
                    </a:lnTo>
                    <a:lnTo>
                      <a:pt x="804" y="591"/>
                    </a:lnTo>
                    <a:lnTo>
                      <a:pt x="804" y="589"/>
                    </a:lnTo>
                    <a:lnTo>
                      <a:pt x="804" y="587"/>
                    </a:lnTo>
                    <a:lnTo>
                      <a:pt x="800" y="587"/>
                    </a:lnTo>
                    <a:lnTo>
                      <a:pt x="800" y="587"/>
                    </a:lnTo>
                    <a:lnTo>
                      <a:pt x="798" y="589"/>
                    </a:lnTo>
                    <a:lnTo>
                      <a:pt x="798" y="584"/>
                    </a:lnTo>
                    <a:lnTo>
                      <a:pt x="800" y="584"/>
                    </a:lnTo>
                    <a:lnTo>
                      <a:pt x="798" y="582"/>
                    </a:lnTo>
                    <a:lnTo>
                      <a:pt x="795" y="582"/>
                    </a:lnTo>
                    <a:lnTo>
                      <a:pt x="795" y="582"/>
                    </a:lnTo>
                    <a:lnTo>
                      <a:pt x="791" y="578"/>
                    </a:lnTo>
                    <a:lnTo>
                      <a:pt x="791" y="576"/>
                    </a:lnTo>
                    <a:lnTo>
                      <a:pt x="787" y="569"/>
                    </a:lnTo>
                    <a:lnTo>
                      <a:pt x="787" y="565"/>
                    </a:lnTo>
                    <a:lnTo>
                      <a:pt x="789" y="561"/>
                    </a:lnTo>
                    <a:lnTo>
                      <a:pt x="787" y="555"/>
                    </a:lnTo>
                    <a:lnTo>
                      <a:pt x="785" y="559"/>
                    </a:lnTo>
                    <a:lnTo>
                      <a:pt x="785" y="563"/>
                    </a:lnTo>
                    <a:lnTo>
                      <a:pt x="781" y="559"/>
                    </a:lnTo>
                    <a:lnTo>
                      <a:pt x="780" y="557"/>
                    </a:lnTo>
                    <a:lnTo>
                      <a:pt x="780" y="552"/>
                    </a:lnTo>
                    <a:lnTo>
                      <a:pt x="776" y="548"/>
                    </a:lnTo>
                    <a:lnTo>
                      <a:pt x="776" y="542"/>
                    </a:lnTo>
                    <a:lnTo>
                      <a:pt x="774" y="539"/>
                    </a:lnTo>
                    <a:lnTo>
                      <a:pt x="772" y="537"/>
                    </a:lnTo>
                    <a:lnTo>
                      <a:pt x="772" y="533"/>
                    </a:lnTo>
                    <a:lnTo>
                      <a:pt x="772" y="531"/>
                    </a:lnTo>
                    <a:lnTo>
                      <a:pt x="776" y="531"/>
                    </a:lnTo>
                    <a:lnTo>
                      <a:pt x="776" y="525"/>
                    </a:lnTo>
                    <a:lnTo>
                      <a:pt x="780" y="525"/>
                    </a:lnTo>
                    <a:lnTo>
                      <a:pt x="780" y="527"/>
                    </a:lnTo>
                    <a:lnTo>
                      <a:pt x="781" y="525"/>
                    </a:lnTo>
                    <a:lnTo>
                      <a:pt x="781" y="522"/>
                    </a:lnTo>
                    <a:lnTo>
                      <a:pt x="785" y="514"/>
                    </a:lnTo>
                    <a:lnTo>
                      <a:pt x="785" y="510"/>
                    </a:lnTo>
                    <a:lnTo>
                      <a:pt x="785" y="508"/>
                    </a:lnTo>
                    <a:lnTo>
                      <a:pt x="781" y="503"/>
                    </a:lnTo>
                    <a:lnTo>
                      <a:pt x="785" y="499"/>
                    </a:lnTo>
                    <a:lnTo>
                      <a:pt x="787" y="497"/>
                    </a:lnTo>
                    <a:lnTo>
                      <a:pt x="787" y="493"/>
                    </a:lnTo>
                    <a:lnTo>
                      <a:pt x="791" y="488"/>
                    </a:lnTo>
                    <a:lnTo>
                      <a:pt x="791" y="484"/>
                    </a:lnTo>
                    <a:lnTo>
                      <a:pt x="793" y="482"/>
                    </a:lnTo>
                    <a:lnTo>
                      <a:pt x="793" y="474"/>
                    </a:lnTo>
                    <a:lnTo>
                      <a:pt x="795" y="474"/>
                    </a:lnTo>
                    <a:lnTo>
                      <a:pt x="795" y="471"/>
                    </a:lnTo>
                    <a:lnTo>
                      <a:pt x="800" y="465"/>
                    </a:lnTo>
                    <a:lnTo>
                      <a:pt x="798" y="463"/>
                    </a:lnTo>
                    <a:lnTo>
                      <a:pt x="800" y="459"/>
                    </a:lnTo>
                    <a:lnTo>
                      <a:pt x="800" y="459"/>
                    </a:lnTo>
                    <a:lnTo>
                      <a:pt x="800" y="454"/>
                    </a:lnTo>
                    <a:lnTo>
                      <a:pt x="800" y="450"/>
                    </a:lnTo>
                    <a:lnTo>
                      <a:pt x="800" y="450"/>
                    </a:lnTo>
                    <a:lnTo>
                      <a:pt x="800" y="446"/>
                    </a:lnTo>
                    <a:lnTo>
                      <a:pt x="798" y="444"/>
                    </a:lnTo>
                    <a:lnTo>
                      <a:pt x="796" y="439"/>
                    </a:lnTo>
                    <a:lnTo>
                      <a:pt x="796" y="437"/>
                    </a:lnTo>
                    <a:lnTo>
                      <a:pt x="795" y="431"/>
                    </a:lnTo>
                    <a:lnTo>
                      <a:pt x="791" y="429"/>
                    </a:lnTo>
                    <a:lnTo>
                      <a:pt x="789" y="429"/>
                    </a:lnTo>
                    <a:lnTo>
                      <a:pt x="787" y="429"/>
                    </a:lnTo>
                    <a:lnTo>
                      <a:pt x="787" y="433"/>
                    </a:lnTo>
                    <a:lnTo>
                      <a:pt x="785" y="433"/>
                    </a:lnTo>
                    <a:lnTo>
                      <a:pt x="781" y="425"/>
                    </a:lnTo>
                    <a:lnTo>
                      <a:pt x="780" y="425"/>
                    </a:lnTo>
                    <a:lnTo>
                      <a:pt x="776" y="424"/>
                    </a:lnTo>
                    <a:lnTo>
                      <a:pt x="776" y="425"/>
                    </a:lnTo>
                    <a:lnTo>
                      <a:pt x="776" y="429"/>
                    </a:lnTo>
                    <a:lnTo>
                      <a:pt x="774" y="429"/>
                    </a:lnTo>
                    <a:lnTo>
                      <a:pt x="772" y="429"/>
                    </a:lnTo>
                    <a:lnTo>
                      <a:pt x="770" y="433"/>
                    </a:lnTo>
                    <a:lnTo>
                      <a:pt x="770" y="437"/>
                    </a:lnTo>
                    <a:lnTo>
                      <a:pt x="768" y="437"/>
                    </a:lnTo>
                    <a:lnTo>
                      <a:pt x="764" y="446"/>
                    </a:lnTo>
                    <a:lnTo>
                      <a:pt x="764" y="450"/>
                    </a:lnTo>
                    <a:lnTo>
                      <a:pt x="763" y="454"/>
                    </a:lnTo>
                    <a:lnTo>
                      <a:pt x="763" y="459"/>
                    </a:lnTo>
                    <a:lnTo>
                      <a:pt x="761" y="459"/>
                    </a:lnTo>
                    <a:lnTo>
                      <a:pt x="761" y="463"/>
                    </a:lnTo>
                    <a:lnTo>
                      <a:pt x="757" y="463"/>
                    </a:lnTo>
                    <a:lnTo>
                      <a:pt x="757" y="471"/>
                    </a:lnTo>
                    <a:lnTo>
                      <a:pt x="755" y="473"/>
                    </a:lnTo>
                    <a:lnTo>
                      <a:pt x="755" y="473"/>
                    </a:lnTo>
                    <a:lnTo>
                      <a:pt x="751" y="478"/>
                    </a:lnTo>
                    <a:lnTo>
                      <a:pt x="751" y="480"/>
                    </a:lnTo>
                    <a:lnTo>
                      <a:pt x="751" y="484"/>
                    </a:lnTo>
                    <a:lnTo>
                      <a:pt x="751" y="488"/>
                    </a:lnTo>
                    <a:lnTo>
                      <a:pt x="748" y="490"/>
                    </a:lnTo>
                    <a:lnTo>
                      <a:pt x="751" y="493"/>
                    </a:lnTo>
                    <a:lnTo>
                      <a:pt x="749" y="497"/>
                    </a:lnTo>
                    <a:lnTo>
                      <a:pt x="746" y="497"/>
                    </a:lnTo>
                    <a:lnTo>
                      <a:pt x="748" y="499"/>
                    </a:lnTo>
                    <a:lnTo>
                      <a:pt x="751" y="499"/>
                    </a:lnTo>
                    <a:lnTo>
                      <a:pt x="751" y="503"/>
                    </a:lnTo>
                    <a:lnTo>
                      <a:pt x="748" y="503"/>
                    </a:lnTo>
                    <a:lnTo>
                      <a:pt x="746" y="503"/>
                    </a:lnTo>
                    <a:lnTo>
                      <a:pt x="742" y="505"/>
                    </a:lnTo>
                    <a:lnTo>
                      <a:pt x="740" y="505"/>
                    </a:lnTo>
                    <a:lnTo>
                      <a:pt x="738" y="506"/>
                    </a:lnTo>
                    <a:lnTo>
                      <a:pt x="738" y="510"/>
                    </a:lnTo>
                    <a:lnTo>
                      <a:pt x="736" y="510"/>
                    </a:lnTo>
                    <a:lnTo>
                      <a:pt x="734" y="510"/>
                    </a:lnTo>
                    <a:lnTo>
                      <a:pt x="734" y="506"/>
                    </a:lnTo>
                    <a:lnTo>
                      <a:pt x="734" y="503"/>
                    </a:lnTo>
                    <a:lnTo>
                      <a:pt x="732" y="501"/>
                    </a:lnTo>
                    <a:lnTo>
                      <a:pt x="732" y="493"/>
                    </a:lnTo>
                    <a:lnTo>
                      <a:pt x="736" y="488"/>
                    </a:lnTo>
                    <a:lnTo>
                      <a:pt x="736" y="484"/>
                    </a:lnTo>
                    <a:lnTo>
                      <a:pt x="740" y="484"/>
                    </a:lnTo>
                    <a:lnTo>
                      <a:pt x="740" y="480"/>
                    </a:lnTo>
                    <a:lnTo>
                      <a:pt x="740" y="476"/>
                    </a:lnTo>
                    <a:lnTo>
                      <a:pt x="742" y="469"/>
                    </a:lnTo>
                    <a:lnTo>
                      <a:pt x="748" y="467"/>
                    </a:lnTo>
                    <a:lnTo>
                      <a:pt x="748" y="463"/>
                    </a:lnTo>
                    <a:lnTo>
                      <a:pt x="746" y="463"/>
                    </a:lnTo>
                    <a:lnTo>
                      <a:pt x="742" y="463"/>
                    </a:lnTo>
                    <a:lnTo>
                      <a:pt x="742" y="459"/>
                    </a:lnTo>
                    <a:lnTo>
                      <a:pt x="746" y="458"/>
                    </a:lnTo>
                    <a:lnTo>
                      <a:pt x="746" y="450"/>
                    </a:lnTo>
                    <a:lnTo>
                      <a:pt x="742" y="448"/>
                    </a:lnTo>
                    <a:lnTo>
                      <a:pt x="742" y="444"/>
                    </a:lnTo>
                    <a:lnTo>
                      <a:pt x="742" y="442"/>
                    </a:lnTo>
                    <a:lnTo>
                      <a:pt x="742" y="437"/>
                    </a:lnTo>
                    <a:lnTo>
                      <a:pt x="742" y="437"/>
                    </a:lnTo>
                    <a:lnTo>
                      <a:pt x="738" y="433"/>
                    </a:lnTo>
                    <a:lnTo>
                      <a:pt x="732" y="435"/>
                    </a:lnTo>
                    <a:lnTo>
                      <a:pt x="731" y="439"/>
                    </a:lnTo>
                    <a:lnTo>
                      <a:pt x="734" y="441"/>
                    </a:lnTo>
                    <a:lnTo>
                      <a:pt x="734" y="444"/>
                    </a:lnTo>
                    <a:lnTo>
                      <a:pt x="736" y="446"/>
                    </a:lnTo>
                    <a:lnTo>
                      <a:pt x="736" y="450"/>
                    </a:lnTo>
                    <a:lnTo>
                      <a:pt x="734" y="450"/>
                    </a:lnTo>
                    <a:lnTo>
                      <a:pt x="732" y="446"/>
                    </a:lnTo>
                    <a:lnTo>
                      <a:pt x="731" y="446"/>
                    </a:lnTo>
                    <a:lnTo>
                      <a:pt x="731" y="450"/>
                    </a:lnTo>
                    <a:lnTo>
                      <a:pt x="731" y="450"/>
                    </a:lnTo>
                    <a:lnTo>
                      <a:pt x="732" y="454"/>
                    </a:lnTo>
                    <a:lnTo>
                      <a:pt x="732" y="459"/>
                    </a:lnTo>
                    <a:lnTo>
                      <a:pt x="731" y="459"/>
                    </a:lnTo>
                    <a:lnTo>
                      <a:pt x="731" y="459"/>
                    </a:lnTo>
                    <a:lnTo>
                      <a:pt x="731" y="458"/>
                    </a:lnTo>
                    <a:lnTo>
                      <a:pt x="731" y="463"/>
                    </a:lnTo>
                    <a:lnTo>
                      <a:pt x="727" y="459"/>
                    </a:lnTo>
                    <a:lnTo>
                      <a:pt x="727" y="454"/>
                    </a:lnTo>
                    <a:lnTo>
                      <a:pt x="725" y="458"/>
                    </a:lnTo>
                    <a:lnTo>
                      <a:pt x="721" y="459"/>
                    </a:lnTo>
                    <a:lnTo>
                      <a:pt x="721" y="459"/>
                    </a:lnTo>
                    <a:lnTo>
                      <a:pt x="721" y="454"/>
                    </a:lnTo>
                    <a:lnTo>
                      <a:pt x="721" y="454"/>
                    </a:lnTo>
                    <a:lnTo>
                      <a:pt x="721" y="450"/>
                    </a:lnTo>
                    <a:lnTo>
                      <a:pt x="717" y="454"/>
                    </a:lnTo>
                    <a:lnTo>
                      <a:pt x="712" y="459"/>
                    </a:lnTo>
                    <a:lnTo>
                      <a:pt x="710" y="454"/>
                    </a:lnTo>
                    <a:lnTo>
                      <a:pt x="706" y="454"/>
                    </a:lnTo>
                    <a:lnTo>
                      <a:pt x="704" y="458"/>
                    </a:lnTo>
                    <a:lnTo>
                      <a:pt x="700" y="458"/>
                    </a:lnTo>
                    <a:lnTo>
                      <a:pt x="700" y="454"/>
                    </a:lnTo>
                    <a:lnTo>
                      <a:pt x="697" y="454"/>
                    </a:lnTo>
                    <a:lnTo>
                      <a:pt x="693" y="454"/>
                    </a:lnTo>
                    <a:lnTo>
                      <a:pt x="697" y="450"/>
                    </a:lnTo>
                    <a:lnTo>
                      <a:pt x="700" y="450"/>
                    </a:lnTo>
                    <a:lnTo>
                      <a:pt x="704" y="450"/>
                    </a:lnTo>
                    <a:lnTo>
                      <a:pt x="708" y="450"/>
                    </a:lnTo>
                    <a:lnTo>
                      <a:pt x="708" y="448"/>
                    </a:lnTo>
                    <a:lnTo>
                      <a:pt x="710" y="446"/>
                    </a:lnTo>
                    <a:lnTo>
                      <a:pt x="714" y="448"/>
                    </a:lnTo>
                    <a:lnTo>
                      <a:pt x="717" y="444"/>
                    </a:lnTo>
                    <a:lnTo>
                      <a:pt x="717" y="441"/>
                    </a:lnTo>
                    <a:lnTo>
                      <a:pt x="717" y="439"/>
                    </a:lnTo>
                    <a:lnTo>
                      <a:pt x="716" y="437"/>
                    </a:lnTo>
                    <a:lnTo>
                      <a:pt x="712" y="429"/>
                    </a:lnTo>
                    <a:lnTo>
                      <a:pt x="708" y="429"/>
                    </a:lnTo>
                    <a:lnTo>
                      <a:pt x="708" y="425"/>
                    </a:lnTo>
                    <a:lnTo>
                      <a:pt x="700" y="420"/>
                    </a:lnTo>
                    <a:lnTo>
                      <a:pt x="700" y="420"/>
                    </a:lnTo>
                    <a:lnTo>
                      <a:pt x="697" y="420"/>
                    </a:lnTo>
                    <a:lnTo>
                      <a:pt x="693" y="424"/>
                    </a:lnTo>
                    <a:lnTo>
                      <a:pt x="693" y="424"/>
                    </a:lnTo>
                    <a:lnTo>
                      <a:pt x="685" y="429"/>
                    </a:lnTo>
                    <a:lnTo>
                      <a:pt x="687" y="429"/>
                    </a:lnTo>
                    <a:lnTo>
                      <a:pt x="687" y="433"/>
                    </a:lnTo>
                    <a:lnTo>
                      <a:pt x="685" y="433"/>
                    </a:lnTo>
                    <a:lnTo>
                      <a:pt x="682" y="435"/>
                    </a:lnTo>
                    <a:lnTo>
                      <a:pt x="682" y="433"/>
                    </a:lnTo>
                    <a:lnTo>
                      <a:pt x="680" y="433"/>
                    </a:lnTo>
                    <a:lnTo>
                      <a:pt x="676" y="431"/>
                    </a:lnTo>
                    <a:lnTo>
                      <a:pt x="672" y="431"/>
                    </a:lnTo>
                    <a:lnTo>
                      <a:pt x="672" y="433"/>
                    </a:lnTo>
                    <a:lnTo>
                      <a:pt x="668" y="433"/>
                    </a:lnTo>
                    <a:lnTo>
                      <a:pt x="667" y="431"/>
                    </a:lnTo>
                    <a:lnTo>
                      <a:pt x="668" y="429"/>
                    </a:lnTo>
                    <a:lnTo>
                      <a:pt x="672" y="429"/>
                    </a:lnTo>
                    <a:lnTo>
                      <a:pt x="676" y="425"/>
                    </a:lnTo>
                    <a:lnTo>
                      <a:pt x="678" y="425"/>
                    </a:lnTo>
                    <a:lnTo>
                      <a:pt x="680" y="425"/>
                    </a:lnTo>
                    <a:lnTo>
                      <a:pt x="682" y="420"/>
                    </a:lnTo>
                    <a:lnTo>
                      <a:pt x="684" y="418"/>
                    </a:lnTo>
                    <a:lnTo>
                      <a:pt x="684" y="416"/>
                    </a:lnTo>
                    <a:lnTo>
                      <a:pt x="687" y="416"/>
                    </a:lnTo>
                    <a:lnTo>
                      <a:pt x="691" y="410"/>
                    </a:lnTo>
                    <a:lnTo>
                      <a:pt x="689" y="405"/>
                    </a:lnTo>
                    <a:lnTo>
                      <a:pt x="691" y="401"/>
                    </a:lnTo>
                    <a:lnTo>
                      <a:pt x="689" y="399"/>
                    </a:lnTo>
                    <a:lnTo>
                      <a:pt x="685" y="399"/>
                    </a:lnTo>
                    <a:lnTo>
                      <a:pt x="680" y="399"/>
                    </a:lnTo>
                    <a:lnTo>
                      <a:pt x="672" y="401"/>
                    </a:lnTo>
                    <a:lnTo>
                      <a:pt x="667" y="405"/>
                    </a:lnTo>
                    <a:lnTo>
                      <a:pt x="653" y="407"/>
                    </a:lnTo>
                    <a:lnTo>
                      <a:pt x="638" y="412"/>
                    </a:lnTo>
                    <a:lnTo>
                      <a:pt x="633" y="418"/>
                    </a:lnTo>
                    <a:lnTo>
                      <a:pt x="621" y="420"/>
                    </a:lnTo>
                    <a:lnTo>
                      <a:pt x="610" y="425"/>
                    </a:lnTo>
                    <a:lnTo>
                      <a:pt x="604" y="429"/>
                    </a:lnTo>
                    <a:lnTo>
                      <a:pt x="604" y="433"/>
                    </a:lnTo>
                    <a:lnTo>
                      <a:pt x="608" y="433"/>
                    </a:lnTo>
                    <a:lnTo>
                      <a:pt x="610" y="433"/>
                    </a:lnTo>
                    <a:lnTo>
                      <a:pt x="606" y="437"/>
                    </a:lnTo>
                    <a:lnTo>
                      <a:pt x="603" y="437"/>
                    </a:lnTo>
                    <a:lnTo>
                      <a:pt x="595" y="442"/>
                    </a:lnTo>
                    <a:lnTo>
                      <a:pt x="589" y="442"/>
                    </a:lnTo>
                    <a:lnTo>
                      <a:pt x="588" y="444"/>
                    </a:lnTo>
                    <a:lnTo>
                      <a:pt x="588" y="448"/>
                    </a:lnTo>
                    <a:lnTo>
                      <a:pt x="584" y="450"/>
                    </a:lnTo>
                    <a:lnTo>
                      <a:pt x="580" y="454"/>
                    </a:lnTo>
                    <a:lnTo>
                      <a:pt x="580" y="459"/>
                    </a:lnTo>
                    <a:lnTo>
                      <a:pt x="584" y="459"/>
                    </a:lnTo>
                    <a:lnTo>
                      <a:pt x="584" y="459"/>
                    </a:lnTo>
                    <a:lnTo>
                      <a:pt x="584" y="463"/>
                    </a:lnTo>
                    <a:lnTo>
                      <a:pt x="584" y="463"/>
                    </a:lnTo>
                    <a:lnTo>
                      <a:pt x="588" y="463"/>
                    </a:lnTo>
                    <a:lnTo>
                      <a:pt x="589" y="459"/>
                    </a:lnTo>
                    <a:lnTo>
                      <a:pt x="593" y="463"/>
                    </a:lnTo>
                    <a:lnTo>
                      <a:pt x="597" y="463"/>
                    </a:lnTo>
                    <a:lnTo>
                      <a:pt x="595" y="465"/>
                    </a:lnTo>
                    <a:lnTo>
                      <a:pt x="593" y="467"/>
                    </a:lnTo>
                    <a:lnTo>
                      <a:pt x="588" y="465"/>
                    </a:lnTo>
                    <a:lnTo>
                      <a:pt x="584" y="467"/>
                    </a:lnTo>
                    <a:lnTo>
                      <a:pt x="584" y="471"/>
                    </a:lnTo>
                    <a:lnTo>
                      <a:pt x="593" y="474"/>
                    </a:lnTo>
                    <a:lnTo>
                      <a:pt x="593" y="473"/>
                    </a:lnTo>
                    <a:lnTo>
                      <a:pt x="593" y="469"/>
                    </a:lnTo>
                    <a:lnTo>
                      <a:pt x="597" y="469"/>
                    </a:lnTo>
                    <a:lnTo>
                      <a:pt x="597" y="471"/>
                    </a:lnTo>
                    <a:lnTo>
                      <a:pt x="597" y="474"/>
                    </a:lnTo>
                    <a:lnTo>
                      <a:pt x="599" y="474"/>
                    </a:lnTo>
                    <a:lnTo>
                      <a:pt x="606" y="474"/>
                    </a:lnTo>
                    <a:lnTo>
                      <a:pt x="612" y="473"/>
                    </a:lnTo>
                    <a:lnTo>
                      <a:pt x="614" y="473"/>
                    </a:lnTo>
                    <a:lnTo>
                      <a:pt x="620" y="476"/>
                    </a:lnTo>
                    <a:lnTo>
                      <a:pt x="623" y="474"/>
                    </a:lnTo>
                    <a:lnTo>
                      <a:pt x="627" y="476"/>
                    </a:lnTo>
                    <a:lnTo>
                      <a:pt x="629" y="480"/>
                    </a:lnTo>
                    <a:lnTo>
                      <a:pt x="633" y="480"/>
                    </a:lnTo>
                    <a:lnTo>
                      <a:pt x="631" y="482"/>
                    </a:lnTo>
                    <a:lnTo>
                      <a:pt x="629" y="482"/>
                    </a:lnTo>
                    <a:lnTo>
                      <a:pt x="623" y="478"/>
                    </a:lnTo>
                    <a:lnTo>
                      <a:pt x="618" y="478"/>
                    </a:lnTo>
                    <a:lnTo>
                      <a:pt x="614" y="480"/>
                    </a:lnTo>
                    <a:lnTo>
                      <a:pt x="620" y="482"/>
                    </a:lnTo>
                    <a:lnTo>
                      <a:pt x="620" y="484"/>
                    </a:lnTo>
                    <a:lnTo>
                      <a:pt x="614" y="484"/>
                    </a:lnTo>
                    <a:lnTo>
                      <a:pt x="612" y="482"/>
                    </a:lnTo>
                    <a:lnTo>
                      <a:pt x="604" y="482"/>
                    </a:lnTo>
                    <a:lnTo>
                      <a:pt x="603" y="484"/>
                    </a:lnTo>
                    <a:lnTo>
                      <a:pt x="599" y="482"/>
                    </a:lnTo>
                    <a:lnTo>
                      <a:pt x="597" y="482"/>
                    </a:lnTo>
                    <a:lnTo>
                      <a:pt x="593" y="484"/>
                    </a:lnTo>
                    <a:lnTo>
                      <a:pt x="593" y="484"/>
                    </a:lnTo>
                    <a:lnTo>
                      <a:pt x="584" y="484"/>
                    </a:lnTo>
                    <a:lnTo>
                      <a:pt x="582" y="484"/>
                    </a:lnTo>
                    <a:lnTo>
                      <a:pt x="574" y="484"/>
                    </a:lnTo>
                    <a:lnTo>
                      <a:pt x="572" y="490"/>
                    </a:lnTo>
                    <a:lnTo>
                      <a:pt x="574" y="499"/>
                    </a:lnTo>
                    <a:lnTo>
                      <a:pt x="576" y="501"/>
                    </a:lnTo>
                    <a:lnTo>
                      <a:pt x="574" y="506"/>
                    </a:lnTo>
                    <a:lnTo>
                      <a:pt x="574" y="506"/>
                    </a:lnTo>
                    <a:lnTo>
                      <a:pt x="574" y="510"/>
                    </a:lnTo>
                    <a:lnTo>
                      <a:pt x="576" y="512"/>
                    </a:lnTo>
                    <a:lnTo>
                      <a:pt x="580" y="510"/>
                    </a:lnTo>
                    <a:lnTo>
                      <a:pt x="582" y="510"/>
                    </a:lnTo>
                    <a:lnTo>
                      <a:pt x="584" y="512"/>
                    </a:lnTo>
                    <a:lnTo>
                      <a:pt x="588" y="512"/>
                    </a:lnTo>
                    <a:lnTo>
                      <a:pt x="588" y="510"/>
                    </a:lnTo>
                    <a:lnTo>
                      <a:pt x="588" y="510"/>
                    </a:lnTo>
                    <a:lnTo>
                      <a:pt x="589" y="512"/>
                    </a:lnTo>
                    <a:lnTo>
                      <a:pt x="593" y="514"/>
                    </a:lnTo>
                    <a:lnTo>
                      <a:pt x="593" y="512"/>
                    </a:lnTo>
                    <a:lnTo>
                      <a:pt x="595" y="514"/>
                    </a:lnTo>
                    <a:lnTo>
                      <a:pt x="595" y="514"/>
                    </a:lnTo>
                    <a:lnTo>
                      <a:pt x="599" y="518"/>
                    </a:lnTo>
                    <a:lnTo>
                      <a:pt x="601" y="514"/>
                    </a:lnTo>
                    <a:lnTo>
                      <a:pt x="603" y="514"/>
                    </a:lnTo>
                    <a:lnTo>
                      <a:pt x="604" y="518"/>
                    </a:lnTo>
                    <a:lnTo>
                      <a:pt x="610" y="518"/>
                    </a:lnTo>
                    <a:lnTo>
                      <a:pt x="612" y="518"/>
                    </a:lnTo>
                    <a:lnTo>
                      <a:pt x="614" y="518"/>
                    </a:lnTo>
                    <a:lnTo>
                      <a:pt x="618" y="518"/>
                    </a:lnTo>
                    <a:lnTo>
                      <a:pt x="620" y="518"/>
                    </a:lnTo>
                    <a:lnTo>
                      <a:pt x="623" y="518"/>
                    </a:lnTo>
                    <a:lnTo>
                      <a:pt x="627" y="518"/>
                    </a:lnTo>
                    <a:lnTo>
                      <a:pt x="631" y="518"/>
                    </a:lnTo>
                    <a:lnTo>
                      <a:pt x="633" y="520"/>
                    </a:lnTo>
                    <a:lnTo>
                      <a:pt x="635" y="520"/>
                    </a:lnTo>
                    <a:lnTo>
                      <a:pt x="635" y="522"/>
                    </a:lnTo>
                    <a:lnTo>
                      <a:pt x="638" y="525"/>
                    </a:lnTo>
                    <a:lnTo>
                      <a:pt x="638" y="527"/>
                    </a:lnTo>
                    <a:lnTo>
                      <a:pt x="638" y="529"/>
                    </a:lnTo>
                    <a:lnTo>
                      <a:pt x="642" y="529"/>
                    </a:lnTo>
                    <a:lnTo>
                      <a:pt x="644" y="529"/>
                    </a:lnTo>
                    <a:lnTo>
                      <a:pt x="646" y="533"/>
                    </a:lnTo>
                    <a:lnTo>
                      <a:pt x="648" y="533"/>
                    </a:lnTo>
                    <a:lnTo>
                      <a:pt x="650" y="535"/>
                    </a:lnTo>
                    <a:lnTo>
                      <a:pt x="650" y="537"/>
                    </a:lnTo>
                    <a:lnTo>
                      <a:pt x="648" y="539"/>
                    </a:lnTo>
                    <a:lnTo>
                      <a:pt x="652" y="542"/>
                    </a:lnTo>
                    <a:lnTo>
                      <a:pt x="657" y="544"/>
                    </a:lnTo>
                    <a:lnTo>
                      <a:pt x="657" y="548"/>
                    </a:lnTo>
                    <a:lnTo>
                      <a:pt x="655" y="548"/>
                    </a:lnTo>
                    <a:lnTo>
                      <a:pt x="657" y="552"/>
                    </a:lnTo>
                    <a:lnTo>
                      <a:pt x="655" y="548"/>
                    </a:lnTo>
                    <a:lnTo>
                      <a:pt x="648" y="548"/>
                    </a:lnTo>
                    <a:lnTo>
                      <a:pt x="642" y="548"/>
                    </a:lnTo>
                    <a:lnTo>
                      <a:pt x="642" y="548"/>
                    </a:lnTo>
                    <a:lnTo>
                      <a:pt x="638" y="548"/>
                    </a:lnTo>
                    <a:lnTo>
                      <a:pt x="638" y="548"/>
                    </a:lnTo>
                    <a:lnTo>
                      <a:pt x="635" y="548"/>
                    </a:lnTo>
                    <a:lnTo>
                      <a:pt x="633" y="544"/>
                    </a:lnTo>
                    <a:lnTo>
                      <a:pt x="629" y="544"/>
                    </a:lnTo>
                    <a:lnTo>
                      <a:pt x="627" y="542"/>
                    </a:lnTo>
                    <a:lnTo>
                      <a:pt x="625" y="539"/>
                    </a:lnTo>
                    <a:lnTo>
                      <a:pt x="621" y="542"/>
                    </a:lnTo>
                    <a:lnTo>
                      <a:pt x="620" y="539"/>
                    </a:lnTo>
                    <a:lnTo>
                      <a:pt x="618" y="539"/>
                    </a:lnTo>
                    <a:lnTo>
                      <a:pt x="614" y="537"/>
                    </a:lnTo>
                    <a:lnTo>
                      <a:pt x="614" y="535"/>
                    </a:lnTo>
                    <a:lnTo>
                      <a:pt x="614" y="535"/>
                    </a:lnTo>
                    <a:lnTo>
                      <a:pt x="610" y="533"/>
                    </a:lnTo>
                    <a:lnTo>
                      <a:pt x="606" y="535"/>
                    </a:lnTo>
                    <a:lnTo>
                      <a:pt x="604" y="533"/>
                    </a:lnTo>
                    <a:lnTo>
                      <a:pt x="597" y="533"/>
                    </a:lnTo>
                    <a:lnTo>
                      <a:pt x="593" y="533"/>
                    </a:lnTo>
                    <a:lnTo>
                      <a:pt x="588" y="531"/>
                    </a:lnTo>
                    <a:lnTo>
                      <a:pt x="574" y="531"/>
                    </a:lnTo>
                    <a:lnTo>
                      <a:pt x="571" y="533"/>
                    </a:lnTo>
                    <a:lnTo>
                      <a:pt x="567" y="533"/>
                    </a:lnTo>
                    <a:lnTo>
                      <a:pt x="565" y="537"/>
                    </a:lnTo>
                    <a:lnTo>
                      <a:pt x="563" y="542"/>
                    </a:lnTo>
                    <a:lnTo>
                      <a:pt x="563" y="548"/>
                    </a:lnTo>
                    <a:lnTo>
                      <a:pt x="563" y="552"/>
                    </a:lnTo>
                    <a:lnTo>
                      <a:pt x="563" y="554"/>
                    </a:lnTo>
                    <a:lnTo>
                      <a:pt x="563" y="557"/>
                    </a:lnTo>
                    <a:lnTo>
                      <a:pt x="563" y="557"/>
                    </a:lnTo>
                    <a:lnTo>
                      <a:pt x="563" y="559"/>
                    </a:lnTo>
                    <a:lnTo>
                      <a:pt x="563" y="561"/>
                    </a:lnTo>
                    <a:lnTo>
                      <a:pt x="565" y="569"/>
                    </a:lnTo>
                    <a:lnTo>
                      <a:pt x="567" y="569"/>
                    </a:lnTo>
                    <a:lnTo>
                      <a:pt x="569" y="572"/>
                    </a:lnTo>
                    <a:lnTo>
                      <a:pt x="574" y="576"/>
                    </a:lnTo>
                    <a:lnTo>
                      <a:pt x="576" y="578"/>
                    </a:lnTo>
                    <a:lnTo>
                      <a:pt x="578" y="578"/>
                    </a:lnTo>
                    <a:lnTo>
                      <a:pt x="580" y="578"/>
                    </a:lnTo>
                    <a:lnTo>
                      <a:pt x="584" y="578"/>
                    </a:lnTo>
                    <a:lnTo>
                      <a:pt x="588" y="578"/>
                    </a:lnTo>
                    <a:lnTo>
                      <a:pt x="588" y="578"/>
                    </a:lnTo>
                    <a:lnTo>
                      <a:pt x="593" y="582"/>
                    </a:lnTo>
                    <a:lnTo>
                      <a:pt x="595" y="582"/>
                    </a:lnTo>
                    <a:lnTo>
                      <a:pt x="597" y="584"/>
                    </a:lnTo>
                    <a:lnTo>
                      <a:pt x="601" y="586"/>
                    </a:lnTo>
                    <a:lnTo>
                      <a:pt x="601" y="587"/>
                    </a:lnTo>
                    <a:lnTo>
                      <a:pt x="597" y="589"/>
                    </a:lnTo>
                    <a:lnTo>
                      <a:pt x="597" y="591"/>
                    </a:lnTo>
                    <a:lnTo>
                      <a:pt x="595" y="593"/>
                    </a:lnTo>
                    <a:lnTo>
                      <a:pt x="595" y="595"/>
                    </a:lnTo>
                    <a:lnTo>
                      <a:pt x="593" y="597"/>
                    </a:lnTo>
                    <a:lnTo>
                      <a:pt x="589" y="601"/>
                    </a:lnTo>
                    <a:lnTo>
                      <a:pt x="589" y="603"/>
                    </a:lnTo>
                    <a:lnTo>
                      <a:pt x="588" y="603"/>
                    </a:lnTo>
                    <a:lnTo>
                      <a:pt x="593" y="606"/>
                    </a:lnTo>
                    <a:lnTo>
                      <a:pt x="593" y="608"/>
                    </a:lnTo>
                    <a:lnTo>
                      <a:pt x="593" y="614"/>
                    </a:lnTo>
                    <a:lnTo>
                      <a:pt x="593" y="616"/>
                    </a:lnTo>
                    <a:lnTo>
                      <a:pt x="588" y="618"/>
                    </a:lnTo>
                    <a:lnTo>
                      <a:pt x="589" y="620"/>
                    </a:lnTo>
                    <a:lnTo>
                      <a:pt x="595" y="620"/>
                    </a:lnTo>
                    <a:lnTo>
                      <a:pt x="599" y="620"/>
                    </a:lnTo>
                    <a:lnTo>
                      <a:pt x="601" y="620"/>
                    </a:lnTo>
                    <a:lnTo>
                      <a:pt x="601" y="621"/>
                    </a:lnTo>
                    <a:lnTo>
                      <a:pt x="603" y="620"/>
                    </a:lnTo>
                    <a:lnTo>
                      <a:pt x="604" y="618"/>
                    </a:lnTo>
                    <a:lnTo>
                      <a:pt x="606" y="620"/>
                    </a:lnTo>
                    <a:lnTo>
                      <a:pt x="612" y="620"/>
                    </a:lnTo>
                    <a:lnTo>
                      <a:pt x="618" y="621"/>
                    </a:lnTo>
                    <a:lnTo>
                      <a:pt x="618" y="620"/>
                    </a:lnTo>
                    <a:lnTo>
                      <a:pt x="623" y="620"/>
                    </a:lnTo>
                    <a:lnTo>
                      <a:pt x="625" y="621"/>
                    </a:lnTo>
                    <a:lnTo>
                      <a:pt x="625" y="621"/>
                    </a:lnTo>
                    <a:lnTo>
                      <a:pt x="627" y="621"/>
                    </a:lnTo>
                    <a:lnTo>
                      <a:pt x="629" y="620"/>
                    </a:lnTo>
                    <a:lnTo>
                      <a:pt x="631" y="621"/>
                    </a:lnTo>
                    <a:lnTo>
                      <a:pt x="633" y="623"/>
                    </a:lnTo>
                    <a:lnTo>
                      <a:pt x="635" y="623"/>
                    </a:lnTo>
                    <a:lnTo>
                      <a:pt x="636" y="621"/>
                    </a:lnTo>
                    <a:lnTo>
                      <a:pt x="638" y="623"/>
                    </a:lnTo>
                    <a:lnTo>
                      <a:pt x="638" y="625"/>
                    </a:lnTo>
                    <a:lnTo>
                      <a:pt x="638" y="625"/>
                    </a:lnTo>
                    <a:lnTo>
                      <a:pt x="642" y="623"/>
                    </a:lnTo>
                    <a:lnTo>
                      <a:pt x="644" y="623"/>
                    </a:lnTo>
                    <a:lnTo>
                      <a:pt x="648" y="621"/>
                    </a:lnTo>
                    <a:lnTo>
                      <a:pt x="650" y="620"/>
                    </a:lnTo>
                    <a:lnTo>
                      <a:pt x="653" y="620"/>
                    </a:lnTo>
                    <a:lnTo>
                      <a:pt x="657" y="616"/>
                    </a:lnTo>
                    <a:lnTo>
                      <a:pt x="661" y="614"/>
                    </a:lnTo>
                    <a:lnTo>
                      <a:pt x="663" y="614"/>
                    </a:lnTo>
                    <a:lnTo>
                      <a:pt x="667" y="612"/>
                    </a:lnTo>
                    <a:lnTo>
                      <a:pt x="668" y="612"/>
                    </a:lnTo>
                    <a:lnTo>
                      <a:pt x="672" y="612"/>
                    </a:lnTo>
                    <a:lnTo>
                      <a:pt x="676" y="612"/>
                    </a:lnTo>
                    <a:lnTo>
                      <a:pt x="676" y="614"/>
                    </a:lnTo>
                    <a:lnTo>
                      <a:pt x="684" y="614"/>
                    </a:lnTo>
                    <a:lnTo>
                      <a:pt x="691" y="608"/>
                    </a:lnTo>
                    <a:lnTo>
                      <a:pt x="693" y="606"/>
                    </a:lnTo>
                    <a:lnTo>
                      <a:pt x="693" y="606"/>
                    </a:lnTo>
                    <a:lnTo>
                      <a:pt x="693" y="606"/>
                    </a:lnTo>
                    <a:lnTo>
                      <a:pt x="697" y="606"/>
                    </a:lnTo>
                    <a:lnTo>
                      <a:pt x="697" y="603"/>
                    </a:lnTo>
                    <a:lnTo>
                      <a:pt x="697" y="603"/>
                    </a:lnTo>
                    <a:lnTo>
                      <a:pt x="700" y="601"/>
                    </a:lnTo>
                    <a:lnTo>
                      <a:pt x="700" y="603"/>
                    </a:lnTo>
                    <a:lnTo>
                      <a:pt x="702" y="601"/>
                    </a:lnTo>
                    <a:lnTo>
                      <a:pt x="704" y="599"/>
                    </a:lnTo>
                    <a:lnTo>
                      <a:pt x="704" y="597"/>
                    </a:lnTo>
                    <a:lnTo>
                      <a:pt x="706" y="599"/>
                    </a:lnTo>
                    <a:lnTo>
                      <a:pt x="706" y="597"/>
                    </a:lnTo>
                    <a:lnTo>
                      <a:pt x="708" y="601"/>
                    </a:lnTo>
                    <a:lnTo>
                      <a:pt x="708" y="603"/>
                    </a:lnTo>
                    <a:lnTo>
                      <a:pt x="710" y="603"/>
                    </a:lnTo>
                    <a:lnTo>
                      <a:pt x="706" y="606"/>
                    </a:lnTo>
                    <a:lnTo>
                      <a:pt x="706" y="606"/>
                    </a:lnTo>
                    <a:lnTo>
                      <a:pt x="704" y="608"/>
                    </a:lnTo>
                    <a:lnTo>
                      <a:pt x="702" y="612"/>
                    </a:lnTo>
                    <a:lnTo>
                      <a:pt x="704" y="612"/>
                    </a:lnTo>
                    <a:lnTo>
                      <a:pt x="706" y="612"/>
                    </a:lnTo>
                    <a:lnTo>
                      <a:pt x="710" y="614"/>
                    </a:lnTo>
                    <a:lnTo>
                      <a:pt x="710" y="614"/>
                    </a:lnTo>
                    <a:lnTo>
                      <a:pt x="712" y="614"/>
                    </a:lnTo>
                    <a:lnTo>
                      <a:pt x="716" y="614"/>
                    </a:lnTo>
                    <a:lnTo>
                      <a:pt x="717" y="618"/>
                    </a:lnTo>
                    <a:lnTo>
                      <a:pt x="717" y="620"/>
                    </a:lnTo>
                    <a:lnTo>
                      <a:pt x="717" y="618"/>
                    </a:lnTo>
                    <a:lnTo>
                      <a:pt x="717" y="618"/>
                    </a:lnTo>
                    <a:lnTo>
                      <a:pt x="721" y="618"/>
                    </a:lnTo>
                    <a:lnTo>
                      <a:pt x="721" y="620"/>
                    </a:lnTo>
                    <a:lnTo>
                      <a:pt x="717" y="623"/>
                    </a:lnTo>
                    <a:lnTo>
                      <a:pt x="717" y="623"/>
                    </a:lnTo>
                    <a:lnTo>
                      <a:pt x="716" y="625"/>
                    </a:lnTo>
                    <a:lnTo>
                      <a:pt x="716" y="627"/>
                    </a:lnTo>
                    <a:lnTo>
                      <a:pt x="717" y="627"/>
                    </a:lnTo>
                    <a:lnTo>
                      <a:pt x="717" y="627"/>
                    </a:lnTo>
                    <a:lnTo>
                      <a:pt x="721" y="631"/>
                    </a:lnTo>
                    <a:lnTo>
                      <a:pt x="725" y="629"/>
                    </a:lnTo>
                    <a:lnTo>
                      <a:pt x="727" y="625"/>
                    </a:lnTo>
                    <a:lnTo>
                      <a:pt x="727" y="625"/>
                    </a:lnTo>
                    <a:lnTo>
                      <a:pt x="727" y="629"/>
                    </a:lnTo>
                    <a:lnTo>
                      <a:pt x="731" y="633"/>
                    </a:lnTo>
                    <a:lnTo>
                      <a:pt x="732" y="633"/>
                    </a:lnTo>
                    <a:lnTo>
                      <a:pt x="734" y="633"/>
                    </a:lnTo>
                    <a:lnTo>
                      <a:pt x="736" y="633"/>
                    </a:lnTo>
                    <a:lnTo>
                      <a:pt x="738" y="633"/>
                    </a:lnTo>
                    <a:lnTo>
                      <a:pt x="742" y="633"/>
                    </a:lnTo>
                    <a:lnTo>
                      <a:pt x="742" y="636"/>
                    </a:lnTo>
                    <a:lnTo>
                      <a:pt x="742" y="636"/>
                    </a:lnTo>
                    <a:lnTo>
                      <a:pt x="742" y="633"/>
                    </a:lnTo>
                    <a:lnTo>
                      <a:pt x="746" y="633"/>
                    </a:lnTo>
                    <a:lnTo>
                      <a:pt x="749" y="633"/>
                    </a:lnTo>
                    <a:lnTo>
                      <a:pt x="751" y="633"/>
                    </a:lnTo>
                    <a:lnTo>
                      <a:pt x="751" y="636"/>
                    </a:lnTo>
                    <a:lnTo>
                      <a:pt x="751" y="636"/>
                    </a:lnTo>
                    <a:lnTo>
                      <a:pt x="755" y="636"/>
                    </a:lnTo>
                    <a:lnTo>
                      <a:pt x="755" y="633"/>
                    </a:lnTo>
                    <a:lnTo>
                      <a:pt x="757" y="633"/>
                    </a:lnTo>
                    <a:lnTo>
                      <a:pt x="757" y="636"/>
                    </a:lnTo>
                    <a:lnTo>
                      <a:pt x="759" y="636"/>
                    </a:lnTo>
                    <a:lnTo>
                      <a:pt x="761" y="636"/>
                    </a:lnTo>
                    <a:lnTo>
                      <a:pt x="761" y="633"/>
                    </a:lnTo>
                    <a:lnTo>
                      <a:pt x="763" y="633"/>
                    </a:lnTo>
                    <a:lnTo>
                      <a:pt x="766" y="633"/>
                    </a:lnTo>
                    <a:lnTo>
                      <a:pt x="766" y="633"/>
                    </a:lnTo>
                    <a:lnTo>
                      <a:pt x="768" y="633"/>
                    </a:lnTo>
                    <a:lnTo>
                      <a:pt x="770" y="633"/>
                    </a:lnTo>
                    <a:lnTo>
                      <a:pt x="770" y="633"/>
                    </a:lnTo>
                    <a:lnTo>
                      <a:pt x="770" y="633"/>
                    </a:lnTo>
                    <a:lnTo>
                      <a:pt x="770" y="633"/>
                    </a:lnTo>
                    <a:close/>
                    <a:moveTo>
                      <a:pt x="1115" y="765"/>
                    </a:moveTo>
                    <a:lnTo>
                      <a:pt x="1115" y="761"/>
                    </a:lnTo>
                    <a:lnTo>
                      <a:pt x="1115" y="761"/>
                    </a:lnTo>
                    <a:lnTo>
                      <a:pt x="1115" y="755"/>
                    </a:lnTo>
                    <a:lnTo>
                      <a:pt x="1115" y="751"/>
                    </a:lnTo>
                    <a:lnTo>
                      <a:pt x="1118" y="746"/>
                    </a:lnTo>
                    <a:lnTo>
                      <a:pt x="1120" y="742"/>
                    </a:lnTo>
                    <a:lnTo>
                      <a:pt x="1124" y="740"/>
                    </a:lnTo>
                    <a:lnTo>
                      <a:pt x="1130" y="731"/>
                    </a:lnTo>
                    <a:lnTo>
                      <a:pt x="1133" y="731"/>
                    </a:lnTo>
                    <a:lnTo>
                      <a:pt x="1135" y="731"/>
                    </a:lnTo>
                    <a:lnTo>
                      <a:pt x="1135" y="727"/>
                    </a:lnTo>
                    <a:lnTo>
                      <a:pt x="1139" y="731"/>
                    </a:lnTo>
                    <a:lnTo>
                      <a:pt x="1143" y="727"/>
                    </a:lnTo>
                    <a:lnTo>
                      <a:pt x="1145" y="731"/>
                    </a:lnTo>
                    <a:lnTo>
                      <a:pt x="1147" y="731"/>
                    </a:lnTo>
                    <a:lnTo>
                      <a:pt x="1148" y="731"/>
                    </a:lnTo>
                    <a:lnTo>
                      <a:pt x="1152" y="733"/>
                    </a:lnTo>
                    <a:lnTo>
                      <a:pt x="1154" y="738"/>
                    </a:lnTo>
                    <a:lnTo>
                      <a:pt x="1154" y="740"/>
                    </a:lnTo>
                    <a:lnTo>
                      <a:pt x="1150" y="744"/>
                    </a:lnTo>
                    <a:lnTo>
                      <a:pt x="1148" y="748"/>
                    </a:lnTo>
                    <a:lnTo>
                      <a:pt x="1148" y="751"/>
                    </a:lnTo>
                    <a:lnTo>
                      <a:pt x="1143" y="757"/>
                    </a:lnTo>
                    <a:lnTo>
                      <a:pt x="1143" y="761"/>
                    </a:lnTo>
                    <a:lnTo>
                      <a:pt x="1139" y="761"/>
                    </a:lnTo>
                    <a:lnTo>
                      <a:pt x="1135" y="765"/>
                    </a:lnTo>
                    <a:lnTo>
                      <a:pt x="1133" y="765"/>
                    </a:lnTo>
                    <a:lnTo>
                      <a:pt x="1130" y="765"/>
                    </a:lnTo>
                    <a:lnTo>
                      <a:pt x="1126" y="766"/>
                    </a:lnTo>
                    <a:lnTo>
                      <a:pt x="1124" y="765"/>
                    </a:lnTo>
                    <a:lnTo>
                      <a:pt x="1118" y="766"/>
                    </a:lnTo>
                    <a:lnTo>
                      <a:pt x="1118" y="765"/>
                    </a:lnTo>
                    <a:lnTo>
                      <a:pt x="1115" y="765"/>
                    </a:lnTo>
                    <a:lnTo>
                      <a:pt x="1115" y="765"/>
                    </a:lnTo>
                    <a:lnTo>
                      <a:pt x="1115" y="765"/>
                    </a:lnTo>
                    <a:lnTo>
                      <a:pt x="1115" y="765"/>
                    </a:lnTo>
                    <a:lnTo>
                      <a:pt x="1115" y="765"/>
                    </a:lnTo>
                    <a:close/>
                    <a:moveTo>
                      <a:pt x="787" y="621"/>
                    </a:moveTo>
                    <a:lnTo>
                      <a:pt x="785" y="620"/>
                    </a:lnTo>
                    <a:lnTo>
                      <a:pt x="787" y="618"/>
                    </a:lnTo>
                    <a:lnTo>
                      <a:pt x="789" y="618"/>
                    </a:lnTo>
                    <a:lnTo>
                      <a:pt x="787" y="614"/>
                    </a:lnTo>
                    <a:lnTo>
                      <a:pt x="789" y="612"/>
                    </a:lnTo>
                    <a:lnTo>
                      <a:pt x="791" y="612"/>
                    </a:lnTo>
                    <a:lnTo>
                      <a:pt x="791" y="614"/>
                    </a:lnTo>
                    <a:lnTo>
                      <a:pt x="793" y="616"/>
                    </a:lnTo>
                    <a:lnTo>
                      <a:pt x="793" y="618"/>
                    </a:lnTo>
                    <a:lnTo>
                      <a:pt x="791" y="621"/>
                    </a:lnTo>
                    <a:lnTo>
                      <a:pt x="789" y="620"/>
                    </a:lnTo>
                    <a:lnTo>
                      <a:pt x="787" y="623"/>
                    </a:lnTo>
                    <a:lnTo>
                      <a:pt x="787" y="621"/>
                    </a:lnTo>
                    <a:lnTo>
                      <a:pt x="787" y="621"/>
                    </a:lnTo>
                    <a:lnTo>
                      <a:pt x="787" y="621"/>
                    </a:lnTo>
                    <a:lnTo>
                      <a:pt x="787" y="621"/>
                    </a:lnTo>
                    <a:close/>
                    <a:moveTo>
                      <a:pt x="755" y="652"/>
                    </a:moveTo>
                    <a:lnTo>
                      <a:pt x="757" y="650"/>
                    </a:lnTo>
                    <a:lnTo>
                      <a:pt x="759" y="648"/>
                    </a:lnTo>
                    <a:lnTo>
                      <a:pt x="759" y="646"/>
                    </a:lnTo>
                    <a:lnTo>
                      <a:pt x="759" y="642"/>
                    </a:lnTo>
                    <a:lnTo>
                      <a:pt x="759" y="642"/>
                    </a:lnTo>
                    <a:lnTo>
                      <a:pt x="755" y="646"/>
                    </a:lnTo>
                    <a:lnTo>
                      <a:pt x="755" y="646"/>
                    </a:lnTo>
                    <a:lnTo>
                      <a:pt x="751" y="646"/>
                    </a:lnTo>
                    <a:lnTo>
                      <a:pt x="751" y="646"/>
                    </a:lnTo>
                    <a:lnTo>
                      <a:pt x="755" y="650"/>
                    </a:lnTo>
                    <a:lnTo>
                      <a:pt x="755" y="652"/>
                    </a:lnTo>
                    <a:lnTo>
                      <a:pt x="755" y="652"/>
                    </a:lnTo>
                    <a:lnTo>
                      <a:pt x="755" y="652"/>
                    </a:lnTo>
                    <a:lnTo>
                      <a:pt x="755" y="652"/>
                    </a:lnTo>
                    <a:close/>
                    <a:moveTo>
                      <a:pt x="793" y="646"/>
                    </a:moveTo>
                    <a:lnTo>
                      <a:pt x="789" y="646"/>
                    </a:lnTo>
                    <a:lnTo>
                      <a:pt x="787" y="648"/>
                    </a:lnTo>
                    <a:lnTo>
                      <a:pt x="787" y="650"/>
                    </a:lnTo>
                    <a:lnTo>
                      <a:pt x="785" y="646"/>
                    </a:lnTo>
                    <a:lnTo>
                      <a:pt x="785" y="646"/>
                    </a:lnTo>
                    <a:lnTo>
                      <a:pt x="787" y="638"/>
                    </a:lnTo>
                    <a:lnTo>
                      <a:pt x="787" y="636"/>
                    </a:lnTo>
                    <a:lnTo>
                      <a:pt x="789" y="636"/>
                    </a:lnTo>
                    <a:lnTo>
                      <a:pt x="791" y="636"/>
                    </a:lnTo>
                    <a:lnTo>
                      <a:pt x="791" y="636"/>
                    </a:lnTo>
                    <a:lnTo>
                      <a:pt x="795" y="640"/>
                    </a:lnTo>
                    <a:lnTo>
                      <a:pt x="793" y="646"/>
                    </a:lnTo>
                    <a:lnTo>
                      <a:pt x="793" y="646"/>
                    </a:lnTo>
                    <a:lnTo>
                      <a:pt x="793" y="646"/>
                    </a:lnTo>
                    <a:lnTo>
                      <a:pt x="793" y="646"/>
                    </a:lnTo>
                    <a:close/>
                    <a:moveTo>
                      <a:pt x="796" y="638"/>
                    </a:moveTo>
                    <a:lnTo>
                      <a:pt x="796" y="636"/>
                    </a:lnTo>
                    <a:lnTo>
                      <a:pt x="795" y="636"/>
                    </a:lnTo>
                    <a:lnTo>
                      <a:pt x="798" y="631"/>
                    </a:lnTo>
                    <a:lnTo>
                      <a:pt x="798" y="631"/>
                    </a:lnTo>
                    <a:lnTo>
                      <a:pt x="800" y="633"/>
                    </a:lnTo>
                    <a:lnTo>
                      <a:pt x="800" y="636"/>
                    </a:lnTo>
                    <a:lnTo>
                      <a:pt x="798" y="638"/>
                    </a:lnTo>
                    <a:lnTo>
                      <a:pt x="798" y="638"/>
                    </a:lnTo>
                    <a:lnTo>
                      <a:pt x="796" y="638"/>
                    </a:lnTo>
                    <a:lnTo>
                      <a:pt x="796" y="638"/>
                    </a:lnTo>
                    <a:lnTo>
                      <a:pt x="796" y="638"/>
                    </a:lnTo>
                    <a:lnTo>
                      <a:pt x="796" y="638"/>
                    </a:lnTo>
                    <a:close/>
                    <a:moveTo>
                      <a:pt x="864" y="640"/>
                    </a:moveTo>
                    <a:lnTo>
                      <a:pt x="868" y="636"/>
                    </a:lnTo>
                    <a:lnTo>
                      <a:pt x="870" y="631"/>
                    </a:lnTo>
                    <a:lnTo>
                      <a:pt x="874" y="633"/>
                    </a:lnTo>
                    <a:lnTo>
                      <a:pt x="874" y="636"/>
                    </a:lnTo>
                    <a:lnTo>
                      <a:pt x="870" y="642"/>
                    </a:lnTo>
                    <a:lnTo>
                      <a:pt x="868" y="642"/>
                    </a:lnTo>
                    <a:lnTo>
                      <a:pt x="868" y="640"/>
                    </a:lnTo>
                    <a:lnTo>
                      <a:pt x="868" y="636"/>
                    </a:lnTo>
                    <a:lnTo>
                      <a:pt x="868" y="638"/>
                    </a:lnTo>
                    <a:lnTo>
                      <a:pt x="868" y="640"/>
                    </a:lnTo>
                    <a:lnTo>
                      <a:pt x="868" y="640"/>
                    </a:lnTo>
                    <a:lnTo>
                      <a:pt x="864" y="640"/>
                    </a:lnTo>
                    <a:lnTo>
                      <a:pt x="864" y="640"/>
                    </a:lnTo>
                    <a:lnTo>
                      <a:pt x="864" y="640"/>
                    </a:lnTo>
                    <a:lnTo>
                      <a:pt x="864" y="640"/>
                    </a:lnTo>
                    <a:close/>
                    <a:moveTo>
                      <a:pt x="862" y="636"/>
                    </a:moveTo>
                    <a:lnTo>
                      <a:pt x="864" y="636"/>
                    </a:lnTo>
                    <a:lnTo>
                      <a:pt x="864" y="633"/>
                    </a:lnTo>
                    <a:lnTo>
                      <a:pt x="864" y="629"/>
                    </a:lnTo>
                    <a:lnTo>
                      <a:pt x="862" y="631"/>
                    </a:lnTo>
                    <a:lnTo>
                      <a:pt x="862" y="636"/>
                    </a:lnTo>
                    <a:lnTo>
                      <a:pt x="862" y="636"/>
                    </a:lnTo>
                    <a:lnTo>
                      <a:pt x="862" y="636"/>
                    </a:lnTo>
                    <a:lnTo>
                      <a:pt x="862" y="636"/>
                    </a:lnTo>
                    <a:close/>
                    <a:moveTo>
                      <a:pt x="859" y="670"/>
                    </a:moveTo>
                    <a:lnTo>
                      <a:pt x="862" y="667"/>
                    </a:lnTo>
                    <a:lnTo>
                      <a:pt x="868" y="663"/>
                    </a:lnTo>
                    <a:lnTo>
                      <a:pt x="868" y="661"/>
                    </a:lnTo>
                    <a:lnTo>
                      <a:pt x="862" y="663"/>
                    </a:lnTo>
                    <a:lnTo>
                      <a:pt x="859" y="659"/>
                    </a:lnTo>
                    <a:lnTo>
                      <a:pt x="864" y="652"/>
                    </a:lnTo>
                    <a:lnTo>
                      <a:pt x="864" y="648"/>
                    </a:lnTo>
                    <a:lnTo>
                      <a:pt x="862" y="650"/>
                    </a:lnTo>
                    <a:lnTo>
                      <a:pt x="859" y="655"/>
                    </a:lnTo>
                    <a:lnTo>
                      <a:pt x="859" y="652"/>
                    </a:lnTo>
                    <a:lnTo>
                      <a:pt x="862" y="642"/>
                    </a:lnTo>
                    <a:lnTo>
                      <a:pt x="859" y="633"/>
                    </a:lnTo>
                    <a:lnTo>
                      <a:pt x="855" y="629"/>
                    </a:lnTo>
                    <a:lnTo>
                      <a:pt x="855" y="623"/>
                    </a:lnTo>
                    <a:lnTo>
                      <a:pt x="851" y="623"/>
                    </a:lnTo>
                    <a:lnTo>
                      <a:pt x="847" y="627"/>
                    </a:lnTo>
                    <a:lnTo>
                      <a:pt x="847" y="623"/>
                    </a:lnTo>
                    <a:lnTo>
                      <a:pt x="851" y="621"/>
                    </a:lnTo>
                    <a:lnTo>
                      <a:pt x="849" y="618"/>
                    </a:lnTo>
                    <a:lnTo>
                      <a:pt x="849" y="614"/>
                    </a:lnTo>
                    <a:lnTo>
                      <a:pt x="849" y="612"/>
                    </a:lnTo>
                    <a:lnTo>
                      <a:pt x="844" y="612"/>
                    </a:lnTo>
                    <a:lnTo>
                      <a:pt x="838" y="616"/>
                    </a:lnTo>
                    <a:lnTo>
                      <a:pt x="836" y="623"/>
                    </a:lnTo>
                    <a:lnTo>
                      <a:pt x="838" y="629"/>
                    </a:lnTo>
                    <a:lnTo>
                      <a:pt x="834" y="627"/>
                    </a:lnTo>
                    <a:lnTo>
                      <a:pt x="834" y="623"/>
                    </a:lnTo>
                    <a:lnTo>
                      <a:pt x="830" y="621"/>
                    </a:lnTo>
                    <a:lnTo>
                      <a:pt x="830" y="627"/>
                    </a:lnTo>
                    <a:lnTo>
                      <a:pt x="830" y="627"/>
                    </a:lnTo>
                    <a:lnTo>
                      <a:pt x="830" y="631"/>
                    </a:lnTo>
                    <a:lnTo>
                      <a:pt x="828" y="633"/>
                    </a:lnTo>
                    <a:lnTo>
                      <a:pt x="827" y="633"/>
                    </a:lnTo>
                    <a:lnTo>
                      <a:pt x="825" y="636"/>
                    </a:lnTo>
                    <a:lnTo>
                      <a:pt x="817" y="636"/>
                    </a:lnTo>
                    <a:lnTo>
                      <a:pt x="815" y="636"/>
                    </a:lnTo>
                    <a:lnTo>
                      <a:pt x="813" y="636"/>
                    </a:lnTo>
                    <a:lnTo>
                      <a:pt x="806" y="640"/>
                    </a:lnTo>
                    <a:lnTo>
                      <a:pt x="806" y="646"/>
                    </a:lnTo>
                    <a:lnTo>
                      <a:pt x="810" y="650"/>
                    </a:lnTo>
                    <a:lnTo>
                      <a:pt x="812" y="648"/>
                    </a:lnTo>
                    <a:lnTo>
                      <a:pt x="812" y="646"/>
                    </a:lnTo>
                    <a:lnTo>
                      <a:pt x="812" y="642"/>
                    </a:lnTo>
                    <a:lnTo>
                      <a:pt x="815" y="646"/>
                    </a:lnTo>
                    <a:lnTo>
                      <a:pt x="815" y="652"/>
                    </a:lnTo>
                    <a:lnTo>
                      <a:pt x="819" y="655"/>
                    </a:lnTo>
                    <a:lnTo>
                      <a:pt x="821" y="652"/>
                    </a:lnTo>
                    <a:lnTo>
                      <a:pt x="823" y="653"/>
                    </a:lnTo>
                    <a:lnTo>
                      <a:pt x="821" y="657"/>
                    </a:lnTo>
                    <a:lnTo>
                      <a:pt x="825" y="663"/>
                    </a:lnTo>
                    <a:lnTo>
                      <a:pt x="828" y="663"/>
                    </a:lnTo>
                    <a:lnTo>
                      <a:pt x="830" y="667"/>
                    </a:lnTo>
                    <a:lnTo>
                      <a:pt x="834" y="670"/>
                    </a:lnTo>
                    <a:lnTo>
                      <a:pt x="836" y="667"/>
                    </a:lnTo>
                    <a:lnTo>
                      <a:pt x="836" y="670"/>
                    </a:lnTo>
                    <a:lnTo>
                      <a:pt x="840" y="672"/>
                    </a:lnTo>
                    <a:lnTo>
                      <a:pt x="844" y="672"/>
                    </a:lnTo>
                    <a:lnTo>
                      <a:pt x="847" y="672"/>
                    </a:lnTo>
                    <a:lnTo>
                      <a:pt x="851" y="670"/>
                    </a:lnTo>
                    <a:lnTo>
                      <a:pt x="853" y="670"/>
                    </a:lnTo>
                    <a:lnTo>
                      <a:pt x="859" y="667"/>
                    </a:lnTo>
                    <a:lnTo>
                      <a:pt x="859" y="670"/>
                    </a:lnTo>
                    <a:lnTo>
                      <a:pt x="859" y="670"/>
                    </a:lnTo>
                    <a:lnTo>
                      <a:pt x="859" y="670"/>
                    </a:lnTo>
                    <a:lnTo>
                      <a:pt x="859" y="670"/>
                    </a:lnTo>
                    <a:close/>
                    <a:moveTo>
                      <a:pt x="1237" y="642"/>
                    </a:moveTo>
                    <a:lnTo>
                      <a:pt x="1237" y="638"/>
                    </a:lnTo>
                    <a:lnTo>
                      <a:pt x="1235" y="636"/>
                    </a:lnTo>
                    <a:lnTo>
                      <a:pt x="1237" y="636"/>
                    </a:lnTo>
                    <a:lnTo>
                      <a:pt x="1241" y="633"/>
                    </a:lnTo>
                    <a:lnTo>
                      <a:pt x="1243" y="633"/>
                    </a:lnTo>
                    <a:lnTo>
                      <a:pt x="1243" y="636"/>
                    </a:lnTo>
                    <a:lnTo>
                      <a:pt x="1246" y="636"/>
                    </a:lnTo>
                    <a:lnTo>
                      <a:pt x="1246" y="636"/>
                    </a:lnTo>
                    <a:lnTo>
                      <a:pt x="1246" y="640"/>
                    </a:lnTo>
                    <a:lnTo>
                      <a:pt x="1243" y="640"/>
                    </a:lnTo>
                    <a:lnTo>
                      <a:pt x="1241" y="640"/>
                    </a:lnTo>
                    <a:lnTo>
                      <a:pt x="1239" y="640"/>
                    </a:lnTo>
                    <a:lnTo>
                      <a:pt x="1237" y="642"/>
                    </a:lnTo>
                    <a:lnTo>
                      <a:pt x="1237" y="642"/>
                    </a:lnTo>
                    <a:lnTo>
                      <a:pt x="1237" y="642"/>
                    </a:lnTo>
                    <a:lnTo>
                      <a:pt x="1237" y="642"/>
                    </a:lnTo>
                    <a:lnTo>
                      <a:pt x="1237" y="642"/>
                    </a:lnTo>
                    <a:lnTo>
                      <a:pt x="1237" y="642"/>
                    </a:lnTo>
                    <a:close/>
                    <a:moveTo>
                      <a:pt x="1228" y="968"/>
                    </a:moveTo>
                    <a:lnTo>
                      <a:pt x="1224" y="968"/>
                    </a:lnTo>
                    <a:lnTo>
                      <a:pt x="1222" y="964"/>
                    </a:lnTo>
                    <a:lnTo>
                      <a:pt x="1216" y="964"/>
                    </a:lnTo>
                    <a:lnTo>
                      <a:pt x="1214" y="962"/>
                    </a:lnTo>
                    <a:lnTo>
                      <a:pt x="1211" y="962"/>
                    </a:lnTo>
                    <a:lnTo>
                      <a:pt x="1205" y="957"/>
                    </a:lnTo>
                    <a:lnTo>
                      <a:pt x="1205" y="955"/>
                    </a:lnTo>
                    <a:lnTo>
                      <a:pt x="1201" y="953"/>
                    </a:lnTo>
                    <a:lnTo>
                      <a:pt x="1199" y="955"/>
                    </a:lnTo>
                    <a:lnTo>
                      <a:pt x="1197" y="953"/>
                    </a:lnTo>
                    <a:lnTo>
                      <a:pt x="1197" y="955"/>
                    </a:lnTo>
                    <a:lnTo>
                      <a:pt x="1192" y="951"/>
                    </a:lnTo>
                    <a:lnTo>
                      <a:pt x="1192" y="949"/>
                    </a:lnTo>
                    <a:lnTo>
                      <a:pt x="1188" y="947"/>
                    </a:lnTo>
                    <a:lnTo>
                      <a:pt x="1184" y="947"/>
                    </a:lnTo>
                    <a:lnTo>
                      <a:pt x="1182" y="943"/>
                    </a:lnTo>
                    <a:lnTo>
                      <a:pt x="1182" y="940"/>
                    </a:lnTo>
                    <a:lnTo>
                      <a:pt x="1180" y="940"/>
                    </a:lnTo>
                    <a:lnTo>
                      <a:pt x="1179" y="940"/>
                    </a:lnTo>
                    <a:lnTo>
                      <a:pt x="1177" y="938"/>
                    </a:lnTo>
                    <a:lnTo>
                      <a:pt x="1179" y="934"/>
                    </a:lnTo>
                    <a:lnTo>
                      <a:pt x="1180" y="934"/>
                    </a:lnTo>
                    <a:lnTo>
                      <a:pt x="1177" y="934"/>
                    </a:lnTo>
                    <a:lnTo>
                      <a:pt x="1175" y="934"/>
                    </a:lnTo>
                    <a:lnTo>
                      <a:pt x="1175" y="934"/>
                    </a:lnTo>
                    <a:lnTo>
                      <a:pt x="1173" y="934"/>
                    </a:lnTo>
                    <a:lnTo>
                      <a:pt x="1173" y="932"/>
                    </a:lnTo>
                    <a:lnTo>
                      <a:pt x="1169" y="932"/>
                    </a:lnTo>
                    <a:lnTo>
                      <a:pt x="1164" y="928"/>
                    </a:lnTo>
                    <a:lnTo>
                      <a:pt x="1160" y="928"/>
                    </a:lnTo>
                    <a:lnTo>
                      <a:pt x="1160" y="927"/>
                    </a:lnTo>
                    <a:lnTo>
                      <a:pt x="1156" y="923"/>
                    </a:lnTo>
                    <a:lnTo>
                      <a:pt x="1158" y="921"/>
                    </a:lnTo>
                    <a:lnTo>
                      <a:pt x="1154" y="921"/>
                    </a:lnTo>
                    <a:lnTo>
                      <a:pt x="1152" y="919"/>
                    </a:lnTo>
                    <a:lnTo>
                      <a:pt x="1150" y="915"/>
                    </a:lnTo>
                    <a:lnTo>
                      <a:pt x="1150" y="910"/>
                    </a:lnTo>
                    <a:lnTo>
                      <a:pt x="1147" y="910"/>
                    </a:lnTo>
                    <a:lnTo>
                      <a:pt x="1147" y="910"/>
                    </a:lnTo>
                    <a:lnTo>
                      <a:pt x="1152" y="910"/>
                    </a:lnTo>
                    <a:lnTo>
                      <a:pt x="1160" y="904"/>
                    </a:lnTo>
                    <a:lnTo>
                      <a:pt x="1160" y="902"/>
                    </a:lnTo>
                    <a:lnTo>
                      <a:pt x="1156" y="904"/>
                    </a:lnTo>
                    <a:lnTo>
                      <a:pt x="1152" y="898"/>
                    </a:lnTo>
                    <a:lnTo>
                      <a:pt x="1152" y="895"/>
                    </a:lnTo>
                    <a:lnTo>
                      <a:pt x="1152" y="893"/>
                    </a:lnTo>
                    <a:lnTo>
                      <a:pt x="1150" y="895"/>
                    </a:lnTo>
                    <a:lnTo>
                      <a:pt x="1148" y="898"/>
                    </a:lnTo>
                    <a:lnTo>
                      <a:pt x="1148" y="900"/>
                    </a:lnTo>
                    <a:lnTo>
                      <a:pt x="1145" y="896"/>
                    </a:lnTo>
                    <a:lnTo>
                      <a:pt x="1147" y="895"/>
                    </a:lnTo>
                    <a:lnTo>
                      <a:pt x="1147" y="889"/>
                    </a:lnTo>
                    <a:lnTo>
                      <a:pt x="1145" y="893"/>
                    </a:lnTo>
                    <a:lnTo>
                      <a:pt x="1143" y="891"/>
                    </a:lnTo>
                    <a:lnTo>
                      <a:pt x="1143" y="887"/>
                    </a:lnTo>
                    <a:lnTo>
                      <a:pt x="1143" y="887"/>
                    </a:lnTo>
                    <a:lnTo>
                      <a:pt x="1139" y="883"/>
                    </a:lnTo>
                    <a:lnTo>
                      <a:pt x="1139" y="883"/>
                    </a:lnTo>
                    <a:lnTo>
                      <a:pt x="1139" y="876"/>
                    </a:lnTo>
                    <a:lnTo>
                      <a:pt x="1135" y="876"/>
                    </a:lnTo>
                    <a:lnTo>
                      <a:pt x="1135" y="870"/>
                    </a:lnTo>
                    <a:lnTo>
                      <a:pt x="1139" y="868"/>
                    </a:lnTo>
                    <a:lnTo>
                      <a:pt x="1139" y="866"/>
                    </a:lnTo>
                    <a:lnTo>
                      <a:pt x="1133" y="870"/>
                    </a:lnTo>
                    <a:lnTo>
                      <a:pt x="1133" y="876"/>
                    </a:lnTo>
                    <a:lnTo>
                      <a:pt x="1130" y="874"/>
                    </a:lnTo>
                    <a:lnTo>
                      <a:pt x="1133" y="868"/>
                    </a:lnTo>
                    <a:lnTo>
                      <a:pt x="1130" y="868"/>
                    </a:lnTo>
                    <a:lnTo>
                      <a:pt x="1130" y="868"/>
                    </a:lnTo>
                    <a:lnTo>
                      <a:pt x="1128" y="868"/>
                    </a:lnTo>
                    <a:lnTo>
                      <a:pt x="1126" y="874"/>
                    </a:lnTo>
                    <a:lnTo>
                      <a:pt x="1122" y="876"/>
                    </a:lnTo>
                    <a:lnTo>
                      <a:pt x="1122" y="870"/>
                    </a:lnTo>
                    <a:lnTo>
                      <a:pt x="1126" y="868"/>
                    </a:lnTo>
                    <a:lnTo>
                      <a:pt x="1126" y="864"/>
                    </a:lnTo>
                    <a:lnTo>
                      <a:pt x="1126" y="862"/>
                    </a:lnTo>
                    <a:lnTo>
                      <a:pt x="1122" y="864"/>
                    </a:lnTo>
                    <a:lnTo>
                      <a:pt x="1120" y="866"/>
                    </a:lnTo>
                    <a:lnTo>
                      <a:pt x="1118" y="866"/>
                    </a:lnTo>
                    <a:lnTo>
                      <a:pt x="1115" y="870"/>
                    </a:lnTo>
                    <a:lnTo>
                      <a:pt x="1115" y="870"/>
                    </a:lnTo>
                    <a:lnTo>
                      <a:pt x="1109" y="870"/>
                    </a:lnTo>
                    <a:lnTo>
                      <a:pt x="1109" y="868"/>
                    </a:lnTo>
                    <a:lnTo>
                      <a:pt x="1105" y="868"/>
                    </a:lnTo>
                    <a:lnTo>
                      <a:pt x="1101" y="862"/>
                    </a:lnTo>
                    <a:lnTo>
                      <a:pt x="1101" y="862"/>
                    </a:lnTo>
                    <a:lnTo>
                      <a:pt x="1100" y="864"/>
                    </a:lnTo>
                    <a:lnTo>
                      <a:pt x="1100" y="868"/>
                    </a:lnTo>
                    <a:lnTo>
                      <a:pt x="1098" y="870"/>
                    </a:lnTo>
                    <a:lnTo>
                      <a:pt x="1094" y="870"/>
                    </a:lnTo>
                    <a:lnTo>
                      <a:pt x="1092" y="870"/>
                    </a:lnTo>
                    <a:lnTo>
                      <a:pt x="1088" y="870"/>
                    </a:lnTo>
                    <a:lnTo>
                      <a:pt x="1086" y="870"/>
                    </a:lnTo>
                    <a:lnTo>
                      <a:pt x="1084" y="870"/>
                    </a:lnTo>
                    <a:lnTo>
                      <a:pt x="1081" y="874"/>
                    </a:lnTo>
                    <a:lnTo>
                      <a:pt x="1079" y="870"/>
                    </a:lnTo>
                    <a:lnTo>
                      <a:pt x="1073" y="870"/>
                    </a:lnTo>
                    <a:lnTo>
                      <a:pt x="1075" y="870"/>
                    </a:lnTo>
                    <a:lnTo>
                      <a:pt x="1071" y="864"/>
                    </a:lnTo>
                    <a:lnTo>
                      <a:pt x="1069" y="866"/>
                    </a:lnTo>
                    <a:lnTo>
                      <a:pt x="1066" y="862"/>
                    </a:lnTo>
                    <a:lnTo>
                      <a:pt x="1062" y="855"/>
                    </a:lnTo>
                    <a:lnTo>
                      <a:pt x="1064" y="851"/>
                    </a:lnTo>
                    <a:lnTo>
                      <a:pt x="1068" y="849"/>
                    </a:lnTo>
                    <a:lnTo>
                      <a:pt x="1068" y="846"/>
                    </a:lnTo>
                    <a:lnTo>
                      <a:pt x="1069" y="844"/>
                    </a:lnTo>
                    <a:lnTo>
                      <a:pt x="1073" y="844"/>
                    </a:lnTo>
                    <a:lnTo>
                      <a:pt x="1077" y="840"/>
                    </a:lnTo>
                    <a:lnTo>
                      <a:pt x="1081" y="840"/>
                    </a:lnTo>
                    <a:lnTo>
                      <a:pt x="1081" y="840"/>
                    </a:lnTo>
                    <a:lnTo>
                      <a:pt x="1081" y="838"/>
                    </a:lnTo>
                    <a:lnTo>
                      <a:pt x="1081" y="836"/>
                    </a:lnTo>
                    <a:lnTo>
                      <a:pt x="1081" y="832"/>
                    </a:lnTo>
                    <a:lnTo>
                      <a:pt x="1081" y="832"/>
                    </a:lnTo>
                    <a:lnTo>
                      <a:pt x="1081" y="832"/>
                    </a:lnTo>
                    <a:lnTo>
                      <a:pt x="1084" y="830"/>
                    </a:lnTo>
                    <a:lnTo>
                      <a:pt x="1084" y="829"/>
                    </a:lnTo>
                    <a:lnTo>
                      <a:pt x="1084" y="827"/>
                    </a:lnTo>
                    <a:lnTo>
                      <a:pt x="1086" y="834"/>
                    </a:lnTo>
                    <a:lnTo>
                      <a:pt x="1092" y="834"/>
                    </a:lnTo>
                    <a:lnTo>
                      <a:pt x="1096" y="838"/>
                    </a:lnTo>
                    <a:lnTo>
                      <a:pt x="1098" y="840"/>
                    </a:lnTo>
                    <a:lnTo>
                      <a:pt x="1100" y="840"/>
                    </a:lnTo>
                    <a:lnTo>
                      <a:pt x="1105" y="844"/>
                    </a:lnTo>
                    <a:lnTo>
                      <a:pt x="1105" y="840"/>
                    </a:lnTo>
                    <a:lnTo>
                      <a:pt x="1109" y="840"/>
                    </a:lnTo>
                    <a:lnTo>
                      <a:pt x="1109" y="844"/>
                    </a:lnTo>
                    <a:lnTo>
                      <a:pt x="1115" y="844"/>
                    </a:lnTo>
                    <a:lnTo>
                      <a:pt x="1118" y="844"/>
                    </a:lnTo>
                    <a:lnTo>
                      <a:pt x="1118" y="840"/>
                    </a:lnTo>
                    <a:lnTo>
                      <a:pt x="1120" y="838"/>
                    </a:lnTo>
                    <a:lnTo>
                      <a:pt x="1126" y="838"/>
                    </a:lnTo>
                    <a:lnTo>
                      <a:pt x="1126" y="838"/>
                    </a:lnTo>
                    <a:lnTo>
                      <a:pt x="1124" y="840"/>
                    </a:lnTo>
                    <a:lnTo>
                      <a:pt x="1128" y="840"/>
                    </a:lnTo>
                    <a:lnTo>
                      <a:pt x="1130" y="838"/>
                    </a:lnTo>
                    <a:lnTo>
                      <a:pt x="1133" y="836"/>
                    </a:lnTo>
                    <a:lnTo>
                      <a:pt x="1135" y="832"/>
                    </a:lnTo>
                    <a:lnTo>
                      <a:pt x="1139" y="836"/>
                    </a:lnTo>
                    <a:lnTo>
                      <a:pt x="1139" y="840"/>
                    </a:lnTo>
                    <a:lnTo>
                      <a:pt x="1139" y="844"/>
                    </a:lnTo>
                    <a:lnTo>
                      <a:pt x="1139" y="840"/>
                    </a:lnTo>
                    <a:lnTo>
                      <a:pt x="1143" y="838"/>
                    </a:lnTo>
                    <a:lnTo>
                      <a:pt x="1143" y="840"/>
                    </a:lnTo>
                    <a:lnTo>
                      <a:pt x="1145" y="838"/>
                    </a:lnTo>
                    <a:lnTo>
                      <a:pt x="1143" y="829"/>
                    </a:lnTo>
                    <a:lnTo>
                      <a:pt x="1139" y="823"/>
                    </a:lnTo>
                    <a:lnTo>
                      <a:pt x="1139" y="819"/>
                    </a:lnTo>
                    <a:lnTo>
                      <a:pt x="1139" y="815"/>
                    </a:lnTo>
                    <a:lnTo>
                      <a:pt x="1139" y="814"/>
                    </a:lnTo>
                    <a:lnTo>
                      <a:pt x="1139" y="812"/>
                    </a:lnTo>
                    <a:lnTo>
                      <a:pt x="1143" y="812"/>
                    </a:lnTo>
                    <a:lnTo>
                      <a:pt x="1147" y="806"/>
                    </a:lnTo>
                    <a:lnTo>
                      <a:pt x="1154" y="802"/>
                    </a:lnTo>
                    <a:lnTo>
                      <a:pt x="1158" y="800"/>
                    </a:lnTo>
                    <a:lnTo>
                      <a:pt x="1160" y="797"/>
                    </a:lnTo>
                    <a:lnTo>
                      <a:pt x="1164" y="797"/>
                    </a:lnTo>
                    <a:lnTo>
                      <a:pt x="1164" y="798"/>
                    </a:lnTo>
                    <a:lnTo>
                      <a:pt x="1167" y="797"/>
                    </a:lnTo>
                    <a:lnTo>
                      <a:pt x="1169" y="797"/>
                    </a:lnTo>
                    <a:lnTo>
                      <a:pt x="1164" y="795"/>
                    </a:lnTo>
                    <a:lnTo>
                      <a:pt x="1164" y="791"/>
                    </a:lnTo>
                    <a:lnTo>
                      <a:pt x="1173" y="785"/>
                    </a:lnTo>
                    <a:lnTo>
                      <a:pt x="1173" y="785"/>
                    </a:lnTo>
                    <a:lnTo>
                      <a:pt x="1173" y="781"/>
                    </a:lnTo>
                    <a:lnTo>
                      <a:pt x="1179" y="785"/>
                    </a:lnTo>
                    <a:lnTo>
                      <a:pt x="1184" y="781"/>
                    </a:lnTo>
                    <a:lnTo>
                      <a:pt x="1184" y="780"/>
                    </a:lnTo>
                    <a:lnTo>
                      <a:pt x="1184" y="776"/>
                    </a:lnTo>
                    <a:lnTo>
                      <a:pt x="1184" y="774"/>
                    </a:lnTo>
                    <a:lnTo>
                      <a:pt x="1184" y="766"/>
                    </a:lnTo>
                    <a:lnTo>
                      <a:pt x="1184" y="765"/>
                    </a:lnTo>
                    <a:lnTo>
                      <a:pt x="1184" y="765"/>
                    </a:lnTo>
                    <a:lnTo>
                      <a:pt x="1184" y="761"/>
                    </a:lnTo>
                    <a:lnTo>
                      <a:pt x="1188" y="757"/>
                    </a:lnTo>
                    <a:lnTo>
                      <a:pt x="1188" y="755"/>
                    </a:lnTo>
                    <a:lnTo>
                      <a:pt x="1184" y="755"/>
                    </a:lnTo>
                    <a:lnTo>
                      <a:pt x="1184" y="751"/>
                    </a:lnTo>
                    <a:lnTo>
                      <a:pt x="1188" y="748"/>
                    </a:lnTo>
                    <a:lnTo>
                      <a:pt x="1188" y="748"/>
                    </a:lnTo>
                    <a:lnTo>
                      <a:pt x="1188" y="744"/>
                    </a:lnTo>
                    <a:lnTo>
                      <a:pt x="1192" y="740"/>
                    </a:lnTo>
                    <a:lnTo>
                      <a:pt x="1192" y="738"/>
                    </a:lnTo>
                    <a:lnTo>
                      <a:pt x="1188" y="738"/>
                    </a:lnTo>
                    <a:lnTo>
                      <a:pt x="1188" y="742"/>
                    </a:lnTo>
                    <a:lnTo>
                      <a:pt x="1188" y="744"/>
                    </a:lnTo>
                    <a:lnTo>
                      <a:pt x="1184" y="744"/>
                    </a:lnTo>
                    <a:lnTo>
                      <a:pt x="1184" y="742"/>
                    </a:lnTo>
                    <a:lnTo>
                      <a:pt x="1184" y="738"/>
                    </a:lnTo>
                    <a:lnTo>
                      <a:pt x="1184" y="736"/>
                    </a:lnTo>
                    <a:lnTo>
                      <a:pt x="1177" y="736"/>
                    </a:lnTo>
                    <a:lnTo>
                      <a:pt x="1175" y="734"/>
                    </a:lnTo>
                    <a:lnTo>
                      <a:pt x="1175" y="733"/>
                    </a:lnTo>
                    <a:lnTo>
                      <a:pt x="1180" y="731"/>
                    </a:lnTo>
                    <a:lnTo>
                      <a:pt x="1180" y="731"/>
                    </a:lnTo>
                    <a:lnTo>
                      <a:pt x="1177" y="727"/>
                    </a:lnTo>
                    <a:lnTo>
                      <a:pt x="1179" y="725"/>
                    </a:lnTo>
                    <a:lnTo>
                      <a:pt x="1179" y="721"/>
                    </a:lnTo>
                    <a:lnTo>
                      <a:pt x="1175" y="719"/>
                    </a:lnTo>
                    <a:lnTo>
                      <a:pt x="1173" y="719"/>
                    </a:lnTo>
                    <a:lnTo>
                      <a:pt x="1173" y="721"/>
                    </a:lnTo>
                    <a:lnTo>
                      <a:pt x="1175" y="725"/>
                    </a:lnTo>
                    <a:lnTo>
                      <a:pt x="1173" y="727"/>
                    </a:lnTo>
                    <a:lnTo>
                      <a:pt x="1169" y="727"/>
                    </a:lnTo>
                    <a:lnTo>
                      <a:pt x="1167" y="725"/>
                    </a:lnTo>
                    <a:lnTo>
                      <a:pt x="1167" y="725"/>
                    </a:lnTo>
                    <a:lnTo>
                      <a:pt x="1167" y="719"/>
                    </a:lnTo>
                    <a:lnTo>
                      <a:pt x="1167" y="716"/>
                    </a:lnTo>
                    <a:lnTo>
                      <a:pt x="1167" y="714"/>
                    </a:lnTo>
                    <a:lnTo>
                      <a:pt x="1164" y="714"/>
                    </a:lnTo>
                    <a:lnTo>
                      <a:pt x="1164" y="714"/>
                    </a:lnTo>
                    <a:lnTo>
                      <a:pt x="1167" y="712"/>
                    </a:lnTo>
                    <a:lnTo>
                      <a:pt x="1167" y="710"/>
                    </a:lnTo>
                    <a:lnTo>
                      <a:pt x="1167" y="710"/>
                    </a:lnTo>
                    <a:lnTo>
                      <a:pt x="1167" y="708"/>
                    </a:lnTo>
                    <a:lnTo>
                      <a:pt x="1169" y="706"/>
                    </a:lnTo>
                    <a:lnTo>
                      <a:pt x="1169" y="704"/>
                    </a:lnTo>
                    <a:lnTo>
                      <a:pt x="1167" y="702"/>
                    </a:lnTo>
                    <a:lnTo>
                      <a:pt x="1164" y="706"/>
                    </a:lnTo>
                    <a:lnTo>
                      <a:pt x="1164" y="710"/>
                    </a:lnTo>
                    <a:lnTo>
                      <a:pt x="1160" y="712"/>
                    </a:lnTo>
                    <a:lnTo>
                      <a:pt x="1160" y="710"/>
                    </a:lnTo>
                    <a:lnTo>
                      <a:pt x="1160" y="706"/>
                    </a:lnTo>
                    <a:lnTo>
                      <a:pt x="1158" y="708"/>
                    </a:lnTo>
                    <a:lnTo>
                      <a:pt x="1156" y="710"/>
                    </a:lnTo>
                    <a:lnTo>
                      <a:pt x="1152" y="710"/>
                    </a:lnTo>
                    <a:lnTo>
                      <a:pt x="1150" y="712"/>
                    </a:lnTo>
                    <a:lnTo>
                      <a:pt x="1147" y="712"/>
                    </a:lnTo>
                    <a:lnTo>
                      <a:pt x="1143" y="714"/>
                    </a:lnTo>
                    <a:lnTo>
                      <a:pt x="1143" y="716"/>
                    </a:lnTo>
                    <a:lnTo>
                      <a:pt x="1143" y="716"/>
                    </a:lnTo>
                    <a:lnTo>
                      <a:pt x="1143" y="712"/>
                    </a:lnTo>
                    <a:lnTo>
                      <a:pt x="1143" y="710"/>
                    </a:lnTo>
                    <a:lnTo>
                      <a:pt x="1143" y="708"/>
                    </a:lnTo>
                    <a:lnTo>
                      <a:pt x="1143" y="708"/>
                    </a:lnTo>
                    <a:lnTo>
                      <a:pt x="1143" y="704"/>
                    </a:lnTo>
                    <a:lnTo>
                      <a:pt x="1145" y="702"/>
                    </a:lnTo>
                    <a:lnTo>
                      <a:pt x="1148" y="704"/>
                    </a:lnTo>
                    <a:lnTo>
                      <a:pt x="1150" y="704"/>
                    </a:lnTo>
                    <a:lnTo>
                      <a:pt x="1152" y="704"/>
                    </a:lnTo>
                    <a:lnTo>
                      <a:pt x="1154" y="704"/>
                    </a:lnTo>
                    <a:lnTo>
                      <a:pt x="1158" y="701"/>
                    </a:lnTo>
                    <a:lnTo>
                      <a:pt x="1158" y="697"/>
                    </a:lnTo>
                    <a:lnTo>
                      <a:pt x="1158" y="697"/>
                    </a:lnTo>
                    <a:lnTo>
                      <a:pt x="1154" y="695"/>
                    </a:lnTo>
                    <a:lnTo>
                      <a:pt x="1150" y="693"/>
                    </a:lnTo>
                    <a:lnTo>
                      <a:pt x="1150" y="691"/>
                    </a:lnTo>
                    <a:lnTo>
                      <a:pt x="1148" y="687"/>
                    </a:lnTo>
                    <a:lnTo>
                      <a:pt x="1148" y="687"/>
                    </a:lnTo>
                    <a:lnTo>
                      <a:pt x="1148" y="684"/>
                    </a:lnTo>
                    <a:lnTo>
                      <a:pt x="1145" y="684"/>
                    </a:lnTo>
                    <a:lnTo>
                      <a:pt x="1145" y="684"/>
                    </a:lnTo>
                    <a:lnTo>
                      <a:pt x="1143" y="682"/>
                    </a:lnTo>
                    <a:lnTo>
                      <a:pt x="1143" y="680"/>
                    </a:lnTo>
                    <a:lnTo>
                      <a:pt x="1145" y="678"/>
                    </a:lnTo>
                    <a:lnTo>
                      <a:pt x="1145" y="680"/>
                    </a:lnTo>
                    <a:lnTo>
                      <a:pt x="1147" y="678"/>
                    </a:lnTo>
                    <a:lnTo>
                      <a:pt x="1147" y="676"/>
                    </a:lnTo>
                    <a:lnTo>
                      <a:pt x="1150" y="676"/>
                    </a:lnTo>
                    <a:lnTo>
                      <a:pt x="1147" y="676"/>
                    </a:lnTo>
                    <a:lnTo>
                      <a:pt x="1143" y="670"/>
                    </a:lnTo>
                    <a:lnTo>
                      <a:pt x="1143" y="670"/>
                    </a:lnTo>
                    <a:lnTo>
                      <a:pt x="1143" y="670"/>
                    </a:lnTo>
                    <a:lnTo>
                      <a:pt x="1139" y="670"/>
                    </a:lnTo>
                    <a:lnTo>
                      <a:pt x="1135" y="672"/>
                    </a:lnTo>
                    <a:lnTo>
                      <a:pt x="1135" y="672"/>
                    </a:lnTo>
                    <a:lnTo>
                      <a:pt x="1135" y="670"/>
                    </a:lnTo>
                    <a:lnTo>
                      <a:pt x="1139" y="667"/>
                    </a:lnTo>
                    <a:lnTo>
                      <a:pt x="1143" y="661"/>
                    </a:lnTo>
                    <a:lnTo>
                      <a:pt x="1143" y="659"/>
                    </a:lnTo>
                    <a:lnTo>
                      <a:pt x="1143" y="655"/>
                    </a:lnTo>
                    <a:lnTo>
                      <a:pt x="1143" y="652"/>
                    </a:lnTo>
                    <a:lnTo>
                      <a:pt x="1145" y="648"/>
                    </a:lnTo>
                    <a:lnTo>
                      <a:pt x="1143" y="646"/>
                    </a:lnTo>
                    <a:lnTo>
                      <a:pt x="1139" y="648"/>
                    </a:lnTo>
                    <a:lnTo>
                      <a:pt x="1139" y="648"/>
                    </a:lnTo>
                    <a:lnTo>
                      <a:pt x="1139" y="648"/>
                    </a:lnTo>
                    <a:lnTo>
                      <a:pt x="1135" y="650"/>
                    </a:lnTo>
                    <a:lnTo>
                      <a:pt x="1135" y="650"/>
                    </a:lnTo>
                    <a:lnTo>
                      <a:pt x="1130" y="646"/>
                    </a:lnTo>
                    <a:lnTo>
                      <a:pt x="1130" y="642"/>
                    </a:lnTo>
                    <a:lnTo>
                      <a:pt x="1130" y="638"/>
                    </a:lnTo>
                    <a:lnTo>
                      <a:pt x="1128" y="638"/>
                    </a:lnTo>
                    <a:lnTo>
                      <a:pt x="1128" y="636"/>
                    </a:lnTo>
                    <a:lnTo>
                      <a:pt x="1130" y="633"/>
                    </a:lnTo>
                    <a:lnTo>
                      <a:pt x="1130" y="633"/>
                    </a:lnTo>
                    <a:lnTo>
                      <a:pt x="1130" y="631"/>
                    </a:lnTo>
                    <a:lnTo>
                      <a:pt x="1130" y="627"/>
                    </a:lnTo>
                    <a:lnTo>
                      <a:pt x="1130" y="627"/>
                    </a:lnTo>
                    <a:lnTo>
                      <a:pt x="1126" y="629"/>
                    </a:lnTo>
                    <a:lnTo>
                      <a:pt x="1126" y="633"/>
                    </a:lnTo>
                    <a:lnTo>
                      <a:pt x="1124" y="636"/>
                    </a:lnTo>
                    <a:lnTo>
                      <a:pt x="1124" y="633"/>
                    </a:lnTo>
                    <a:lnTo>
                      <a:pt x="1122" y="633"/>
                    </a:lnTo>
                    <a:lnTo>
                      <a:pt x="1120" y="633"/>
                    </a:lnTo>
                    <a:lnTo>
                      <a:pt x="1120" y="636"/>
                    </a:lnTo>
                    <a:lnTo>
                      <a:pt x="1118" y="636"/>
                    </a:lnTo>
                    <a:lnTo>
                      <a:pt x="1118" y="638"/>
                    </a:lnTo>
                    <a:lnTo>
                      <a:pt x="1120" y="646"/>
                    </a:lnTo>
                    <a:lnTo>
                      <a:pt x="1124" y="642"/>
                    </a:lnTo>
                    <a:lnTo>
                      <a:pt x="1126" y="650"/>
                    </a:lnTo>
                    <a:lnTo>
                      <a:pt x="1128" y="652"/>
                    </a:lnTo>
                    <a:lnTo>
                      <a:pt x="1128" y="655"/>
                    </a:lnTo>
                    <a:lnTo>
                      <a:pt x="1126" y="659"/>
                    </a:lnTo>
                    <a:lnTo>
                      <a:pt x="1124" y="663"/>
                    </a:lnTo>
                    <a:lnTo>
                      <a:pt x="1122" y="663"/>
                    </a:lnTo>
                    <a:lnTo>
                      <a:pt x="1115" y="663"/>
                    </a:lnTo>
                    <a:lnTo>
                      <a:pt x="1111" y="663"/>
                    </a:lnTo>
                    <a:lnTo>
                      <a:pt x="1109" y="663"/>
                    </a:lnTo>
                    <a:lnTo>
                      <a:pt x="1105" y="661"/>
                    </a:lnTo>
                    <a:lnTo>
                      <a:pt x="1105" y="661"/>
                    </a:lnTo>
                    <a:lnTo>
                      <a:pt x="1105" y="657"/>
                    </a:lnTo>
                    <a:lnTo>
                      <a:pt x="1101" y="657"/>
                    </a:lnTo>
                    <a:lnTo>
                      <a:pt x="1094" y="653"/>
                    </a:lnTo>
                    <a:lnTo>
                      <a:pt x="1088" y="653"/>
                    </a:lnTo>
                    <a:lnTo>
                      <a:pt x="1092" y="659"/>
                    </a:lnTo>
                    <a:lnTo>
                      <a:pt x="1094" y="663"/>
                    </a:lnTo>
                    <a:lnTo>
                      <a:pt x="1092" y="663"/>
                    </a:lnTo>
                    <a:lnTo>
                      <a:pt x="1090" y="663"/>
                    </a:lnTo>
                    <a:lnTo>
                      <a:pt x="1088" y="661"/>
                    </a:lnTo>
                    <a:lnTo>
                      <a:pt x="1084" y="657"/>
                    </a:lnTo>
                    <a:lnTo>
                      <a:pt x="1084" y="657"/>
                    </a:lnTo>
                    <a:lnTo>
                      <a:pt x="1084" y="653"/>
                    </a:lnTo>
                    <a:lnTo>
                      <a:pt x="1081" y="650"/>
                    </a:lnTo>
                    <a:lnTo>
                      <a:pt x="1077" y="646"/>
                    </a:lnTo>
                    <a:lnTo>
                      <a:pt x="1077" y="646"/>
                    </a:lnTo>
                    <a:lnTo>
                      <a:pt x="1073" y="646"/>
                    </a:lnTo>
                    <a:lnTo>
                      <a:pt x="1071" y="640"/>
                    </a:lnTo>
                    <a:lnTo>
                      <a:pt x="1068" y="638"/>
                    </a:lnTo>
                    <a:lnTo>
                      <a:pt x="1068" y="638"/>
                    </a:lnTo>
                    <a:lnTo>
                      <a:pt x="1064" y="636"/>
                    </a:lnTo>
                    <a:lnTo>
                      <a:pt x="1066" y="638"/>
                    </a:lnTo>
                    <a:lnTo>
                      <a:pt x="1073" y="646"/>
                    </a:lnTo>
                    <a:lnTo>
                      <a:pt x="1073" y="648"/>
                    </a:lnTo>
                    <a:lnTo>
                      <a:pt x="1077" y="652"/>
                    </a:lnTo>
                    <a:lnTo>
                      <a:pt x="1079" y="653"/>
                    </a:lnTo>
                    <a:lnTo>
                      <a:pt x="1081" y="655"/>
                    </a:lnTo>
                    <a:lnTo>
                      <a:pt x="1079" y="659"/>
                    </a:lnTo>
                    <a:lnTo>
                      <a:pt x="1077" y="657"/>
                    </a:lnTo>
                    <a:lnTo>
                      <a:pt x="1075" y="659"/>
                    </a:lnTo>
                    <a:lnTo>
                      <a:pt x="1069" y="655"/>
                    </a:lnTo>
                    <a:lnTo>
                      <a:pt x="1068" y="655"/>
                    </a:lnTo>
                    <a:lnTo>
                      <a:pt x="1066" y="653"/>
                    </a:lnTo>
                    <a:lnTo>
                      <a:pt x="1062" y="652"/>
                    </a:lnTo>
                    <a:lnTo>
                      <a:pt x="1062" y="648"/>
                    </a:lnTo>
                    <a:lnTo>
                      <a:pt x="1056" y="650"/>
                    </a:lnTo>
                    <a:lnTo>
                      <a:pt x="1051" y="652"/>
                    </a:lnTo>
                    <a:lnTo>
                      <a:pt x="1051" y="650"/>
                    </a:lnTo>
                    <a:lnTo>
                      <a:pt x="1047" y="648"/>
                    </a:lnTo>
                    <a:lnTo>
                      <a:pt x="1043" y="648"/>
                    </a:lnTo>
                    <a:lnTo>
                      <a:pt x="1041" y="646"/>
                    </a:lnTo>
                    <a:lnTo>
                      <a:pt x="1036" y="642"/>
                    </a:lnTo>
                    <a:lnTo>
                      <a:pt x="1036" y="640"/>
                    </a:lnTo>
                    <a:lnTo>
                      <a:pt x="1041" y="636"/>
                    </a:lnTo>
                    <a:lnTo>
                      <a:pt x="1043" y="636"/>
                    </a:lnTo>
                    <a:lnTo>
                      <a:pt x="1043" y="633"/>
                    </a:lnTo>
                    <a:lnTo>
                      <a:pt x="1041" y="633"/>
                    </a:lnTo>
                    <a:lnTo>
                      <a:pt x="1037" y="636"/>
                    </a:lnTo>
                    <a:lnTo>
                      <a:pt x="1036" y="638"/>
                    </a:lnTo>
                    <a:lnTo>
                      <a:pt x="1034" y="640"/>
                    </a:lnTo>
                    <a:lnTo>
                      <a:pt x="1030" y="636"/>
                    </a:lnTo>
                    <a:lnTo>
                      <a:pt x="1026" y="636"/>
                    </a:lnTo>
                    <a:lnTo>
                      <a:pt x="1026" y="636"/>
                    </a:lnTo>
                    <a:lnTo>
                      <a:pt x="1030" y="640"/>
                    </a:lnTo>
                    <a:lnTo>
                      <a:pt x="1026" y="640"/>
                    </a:lnTo>
                    <a:lnTo>
                      <a:pt x="1022" y="640"/>
                    </a:lnTo>
                    <a:lnTo>
                      <a:pt x="1019" y="636"/>
                    </a:lnTo>
                    <a:lnTo>
                      <a:pt x="1017" y="633"/>
                    </a:lnTo>
                    <a:lnTo>
                      <a:pt x="1013" y="631"/>
                    </a:lnTo>
                    <a:lnTo>
                      <a:pt x="1015" y="627"/>
                    </a:lnTo>
                    <a:lnTo>
                      <a:pt x="1020" y="623"/>
                    </a:lnTo>
                    <a:lnTo>
                      <a:pt x="1022" y="621"/>
                    </a:lnTo>
                    <a:lnTo>
                      <a:pt x="1020" y="621"/>
                    </a:lnTo>
                    <a:lnTo>
                      <a:pt x="1019" y="623"/>
                    </a:lnTo>
                    <a:lnTo>
                      <a:pt x="1013" y="623"/>
                    </a:lnTo>
                    <a:lnTo>
                      <a:pt x="1011" y="627"/>
                    </a:lnTo>
                    <a:lnTo>
                      <a:pt x="1009" y="629"/>
                    </a:lnTo>
                    <a:lnTo>
                      <a:pt x="1009" y="625"/>
                    </a:lnTo>
                    <a:lnTo>
                      <a:pt x="1009" y="621"/>
                    </a:lnTo>
                    <a:lnTo>
                      <a:pt x="1009" y="621"/>
                    </a:lnTo>
                    <a:lnTo>
                      <a:pt x="1007" y="621"/>
                    </a:lnTo>
                    <a:lnTo>
                      <a:pt x="1005" y="623"/>
                    </a:lnTo>
                    <a:lnTo>
                      <a:pt x="1007" y="625"/>
                    </a:lnTo>
                    <a:lnTo>
                      <a:pt x="1005" y="627"/>
                    </a:lnTo>
                    <a:lnTo>
                      <a:pt x="1005" y="627"/>
                    </a:lnTo>
                    <a:lnTo>
                      <a:pt x="1002" y="625"/>
                    </a:lnTo>
                    <a:lnTo>
                      <a:pt x="998" y="623"/>
                    </a:lnTo>
                    <a:lnTo>
                      <a:pt x="996" y="625"/>
                    </a:lnTo>
                    <a:lnTo>
                      <a:pt x="996" y="627"/>
                    </a:lnTo>
                    <a:lnTo>
                      <a:pt x="992" y="627"/>
                    </a:lnTo>
                    <a:lnTo>
                      <a:pt x="992" y="623"/>
                    </a:lnTo>
                    <a:lnTo>
                      <a:pt x="990" y="621"/>
                    </a:lnTo>
                    <a:lnTo>
                      <a:pt x="992" y="621"/>
                    </a:lnTo>
                    <a:lnTo>
                      <a:pt x="992" y="621"/>
                    </a:lnTo>
                    <a:lnTo>
                      <a:pt x="992" y="621"/>
                    </a:lnTo>
                    <a:lnTo>
                      <a:pt x="990" y="618"/>
                    </a:lnTo>
                    <a:lnTo>
                      <a:pt x="985" y="614"/>
                    </a:lnTo>
                    <a:lnTo>
                      <a:pt x="985" y="612"/>
                    </a:lnTo>
                    <a:lnTo>
                      <a:pt x="985" y="606"/>
                    </a:lnTo>
                    <a:lnTo>
                      <a:pt x="985" y="603"/>
                    </a:lnTo>
                    <a:lnTo>
                      <a:pt x="983" y="599"/>
                    </a:lnTo>
                    <a:lnTo>
                      <a:pt x="985" y="595"/>
                    </a:lnTo>
                    <a:lnTo>
                      <a:pt x="987" y="595"/>
                    </a:lnTo>
                    <a:lnTo>
                      <a:pt x="987" y="593"/>
                    </a:lnTo>
                    <a:lnTo>
                      <a:pt x="985" y="589"/>
                    </a:lnTo>
                    <a:lnTo>
                      <a:pt x="985" y="587"/>
                    </a:lnTo>
                    <a:lnTo>
                      <a:pt x="988" y="587"/>
                    </a:lnTo>
                    <a:lnTo>
                      <a:pt x="990" y="589"/>
                    </a:lnTo>
                    <a:lnTo>
                      <a:pt x="998" y="589"/>
                    </a:lnTo>
                    <a:lnTo>
                      <a:pt x="998" y="593"/>
                    </a:lnTo>
                    <a:lnTo>
                      <a:pt x="1002" y="597"/>
                    </a:lnTo>
                    <a:lnTo>
                      <a:pt x="1007" y="599"/>
                    </a:lnTo>
                    <a:lnTo>
                      <a:pt x="1013" y="599"/>
                    </a:lnTo>
                    <a:lnTo>
                      <a:pt x="1015" y="599"/>
                    </a:lnTo>
                    <a:lnTo>
                      <a:pt x="1020" y="599"/>
                    </a:lnTo>
                    <a:lnTo>
                      <a:pt x="1019" y="597"/>
                    </a:lnTo>
                    <a:lnTo>
                      <a:pt x="1017" y="593"/>
                    </a:lnTo>
                    <a:lnTo>
                      <a:pt x="1013" y="591"/>
                    </a:lnTo>
                    <a:lnTo>
                      <a:pt x="1011" y="586"/>
                    </a:lnTo>
                    <a:lnTo>
                      <a:pt x="1007" y="586"/>
                    </a:lnTo>
                    <a:lnTo>
                      <a:pt x="1002" y="582"/>
                    </a:lnTo>
                    <a:lnTo>
                      <a:pt x="1002" y="582"/>
                    </a:lnTo>
                    <a:lnTo>
                      <a:pt x="996" y="582"/>
                    </a:lnTo>
                    <a:lnTo>
                      <a:pt x="992" y="582"/>
                    </a:lnTo>
                    <a:lnTo>
                      <a:pt x="987" y="578"/>
                    </a:lnTo>
                    <a:lnTo>
                      <a:pt x="985" y="572"/>
                    </a:lnTo>
                    <a:lnTo>
                      <a:pt x="985" y="567"/>
                    </a:lnTo>
                    <a:lnTo>
                      <a:pt x="988" y="565"/>
                    </a:lnTo>
                    <a:lnTo>
                      <a:pt x="988" y="563"/>
                    </a:lnTo>
                    <a:lnTo>
                      <a:pt x="990" y="557"/>
                    </a:lnTo>
                    <a:lnTo>
                      <a:pt x="992" y="557"/>
                    </a:lnTo>
                    <a:lnTo>
                      <a:pt x="992" y="554"/>
                    </a:lnTo>
                    <a:lnTo>
                      <a:pt x="992" y="548"/>
                    </a:lnTo>
                    <a:lnTo>
                      <a:pt x="996" y="544"/>
                    </a:lnTo>
                    <a:lnTo>
                      <a:pt x="998" y="544"/>
                    </a:lnTo>
                    <a:lnTo>
                      <a:pt x="998" y="542"/>
                    </a:lnTo>
                    <a:lnTo>
                      <a:pt x="1005" y="539"/>
                    </a:lnTo>
                    <a:lnTo>
                      <a:pt x="1005" y="539"/>
                    </a:lnTo>
                    <a:lnTo>
                      <a:pt x="1007" y="537"/>
                    </a:lnTo>
                    <a:lnTo>
                      <a:pt x="1005" y="537"/>
                    </a:lnTo>
                    <a:lnTo>
                      <a:pt x="1005" y="537"/>
                    </a:lnTo>
                    <a:lnTo>
                      <a:pt x="1005" y="535"/>
                    </a:lnTo>
                    <a:lnTo>
                      <a:pt x="1007" y="527"/>
                    </a:lnTo>
                    <a:lnTo>
                      <a:pt x="1011" y="522"/>
                    </a:lnTo>
                    <a:lnTo>
                      <a:pt x="1011" y="522"/>
                    </a:lnTo>
                    <a:lnTo>
                      <a:pt x="1015" y="518"/>
                    </a:lnTo>
                    <a:lnTo>
                      <a:pt x="1019" y="518"/>
                    </a:lnTo>
                    <a:lnTo>
                      <a:pt x="1019" y="518"/>
                    </a:lnTo>
                    <a:lnTo>
                      <a:pt x="1020" y="514"/>
                    </a:lnTo>
                    <a:lnTo>
                      <a:pt x="1022" y="514"/>
                    </a:lnTo>
                    <a:lnTo>
                      <a:pt x="1024" y="514"/>
                    </a:lnTo>
                    <a:lnTo>
                      <a:pt x="1026" y="514"/>
                    </a:lnTo>
                    <a:lnTo>
                      <a:pt x="1024" y="512"/>
                    </a:lnTo>
                    <a:lnTo>
                      <a:pt x="1030" y="505"/>
                    </a:lnTo>
                    <a:lnTo>
                      <a:pt x="1030" y="505"/>
                    </a:lnTo>
                    <a:lnTo>
                      <a:pt x="1030" y="501"/>
                    </a:lnTo>
                    <a:lnTo>
                      <a:pt x="1034" y="497"/>
                    </a:lnTo>
                    <a:lnTo>
                      <a:pt x="1037" y="497"/>
                    </a:lnTo>
                    <a:lnTo>
                      <a:pt x="1039" y="493"/>
                    </a:lnTo>
                    <a:lnTo>
                      <a:pt x="1043" y="493"/>
                    </a:lnTo>
                    <a:lnTo>
                      <a:pt x="1045" y="493"/>
                    </a:lnTo>
                    <a:lnTo>
                      <a:pt x="1045" y="493"/>
                    </a:lnTo>
                    <a:lnTo>
                      <a:pt x="1045" y="488"/>
                    </a:lnTo>
                    <a:lnTo>
                      <a:pt x="1051" y="484"/>
                    </a:lnTo>
                    <a:lnTo>
                      <a:pt x="1056" y="480"/>
                    </a:lnTo>
                    <a:lnTo>
                      <a:pt x="1068" y="476"/>
                    </a:lnTo>
                    <a:lnTo>
                      <a:pt x="1075" y="476"/>
                    </a:lnTo>
                    <a:lnTo>
                      <a:pt x="1077" y="474"/>
                    </a:lnTo>
                    <a:lnTo>
                      <a:pt x="1081" y="476"/>
                    </a:lnTo>
                    <a:lnTo>
                      <a:pt x="1084" y="474"/>
                    </a:lnTo>
                    <a:lnTo>
                      <a:pt x="1086" y="476"/>
                    </a:lnTo>
                    <a:lnTo>
                      <a:pt x="1092" y="476"/>
                    </a:lnTo>
                    <a:lnTo>
                      <a:pt x="1096" y="478"/>
                    </a:lnTo>
                    <a:lnTo>
                      <a:pt x="1105" y="482"/>
                    </a:lnTo>
                    <a:lnTo>
                      <a:pt x="1105" y="484"/>
                    </a:lnTo>
                    <a:lnTo>
                      <a:pt x="1103" y="488"/>
                    </a:lnTo>
                    <a:lnTo>
                      <a:pt x="1100" y="488"/>
                    </a:lnTo>
                    <a:lnTo>
                      <a:pt x="1092" y="493"/>
                    </a:lnTo>
                    <a:lnTo>
                      <a:pt x="1088" y="493"/>
                    </a:lnTo>
                    <a:lnTo>
                      <a:pt x="1086" y="493"/>
                    </a:lnTo>
                    <a:lnTo>
                      <a:pt x="1084" y="497"/>
                    </a:lnTo>
                    <a:lnTo>
                      <a:pt x="1081" y="499"/>
                    </a:lnTo>
                    <a:lnTo>
                      <a:pt x="1075" y="506"/>
                    </a:lnTo>
                    <a:lnTo>
                      <a:pt x="1068" y="514"/>
                    </a:lnTo>
                    <a:lnTo>
                      <a:pt x="1062" y="518"/>
                    </a:lnTo>
                    <a:lnTo>
                      <a:pt x="1060" y="518"/>
                    </a:lnTo>
                    <a:lnTo>
                      <a:pt x="1056" y="525"/>
                    </a:lnTo>
                    <a:lnTo>
                      <a:pt x="1056" y="529"/>
                    </a:lnTo>
                    <a:lnTo>
                      <a:pt x="1056" y="533"/>
                    </a:lnTo>
                    <a:lnTo>
                      <a:pt x="1060" y="537"/>
                    </a:lnTo>
                    <a:lnTo>
                      <a:pt x="1060" y="539"/>
                    </a:lnTo>
                    <a:lnTo>
                      <a:pt x="1056" y="542"/>
                    </a:lnTo>
                    <a:lnTo>
                      <a:pt x="1054" y="544"/>
                    </a:lnTo>
                    <a:lnTo>
                      <a:pt x="1051" y="548"/>
                    </a:lnTo>
                    <a:lnTo>
                      <a:pt x="1051" y="552"/>
                    </a:lnTo>
                    <a:lnTo>
                      <a:pt x="1049" y="555"/>
                    </a:lnTo>
                    <a:lnTo>
                      <a:pt x="1047" y="557"/>
                    </a:lnTo>
                    <a:lnTo>
                      <a:pt x="1045" y="561"/>
                    </a:lnTo>
                    <a:lnTo>
                      <a:pt x="1047" y="565"/>
                    </a:lnTo>
                    <a:lnTo>
                      <a:pt x="1049" y="569"/>
                    </a:lnTo>
                    <a:lnTo>
                      <a:pt x="1051" y="572"/>
                    </a:lnTo>
                    <a:lnTo>
                      <a:pt x="1051" y="578"/>
                    </a:lnTo>
                    <a:lnTo>
                      <a:pt x="1051" y="582"/>
                    </a:lnTo>
                    <a:lnTo>
                      <a:pt x="1054" y="582"/>
                    </a:lnTo>
                    <a:lnTo>
                      <a:pt x="1056" y="584"/>
                    </a:lnTo>
                    <a:lnTo>
                      <a:pt x="1056" y="587"/>
                    </a:lnTo>
                    <a:lnTo>
                      <a:pt x="1056" y="591"/>
                    </a:lnTo>
                    <a:lnTo>
                      <a:pt x="1054" y="589"/>
                    </a:lnTo>
                    <a:lnTo>
                      <a:pt x="1051" y="589"/>
                    </a:lnTo>
                    <a:lnTo>
                      <a:pt x="1051" y="591"/>
                    </a:lnTo>
                    <a:lnTo>
                      <a:pt x="1051" y="591"/>
                    </a:lnTo>
                    <a:lnTo>
                      <a:pt x="1047" y="591"/>
                    </a:lnTo>
                    <a:lnTo>
                      <a:pt x="1045" y="593"/>
                    </a:lnTo>
                    <a:lnTo>
                      <a:pt x="1047" y="593"/>
                    </a:lnTo>
                    <a:lnTo>
                      <a:pt x="1051" y="597"/>
                    </a:lnTo>
                    <a:lnTo>
                      <a:pt x="1051" y="597"/>
                    </a:lnTo>
                    <a:lnTo>
                      <a:pt x="1051" y="595"/>
                    </a:lnTo>
                    <a:lnTo>
                      <a:pt x="1054" y="597"/>
                    </a:lnTo>
                    <a:lnTo>
                      <a:pt x="1051" y="599"/>
                    </a:lnTo>
                    <a:lnTo>
                      <a:pt x="1051" y="603"/>
                    </a:lnTo>
                    <a:lnTo>
                      <a:pt x="1051" y="606"/>
                    </a:lnTo>
                    <a:lnTo>
                      <a:pt x="1049" y="612"/>
                    </a:lnTo>
                    <a:lnTo>
                      <a:pt x="1054" y="606"/>
                    </a:lnTo>
                    <a:lnTo>
                      <a:pt x="1054" y="603"/>
                    </a:lnTo>
                    <a:lnTo>
                      <a:pt x="1056" y="597"/>
                    </a:lnTo>
                    <a:lnTo>
                      <a:pt x="1060" y="595"/>
                    </a:lnTo>
                    <a:lnTo>
                      <a:pt x="1060" y="587"/>
                    </a:lnTo>
                    <a:lnTo>
                      <a:pt x="1060" y="586"/>
                    </a:lnTo>
                    <a:lnTo>
                      <a:pt x="1064" y="582"/>
                    </a:lnTo>
                    <a:lnTo>
                      <a:pt x="1064" y="582"/>
                    </a:lnTo>
                    <a:lnTo>
                      <a:pt x="1064" y="578"/>
                    </a:lnTo>
                    <a:lnTo>
                      <a:pt x="1064" y="576"/>
                    </a:lnTo>
                    <a:lnTo>
                      <a:pt x="1062" y="572"/>
                    </a:lnTo>
                    <a:lnTo>
                      <a:pt x="1060" y="572"/>
                    </a:lnTo>
                    <a:lnTo>
                      <a:pt x="1060" y="569"/>
                    </a:lnTo>
                    <a:lnTo>
                      <a:pt x="1060" y="567"/>
                    </a:lnTo>
                    <a:lnTo>
                      <a:pt x="1060" y="563"/>
                    </a:lnTo>
                    <a:lnTo>
                      <a:pt x="1056" y="559"/>
                    </a:lnTo>
                    <a:lnTo>
                      <a:pt x="1056" y="555"/>
                    </a:lnTo>
                    <a:lnTo>
                      <a:pt x="1056" y="554"/>
                    </a:lnTo>
                    <a:lnTo>
                      <a:pt x="1060" y="557"/>
                    </a:lnTo>
                    <a:lnTo>
                      <a:pt x="1060" y="555"/>
                    </a:lnTo>
                    <a:lnTo>
                      <a:pt x="1064" y="554"/>
                    </a:lnTo>
                    <a:lnTo>
                      <a:pt x="1066" y="552"/>
                    </a:lnTo>
                    <a:lnTo>
                      <a:pt x="1066" y="548"/>
                    </a:lnTo>
                    <a:lnTo>
                      <a:pt x="1068" y="548"/>
                    </a:lnTo>
                    <a:lnTo>
                      <a:pt x="1069" y="548"/>
                    </a:lnTo>
                    <a:lnTo>
                      <a:pt x="1073" y="552"/>
                    </a:lnTo>
                    <a:lnTo>
                      <a:pt x="1071" y="554"/>
                    </a:lnTo>
                    <a:lnTo>
                      <a:pt x="1073" y="555"/>
                    </a:lnTo>
                    <a:lnTo>
                      <a:pt x="1075" y="552"/>
                    </a:lnTo>
                    <a:lnTo>
                      <a:pt x="1075" y="548"/>
                    </a:lnTo>
                    <a:lnTo>
                      <a:pt x="1079" y="548"/>
                    </a:lnTo>
                    <a:lnTo>
                      <a:pt x="1081" y="548"/>
                    </a:lnTo>
                    <a:lnTo>
                      <a:pt x="1081" y="544"/>
                    </a:lnTo>
                    <a:lnTo>
                      <a:pt x="1081" y="544"/>
                    </a:lnTo>
                    <a:lnTo>
                      <a:pt x="1084" y="542"/>
                    </a:lnTo>
                    <a:lnTo>
                      <a:pt x="1084" y="539"/>
                    </a:lnTo>
                    <a:lnTo>
                      <a:pt x="1081" y="539"/>
                    </a:lnTo>
                    <a:lnTo>
                      <a:pt x="1075" y="544"/>
                    </a:lnTo>
                    <a:lnTo>
                      <a:pt x="1073" y="544"/>
                    </a:lnTo>
                    <a:lnTo>
                      <a:pt x="1071" y="539"/>
                    </a:lnTo>
                    <a:lnTo>
                      <a:pt x="1069" y="539"/>
                    </a:lnTo>
                    <a:lnTo>
                      <a:pt x="1069" y="537"/>
                    </a:lnTo>
                    <a:lnTo>
                      <a:pt x="1073" y="535"/>
                    </a:lnTo>
                    <a:lnTo>
                      <a:pt x="1071" y="531"/>
                    </a:lnTo>
                    <a:lnTo>
                      <a:pt x="1073" y="525"/>
                    </a:lnTo>
                    <a:lnTo>
                      <a:pt x="1075" y="522"/>
                    </a:lnTo>
                    <a:lnTo>
                      <a:pt x="1077" y="518"/>
                    </a:lnTo>
                    <a:lnTo>
                      <a:pt x="1079" y="514"/>
                    </a:lnTo>
                    <a:lnTo>
                      <a:pt x="1084" y="518"/>
                    </a:lnTo>
                    <a:lnTo>
                      <a:pt x="1084" y="520"/>
                    </a:lnTo>
                    <a:lnTo>
                      <a:pt x="1086" y="522"/>
                    </a:lnTo>
                    <a:lnTo>
                      <a:pt x="1090" y="523"/>
                    </a:lnTo>
                    <a:lnTo>
                      <a:pt x="1094" y="527"/>
                    </a:lnTo>
                    <a:lnTo>
                      <a:pt x="1098" y="527"/>
                    </a:lnTo>
                    <a:lnTo>
                      <a:pt x="1094" y="525"/>
                    </a:lnTo>
                    <a:lnTo>
                      <a:pt x="1094" y="523"/>
                    </a:lnTo>
                    <a:lnTo>
                      <a:pt x="1088" y="520"/>
                    </a:lnTo>
                    <a:lnTo>
                      <a:pt x="1086" y="518"/>
                    </a:lnTo>
                    <a:lnTo>
                      <a:pt x="1086" y="514"/>
                    </a:lnTo>
                    <a:lnTo>
                      <a:pt x="1084" y="514"/>
                    </a:lnTo>
                    <a:lnTo>
                      <a:pt x="1081" y="514"/>
                    </a:lnTo>
                    <a:lnTo>
                      <a:pt x="1081" y="512"/>
                    </a:lnTo>
                    <a:lnTo>
                      <a:pt x="1088" y="512"/>
                    </a:lnTo>
                    <a:lnTo>
                      <a:pt x="1088" y="510"/>
                    </a:lnTo>
                    <a:lnTo>
                      <a:pt x="1090" y="510"/>
                    </a:lnTo>
                    <a:lnTo>
                      <a:pt x="1098" y="518"/>
                    </a:lnTo>
                    <a:lnTo>
                      <a:pt x="1101" y="518"/>
                    </a:lnTo>
                    <a:lnTo>
                      <a:pt x="1103" y="518"/>
                    </a:lnTo>
                    <a:lnTo>
                      <a:pt x="1100" y="518"/>
                    </a:lnTo>
                    <a:lnTo>
                      <a:pt x="1096" y="512"/>
                    </a:lnTo>
                    <a:lnTo>
                      <a:pt x="1092" y="508"/>
                    </a:lnTo>
                    <a:lnTo>
                      <a:pt x="1090" y="506"/>
                    </a:lnTo>
                    <a:lnTo>
                      <a:pt x="1092" y="503"/>
                    </a:lnTo>
                    <a:lnTo>
                      <a:pt x="1098" y="501"/>
                    </a:lnTo>
                    <a:lnTo>
                      <a:pt x="1100" y="501"/>
                    </a:lnTo>
                    <a:lnTo>
                      <a:pt x="1100" y="505"/>
                    </a:lnTo>
                    <a:lnTo>
                      <a:pt x="1100" y="508"/>
                    </a:lnTo>
                    <a:lnTo>
                      <a:pt x="1101" y="506"/>
                    </a:lnTo>
                    <a:lnTo>
                      <a:pt x="1101" y="503"/>
                    </a:lnTo>
                    <a:lnTo>
                      <a:pt x="1103" y="501"/>
                    </a:lnTo>
                    <a:lnTo>
                      <a:pt x="1109" y="501"/>
                    </a:lnTo>
                    <a:lnTo>
                      <a:pt x="1109" y="505"/>
                    </a:lnTo>
                    <a:lnTo>
                      <a:pt x="1111" y="506"/>
                    </a:lnTo>
                    <a:lnTo>
                      <a:pt x="1115" y="512"/>
                    </a:lnTo>
                    <a:lnTo>
                      <a:pt x="1115" y="508"/>
                    </a:lnTo>
                    <a:lnTo>
                      <a:pt x="1115" y="506"/>
                    </a:lnTo>
                    <a:lnTo>
                      <a:pt x="1111" y="501"/>
                    </a:lnTo>
                    <a:lnTo>
                      <a:pt x="1111" y="499"/>
                    </a:lnTo>
                    <a:lnTo>
                      <a:pt x="1120" y="497"/>
                    </a:lnTo>
                    <a:lnTo>
                      <a:pt x="1126" y="495"/>
                    </a:lnTo>
                    <a:lnTo>
                      <a:pt x="1130" y="493"/>
                    </a:lnTo>
                    <a:lnTo>
                      <a:pt x="1135" y="493"/>
                    </a:lnTo>
                    <a:lnTo>
                      <a:pt x="1139" y="493"/>
                    </a:lnTo>
                    <a:lnTo>
                      <a:pt x="1147" y="493"/>
                    </a:lnTo>
                    <a:lnTo>
                      <a:pt x="1152" y="495"/>
                    </a:lnTo>
                    <a:lnTo>
                      <a:pt x="1152" y="497"/>
                    </a:lnTo>
                    <a:lnTo>
                      <a:pt x="1152" y="499"/>
                    </a:lnTo>
                    <a:lnTo>
                      <a:pt x="1150" y="506"/>
                    </a:lnTo>
                    <a:lnTo>
                      <a:pt x="1150" y="510"/>
                    </a:lnTo>
                    <a:lnTo>
                      <a:pt x="1147" y="512"/>
                    </a:lnTo>
                    <a:lnTo>
                      <a:pt x="1145" y="518"/>
                    </a:lnTo>
                    <a:lnTo>
                      <a:pt x="1145" y="518"/>
                    </a:lnTo>
                    <a:lnTo>
                      <a:pt x="1148" y="520"/>
                    </a:lnTo>
                    <a:lnTo>
                      <a:pt x="1150" y="522"/>
                    </a:lnTo>
                    <a:lnTo>
                      <a:pt x="1150" y="525"/>
                    </a:lnTo>
                    <a:lnTo>
                      <a:pt x="1145" y="531"/>
                    </a:lnTo>
                    <a:lnTo>
                      <a:pt x="1143" y="533"/>
                    </a:lnTo>
                    <a:lnTo>
                      <a:pt x="1143" y="537"/>
                    </a:lnTo>
                    <a:lnTo>
                      <a:pt x="1147" y="539"/>
                    </a:lnTo>
                    <a:lnTo>
                      <a:pt x="1147" y="542"/>
                    </a:lnTo>
                    <a:lnTo>
                      <a:pt x="1143" y="544"/>
                    </a:lnTo>
                    <a:lnTo>
                      <a:pt x="1143" y="544"/>
                    </a:lnTo>
                    <a:lnTo>
                      <a:pt x="1139" y="548"/>
                    </a:lnTo>
                    <a:lnTo>
                      <a:pt x="1135" y="548"/>
                    </a:lnTo>
                    <a:lnTo>
                      <a:pt x="1133" y="552"/>
                    </a:lnTo>
                    <a:lnTo>
                      <a:pt x="1130" y="554"/>
                    </a:lnTo>
                    <a:lnTo>
                      <a:pt x="1128" y="557"/>
                    </a:lnTo>
                    <a:lnTo>
                      <a:pt x="1130" y="557"/>
                    </a:lnTo>
                    <a:lnTo>
                      <a:pt x="1135" y="552"/>
                    </a:lnTo>
                    <a:lnTo>
                      <a:pt x="1139" y="548"/>
                    </a:lnTo>
                    <a:lnTo>
                      <a:pt x="1143" y="548"/>
                    </a:lnTo>
                    <a:lnTo>
                      <a:pt x="1143" y="548"/>
                    </a:lnTo>
                    <a:lnTo>
                      <a:pt x="1139" y="552"/>
                    </a:lnTo>
                    <a:lnTo>
                      <a:pt x="1139" y="554"/>
                    </a:lnTo>
                    <a:lnTo>
                      <a:pt x="1135" y="559"/>
                    </a:lnTo>
                    <a:lnTo>
                      <a:pt x="1130" y="561"/>
                    </a:lnTo>
                    <a:lnTo>
                      <a:pt x="1130" y="563"/>
                    </a:lnTo>
                    <a:lnTo>
                      <a:pt x="1130" y="565"/>
                    </a:lnTo>
                    <a:lnTo>
                      <a:pt x="1130" y="567"/>
                    </a:lnTo>
                    <a:lnTo>
                      <a:pt x="1128" y="565"/>
                    </a:lnTo>
                    <a:lnTo>
                      <a:pt x="1126" y="565"/>
                    </a:lnTo>
                    <a:lnTo>
                      <a:pt x="1126" y="569"/>
                    </a:lnTo>
                    <a:lnTo>
                      <a:pt x="1128" y="569"/>
                    </a:lnTo>
                    <a:lnTo>
                      <a:pt x="1130" y="569"/>
                    </a:lnTo>
                    <a:lnTo>
                      <a:pt x="1130" y="572"/>
                    </a:lnTo>
                    <a:lnTo>
                      <a:pt x="1126" y="572"/>
                    </a:lnTo>
                    <a:lnTo>
                      <a:pt x="1130" y="572"/>
                    </a:lnTo>
                    <a:lnTo>
                      <a:pt x="1130" y="572"/>
                    </a:lnTo>
                    <a:lnTo>
                      <a:pt x="1133" y="572"/>
                    </a:lnTo>
                    <a:lnTo>
                      <a:pt x="1135" y="569"/>
                    </a:lnTo>
                    <a:lnTo>
                      <a:pt x="1135" y="565"/>
                    </a:lnTo>
                    <a:lnTo>
                      <a:pt x="1139" y="563"/>
                    </a:lnTo>
                    <a:lnTo>
                      <a:pt x="1139" y="561"/>
                    </a:lnTo>
                    <a:lnTo>
                      <a:pt x="1143" y="561"/>
                    </a:lnTo>
                    <a:lnTo>
                      <a:pt x="1143" y="567"/>
                    </a:lnTo>
                    <a:lnTo>
                      <a:pt x="1143" y="569"/>
                    </a:lnTo>
                    <a:lnTo>
                      <a:pt x="1143" y="563"/>
                    </a:lnTo>
                    <a:lnTo>
                      <a:pt x="1143" y="559"/>
                    </a:lnTo>
                    <a:lnTo>
                      <a:pt x="1143" y="557"/>
                    </a:lnTo>
                    <a:lnTo>
                      <a:pt x="1145" y="555"/>
                    </a:lnTo>
                    <a:lnTo>
                      <a:pt x="1148" y="555"/>
                    </a:lnTo>
                    <a:lnTo>
                      <a:pt x="1148" y="561"/>
                    </a:lnTo>
                    <a:lnTo>
                      <a:pt x="1148" y="563"/>
                    </a:lnTo>
                    <a:lnTo>
                      <a:pt x="1150" y="561"/>
                    </a:lnTo>
                    <a:lnTo>
                      <a:pt x="1154" y="557"/>
                    </a:lnTo>
                    <a:lnTo>
                      <a:pt x="1156" y="559"/>
                    </a:lnTo>
                    <a:lnTo>
                      <a:pt x="1158" y="563"/>
                    </a:lnTo>
                    <a:lnTo>
                      <a:pt x="1158" y="567"/>
                    </a:lnTo>
                    <a:lnTo>
                      <a:pt x="1152" y="572"/>
                    </a:lnTo>
                    <a:lnTo>
                      <a:pt x="1148" y="576"/>
                    </a:lnTo>
                    <a:lnTo>
                      <a:pt x="1147" y="578"/>
                    </a:lnTo>
                    <a:lnTo>
                      <a:pt x="1150" y="578"/>
                    </a:lnTo>
                    <a:lnTo>
                      <a:pt x="1154" y="582"/>
                    </a:lnTo>
                    <a:lnTo>
                      <a:pt x="1156" y="578"/>
                    </a:lnTo>
                    <a:lnTo>
                      <a:pt x="1154" y="576"/>
                    </a:lnTo>
                    <a:lnTo>
                      <a:pt x="1156" y="572"/>
                    </a:lnTo>
                    <a:lnTo>
                      <a:pt x="1160" y="569"/>
                    </a:lnTo>
                    <a:lnTo>
                      <a:pt x="1160" y="572"/>
                    </a:lnTo>
                    <a:lnTo>
                      <a:pt x="1160" y="578"/>
                    </a:lnTo>
                    <a:lnTo>
                      <a:pt x="1164" y="576"/>
                    </a:lnTo>
                    <a:lnTo>
                      <a:pt x="1160" y="569"/>
                    </a:lnTo>
                    <a:lnTo>
                      <a:pt x="1160" y="567"/>
                    </a:lnTo>
                    <a:lnTo>
                      <a:pt x="1160" y="559"/>
                    </a:lnTo>
                    <a:lnTo>
                      <a:pt x="1160" y="559"/>
                    </a:lnTo>
                    <a:lnTo>
                      <a:pt x="1164" y="561"/>
                    </a:lnTo>
                    <a:lnTo>
                      <a:pt x="1164" y="565"/>
                    </a:lnTo>
                    <a:lnTo>
                      <a:pt x="1164" y="567"/>
                    </a:lnTo>
                    <a:lnTo>
                      <a:pt x="1164" y="567"/>
                    </a:lnTo>
                    <a:lnTo>
                      <a:pt x="1167" y="565"/>
                    </a:lnTo>
                    <a:lnTo>
                      <a:pt x="1173" y="572"/>
                    </a:lnTo>
                    <a:lnTo>
                      <a:pt x="1173" y="572"/>
                    </a:lnTo>
                    <a:lnTo>
                      <a:pt x="1179" y="572"/>
                    </a:lnTo>
                    <a:lnTo>
                      <a:pt x="1180" y="576"/>
                    </a:lnTo>
                    <a:lnTo>
                      <a:pt x="1182" y="576"/>
                    </a:lnTo>
                    <a:lnTo>
                      <a:pt x="1180" y="572"/>
                    </a:lnTo>
                    <a:lnTo>
                      <a:pt x="1179" y="569"/>
                    </a:lnTo>
                    <a:lnTo>
                      <a:pt x="1177" y="569"/>
                    </a:lnTo>
                    <a:lnTo>
                      <a:pt x="1169" y="563"/>
                    </a:lnTo>
                    <a:lnTo>
                      <a:pt x="1167" y="563"/>
                    </a:lnTo>
                    <a:lnTo>
                      <a:pt x="1167" y="561"/>
                    </a:lnTo>
                    <a:lnTo>
                      <a:pt x="1169" y="555"/>
                    </a:lnTo>
                    <a:lnTo>
                      <a:pt x="1175" y="555"/>
                    </a:lnTo>
                    <a:lnTo>
                      <a:pt x="1179" y="552"/>
                    </a:lnTo>
                    <a:lnTo>
                      <a:pt x="1184" y="552"/>
                    </a:lnTo>
                    <a:lnTo>
                      <a:pt x="1188" y="552"/>
                    </a:lnTo>
                    <a:lnTo>
                      <a:pt x="1188" y="552"/>
                    </a:lnTo>
                    <a:lnTo>
                      <a:pt x="1192" y="552"/>
                    </a:lnTo>
                    <a:lnTo>
                      <a:pt x="1197" y="555"/>
                    </a:lnTo>
                    <a:lnTo>
                      <a:pt x="1197" y="557"/>
                    </a:lnTo>
                    <a:lnTo>
                      <a:pt x="1199" y="559"/>
                    </a:lnTo>
                    <a:lnTo>
                      <a:pt x="1201" y="561"/>
                    </a:lnTo>
                    <a:lnTo>
                      <a:pt x="1201" y="563"/>
                    </a:lnTo>
                    <a:lnTo>
                      <a:pt x="1205" y="563"/>
                    </a:lnTo>
                    <a:lnTo>
                      <a:pt x="1205" y="563"/>
                    </a:lnTo>
                    <a:lnTo>
                      <a:pt x="1209" y="563"/>
                    </a:lnTo>
                    <a:lnTo>
                      <a:pt x="1209" y="567"/>
                    </a:lnTo>
                    <a:lnTo>
                      <a:pt x="1214" y="569"/>
                    </a:lnTo>
                    <a:lnTo>
                      <a:pt x="1214" y="569"/>
                    </a:lnTo>
                    <a:lnTo>
                      <a:pt x="1214" y="572"/>
                    </a:lnTo>
                    <a:lnTo>
                      <a:pt x="1214" y="572"/>
                    </a:lnTo>
                    <a:lnTo>
                      <a:pt x="1214" y="578"/>
                    </a:lnTo>
                    <a:lnTo>
                      <a:pt x="1212" y="582"/>
                    </a:lnTo>
                    <a:lnTo>
                      <a:pt x="1209" y="582"/>
                    </a:lnTo>
                    <a:lnTo>
                      <a:pt x="1205" y="578"/>
                    </a:lnTo>
                    <a:lnTo>
                      <a:pt x="1199" y="582"/>
                    </a:lnTo>
                    <a:lnTo>
                      <a:pt x="1194" y="586"/>
                    </a:lnTo>
                    <a:lnTo>
                      <a:pt x="1199" y="582"/>
                    </a:lnTo>
                    <a:lnTo>
                      <a:pt x="1207" y="582"/>
                    </a:lnTo>
                    <a:lnTo>
                      <a:pt x="1207" y="582"/>
                    </a:lnTo>
                    <a:lnTo>
                      <a:pt x="1205" y="586"/>
                    </a:lnTo>
                    <a:lnTo>
                      <a:pt x="1201" y="587"/>
                    </a:lnTo>
                    <a:lnTo>
                      <a:pt x="1197" y="595"/>
                    </a:lnTo>
                    <a:lnTo>
                      <a:pt x="1194" y="597"/>
                    </a:lnTo>
                    <a:lnTo>
                      <a:pt x="1194" y="597"/>
                    </a:lnTo>
                    <a:lnTo>
                      <a:pt x="1192" y="601"/>
                    </a:lnTo>
                    <a:lnTo>
                      <a:pt x="1194" y="601"/>
                    </a:lnTo>
                    <a:lnTo>
                      <a:pt x="1199" y="593"/>
                    </a:lnTo>
                    <a:lnTo>
                      <a:pt x="1203" y="589"/>
                    </a:lnTo>
                    <a:lnTo>
                      <a:pt x="1207" y="587"/>
                    </a:lnTo>
                    <a:lnTo>
                      <a:pt x="1212" y="582"/>
                    </a:lnTo>
                    <a:lnTo>
                      <a:pt x="1216" y="584"/>
                    </a:lnTo>
                    <a:lnTo>
                      <a:pt x="1218" y="586"/>
                    </a:lnTo>
                    <a:lnTo>
                      <a:pt x="1218" y="586"/>
                    </a:lnTo>
                    <a:lnTo>
                      <a:pt x="1218" y="589"/>
                    </a:lnTo>
                    <a:lnTo>
                      <a:pt x="1218" y="591"/>
                    </a:lnTo>
                    <a:lnTo>
                      <a:pt x="1218" y="595"/>
                    </a:lnTo>
                    <a:lnTo>
                      <a:pt x="1214" y="597"/>
                    </a:lnTo>
                    <a:lnTo>
                      <a:pt x="1212" y="601"/>
                    </a:lnTo>
                    <a:lnTo>
                      <a:pt x="1209" y="601"/>
                    </a:lnTo>
                    <a:lnTo>
                      <a:pt x="1207" y="599"/>
                    </a:lnTo>
                    <a:lnTo>
                      <a:pt x="1203" y="599"/>
                    </a:lnTo>
                    <a:lnTo>
                      <a:pt x="1201" y="601"/>
                    </a:lnTo>
                    <a:lnTo>
                      <a:pt x="1205" y="601"/>
                    </a:lnTo>
                    <a:lnTo>
                      <a:pt x="1207" y="603"/>
                    </a:lnTo>
                    <a:lnTo>
                      <a:pt x="1199" y="606"/>
                    </a:lnTo>
                    <a:lnTo>
                      <a:pt x="1201" y="606"/>
                    </a:lnTo>
                    <a:lnTo>
                      <a:pt x="1205" y="606"/>
                    </a:lnTo>
                    <a:lnTo>
                      <a:pt x="1209" y="603"/>
                    </a:lnTo>
                    <a:lnTo>
                      <a:pt x="1211" y="603"/>
                    </a:lnTo>
                    <a:lnTo>
                      <a:pt x="1211" y="603"/>
                    </a:lnTo>
                    <a:lnTo>
                      <a:pt x="1209" y="606"/>
                    </a:lnTo>
                    <a:lnTo>
                      <a:pt x="1205" y="606"/>
                    </a:lnTo>
                    <a:lnTo>
                      <a:pt x="1201" y="608"/>
                    </a:lnTo>
                    <a:lnTo>
                      <a:pt x="1205" y="608"/>
                    </a:lnTo>
                    <a:lnTo>
                      <a:pt x="1205" y="612"/>
                    </a:lnTo>
                    <a:lnTo>
                      <a:pt x="1203" y="612"/>
                    </a:lnTo>
                    <a:lnTo>
                      <a:pt x="1199" y="616"/>
                    </a:lnTo>
                    <a:lnTo>
                      <a:pt x="1197" y="620"/>
                    </a:lnTo>
                    <a:lnTo>
                      <a:pt x="1199" y="620"/>
                    </a:lnTo>
                    <a:lnTo>
                      <a:pt x="1203" y="616"/>
                    </a:lnTo>
                    <a:lnTo>
                      <a:pt x="1207" y="612"/>
                    </a:lnTo>
                    <a:lnTo>
                      <a:pt x="1209" y="606"/>
                    </a:lnTo>
                    <a:lnTo>
                      <a:pt x="1216" y="603"/>
                    </a:lnTo>
                    <a:lnTo>
                      <a:pt x="1216" y="606"/>
                    </a:lnTo>
                    <a:lnTo>
                      <a:pt x="1216" y="606"/>
                    </a:lnTo>
                    <a:lnTo>
                      <a:pt x="1218" y="606"/>
                    </a:lnTo>
                    <a:lnTo>
                      <a:pt x="1218" y="603"/>
                    </a:lnTo>
                    <a:lnTo>
                      <a:pt x="1224" y="601"/>
                    </a:lnTo>
                    <a:lnTo>
                      <a:pt x="1226" y="601"/>
                    </a:lnTo>
                    <a:lnTo>
                      <a:pt x="1226" y="603"/>
                    </a:lnTo>
                    <a:lnTo>
                      <a:pt x="1222" y="606"/>
                    </a:lnTo>
                    <a:lnTo>
                      <a:pt x="1214" y="612"/>
                    </a:lnTo>
                    <a:lnTo>
                      <a:pt x="1212" y="612"/>
                    </a:lnTo>
                    <a:lnTo>
                      <a:pt x="1212" y="614"/>
                    </a:lnTo>
                    <a:lnTo>
                      <a:pt x="1214" y="614"/>
                    </a:lnTo>
                    <a:lnTo>
                      <a:pt x="1212" y="618"/>
                    </a:lnTo>
                    <a:lnTo>
                      <a:pt x="1211" y="621"/>
                    </a:lnTo>
                    <a:lnTo>
                      <a:pt x="1212" y="621"/>
                    </a:lnTo>
                    <a:lnTo>
                      <a:pt x="1214" y="618"/>
                    </a:lnTo>
                    <a:lnTo>
                      <a:pt x="1214" y="616"/>
                    </a:lnTo>
                    <a:lnTo>
                      <a:pt x="1218" y="612"/>
                    </a:lnTo>
                    <a:lnTo>
                      <a:pt x="1222" y="608"/>
                    </a:lnTo>
                    <a:lnTo>
                      <a:pt x="1222" y="612"/>
                    </a:lnTo>
                    <a:lnTo>
                      <a:pt x="1224" y="612"/>
                    </a:lnTo>
                    <a:lnTo>
                      <a:pt x="1222" y="616"/>
                    </a:lnTo>
                    <a:lnTo>
                      <a:pt x="1218" y="620"/>
                    </a:lnTo>
                    <a:lnTo>
                      <a:pt x="1218" y="621"/>
                    </a:lnTo>
                    <a:lnTo>
                      <a:pt x="1214" y="627"/>
                    </a:lnTo>
                    <a:lnTo>
                      <a:pt x="1212" y="629"/>
                    </a:lnTo>
                    <a:lnTo>
                      <a:pt x="1212" y="631"/>
                    </a:lnTo>
                    <a:lnTo>
                      <a:pt x="1216" y="629"/>
                    </a:lnTo>
                    <a:lnTo>
                      <a:pt x="1218" y="627"/>
                    </a:lnTo>
                    <a:lnTo>
                      <a:pt x="1222" y="620"/>
                    </a:lnTo>
                    <a:lnTo>
                      <a:pt x="1224" y="618"/>
                    </a:lnTo>
                    <a:lnTo>
                      <a:pt x="1226" y="621"/>
                    </a:lnTo>
                    <a:lnTo>
                      <a:pt x="1226" y="621"/>
                    </a:lnTo>
                    <a:lnTo>
                      <a:pt x="1226" y="623"/>
                    </a:lnTo>
                    <a:lnTo>
                      <a:pt x="1224" y="625"/>
                    </a:lnTo>
                    <a:lnTo>
                      <a:pt x="1222" y="631"/>
                    </a:lnTo>
                    <a:lnTo>
                      <a:pt x="1222" y="633"/>
                    </a:lnTo>
                    <a:lnTo>
                      <a:pt x="1222" y="633"/>
                    </a:lnTo>
                    <a:lnTo>
                      <a:pt x="1222" y="633"/>
                    </a:lnTo>
                    <a:lnTo>
                      <a:pt x="1224" y="629"/>
                    </a:lnTo>
                    <a:lnTo>
                      <a:pt x="1226" y="625"/>
                    </a:lnTo>
                    <a:lnTo>
                      <a:pt x="1229" y="623"/>
                    </a:lnTo>
                    <a:lnTo>
                      <a:pt x="1229" y="620"/>
                    </a:lnTo>
                    <a:lnTo>
                      <a:pt x="1231" y="618"/>
                    </a:lnTo>
                    <a:lnTo>
                      <a:pt x="1235" y="616"/>
                    </a:lnTo>
                    <a:lnTo>
                      <a:pt x="1235" y="612"/>
                    </a:lnTo>
                    <a:lnTo>
                      <a:pt x="1235" y="612"/>
                    </a:lnTo>
                    <a:lnTo>
                      <a:pt x="1237" y="612"/>
                    </a:lnTo>
                    <a:lnTo>
                      <a:pt x="1239" y="608"/>
                    </a:lnTo>
                    <a:lnTo>
                      <a:pt x="1239" y="606"/>
                    </a:lnTo>
                    <a:lnTo>
                      <a:pt x="1241" y="606"/>
                    </a:lnTo>
                    <a:lnTo>
                      <a:pt x="1243" y="612"/>
                    </a:lnTo>
                    <a:lnTo>
                      <a:pt x="1246" y="612"/>
                    </a:lnTo>
                    <a:lnTo>
                      <a:pt x="1248" y="616"/>
                    </a:lnTo>
                    <a:lnTo>
                      <a:pt x="1248" y="618"/>
                    </a:lnTo>
                    <a:lnTo>
                      <a:pt x="1252" y="621"/>
                    </a:lnTo>
                    <a:lnTo>
                      <a:pt x="1254" y="627"/>
                    </a:lnTo>
                    <a:lnTo>
                      <a:pt x="1254" y="629"/>
                    </a:lnTo>
                    <a:lnTo>
                      <a:pt x="1252" y="631"/>
                    </a:lnTo>
                    <a:lnTo>
                      <a:pt x="1248" y="633"/>
                    </a:lnTo>
                    <a:lnTo>
                      <a:pt x="1246" y="633"/>
                    </a:lnTo>
                    <a:lnTo>
                      <a:pt x="1243" y="633"/>
                    </a:lnTo>
                    <a:lnTo>
                      <a:pt x="1241" y="631"/>
                    </a:lnTo>
                    <a:lnTo>
                      <a:pt x="1239" y="631"/>
                    </a:lnTo>
                    <a:lnTo>
                      <a:pt x="1237" y="633"/>
                    </a:lnTo>
                    <a:lnTo>
                      <a:pt x="1235" y="633"/>
                    </a:lnTo>
                    <a:lnTo>
                      <a:pt x="1233" y="636"/>
                    </a:lnTo>
                    <a:lnTo>
                      <a:pt x="1231" y="636"/>
                    </a:lnTo>
                    <a:lnTo>
                      <a:pt x="1228" y="636"/>
                    </a:lnTo>
                    <a:lnTo>
                      <a:pt x="1226" y="638"/>
                    </a:lnTo>
                    <a:lnTo>
                      <a:pt x="1231" y="638"/>
                    </a:lnTo>
                    <a:lnTo>
                      <a:pt x="1233" y="638"/>
                    </a:lnTo>
                    <a:lnTo>
                      <a:pt x="1233" y="640"/>
                    </a:lnTo>
                    <a:lnTo>
                      <a:pt x="1231" y="646"/>
                    </a:lnTo>
                    <a:lnTo>
                      <a:pt x="1228" y="646"/>
                    </a:lnTo>
                    <a:lnTo>
                      <a:pt x="1224" y="648"/>
                    </a:lnTo>
                    <a:lnTo>
                      <a:pt x="1229" y="648"/>
                    </a:lnTo>
                    <a:lnTo>
                      <a:pt x="1231" y="646"/>
                    </a:lnTo>
                    <a:lnTo>
                      <a:pt x="1237" y="646"/>
                    </a:lnTo>
                    <a:lnTo>
                      <a:pt x="1239" y="646"/>
                    </a:lnTo>
                    <a:lnTo>
                      <a:pt x="1243" y="642"/>
                    </a:lnTo>
                    <a:lnTo>
                      <a:pt x="1246" y="642"/>
                    </a:lnTo>
                    <a:lnTo>
                      <a:pt x="1246" y="646"/>
                    </a:lnTo>
                    <a:lnTo>
                      <a:pt x="1246" y="646"/>
                    </a:lnTo>
                    <a:lnTo>
                      <a:pt x="1246" y="648"/>
                    </a:lnTo>
                    <a:lnTo>
                      <a:pt x="1248" y="646"/>
                    </a:lnTo>
                    <a:lnTo>
                      <a:pt x="1248" y="642"/>
                    </a:lnTo>
                    <a:lnTo>
                      <a:pt x="1248" y="638"/>
                    </a:lnTo>
                    <a:lnTo>
                      <a:pt x="1252" y="636"/>
                    </a:lnTo>
                    <a:lnTo>
                      <a:pt x="1256" y="633"/>
                    </a:lnTo>
                    <a:lnTo>
                      <a:pt x="1258" y="636"/>
                    </a:lnTo>
                    <a:lnTo>
                      <a:pt x="1256" y="636"/>
                    </a:lnTo>
                    <a:lnTo>
                      <a:pt x="1258" y="640"/>
                    </a:lnTo>
                    <a:lnTo>
                      <a:pt x="1256" y="646"/>
                    </a:lnTo>
                    <a:lnTo>
                      <a:pt x="1252" y="648"/>
                    </a:lnTo>
                    <a:lnTo>
                      <a:pt x="1248" y="650"/>
                    </a:lnTo>
                    <a:lnTo>
                      <a:pt x="1246" y="652"/>
                    </a:lnTo>
                    <a:lnTo>
                      <a:pt x="1246" y="653"/>
                    </a:lnTo>
                    <a:lnTo>
                      <a:pt x="1243" y="653"/>
                    </a:lnTo>
                    <a:lnTo>
                      <a:pt x="1241" y="653"/>
                    </a:lnTo>
                    <a:lnTo>
                      <a:pt x="1239" y="653"/>
                    </a:lnTo>
                    <a:lnTo>
                      <a:pt x="1237" y="655"/>
                    </a:lnTo>
                    <a:lnTo>
                      <a:pt x="1237" y="657"/>
                    </a:lnTo>
                    <a:lnTo>
                      <a:pt x="1233" y="661"/>
                    </a:lnTo>
                    <a:lnTo>
                      <a:pt x="1233" y="663"/>
                    </a:lnTo>
                    <a:lnTo>
                      <a:pt x="1231" y="667"/>
                    </a:lnTo>
                    <a:lnTo>
                      <a:pt x="1233" y="663"/>
                    </a:lnTo>
                    <a:lnTo>
                      <a:pt x="1237" y="661"/>
                    </a:lnTo>
                    <a:lnTo>
                      <a:pt x="1241" y="655"/>
                    </a:lnTo>
                    <a:lnTo>
                      <a:pt x="1243" y="655"/>
                    </a:lnTo>
                    <a:lnTo>
                      <a:pt x="1243" y="655"/>
                    </a:lnTo>
                    <a:lnTo>
                      <a:pt x="1243" y="655"/>
                    </a:lnTo>
                    <a:lnTo>
                      <a:pt x="1246" y="657"/>
                    </a:lnTo>
                    <a:lnTo>
                      <a:pt x="1243" y="659"/>
                    </a:lnTo>
                    <a:lnTo>
                      <a:pt x="1241" y="663"/>
                    </a:lnTo>
                    <a:lnTo>
                      <a:pt x="1237" y="667"/>
                    </a:lnTo>
                    <a:lnTo>
                      <a:pt x="1233" y="670"/>
                    </a:lnTo>
                    <a:lnTo>
                      <a:pt x="1233" y="670"/>
                    </a:lnTo>
                    <a:lnTo>
                      <a:pt x="1241" y="670"/>
                    </a:lnTo>
                    <a:lnTo>
                      <a:pt x="1246" y="663"/>
                    </a:lnTo>
                    <a:lnTo>
                      <a:pt x="1246" y="655"/>
                    </a:lnTo>
                    <a:lnTo>
                      <a:pt x="1248" y="653"/>
                    </a:lnTo>
                    <a:lnTo>
                      <a:pt x="1252" y="652"/>
                    </a:lnTo>
                    <a:lnTo>
                      <a:pt x="1252" y="652"/>
                    </a:lnTo>
                    <a:lnTo>
                      <a:pt x="1258" y="648"/>
                    </a:lnTo>
                    <a:lnTo>
                      <a:pt x="1261" y="646"/>
                    </a:lnTo>
                    <a:lnTo>
                      <a:pt x="1265" y="646"/>
                    </a:lnTo>
                    <a:lnTo>
                      <a:pt x="1265" y="646"/>
                    </a:lnTo>
                    <a:lnTo>
                      <a:pt x="1263" y="648"/>
                    </a:lnTo>
                    <a:lnTo>
                      <a:pt x="1260" y="652"/>
                    </a:lnTo>
                    <a:lnTo>
                      <a:pt x="1256" y="652"/>
                    </a:lnTo>
                    <a:lnTo>
                      <a:pt x="1254" y="655"/>
                    </a:lnTo>
                    <a:lnTo>
                      <a:pt x="1254" y="657"/>
                    </a:lnTo>
                    <a:lnTo>
                      <a:pt x="1254" y="659"/>
                    </a:lnTo>
                    <a:lnTo>
                      <a:pt x="1256" y="655"/>
                    </a:lnTo>
                    <a:lnTo>
                      <a:pt x="1261" y="655"/>
                    </a:lnTo>
                    <a:lnTo>
                      <a:pt x="1263" y="652"/>
                    </a:lnTo>
                    <a:lnTo>
                      <a:pt x="1267" y="652"/>
                    </a:lnTo>
                    <a:lnTo>
                      <a:pt x="1267" y="650"/>
                    </a:lnTo>
                    <a:lnTo>
                      <a:pt x="1271" y="648"/>
                    </a:lnTo>
                    <a:lnTo>
                      <a:pt x="1273" y="648"/>
                    </a:lnTo>
                    <a:lnTo>
                      <a:pt x="1276" y="652"/>
                    </a:lnTo>
                    <a:lnTo>
                      <a:pt x="1280" y="657"/>
                    </a:lnTo>
                    <a:lnTo>
                      <a:pt x="1280" y="659"/>
                    </a:lnTo>
                    <a:lnTo>
                      <a:pt x="1284" y="661"/>
                    </a:lnTo>
                    <a:lnTo>
                      <a:pt x="1284" y="663"/>
                    </a:lnTo>
                    <a:lnTo>
                      <a:pt x="1284" y="667"/>
                    </a:lnTo>
                    <a:lnTo>
                      <a:pt x="1280" y="670"/>
                    </a:lnTo>
                    <a:lnTo>
                      <a:pt x="1280" y="670"/>
                    </a:lnTo>
                    <a:lnTo>
                      <a:pt x="1280" y="667"/>
                    </a:lnTo>
                    <a:lnTo>
                      <a:pt x="1276" y="667"/>
                    </a:lnTo>
                    <a:lnTo>
                      <a:pt x="1276" y="667"/>
                    </a:lnTo>
                    <a:lnTo>
                      <a:pt x="1276" y="670"/>
                    </a:lnTo>
                    <a:lnTo>
                      <a:pt x="1273" y="670"/>
                    </a:lnTo>
                    <a:lnTo>
                      <a:pt x="1267" y="672"/>
                    </a:lnTo>
                    <a:lnTo>
                      <a:pt x="1263" y="672"/>
                    </a:lnTo>
                    <a:lnTo>
                      <a:pt x="1260" y="672"/>
                    </a:lnTo>
                    <a:lnTo>
                      <a:pt x="1254" y="676"/>
                    </a:lnTo>
                    <a:lnTo>
                      <a:pt x="1252" y="676"/>
                    </a:lnTo>
                    <a:lnTo>
                      <a:pt x="1246" y="680"/>
                    </a:lnTo>
                    <a:lnTo>
                      <a:pt x="1252" y="680"/>
                    </a:lnTo>
                    <a:lnTo>
                      <a:pt x="1252" y="680"/>
                    </a:lnTo>
                    <a:lnTo>
                      <a:pt x="1252" y="682"/>
                    </a:lnTo>
                    <a:lnTo>
                      <a:pt x="1246" y="684"/>
                    </a:lnTo>
                    <a:lnTo>
                      <a:pt x="1246" y="685"/>
                    </a:lnTo>
                    <a:lnTo>
                      <a:pt x="1252" y="684"/>
                    </a:lnTo>
                    <a:lnTo>
                      <a:pt x="1254" y="680"/>
                    </a:lnTo>
                    <a:lnTo>
                      <a:pt x="1260" y="676"/>
                    </a:lnTo>
                    <a:lnTo>
                      <a:pt x="1265" y="676"/>
                    </a:lnTo>
                    <a:lnTo>
                      <a:pt x="1267" y="676"/>
                    </a:lnTo>
                    <a:lnTo>
                      <a:pt x="1271" y="676"/>
                    </a:lnTo>
                    <a:lnTo>
                      <a:pt x="1273" y="676"/>
                    </a:lnTo>
                    <a:lnTo>
                      <a:pt x="1273" y="676"/>
                    </a:lnTo>
                    <a:lnTo>
                      <a:pt x="1273" y="680"/>
                    </a:lnTo>
                    <a:lnTo>
                      <a:pt x="1267" y="682"/>
                    </a:lnTo>
                    <a:lnTo>
                      <a:pt x="1267" y="684"/>
                    </a:lnTo>
                    <a:lnTo>
                      <a:pt x="1263" y="684"/>
                    </a:lnTo>
                    <a:lnTo>
                      <a:pt x="1261" y="685"/>
                    </a:lnTo>
                    <a:lnTo>
                      <a:pt x="1260" y="687"/>
                    </a:lnTo>
                    <a:lnTo>
                      <a:pt x="1256" y="691"/>
                    </a:lnTo>
                    <a:lnTo>
                      <a:pt x="1252" y="687"/>
                    </a:lnTo>
                    <a:lnTo>
                      <a:pt x="1252" y="687"/>
                    </a:lnTo>
                    <a:lnTo>
                      <a:pt x="1248" y="693"/>
                    </a:lnTo>
                    <a:lnTo>
                      <a:pt x="1252" y="693"/>
                    </a:lnTo>
                    <a:lnTo>
                      <a:pt x="1252" y="691"/>
                    </a:lnTo>
                    <a:lnTo>
                      <a:pt x="1256" y="691"/>
                    </a:lnTo>
                    <a:lnTo>
                      <a:pt x="1258" y="693"/>
                    </a:lnTo>
                    <a:lnTo>
                      <a:pt x="1261" y="687"/>
                    </a:lnTo>
                    <a:lnTo>
                      <a:pt x="1263" y="685"/>
                    </a:lnTo>
                    <a:lnTo>
                      <a:pt x="1267" y="685"/>
                    </a:lnTo>
                    <a:lnTo>
                      <a:pt x="1267" y="685"/>
                    </a:lnTo>
                    <a:lnTo>
                      <a:pt x="1273" y="687"/>
                    </a:lnTo>
                    <a:lnTo>
                      <a:pt x="1276" y="684"/>
                    </a:lnTo>
                    <a:lnTo>
                      <a:pt x="1280" y="682"/>
                    </a:lnTo>
                    <a:lnTo>
                      <a:pt x="1280" y="682"/>
                    </a:lnTo>
                    <a:lnTo>
                      <a:pt x="1280" y="678"/>
                    </a:lnTo>
                    <a:lnTo>
                      <a:pt x="1280" y="678"/>
                    </a:lnTo>
                    <a:lnTo>
                      <a:pt x="1280" y="676"/>
                    </a:lnTo>
                    <a:lnTo>
                      <a:pt x="1280" y="672"/>
                    </a:lnTo>
                    <a:lnTo>
                      <a:pt x="1282" y="672"/>
                    </a:lnTo>
                    <a:lnTo>
                      <a:pt x="1284" y="672"/>
                    </a:lnTo>
                    <a:lnTo>
                      <a:pt x="1284" y="672"/>
                    </a:lnTo>
                    <a:lnTo>
                      <a:pt x="1286" y="676"/>
                    </a:lnTo>
                    <a:lnTo>
                      <a:pt x="1290" y="684"/>
                    </a:lnTo>
                    <a:lnTo>
                      <a:pt x="1290" y="687"/>
                    </a:lnTo>
                    <a:lnTo>
                      <a:pt x="1293" y="691"/>
                    </a:lnTo>
                    <a:lnTo>
                      <a:pt x="1292" y="695"/>
                    </a:lnTo>
                    <a:lnTo>
                      <a:pt x="1290" y="697"/>
                    </a:lnTo>
                    <a:lnTo>
                      <a:pt x="1286" y="697"/>
                    </a:lnTo>
                    <a:lnTo>
                      <a:pt x="1284" y="695"/>
                    </a:lnTo>
                    <a:lnTo>
                      <a:pt x="1280" y="695"/>
                    </a:lnTo>
                    <a:lnTo>
                      <a:pt x="1276" y="697"/>
                    </a:lnTo>
                    <a:lnTo>
                      <a:pt x="1273" y="697"/>
                    </a:lnTo>
                    <a:lnTo>
                      <a:pt x="1271" y="697"/>
                    </a:lnTo>
                    <a:lnTo>
                      <a:pt x="1271" y="697"/>
                    </a:lnTo>
                    <a:lnTo>
                      <a:pt x="1267" y="697"/>
                    </a:lnTo>
                    <a:lnTo>
                      <a:pt x="1265" y="701"/>
                    </a:lnTo>
                    <a:lnTo>
                      <a:pt x="1260" y="701"/>
                    </a:lnTo>
                    <a:lnTo>
                      <a:pt x="1261" y="701"/>
                    </a:lnTo>
                    <a:lnTo>
                      <a:pt x="1267" y="701"/>
                    </a:lnTo>
                    <a:lnTo>
                      <a:pt x="1273" y="701"/>
                    </a:lnTo>
                    <a:lnTo>
                      <a:pt x="1276" y="704"/>
                    </a:lnTo>
                    <a:lnTo>
                      <a:pt x="1280" y="706"/>
                    </a:lnTo>
                    <a:lnTo>
                      <a:pt x="1280" y="704"/>
                    </a:lnTo>
                    <a:lnTo>
                      <a:pt x="1282" y="704"/>
                    </a:lnTo>
                    <a:lnTo>
                      <a:pt x="1284" y="706"/>
                    </a:lnTo>
                    <a:lnTo>
                      <a:pt x="1288" y="708"/>
                    </a:lnTo>
                    <a:lnTo>
                      <a:pt x="1292" y="710"/>
                    </a:lnTo>
                    <a:lnTo>
                      <a:pt x="1292" y="712"/>
                    </a:lnTo>
                    <a:lnTo>
                      <a:pt x="1293" y="716"/>
                    </a:lnTo>
                    <a:lnTo>
                      <a:pt x="1293" y="719"/>
                    </a:lnTo>
                    <a:lnTo>
                      <a:pt x="1292" y="721"/>
                    </a:lnTo>
                    <a:lnTo>
                      <a:pt x="1290" y="721"/>
                    </a:lnTo>
                    <a:lnTo>
                      <a:pt x="1288" y="717"/>
                    </a:lnTo>
                    <a:lnTo>
                      <a:pt x="1286" y="717"/>
                    </a:lnTo>
                    <a:lnTo>
                      <a:pt x="1284" y="719"/>
                    </a:lnTo>
                    <a:lnTo>
                      <a:pt x="1282" y="719"/>
                    </a:lnTo>
                    <a:lnTo>
                      <a:pt x="1282" y="717"/>
                    </a:lnTo>
                    <a:lnTo>
                      <a:pt x="1280" y="717"/>
                    </a:lnTo>
                    <a:lnTo>
                      <a:pt x="1276" y="717"/>
                    </a:lnTo>
                    <a:lnTo>
                      <a:pt x="1273" y="712"/>
                    </a:lnTo>
                    <a:lnTo>
                      <a:pt x="1273" y="712"/>
                    </a:lnTo>
                    <a:lnTo>
                      <a:pt x="1271" y="712"/>
                    </a:lnTo>
                    <a:lnTo>
                      <a:pt x="1267" y="712"/>
                    </a:lnTo>
                    <a:lnTo>
                      <a:pt x="1263" y="710"/>
                    </a:lnTo>
                    <a:lnTo>
                      <a:pt x="1265" y="712"/>
                    </a:lnTo>
                    <a:lnTo>
                      <a:pt x="1267" y="714"/>
                    </a:lnTo>
                    <a:lnTo>
                      <a:pt x="1273" y="714"/>
                    </a:lnTo>
                    <a:lnTo>
                      <a:pt x="1271" y="716"/>
                    </a:lnTo>
                    <a:lnTo>
                      <a:pt x="1265" y="716"/>
                    </a:lnTo>
                    <a:lnTo>
                      <a:pt x="1263" y="717"/>
                    </a:lnTo>
                    <a:lnTo>
                      <a:pt x="1260" y="717"/>
                    </a:lnTo>
                    <a:lnTo>
                      <a:pt x="1256" y="719"/>
                    </a:lnTo>
                    <a:lnTo>
                      <a:pt x="1258" y="721"/>
                    </a:lnTo>
                    <a:lnTo>
                      <a:pt x="1260" y="721"/>
                    </a:lnTo>
                    <a:lnTo>
                      <a:pt x="1260" y="719"/>
                    </a:lnTo>
                    <a:lnTo>
                      <a:pt x="1265" y="719"/>
                    </a:lnTo>
                    <a:lnTo>
                      <a:pt x="1267" y="717"/>
                    </a:lnTo>
                    <a:lnTo>
                      <a:pt x="1271" y="717"/>
                    </a:lnTo>
                    <a:lnTo>
                      <a:pt x="1273" y="721"/>
                    </a:lnTo>
                    <a:lnTo>
                      <a:pt x="1273" y="721"/>
                    </a:lnTo>
                    <a:lnTo>
                      <a:pt x="1273" y="721"/>
                    </a:lnTo>
                    <a:lnTo>
                      <a:pt x="1276" y="725"/>
                    </a:lnTo>
                    <a:lnTo>
                      <a:pt x="1273" y="725"/>
                    </a:lnTo>
                    <a:lnTo>
                      <a:pt x="1271" y="725"/>
                    </a:lnTo>
                    <a:lnTo>
                      <a:pt x="1267" y="727"/>
                    </a:lnTo>
                    <a:lnTo>
                      <a:pt x="1267" y="725"/>
                    </a:lnTo>
                    <a:lnTo>
                      <a:pt x="1267" y="721"/>
                    </a:lnTo>
                    <a:lnTo>
                      <a:pt x="1265" y="721"/>
                    </a:lnTo>
                    <a:lnTo>
                      <a:pt x="1263" y="725"/>
                    </a:lnTo>
                    <a:lnTo>
                      <a:pt x="1267" y="727"/>
                    </a:lnTo>
                    <a:lnTo>
                      <a:pt x="1267" y="727"/>
                    </a:lnTo>
                    <a:lnTo>
                      <a:pt x="1271" y="727"/>
                    </a:lnTo>
                    <a:lnTo>
                      <a:pt x="1271" y="731"/>
                    </a:lnTo>
                    <a:lnTo>
                      <a:pt x="1273" y="733"/>
                    </a:lnTo>
                    <a:lnTo>
                      <a:pt x="1267" y="733"/>
                    </a:lnTo>
                    <a:lnTo>
                      <a:pt x="1261" y="731"/>
                    </a:lnTo>
                    <a:lnTo>
                      <a:pt x="1258" y="731"/>
                    </a:lnTo>
                    <a:lnTo>
                      <a:pt x="1252" y="727"/>
                    </a:lnTo>
                    <a:lnTo>
                      <a:pt x="1248" y="727"/>
                    </a:lnTo>
                    <a:lnTo>
                      <a:pt x="1248" y="731"/>
                    </a:lnTo>
                    <a:lnTo>
                      <a:pt x="1252" y="731"/>
                    </a:lnTo>
                    <a:lnTo>
                      <a:pt x="1263" y="734"/>
                    </a:lnTo>
                    <a:lnTo>
                      <a:pt x="1263" y="736"/>
                    </a:lnTo>
                    <a:lnTo>
                      <a:pt x="1261" y="738"/>
                    </a:lnTo>
                    <a:lnTo>
                      <a:pt x="1256" y="734"/>
                    </a:lnTo>
                    <a:lnTo>
                      <a:pt x="1254" y="734"/>
                    </a:lnTo>
                    <a:lnTo>
                      <a:pt x="1252" y="738"/>
                    </a:lnTo>
                    <a:lnTo>
                      <a:pt x="1254" y="736"/>
                    </a:lnTo>
                    <a:lnTo>
                      <a:pt x="1256" y="738"/>
                    </a:lnTo>
                    <a:lnTo>
                      <a:pt x="1258" y="740"/>
                    </a:lnTo>
                    <a:lnTo>
                      <a:pt x="1260" y="740"/>
                    </a:lnTo>
                    <a:lnTo>
                      <a:pt x="1261" y="740"/>
                    </a:lnTo>
                    <a:lnTo>
                      <a:pt x="1261" y="742"/>
                    </a:lnTo>
                    <a:lnTo>
                      <a:pt x="1263" y="746"/>
                    </a:lnTo>
                    <a:lnTo>
                      <a:pt x="1263" y="744"/>
                    </a:lnTo>
                    <a:lnTo>
                      <a:pt x="1265" y="742"/>
                    </a:lnTo>
                    <a:lnTo>
                      <a:pt x="1267" y="742"/>
                    </a:lnTo>
                    <a:lnTo>
                      <a:pt x="1267" y="744"/>
                    </a:lnTo>
                    <a:lnTo>
                      <a:pt x="1267" y="746"/>
                    </a:lnTo>
                    <a:lnTo>
                      <a:pt x="1267" y="748"/>
                    </a:lnTo>
                    <a:lnTo>
                      <a:pt x="1267" y="748"/>
                    </a:lnTo>
                    <a:lnTo>
                      <a:pt x="1267" y="744"/>
                    </a:lnTo>
                    <a:lnTo>
                      <a:pt x="1271" y="744"/>
                    </a:lnTo>
                    <a:lnTo>
                      <a:pt x="1273" y="746"/>
                    </a:lnTo>
                    <a:lnTo>
                      <a:pt x="1276" y="746"/>
                    </a:lnTo>
                    <a:lnTo>
                      <a:pt x="1280" y="746"/>
                    </a:lnTo>
                    <a:lnTo>
                      <a:pt x="1280" y="749"/>
                    </a:lnTo>
                    <a:lnTo>
                      <a:pt x="1280" y="751"/>
                    </a:lnTo>
                    <a:lnTo>
                      <a:pt x="1276" y="749"/>
                    </a:lnTo>
                    <a:lnTo>
                      <a:pt x="1273" y="748"/>
                    </a:lnTo>
                    <a:lnTo>
                      <a:pt x="1267" y="749"/>
                    </a:lnTo>
                    <a:lnTo>
                      <a:pt x="1263" y="751"/>
                    </a:lnTo>
                    <a:lnTo>
                      <a:pt x="1263" y="755"/>
                    </a:lnTo>
                    <a:lnTo>
                      <a:pt x="1267" y="751"/>
                    </a:lnTo>
                    <a:lnTo>
                      <a:pt x="1271" y="751"/>
                    </a:lnTo>
                    <a:lnTo>
                      <a:pt x="1273" y="751"/>
                    </a:lnTo>
                    <a:lnTo>
                      <a:pt x="1271" y="751"/>
                    </a:lnTo>
                    <a:lnTo>
                      <a:pt x="1271" y="755"/>
                    </a:lnTo>
                    <a:lnTo>
                      <a:pt x="1273" y="755"/>
                    </a:lnTo>
                    <a:lnTo>
                      <a:pt x="1276" y="755"/>
                    </a:lnTo>
                    <a:lnTo>
                      <a:pt x="1276" y="755"/>
                    </a:lnTo>
                    <a:lnTo>
                      <a:pt x="1276" y="757"/>
                    </a:lnTo>
                    <a:lnTo>
                      <a:pt x="1280" y="757"/>
                    </a:lnTo>
                    <a:lnTo>
                      <a:pt x="1280" y="761"/>
                    </a:lnTo>
                    <a:lnTo>
                      <a:pt x="1280" y="765"/>
                    </a:lnTo>
                    <a:lnTo>
                      <a:pt x="1280" y="766"/>
                    </a:lnTo>
                    <a:lnTo>
                      <a:pt x="1280" y="768"/>
                    </a:lnTo>
                    <a:lnTo>
                      <a:pt x="1280" y="768"/>
                    </a:lnTo>
                    <a:lnTo>
                      <a:pt x="1280" y="765"/>
                    </a:lnTo>
                    <a:lnTo>
                      <a:pt x="1282" y="765"/>
                    </a:lnTo>
                    <a:lnTo>
                      <a:pt x="1286" y="765"/>
                    </a:lnTo>
                    <a:lnTo>
                      <a:pt x="1286" y="765"/>
                    </a:lnTo>
                    <a:lnTo>
                      <a:pt x="1284" y="766"/>
                    </a:lnTo>
                    <a:lnTo>
                      <a:pt x="1280" y="774"/>
                    </a:lnTo>
                    <a:lnTo>
                      <a:pt x="1280" y="776"/>
                    </a:lnTo>
                    <a:lnTo>
                      <a:pt x="1280" y="780"/>
                    </a:lnTo>
                    <a:lnTo>
                      <a:pt x="1280" y="778"/>
                    </a:lnTo>
                    <a:lnTo>
                      <a:pt x="1284" y="774"/>
                    </a:lnTo>
                    <a:lnTo>
                      <a:pt x="1284" y="772"/>
                    </a:lnTo>
                    <a:lnTo>
                      <a:pt x="1286" y="768"/>
                    </a:lnTo>
                    <a:lnTo>
                      <a:pt x="1290" y="766"/>
                    </a:lnTo>
                    <a:lnTo>
                      <a:pt x="1290" y="766"/>
                    </a:lnTo>
                    <a:lnTo>
                      <a:pt x="1290" y="765"/>
                    </a:lnTo>
                    <a:lnTo>
                      <a:pt x="1293" y="761"/>
                    </a:lnTo>
                    <a:lnTo>
                      <a:pt x="1293" y="765"/>
                    </a:lnTo>
                    <a:lnTo>
                      <a:pt x="1293" y="765"/>
                    </a:lnTo>
                    <a:lnTo>
                      <a:pt x="1290" y="770"/>
                    </a:lnTo>
                    <a:lnTo>
                      <a:pt x="1288" y="772"/>
                    </a:lnTo>
                    <a:lnTo>
                      <a:pt x="1288" y="776"/>
                    </a:lnTo>
                    <a:lnTo>
                      <a:pt x="1288" y="780"/>
                    </a:lnTo>
                    <a:lnTo>
                      <a:pt x="1290" y="780"/>
                    </a:lnTo>
                    <a:lnTo>
                      <a:pt x="1290" y="776"/>
                    </a:lnTo>
                    <a:lnTo>
                      <a:pt x="1290" y="772"/>
                    </a:lnTo>
                    <a:lnTo>
                      <a:pt x="1292" y="770"/>
                    </a:lnTo>
                    <a:lnTo>
                      <a:pt x="1293" y="768"/>
                    </a:lnTo>
                    <a:lnTo>
                      <a:pt x="1297" y="765"/>
                    </a:lnTo>
                    <a:lnTo>
                      <a:pt x="1301" y="765"/>
                    </a:lnTo>
                    <a:lnTo>
                      <a:pt x="1301" y="765"/>
                    </a:lnTo>
                    <a:lnTo>
                      <a:pt x="1301" y="768"/>
                    </a:lnTo>
                    <a:lnTo>
                      <a:pt x="1301" y="770"/>
                    </a:lnTo>
                    <a:lnTo>
                      <a:pt x="1297" y="770"/>
                    </a:lnTo>
                    <a:lnTo>
                      <a:pt x="1295" y="774"/>
                    </a:lnTo>
                    <a:lnTo>
                      <a:pt x="1295" y="776"/>
                    </a:lnTo>
                    <a:lnTo>
                      <a:pt x="1295" y="778"/>
                    </a:lnTo>
                    <a:lnTo>
                      <a:pt x="1297" y="776"/>
                    </a:lnTo>
                    <a:lnTo>
                      <a:pt x="1297" y="778"/>
                    </a:lnTo>
                    <a:lnTo>
                      <a:pt x="1301" y="776"/>
                    </a:lnTo>
                    <a:lnTo>
                      <a:pt x="1305" y="774"/>
                    </a:lnTo>
                    <a:lnTo>
                      <a:pt x="1305" y="776"/>
                    </a:lnTo>
                    <a:lnTo>
                      <a:pt x="1305" y="781"/>
                    </a:lnTo>
                    <a:lnTo>
                      <a:pt x="1305" y="781"/>
                    </a:lnTo>
                    <a:lnTo>
                      <a:pt x="1305" y="785"/>
                    </a:lnTo>
                    <a:lnTo>
                      <a:pt x="1305" y="785"/>
                    </a:lnTo>
                    <a:lnTo>
                      <a:pt x="1305" y="785"/>
                    </a:lnTo>
                    <a:lnTo>
                      <a:pt x="1307" y="789"/>
                    </a:lnTo>
                    <a:lnTo>
                      <a:pt x="1305" y="789"/>
                    </a:lnTo>
                    <a:lnTo>
                      <a:pt x="1301" y="789"/>
                    </a:lnTo>
                    <a:lnTo>
                      <a:pt x="1305" y="789"/>
                    </a:lnTo>
                    <a:lnTo>
                      <a:pt x="1307" y="791"/>
                    </a:lnTo>
                    <a:lnTo>
                      <a:pt x="1301" y="795"/>
                    </a:lnTo>
                    <a:lnTo>
                      <a:pt x="1297" y="795"/>
                    </a:lnTo>
                    <a:lnTo>
                      <a:pt x="1297" y="795"/>
                    </a:lnTo>
                    <a:lnTo>
                      <a:pt x="1301" y="795"/>
                    </a:lnTo>
                    <a:lnTo>
                      <a:pt x="1307" y="795"/>
                    </a:lnTo>
                    <a:lnTo>
                      <a:pt x="1310" y="795"/>
                    </a:lnTo>
                    <a:lnTo>
                      <a:pt x="1312" y="795"/>
                    </a:lnTo>
                    <a:lnTo>
                      <a:pt x="1312" y="795"/>
                    </a:lnTo>
                    <a:lnTo>
                      <a:pt x="1310" y="797"/>
                    </a:lnTo>
                    <a:lnTo>
                      <a:pt x="1310" y="800"/>
                    </a:lnTo>
                    <a:lnTo>
                      <a:pt x="1310" y="797"/>
                    </a:lnTo>
                    <a:lnTo>
                      <a:pt x="1314" y="797"/>
                    </a:lnTo>
                    <a:lnTo>
                      <a:pt x="1316" y="795"/>
                    </a:lnTo>
                    <a:lnTo>
                      <a:pt x="1320" y="791"/>
                    </a:lnTo>
                    <a:lnTo>
                      <a:pt x="1322" y="795"/>
                    </a:lnTo>
                    <a:lnTo>
                      <a:pt x="1322" y="795"/>
                    </a:lnTo>
                    <a:lnTo>
                      <a:pt x="1320" y="797"/>
                    </a:lnTo>
                    <a:lnTo>
                      <a:pt x="1318" y="797"/>
                    </a:lnTo>
                    <a:lnTo>
                      <a:pt x="1316" y="800"/>
                    </a:lnTo>
                    <a:lnTo>
                      <a:pt x="1314" y="804"/>
                    </a:lnTo>
                    <a:lnTo>
                      <a:pt x="1310" y="806"/>
                    </a:lnTo>
                    <a:lnTo>
                      <a:pt x="1310" y="808"/>
                    </a:lnTo>
                    <a:lnTo>
                      <a:pt x="1310" y="812"/>
                    </a:lnTo>
                    <a:lnTo>
                      <a:pt x="1310" y="812"/>
                    </a:lnTo>
                    <a:lnTo>
                      <a:pt x="1314" y="808"/>
                    </a:lnTo>
                    <a:lnTo>
                      <a:pt x="1314" y="806"/>
                    </a:lnTo>
                    <a:lnTo>
                      <a:pt x="1318" y="802"/>
                    </a:lnTo>
                    <a:lnTo>
                      <a:pt x="1322" y="800"/>
                    </a:lnTo>
                    <a:lnTo>
                      <a:pt x="1322" y="804"/>
                    </a:lnTo>
                    <a:lnTo>
                      <a:pt x="1318" y="808"/>
                    </a:lnTo>
                    <a:lnTo>
                      <a:pt x="1318" y="812"/>
                    </a:lnTo>
                    <a:lnTo>
                      <a:pt x="1316" y="815"/>
                    </a:lnTo>
                    <a:lnTo>
                      <a:pt x="1320" y="814"/>
                    </a:lnTo>
                    <a:lnTo>
                      <a:pt x="1322" y="808"/>
                    </a:lnTo>
                    <a:lnTo>
                      <a:pt x="1322" y="806"/>
                    </a:lnTo>
                    <a:lnTo>
                      <a:pt x="1322" y="804"/>
                    </a:lnTo>
                    <a:lnTo>
                      <a:pt x="1322" y="806"/>
                    </a:lnTo>
                    <a:lnTo>
                      <a:pt x="1325" y="812"/>
                    </a:lnTo>
                    <a:lnTo>
                      <a:pt x="1325" y="814"/>
                    </a:lnTo>
                    <a:lnTo>
                      <a:pt x="1325" y="814"/>
                    </a:lnTo>
                    <a:lnTo>
                      <a:pt x="1325" y="808"/>
                    </a:lnTo>
                    <a:lnTo>
                      <a:pt x="1329" y="806"/>
                    </a:lnTo>
                    <a:lnTo>
                      <a:pt x="1331" y="804"/>
                    </a:lnTo>
                    <a:lnTo>
                      <a:pt x="1335" y="804"/>
                    </a:lnTo>
                    <a:lnTo>
                      <a:pt x="1331" y="808"/>
                    </a:lnTo>
                    <a:lnTo>
                      <a:pt x="1335" y="808"/>
                    </a:lnTo>
                    <a:lnTo>
                      <a:pt x="1335" y="808"/>
                    </a:lnTo>
                    <a:lnTo>
                      <a:pt x="1337" y="810"/>
                    </a:lnTo>
                    <a:lnTo>
                      <a:pt x="1337" y="814"/>
                    </a:lnTo>
                    <a:lnTo>
                      <a:pt x="1339" y="814"/>
                    </a:lnTo>
                    <a:lnTo>
                      <a:pt x="1340" y="815"/>
                    </a:lnTo>
                    <a:lnTo>
                      <a:pt x="1340" y="815"/>
                    </a:lnTo>
                    <a:lnTo>
                      <a:pt x="1342" y="819"/>
                    </a:lnTo>
                    <a:lnTo>
                      <a:pt x="1344" y="821"/>
                    </a:lnTo>
                    <a:lnTo>
                      <a:pt x="1342" y="821"/>
                    </a:lnTo>
                    <a:lnTo>
                      <a:pt x="1340" y="823"/>
                    </a:lnTo>
                    <a:lnTo>
                      <a:pt x="1337" y="823"/>
                    </a:lnTo>
                    <a:lnTo>
                      <a:pt x="1337" y="821"/>
                    </a:lnTo>
                    <a:lnTo>
                      <a:pt x="1335" y="819"/>
                    </a:lnTo>
                    <a:lnTo>
                      <a:pt x="1335" y="819"/>
                    </a:lnTo>
                    <a:lnTo>
                      <a:pt x="1335" y="815"/>
                    </a:lnTo>
                    <a:lnTo>
                      <a:pt x="1331" y="819"/>
                    </a:lnTo>
                    <a:lnTo>
                      <a:pt x="1331" y="819"/>
                    </a:lnTo>
                    <a:lnTo>
                      <a:pt x="1331" y="819"/>
                    </a:lnTo>
                    <a:lnTo>
                      <a:pt x="1335" y="819"/>
                    </a:lnTo>
                    <a:lnTo>
                      <a:pt x="1335" y="821"/>
                    </a:lnTo>
                    <a:lnTo>
                      <a:pt x="1335" y="821"/>
                    </a:lnTo>
                    <a:lnTo>
                      <a:pt x="1335" y="823"/>
                    </a:lnTo>
                    <a:lnTo>
                      <a:pt x="1335" y="825"/>
                    </a:lnTo>
                    <a:lnTo>
                      <a:pt x="1335" y="825"/>
                    </a:lnTo>
                    <a:lnTo>
                      <a:pt x="1331" y="825"/>
                    </a:lnTo>
                    <a:lnTo>
                      <a:pt x="1331" y="827"/>
                    </a:lnTo>
                    <a:lnTo>
                      <a:pt x="1331" y="827"/>
                    </a:lnTo>
                    <a:lnTo>
                      <a:pt x="1335" y="827"/>
                    </a:lnTo>
                    <a:lnTo>
                      <a:pt x="1337" y="827"/>
                    </a:lnTo>
                    <a:lnTo>
                      <a:pt x="1337" y="829"/>
                    </a:lnTo>
                    <a:lnTo>
                      <a:pt x="1335" y="830"/>
                    </a:lnTo>
                    <a:lnTo>
                      <a:pt x="1335" y="830"/>
                    </a:lnTo>
                    <a:lnTo>
                      <a:pt x="1331" y="832"/>
                    </a:lnTo>
                    <a:lnTo>
                      <a:pt x="1325" y="830"/>
                    </a:lnTo>
                    <a:lnTo>
                      <a:pt x="1322" y="830"/>
                    </a:lnTo>
                    <a:lnTo>
                      <a:pt x="1325" y="827"/>
                    </a:lnTo>
                    <a:lnTo>
                      <a:pt x="1325" y="827"/>
                    </a:lnTo>
                    <a:lnTo>
                      <a:pt x="1322" y="825"/>
                    </a:lnTo>
                    <a:lnTo>
                      <a:pt x="1322" y="823"/>
                    </a:lnTo>
                    <a:lnTo>
                      <a:pt x="1320" y="823"/>
                    </a:lnTo>
                    <a:lnTo>
                      <a:pt x="1320" y="825"/>
                    </a:lnTo>
                    <a:lnTo>
                      <a:pt x="1322" y="827"/>
                    </a:lnTo>
                    <a:lnTo>
                      <a:pt x="1322" y="830"/>
                    </a:lnTo>
                    <a:lnTo>
                      <a:pt x="1322" y="832"/>
                    </a:lnTo>
                    <a:lnTo>
                      <a:pt x="1320" y="832"/>
                    </a:lnTo>
                    <a:lnTo>
                      <a:pt x="1316" y="830"/>
                    </a:lnTo>
                    <a:lnTo>
                      <a:pt x="1316" y="829"/>
                    </a:lnTo>
                    <a:lnTo>
                      <a:pt x="1316" y="832"/>
                    </a:lnTo>
                    <a:lnTo>
                      <a:pt x="1318" y="834"/>
                    </a:lnTo>
                    <a:lnTo>
                      <a:pt x="1322" y="834"/>
                    </a:lnTo>
                    <a:lnTo>
                      <a:pt x="1322" y="836"/>
                    </a:lnTo>
                    <a:lnTo>
                      <a:pt x="1325" y="836"/>
                    </a:lnTo>
                    <a:lnTo>
                      <a:pt x="1325" y="838"/>
                    </a:lnTo>
                    <a:lnTo>
                      <a:pt x="1325" y="840"/>
                    </a:lnTo>
                    <a:lnTo>
                      <a:pt x="1320" y="840"/>
                    </a:lnTo>
                    <a:lnTo>
                      <a:pt x="1318" y="838"/>
                    </a:lnTo>
                    <a:lnTo>
                      <a:pt x="1314" y="836"/>
                    </a:lnTo>
                    <a:lnTo>
                      <a:pt x="1312" y="834"/>
                    </a:lnTo>
                    <a:lnTo>
                      <a:pt x="1312" y="834"/>
                    </a:lnTo>
                    <a:lnTo>
                      <a:pt x="1312" y="836"/>
                    </a:lnTo>
                    <a:lnTo>
                      <a:pt x="1316" y="840"/>
                    </a:lnTo>
                    <a:lnTo>
                      <a:pt x="1318" y="840"/>
                    </a:lnTo>
                    <a:lnTo>
                      <a:pt x="1318" y="846"/>
                    </a:lnTo>
                    <a:lnTo>
                      <a:pt x="1316" y="849"/>
                    </a:lnTo>
                    <a:lnTo>
                      <a:pt x="1314" y="846"/>
                    </a:lnTo>
                    <a:lnTo>
                      <a:pt x="1314" y="846"/>
                    </a:lnTo>
                    <a:lnTo>
                      <a:pt x="1312" y="844"/>
                    </a:lnTo>
                    <a:lnTo>
                      <a:pt x="1310" y="840"/>
                    </a:lnTo>
                    <a:lnTo>
                      <a:pt x="1310" y="844"/>
                    </a:lnTo>
                    <a:lnTo>
                      <a:pt x="1310" y="846"/>
                    </a:lnTo>
                    <a:lnTo>
                      <a:pt x="1310" y="849"/>
                    </a:lnTo>
                    <a:lnTo>
                      <a:pt x="1310" y="851"/>
                    </a:lnTo>
                    <a:lnTo>
                      <a:pt x="1310" y="851"/>
                    </a:lnTo>
                    <a:lnTo>
                      <a:pt x="1310" y="851"/>
                    </a:lnTo>
                    <a:lnTo>
                      <a:pt x="1307" y="851"/>
                    </a:lnTo>
                    <a:lnTo>
                      <a:pt x="1307" y="849"/>
                    </a:lnTo>
                    <a:lnTo>
                      <a:pt x="1305" y="849"/>
                    </a:lnTo>
                    <a:lnTo>
                      <a:pt x="1305" y="849"/>
                    </a:lnTo>
                    <a:lnTo>
                      <a:pt x="1305" y="851"/>
                    </a:lnTo>
                    <a:lnTo>
                      <a:pt x="1301" y="849"/>
                    </a:lnTo>
                    <a:lnTo>
                      <a:pt x="1301" y="849"/>
                    </a:lnTo>
                    <a:lnTo>
                      <a:pt x="1301" y="846"/>
                    </a:lnTo>
                    <a:lnTo>
                      <a:pt x="1301" y="844"/>
                    </a:lnTo>
                    <a:lnTo>
                      <a:pt x="1301" y="840"/>
                    </a:lnTo>
                    <a:lnTo>
                      <a:pt x="1297" y="844"/>
                    </a:lnTo>
                    <a:lnTo>
                      <a:pt x="1297" y="849"/>
                    </a:lnTo>
                    <a:lnTo>
                      <a:pt x="1297" y="849"/>
                    </a:lnTo>
                    <a:lnTo>
                      <a:pt x="1295" y="849"/>
                    </a:lnTo>
                    <a:lnTo>
                      <a:pt x="1297" y="849"/>
                    </a:lnTo>
                    <a:lnTo>
                      <a:pt x="1297" y="851"/>
                    </a:lnTo>
                    <a:lnTo>
                      <a:pt x="1297" y="851"/>
                    </a:lnTo>
                    <a:lnTo>
                      <a:pt x="1297" y="853"/>
                    </a:lnTo>
                    <a:lnTo>
                      <a:pt x="1295" y="853"/>
                    </a:lnTo>
                    <a:lnTo>
                      <a:pt x="1293" y="853"/>
                    </a:lnTo>
                    <a:lnTo>
                      <a:pt x="1293" y="853"/>
                    </a:lnTo>
                    <a:lnTo>
                      <a:pt x="1295" y="855"/>
                    </a:lnTo>
                    <a:lnTo>
                      <a:pt x="1297" y="855"/>
                    </a:lnTo>
                    <a:lnTo>
                      <a:pt x="1297" y="857"/>
                    </a:lnTo>
                    <a:lnTo>
                      <a:pt x="1297" y="859"/>
                    </a:lnTo>
                    <a:lnTo>
                      <a:pt x="1295" y="861"/>
                    </a:lnTo>
                    <a:lnTo>
                      <a:pt x="1295" y="862"/>
                    </a:lnTo>
                    <a:lnTo>
                      <a:pt x="1297" y="864"/>
                    </a:lnTo>
                    <a:lnTo>
                      <a:pt x="1297" y="866"/>
                    </a:lnTo>
                    <a:lnTo>
                      <a:pt x="1295" y="866"/>
                    </a:lnTo>
                    <a:lnTo>
                      <a:pt x="1293" y="866"/>
                    </a:lnTo>
                    <a:lnTo>
                      <a:pt x="1293" y="866"/>
                    </a:lnTo>
                    <a:lnTo>
                      <a:pt x="1295" y="868"/>
                    </a:lnTo>
                    <a:lnTo>
                      <a:pt x="1297" y="870"/>
                    </a:lnTo>
                    <a:lnTo>
                      <a:pt x="1295" y="874"/>
                    </a:lnTo>
                    <a:lnTo>
                      <a:pt x="1292" y="876"/>
                    </a:lnTo>
                    <a:lnTo>
                      <a:pt x="1292" y="876"/>
                    </a:lnTo>
                    <a:lnTo>
                      <a:pt x="1290" y="876"/>
                    </a:lnTo>
                    <a:lnTo>
                      <a:pt x="1290" y="874"/>
                    </a:lnTo>
                    <a:lnTo>
                      <a:pt x="1288" y="874"/>
                    </a:lnTo>
                    <a:lnTo>
                      <a:pt x="1288" y="870"/>
                    </a:lnTo>
                    <a:lnTo>
                      <a:pt x="1286" y="870"/>
                    </a:lnTo>
                    <a:lnTo>
                      <a:pt x="1286" y="870"/>
                    </a:lnTo>
                    <a:lnTo>
                      <a:pt x="1288" y="868"/>
                    </a:lnTo>
                    <a:lnTo>
                      <a:pt x="1288" y="866"/>
                    </a:lnTo>
                    <a:lnTo>
                      <a:pt x="1286" y="866"/>
                    </a:lnTo>
                    <a:lnTo>
                      <a:pt x="1284" y="868"/>
                    </a:lnTo>
                    <a:lnTo>
                      <a:pt x="1282" y="870"/>
                    </a:lnTo>
                    <a:lnTo>
                      <a:pt x="1282" y="870"/>
                    </a:lnTo>
                    <a:lnTo>
                      <a:pt x="1280" y="868"/>
                    </a:lnTo>
                    <a:lnTo>
                      <a:pt x="1280" y="866"/>
                    </a:lnTo>
                    <a:lnTo>
                      <a:pt x="1280" y="864"/>
                    </a:lnTo>
                    <a:lnTo>
                      <a:pt x="1280" y="862"/>
                    </a:lnTo>
                    <a:lnTo>
                      <a:pt x="1280" y="861"/>
                    </a:lnTo>
                    <a:lnTo>
                      <a:pt x="1280" y="861"/>
                    </a:lnTo>
                    <a:lnTo>
                      <a:pt x="1282" y="859"/>
                    </a:lnTo>
                    <a:lnTo>
                      <a:pt x="1280" y="857"/>
                    </a:lnTo>
                    <a:lnTo>
                      <a:pt x="1280" y="861"/>
                    </a:lnTo>
                    <a:lnTo>
                      <a:pt x="1276" y="862"/>
                    </a:lnTo>
                    <a:lnTo>
                      <a:pt x="1276" y="866"/>
                    </a:lnTo>
                    <a:lnTo>
                      <a:pt x="1276" y="864"/>
                    </a:lnTo>
                    <a:lnTo>
                      <a:pt x="1276" y="862"/>
                    </a:lnTo>
                    <a:lnTo>
                      <a:pt x="1273" y="861"/>
                    </a:lnTo>
                    <a:lnTo>
                      <a:pt x="1273" y="859"/>
                    </a:lnTo>
                    <a:lnTo>
                      <a:pt x="1273" y="857"/>
                    </a:lnTo>
                    <a:lnTo>
                      <a:pt x="1276" y="855"/>
                    </a:lnTo>
                    <a:lnTo>
                      <a:pt x="1276" y="855"/>
                    </a:lnTo>
                    <a:lnTo>
                      <a:pt x="1280" y="853"/>
                    </a:lnTo>
                    <a:lnTo>
                      <a:pt x="1280" y="853"/>
                    </a:lnTo>
                    <a:lnTo>
                      <a:pt x="1276" y="853"/>
                    </a:lnTo>
                    <a:lnTo>
                      <a:pt x="1273" y="853"/>
                    </a:lnTo>
                    <a:lnTo>
                      <a:pt x="1273" y="853"/>
                    </a:lnTo>
                    <a:lnTo>
                      <a:pt x="1273" y="851"/>
                    </a:lnTo>
                    <a:lnTo>
                      <a:pt x="1273" y="849"/>
                    </a:lnTo>
                    <a:lnTo>
                      <a:pt x="1276" y="849"/>
                    </a:lnTo>
                    <a:lnTo>
                      <a:pt x="1276" y="846"/>
                    </a:lnTo>
                    <a:lnTo>
                      <a:pt x="1276" y="846"/>
                    </a:lnTo>
                    <a:lnTo>
                      <a:pt x="1273" y="849"/>
                    </a:lnTo>
                    <a:lnTo>
                      <a:pt x="1273" y="846"/>
                    </a:lnTo>
                    <a:lnTo>
                      <a:pt x="1273" y="846"/>
                    </a:lnTo>
                    <a:lnTo>
                      <a:pt x="1273" y="846"/>
                    </a:lnTo>
                    <a:lnTo>
                      <a:pt x="1276" y="844"/>
                    </a:lnTo>
                    <a:lnTo>
                      <a:pt x="1280" y="844"/>
                    </a:lnTo>
                    <a:lnTo>
                      <a:pt x="1276" y="840"/>
                    </a:lnTo>
                    <a:lnTo>
                      <a:pt x="1273" y="840"/>
                    </a:lnTo>
                    <a:lnTo>
                      <a:pt x="1273" y="844"/>
                    </a:lnTo>
                    <a:lnTo>
                      <a:pt x="1271" y="840"/>
                    </a:lnTo>
                    <a:lnTo>
                      <a:pt x="1271" y="840"/>
                    </a:lnTo>
                    <a:lnTo>
                      <a:pt x="1273" y="836"/>
                    </a:lnTo>
                    <a:lnTo>
                      <a:pt x="1276" y="836"/>
                    </a:lnTo>
                    <a:lnTo>
                      <a:pt x="1280" y="836"/>
                    </a:lnTo>
                    <a:lnTo>
                      <a:pt x="1282" y="832"/>
                    </a:lnTo>
                    <a:lnTo>
                      <a:pt x="1284" y="830"/>
                    </a:lnTo>
                    <a:lnTo>
                      <a:pt x="1286" y="829"/>
                    </a:lnTo>
                    <a:lnTo>
                      <a:pt x="1288" y="825"/>
                    </a:lnTo>
                    <a:lnTo>
                      <a:pt x="1290" y="825"/>
                    </a:lnTo>
                    <a:lnTo>
                      <a:pt x="1290" y="823"/>
                    </a:lnTo>
                    <a:lnTo>
                      <a:pt x="1288" y="823"/>
                    </a:lnTo>
                    <a:lnTo>
                      <a:pt x="1284" y="825"/>
                    </a:lnTo>
                    <a:lnTo>
                      <a:pt x="1282" y="827"/>
                    </a:lnTo>
                    <a:lnTo>
                      <a:pt x="1280" y="830"/>
                    </a:lnTo>
                    <a:lnTo>
                      <a:pt x="1276" y="832"/>
                    </a:lnTo>
                    <a:lnTo>
                      <a:pt x="1273" y="832"/>
                    </a:lnTo>
                    <a:lnTo>
                      <a:pt x="1271" y="836"/>
                    </a:lnTo>
                    <a:lnTo>
                      <a:pt x="1267" y="836"/>
                    </a:lnTo>
                    <a:lnTo>
                      <a:pt x="1265" y="834"/>
                    </a:lnTo>
                    <a:lnTo>
                      <a:pt x="1265" y="834"/>
                    </a:lnTo>
                    <a:lnTo>
                      <a:pt x="1267" y="829"/>
                    </a:lnTo>
                    <a:lnTo>
                      <a:pt x="1273" y="825"/>
                    </a:lnTo>
                    <a:lnTo>
                      <a:pt x="1273" y="825"/>
                    </a:lnTo>
                    <a:lnTo>
                      <a:pt x="1276" y="823"/>
                    </a:lnTo>
                    <a:lnTo>
                      <a:pt x="1276" y="819"/>
                    </a:lnTo>
                    <a:lnTo>
                      <a:pt x="1273" y="823"/>
                    </a:lnTo>
                    <a:lnTo>
                      <a:pt x="1265" y="829"/>
                    </a:lnTo>
                    <a:lnTo>
                      <a:pt x="1263" y="829"/>
                    </a:lnTo>
                    <a:lnTo>
                      <a:pt x="1261" y="829"/>
                    </a:lnTo>
                    <a:lnTo>
                      <a:pt x="1261" y="827"/>
                    </a:lnTo>
                    <a:lnTo>
                      <a:pt x="1261" y="825"/>
                    </a:lnTo>
                    <a:lnTo>
                      <a:pt x="1260" y="823"/>
                    </a:lnTo>
                    <a:lnTo>
                      <a:pt x="1258" y="825"/>
                    </a:lnTo>
                    <a:lnTo>
                      <a:pt x="1256" y="823"/>
                    </a:lnTo>
                    <a:lnTo>
                      <a:pt x="1258" y="821"/>
                    </a:lnTo>
                    <a:lnTo>
                      <a:pt x="1260" y="821"/>
                    </a:lnTo>
                    <a:lnTo>
                      <a:pt x="1260" y="819"/>
                    </a:lnTo>
                    <a:lnTo>
                      <a:pt x="1258" y="819"/>
                    </a:lnTo>
                    <a:lnTo>
                      <a:pt x="1256" y="819"/>
                    </a:lnTo>
                    <a:lnTo>
                      <a:pt x="1256" y="819"/>
                    </a:lnTo>
                    <a:lnTo>
                      <a:pt x="1256" y="815"/>
                    </a:lnTo>
                    <a:lnTo>
                      <a:pt x="1258" y="814"/>
                    </a:lnTo>
                    <a:lnTo>
                      <a:pt x="1258" y="812"/>
                    </a:lnTo>
                    <a:lnTo>
                      <a:pt x="1256" y="812"/>
                    </a:lnTo>
                    <a:lnTo>
                      <a:pt x="1254" y="810"/>
                    </a:lnTo>
                    <a:lnTo>
                      <a:pt x="1252" y="810"/>
                    </a:lnTo>
                    <a:lnTo>
                      <a:pt x="1252" y="812"/>
                    </a:lnTo>
                    <a:lnTo>
                      <a:pt x="1254" y="814"/>
                    </a:lnTo>
                    <a:lnTo>
                      <a:pt x="1252" y="815"/>
                    </a:lnTo>
                    <a:lnTo>
                      <a:pt x="1248" y="814"/>
                    </a:lnTo>
                    <a:lnTo>
                      <a:pt x="1246" y="812"/>
                    </a:lnTo>
                    <a:lnTo>
                      <a:pt x="1243" y="812"/>
                    </a:lnTo>
                    <a:lnTo>
                      <a:pt x="1246" y="814"/>
                    </a:lnTo>
                    <a:lnTo>
                      <a:pt x="1248" y="815"/>
                    </a:lnTo>
                    <a:lnTo>
                      <a:pt x="1252" y="819"/>
                    </a:lnTo>
                    <a:lnTo>
                      <a:pt x="1246" y="819"/>
                    </a:lnTo>
                    <a:lnTo>
                      <a:pt x="1246" y="819"/>
                    </a:lnTo>
                    <a:lnTo>
                      <a:pt x="1246" y="821"/>
                    </a:lnTo>
                    <a:lnTo>
                      <a:pt x="1246" y="821"/>
                    </a:lnTo>
                    <a:lnTo>
                      <a:pt x="1243" y="819"/>
                    </a:lnTo>
                    <a:lnTo>
                      <a:pt x="1243" y="815"/>
                    </a:lnTo>
                    <a:lnTo>
                      <a:pt x="1243" y="815"/>
                    </a:lnTo>
                    <a:lnTo>
                      <a:pt x="1241" y="815"/>
                    </a:lnTo>
                    <a:lnTo>
                      <a:pt x="1243" y="819"/>
                    </a:lnTo>
                    <a:lnTo>
                      <a:pt x="1243" y="819"/>
                    </a:lnTo>
                    <a:lnTo>
                      <a:pt x="1243" y="823"/>
                    </a:lnTo>
                    <a:lnTo>
                      <a:pt x="1243" y="823"/>
                    </a:lnTo>
                    <a:lnTo>
                      <a:pt x="1246" y="825"/>
                    </a:lnTo>
                    <a:lnTo>
                      <a:pt x="1246" y="829"/>
                    </a:lnTo>
                    <a:lnTo>
                      <a:pt x="1246" y="830"/>
                    </a:lnTo>
                    <a:lnTo>
                      <a:pt x="1246" y="832"/>
                    </a:lnTo>
                    <a:lnTo>
                      <a:pt x="1246" y="834"/>
                    </a:lnTo>
                    <a:lnTo>
                      <a:pt x="1246" y="834"/>
                    </a:lnTo>
                    <a:lnTo>
                      <a:pt x="1243" y="834"/>
                    </a:lnTo>
                    <a:lnTo>
                      <a:pt x="1241" y="832"/>
                    </a:lnTo>
                    <a:lnTo>
                      <a:pt x="1241" y="834"/>
                    </a:lnTo>
                    <a:lnTo>
                      <a:pt x="1239" y="834"/>
                    </a:lnTo>
                    <a:lnTo>
                      <a:pt x="1235" y="830"/>
                    </a:lnTo>
                    <a:lnTo>
                      <a:pt x="1235" y="829"/>
                    </a:lnTo>
                    <a:lnTo>
                      <a:pt x="1235" y="827"/>
                    </a:lnTo>
                    <a:lnTo>
                      <a:pt x="1235" y="823"/>
                    </a:lnTo>
                    <a:lnTo>
                      <a:pt x="1231" y="821"/>
                    </a:lnTo>
                    <a:lnTo>
                      <a:pt x="1229" y="821"/>
                    </a:lnTo>
                    <a:lnTo>
                      <a:pt x="1228" y="819"/>
                    </a:lnTo>
                    <a:lnTo>
                      <a:pt x="1228" y="819"/>
                    </a:lnTo>
                    <a:lnTo>
                      <a:pt x="1226" y="819"/>
                    </a:lnTo>
                    <a:lnTo>
                      <a:pt x="1222" y="819"/>
                    </a:lnTo>
                    <a:lnTo>
                      <a:pt x="1218" y="819"/>
                    </a:lnTo>
                    <a:lnTo>
                      <a:pt x="1218" y="821"/>
                    </a:lnTo>
                    <a:lnTo>
                      <a:pt x="1224" y="821"/>
                    </a:lnTo>
                    <a:lnTo>
                      <a:pt x="1226" y="823"/>
                    </a:lnTo>
                    <a:lnTo>
                      <a:pt x="1231" y="825"/>
                    </a:lnTo>
                    <a:lnTo>
                      <a:pt x="1231" y="829"/>
                    </a:lnTo>
                    <a:lnTo>
                      <a:pt x="1228" y="830"/>
                    </a:lnTo>
                    <a:lnTo>
                      <a:pt x="1228" y="832"/>
                    </a:lnTo>
                    <a:lnTo>
                      <a:pt x="1231" y="832"/>
                    </a:lnTo>
                    <a:lnTo>
                      <a:pt x="1231" y="834"/>
                    </a:lnTo>
                    <a:lnTo>
                      <a:pt x="1231" y="836"/>
                    </a:lnTo>
                    <a:lnTo>
                      <a:pt x="1231" y="836"/>
                    </a:lnTo>
                    <a:lnTo>
                      <a:pt x="1235" y="836"/>
                    </a:lnTo>
                    <a:lnTo>
                      <a:pt x="1235" y="838"/>
                    </a:lnTo>
                    <a:lnTo>
                      <a:pt x="1233" y="840"/>
                    </a:lnTo>
                    <a:lnTo>
                      <a:pt x="1228" y="846"/>
                    </a:lnTo>
                    <a:lnTo>
                      <a:pt x="1226" y="849"/>
                    </a:lnTo>
                    <a:lnTo>
                      <a:pt x="1231" y="846"/>
                    </a:lnTo>
                    <a:lnTo>
                      <a:pt x="1233" y="846"/>
                    </a:lnTo>
                    <a:lnTo>
                      <a:pt x="1235" y="844"/>
                    </a:lnTo>
                    <a:lnTo>
                      <a:pt x="1241" y="844"/>
                    </a:lnTo>
                    <a:lnTo>
                      <a:pt x="1243" y="846"/>
                    </a:lnTo>
                    <a:lnTo>
                      <a:pt x="1243" y="846"/>
                    </a:lnTo>
                    <a:lnTo>
                      <a:pt x="1239" y="849"/>
                    </a:lnTo>
                    <a:lnTo>
                      <a:pt x="1237" y="849"/>
                    </a:lnTo>
                    <a:lnTo>
                      <a:pt x="1239" y="849"/>
                    </a:lnTo>
                    <a:lnTo>
                      <a:pt x="1241" y="851"/>
                    </a:lnTo>
                    <a:lnTo>
                      <a:pt x="1243" y="853"/>
                    </a:lnTo>
                    <a:lnTo>
                      <a:pt x="1243" y="853"/>
                    </a:lnTo>
                    <a:lnTo>
                      <a:pt x="1239" y="855"/>
                    </a:lnTo>
                    <a:lnTo>
                      <a:pt x="1237" y="855"/>
                    </a:lnTo>
                    <a:lnTo>
                      <a:pt x="1239" y="857"/>
                    </a:lnTo>
                    <a:lnTo>
                      <a:pt x="1239" y="859"/>
                    </a:lnTo>
                    <a:lnTo>
                      <a:pt x="1239" y="859"/>
                    </a:lnTo>
                    <a:lnTo>
                      <a:pt x="1239" y="861"/>
                    </a:lnTo>
                    <a:lnTo>
                      <a:pt x="1241" y="861"/>
                    </a:lnTo>
                    <a:lnTo>
                      <a:pt x="1241" y="864"/>
                    </a:lnTo>
                    <a:lnTo>
                      <a:pt x="1243" y="864"/>
                    </a:lnTo>
                    <a:lnTo>
                      <a:pt x="1243" y="866"/>
                    </a:lnTo>
                    <a:lnTo>
                      <a:pt x="1243" y="870"/>
                    </a:lnTo>
                    <a:lnTo>
                      <a:pt x="1243" y="870"/>
                    </a:lnTo>
                    <a:lnTo>
                      <a:pt x="1243" y="870"/>
                    </a:lnTo>
                    <a:lnTo>
                      <a:pt x="1243" y="866"/>
                    </a:lnTo>
                    <a:lnTo>
                      <a:pt x="1246" y="864"/>
                    </a:lnTo>
                    <a:lnTo>
                      <a:pt x="1248" y="866"/>
                    </a:lnTo>
                    <a:lnTo>
                      <a:pt x="1248" y="870"/>
                    </a:lnTo>
                    <a:lnTo>
                      <a:pt x="1252" y="874"/>
                    </a:lnTo>
                    <a:lnTo>
                      <a:pt x="1248" y="874"/>
                    </a:lnTo>
                    <a:lnTo>
                      <a:pt x="1246" y="876"/>
                    </a:lnTo>
                    <a:lnTo>
                      <a:pt x="1246" y="876"/>
                    </a:lnTo>
                    <a:lnTo>
                      <a:pt x="1252" y="876"/>
                    </a:lnTo>
                    <a:lnTo>
                      <a:pt x="1252" y="876"/>
                    </a:lnTo>
                    <a:lnTo>
                      <a:pt x="1252" y="876"/>
                    </a:lnTo>
                    <a:lnTo>
                      <a:pt x="1254" y="876"/>
                    </a:lnTo>
                    <a:lnTo>
                      <a:pt x="1254" y="874"/>
                    </a:lnTo>
                    <a:lnTo>
                      <a:pt x="1256" y="874"/>
                    </a:lnTo>
                    <a:lnTo>
                      <a:pt x="1258" y="876"/>
                    </a:lnTo>
                    <a:lnTo>
                      <a:pt x="1258" y="879"/>
                    </a:lnTo>
                    <a:lnTo>
                      <a:pt x="1256" y="883"/>
                    </a:lnTo>
                    <a:lnTo>
                      <a:pt x="1254" y="883"/>
                    </a:lnTo>
                    <a:lnTo>
                      <a:pt x="1254" y="885"/>
                    </a:lnTo>
                    <a:lnTo>
                      <a:pt x="1256" y="885"/>
                    </a:lnTo>
                    <a:lnTo>
                      <a:pt x="1260" y="885"/>
                    </a:lnTo>
                    <a:lnTo>
                      <a:pt x="1263" y="885"/>
                    </a:lnTo>
                    <a:lnTo>
                      <a:pt x="1263" y="885"/>
                    </a:lnTo>
                    <a:lnTo>
                      <a:pt x="1261" y="889"/>
                    </a:lnTo>
                    <a:lnTo>
                      <a:pt x="1260" y="889"/>
                    </a:lnTo>
                    <a:lnTo>
                      <a:pt x="1256" y="891"/>
                    </a:lnTo>
                    <a:lnTo>
                      <a:pt x="1258" y="893"/>
                    </a:lnTo>
                    <a:lnTo>
                      <a:pt x="1261" y="896"/>
                    </a:lnTo>
                    <a:lnTo>
                      <a:pt x="1260" y="900"/>
                    </a:lnTo>
                    <a:lnTo>
                      <a:pt x="1261" y="900"/>
                    </a:lnTo>
                    <a:lnTo>
                      <a:pt x="1261" y="904"/>
                    </a:lnTo>
                    <a:lnTo>
                      <a:pt x="1267" y="910"/>
                    </a:lnTo>
                    <a:lnTo>
                      <a:pt x="1267" y="913"/>
                    </a:lnTo>
                    <a:lnTo>
                      <a:pt x="1265" y="913"/>
                    </a:lnTo>
                    <a:lnTo>
                      <a:pt x="1265" y="917"/>
                    </a:lnTo>
                    <a:lnTo>
                      <a:pt x="1263" y="923"/>
                    </a:lnTo>
                    <a:lnTo>
                      <a:pt x="1263" y="927"/>
                    </a:lnTo>
                    <a:lnTo>
                      <a:pt x="1263" y="927"/>
                    </a:lnTo>
                    <a:lnTo>
                      <a:pt x="1258" y="921"/>
                    </a:lnTo>
                    <a:lnTo>
                      <a:pt x="1256" y="917"/>
                    </a:lnTo>
                    <a:lnTo>
                      <a:pt x="1258" y="913"/>
                    </a:lnTo>
                    <a:lnTo>
                      <a:pt x="1256" y="910"/>
                    </a:lnTo>
                    <a:lnTo>
                      <a:pt x="1256" y="913"/>
                    </a:lnTo>
                    <a:lnTo>
                      <a:pt x="1254" y="919"/>
                    </a:lnTo>
                    <a:lnTo>
                      <a:pt x="1258" y="925"/>
                    </a:lnTo>
                    <a:lnTo>
                      <a:pt x="1258" y="930"/>
                    </a:lnTo>
                    <a:lnTo>
                      <a:pt x="1256" y="934"/>
                    </a:lnTo>
                    <a:lnTo>
                      <a:pt x="1258" y="938"/>
                    </a:lnTo>
                    <a:lnTo>
                      <a:pt x="1256" y="938"/>
                    </a:lnTo>
                    <a:lnTo>
                      <a:pt x="1254" y="938"/>
                    </a:lnTo>
                    <a:lnTo>
                      <a:pt x="1252" y="934"/>
                    </a:lnTo>
                    <a:lnTo>
                      <a:pt x="1248" y="934"/>
                    </a:lnTo>
                    <a:lnTo>
                      <a:pt x="1252" y="943"/>
                    </a:lnTo>
                    <a:lnTo>
                      <a:pt x="1252" y="945"/>
                    </a:lnTo>
                    <a:lnTo>
                      <a:pt x="1252" y="947"/>
                    </a:lnTo>
                    <a:lnTo>
                      <a:pt x="1252" y="949"/>
                    </a:lnTo>
                    <a:lnTo>
                      <a:pt x="1248" y="949"/>
                    </a:lnTo>
                    <a:lnTo>
                      <a:pt x="1246" y="947"/>
                    </a:lnTo>
                    <a:lnTo>
                      <a:pt x="1246" y="940"/>
                    </a:lnTo>
                    <a:lnTo>
                      <a:pt x="1246" y="938"/>
                    </a:lnTo>
                    <a:lnTo>
                      <a:pt x="1246" y="934"/>
                    </a:lnTo>
                    <a:lnTo>
                      <a:pt x="1246" y="938"/>
                    </a:lnTo>
                    <a:lnTo>
                      <a:pt x="1243" y="938"/>
                    </a:lnTo>
                    <a:lnTo>
                      <a:pt x="1241" y="934"/>
                    </a:lnTo>
                    <a:lnTo>
                      <a:pt x="1241" y="930"/>
                    </a:lnTo>
                    <a:lnTo>
                      <a:pt x="1239" y="932"/>
                    </a:lnTo>
                    <a:lnTo>
                      <a:pt x="1239" y="934"/>
                    </a:lnTo>
                    <a:lnTo>
                      <a:pt x="1239" y="934"/>
                    </a:lnTo>
                    <a:lnTo>
                      <a:pt x="1239" y="932"/>
                    </a:lnTo>
                    <a:lnTo>
                      <a:pt x="1237" y="928"/>
                    </a:lnTo>
                    <a:lnTo>
                      <a:pt x="1235" y="927"/>
                    </a:lnTo>
                    <a:lnTo>
                      <a:pt x="1235" y="928"/>
                    </a:lnTo>
                    <a:lnTo>
                      <a:pt x="1235" y="930"/>
                    </a:lnTo>
                    <a:lnTo>
                      <a:pt x="1235" y="932"/>
                    </a:lnTo>
                    <a:lnTo>
                      <a:pt x="1233" y="932"/>
                    </a:lnTo>
                    <a:lnTo>
                      <a:pt x="1231" y="930"/>
                    </a:lnTo>
                    <a:lnTo>
                      <a:pt x="1229" y="928"/>
                    </a:lnTo>
                    <a:lnTo>
                      <a:pt x="1231" y="925"/>
                    </a:lnTo>
                    <a:lnTo>
                      <a:pt x="1228" y="919"/>
                    </a:lnTo>
                    <a:lnTo>
                      <a:pt x="1228" y="915"/>
                    </a:lnTo>
                    <a:lnTo>
                      <a:pt x="1228" y="919"/>
                    </a:lnTo>
                    <a:lnTo>
                      <a:pt x="1228" y="925"/>
                    </a:lnTo>
                    <a:lnTo>
                      <a:pt x="1229" y="928"/>
                    </a:lnTo>
                    <a:lnTo>
                      <a:pt x="1226" y="930"/>
                    </a:lnTo>
                    <a:lnTo>
                      <a:pt x="1224" y="925"/>
                    </a:lnTo>
                    <a:lnTo>
                      <a:pt x="1222" y="923"/>
                    </a:lnTo>
                    <a:lnTo>
                      <a:pt x="1222" y="921"/>
                    </a:lnTo>
                    <a:lnTo>
                      <a:pt x="1218" y="919"/>
                    </a:lnTo>
                    <a:lnTo>
                      <a:pt x="1218" y="913"/>
                    </a:lnTo>
                    <a:lnTo>
                      <a:pt x="1216" y="913"/>
                    </a:lnTo>
                    <a:lnTo>
                      <a:pt x="1216" y="910"/>
                    </a:lnTo>
                    <a:lnTo>
                      <a:pt x="1214" y="910"/>
                    </a:lnTo>
                    <a:lnTo>
                      <a:pt x="1212" y="910"/>
                    </a:lnTo>
                    <a:lnTo>
                      <a:pt x="1212" y="910"/>
                    </a:lnTo>
                    <a:lnTo>
                      <a:pt x="1214" y="915"/>
                    </a:lnTo>
                    <a:lnTo>
                      <a:pt x="1214" y="917"/>
                    </a:lnTo>
                    <a:lnTo>
                      <a:pt x="1212" y="915"/>
                    </a:lnTo>
                    <a:lnTo>
                      <a:pt x="1212" y="913"/>
                    </a:lnTo>
                    <a:lnTo>
                      <a:pt x="1211" y="913"/>
                    </a:lnTo>
                    <a:lnTo>
                      <a:pt x="1207" y="910"/>
                    </a:lnTo>
                    <a:lnTo>
                      <a:pt x="1205" y="904"/>
                    </a:lnTo>
                    <a:lnTo>
                      <a:pt x="1203" y="902"/>
                    </a:lnTo>
                    <a:lnTo>
                      <a:pt x="1199" y="902"/>
                    </a:lnTo>
                    <a:lnTo>
                      <a:pt x="1197" y="904"/>
                    </a:lnTo>
                    <a:lnTo>
                      <a:pt x="1197" y="902"/>
                    </a:lnTo>
                    <a:lnTo>
                      <a:pt x="1197" y="904"/>
                    </a:lnTo>
                    <a:lnTo>
                      <a:pt x="1197" y="910"/>
                    </a:lnTo>
                    <a:lnTo>
                      <a:pt x="1201" y="913"/>
                    </a:lnTo>
                    <a:lnTo>
                      <a:pt x="1201" y="915"/>
                    </a:lnTo>
                    <a:lnTo>
                      <a:pt x="1203" y="919"/>
                    </a:lnTo>
                    <a:lnTo>
                      <a:pt x="1203" y="923"/>
                    </a:lnTo>
                    <a:lnTo>
                      <a:pt x="1205" y="923"/>
                    </a:lnTo>
                    <a:lnTo>
                      <a:pt x="1209" y="923"/>
                    </a:lnTo>
                    <a:lnTo>
                      <a:pt x="1211" y="927"/>
                    </a:lnTo>
                    <a:lnTo>
                      <a:pt x="1211" y="928"/>
                    </a:lnTo>
                    <a:lnTo>
                      <a:pt x="1212" y="928"/>
                    </a:lnTo>
                    <a:lnTo>
                      <a:pt x="1214" y="928"/>
                    </a:lnTo>
                    <a:lnTo>
                      <a:pt x="1212" y="932"/>
                    </a:lnTo>
                    <a:lnTo>
                      <a:pt x="1216" y="932"/>
                    </a:lnTo>
                    <a:lnTo>
                      <a:pt x="1218" y="934"/>
                    </a:lnTo>
                    <a:lnTo>
                      <a:pt x="1218" y="938"/>
                    </a:lnTo>
                    <a:lnTo>
                      <a:pt x="1218" y="940"/>
                    </a:lnTo>
                    <a:lnTo>
                      <a:pt x="1222" y="940"/>
                    </a:lnTo>
                    <a:lnTo>
                      <a:pt x="1222" y="940"/>
                    </a:lnTo>
                    <a:lnTo>
                      <a:pt x="1222" y="945"/>
                    </a:lnTo>
                    <a:lnTo>
                      <a:pt x="1222" y="949"/>
                    </a:lnTo>
                    <a:lnTo>
                      <a:pt x="1222" y="947"/>
                    </a:lnTo>
                    <a:lnTo>
                      <a:pt x="1222" y="951"/>
                    </a:lnTo>
                    <a:lnTo>
                      <a:pt x="1222" y="953"/>
                    </a:lnTo>
                    <a:lnTo>
                      <a:pt x="1226" y="949"/>
                    </a:lnTo>
                    <a:lnTo>
                      <a:pt x="1228" y="951"/>
                    </a:lnTo>
                    <a:lnTo>
                      <a:pt x="1226" y="955"/>
                    </a:lnTo>
                    <a:lnTo>
                      <a:pt x="1228" y="957"/>
                    </a:lnTo>
                    <a:lnTo>
                      <a:pt x="1229" y="955"/>
                    </a:lnTo>
                    <a:lnTo>
                      <a:pt x="1231" y="957"/>
                    </a:lnTo>
                    <a:lnTo>
                      <a:pt x="1229" y="960"/>
                    </a:lnTo>
                    <a:lnTo>
                      <a:pt x="1226" y="959"/>
                    </a:lnTo>
                    <a:lnTo>
                      <a:pt x="1226" y="960"/>
                    </a:lnTo>
                    <a:lnTo>
                      <a:pt x="1226" y="962"/>
                    </a:lnTo>
                    <a:lnTo>
                      <a:pt x="1229" y="964"/>
                    </a:lnTo>
                    <a:lnTo>
                      <a:pt x="1229" y="968"/>
                    </a:lnTo>
                    <a:lnTo>
                      <a:pt x="1228" y="968"/>
                    </a:lnTo>
                    <a:lnTo>
                      <a:pt x="1228" y="968"/>
                    </a:lnTo>
                    <a:lnTo>
                      <a:pt x="1228" y="968"/>
                    </a:lnTo>
                    <a:lnTo>
                      <a:pt x="1228" y="968"/>
                    </a:lnTo>
                    <a:close/>
                    <a:moveTo>
                      <a:pt x="919" y="876"/>
                    </a:moveTo>
                    <a:lnTo>
                      <a:pt x="919" y="876"/>
                    </a:lnTo>
                    <a:lnTo>
                      <a:pt x="923" y="876"/>
                    </a:lnTo>
                    <a:lnTo>
                      <a:pt x="923" y="874"/>
                    </a:lnTo>
                    <a:lnTo>
                      <a:pt x="924" y="874"/>
                    </a:lnTo>
                    <a:lnTo>
                      <a:pt x="924" y="874"/>
                    </a:lnTo>
                    <a:lnTo>
                      <a:pt x="928" y="876"/>
                    </a:lnTo>
                    <a:lnTo>
                      <a:pt x="930" y="876"/>
                    </a:lnTo>
                    <a:lnTo>
                      <a:pt x="932" y="874"/>
                    </a:lnTo>
                    <a:lnTo>
                      <a:pt x="934" y="874"/>
                    </a:lnTo>
                    <a:lnTo>
                      <a:pt x="936" y="876"/>
                    </a:lnTo>
                    <a:lnTo>
                      <a:pt x="936" y="876"/>
                    </a:lnTo>
                    <a:lnTo>
                      <a:pt x="934" y="879"/>
                    </a:lnTo>
                    <a:lnTo>
                      <a:pt x="934" y="883"/>
                    </a:lnTo>
                    <a:lnTo>
                      <a:pt x="932" y="887"/>
                    </a:lnTo>
                    <a:lnTo>
                      <a:pt x="932" y="893"/>
                    </a:lnTo>
                    <a:lnTo>
                      <a:pt x="932" y="893"/>
                    </a:lnTo>
                    <a:lnTo>
                      <a:pt x="936" y="893"/>
                    </a:lnTo>
                    <a:lnTo>
                      <a:pt x="936" y="893"/>
                    </a:lnTo>
                    <a:lnTo>
                      <a:pt x="940" y="895"/>
                    </a:lnTo>
                    <a:lnTo>
                      <a:pt x="941" y="893"/>
                    </a:lnTo>
                    <a:lnTo>
                      <a:pt x="943" y="893"/>
                    </a:lnTo>
                    <a:lnTo>
                      <a:pt x="943" y="891"/>
                    </a:lnTo>
                    <a:lnTo>
                      <a:pt x="947" y="889"/>
                    </a:lnTo>
                    <a:lnTo>
                      <a:pt x="949" y="889"/>
                    </a:lnTo>
                    <a:lnTo>
                      <a:pt x="953" y="887"/>
                    </a:lnTo>
                    <a:lnTo>
                      <a:pt x="953" y="883"/>
                    </a:lnTo>
                    <a:lnTo>
                      <a:pt x="956" y="879"/>
                    </a:lnTo>
                    <a:lnTo>
                      <a:pt x="958" y="879"/>
                    </a:lnTo>
                    <a:lnTo>
                      <a:pt x="960" y="876"/>
                    </a:lnTo>
                    <a:lnTo>
                      <a:pt x="962" y="879"/>
                    </a:lnTo>
                    <a:lnTo>
                      <a:pt x="964" y="876"/>
                    </a:lnTo>
                    <a:lnTo>
                      <a:pt x="966" y="876"/>
                    </a:lnTo>
                    <a:lnTo>
                      <a:pt x="968" y="876"/>
                    </a:lnTo>
                    <a:lnTo>
                      <a:pt x="968" y="870"/>
                    </a:lnTo>
                    <a:lnTo>
                      <a:pt x="968" y="868"/>
                    </a:lnTo>
                    <a:lnTo>
                      <a:pt x="972" y="864"/>
                    </a:lnTo>
                    <a:lnTo>
                      <a:pt x="972" y="862"/>
                    </a:lnTo>
                    <a:lnTo>
                      <a:pt x="975" y="862"/>
                    </a:lnTo>
                    <a:lnTo>
                      <a:pt x="977" y="864"/>
                    </a:lnTo>
                    <a:lnTo>
                      <a:pt x="981" y="862"/>
                    </a:lnTo>
                    <a:lnTo>
                      <a:pt x="981" y="861"/>
                    </a:lnTo>
                    <a:lnTo>
                      <a:pt x="983" y="862"/>
                    </a:lnTo>
                    <a:lnTo>
                      <a:pt x="983" y="866"/>
                    </a:lnTo>
                    <a:lnTo>
                      <a:pt x="981" y="868"/>
                    </a:lnTo>
                    <a:lnTo>
                      <a:pt x="981" y="870"/>
                    </a:lnTo>
                    <a:lnTo>
                      <a:pt x="983" y="870"/>
                    </a:lnTo>
                    <a:lnTo>
                      <a:pt x="987" y="870"/>
                    </a:lnTo>
                    <a:lnTo>
                      <a:pt x="990" y="870"/>
                    </a:lnTo>
                    <a:lnTo>
                      <a:pt x="990" y="876"/>
                    </a:lnTo>
                    <a:lnTo>
                      <a:pt x="988" y="879"/>
                    </a:lnTo>
                    <a:lnTo>
                      <a:pt x="987" y="879"/>
                    </a:lnTo>
                    <a:lnTo>
                      <a:pt x="987" y="883"/>
                    </a:lnTo>
                    <a:lnTo>
                      <a:pt x="988" y="883"/>
                    </a:lnTo>
                    <a:lnTo>
                      <a:pt x="990" y="883"/>
                    </a:lnTo>
                    <a:lnTo>
                      <a:pt x="992" y="883"/>
                    </a:lnTo>
                    <a:lnTo>
                      <a:pt x="992" y="883"/>
                    </a:lnTo>
                    <a:lnTo>
                      <a:pt x="996" y="883"/>
                    </a:lnTo>
                    <a:lnTo>
                      <a:pt x="998" y="885"/>
                    </a:lnTo>
                    <a:lnTo>
                      <a:pt x="1002" y="885"/>
                    </a:lnTo>
                    <a:lnTo>
                      <a:pt x="1002" y="887"/>
                    </a:lnTo>
                    <a:lnTo>
                      <a:pt x="1005" y="887"/>
                    </a:lnTo>
                    <a:lnTo>
                      <a:pt x="1007" y="891"/>
                    </a:lnTo>
                    <a:lnTo>
                      <a:pt x="1009" y="889"/>
                    </a:lnTo>
                    <a:lnTo>
                      <a:pt x="1011" y="885"/>
                    </a:lnTo>
                    <a:lnTo>
                      <a:pt x="1015" y="885"/>
                    </a:lnTo>
                    <a:lnTo>
                      <a:pt x="1017" y="883"/>
                    </a:lnTo>
                    <a:lnTo>
                      <a:pt x="1020" y="883"/>
                    </a:lnTo>
                    <a:lnTo>
                      <a:pt x="1020" y="879"/>
                    </a:lnTo>
                    <a:lnTo>
                      <a:pt x="1019" y="879"/>
                    </a:lnTo>
                    <a:lnTo>
                      <a:pt x="1017" y="876"/>
                    </a:lnTo>
                    <a:lnTo>
                      <a:pt x="1019" y="876"/>
                    </a:lnTo>
                    <a:lnTo>
                      <a:pt x="1020" y="874"/>
                    </a:lnTo>
                    <a:lnTo>
                      <a:pt x="1019" y="874"/>
                    </a:lnTo>
                    <a:lnTo>
                      <a:pt x="1017" y="870"/>
                    </a:lnTo>
                    <a:lnTo>
                      <a:pt x="1015" y="870"/>
                    </a:lnTo>
                    <a:lnTo>
                      <a:pt x="1015" y="874"/>
                    </a:lnTo>
                    <a:lnTo>
                      <a:pt x="1013" y="874"/>
                    </a:lnTo>
                    <a:lnTo>
                      <a:pt x="1013" y="874"/>
                    </a:lnTo>
                    <a:lnTo>
                      <a:pt x="1009" y="870"/>
                    </a:lnTo>
                    <a:lnTo>
                      <a:pt x="1009" y="870"/>
                    </a:lnTo>
                    <a:lnTo>
                      <a:pt x="1007" y="870"/>
                    </a:lnTo>
                    <a:lnTo>
                      <a:pt x="1005" y="870"/>
                    </a:lnTo>
                    <a:lnTo>
                      <a:pt x="998" y="870"/>
                    </a:lnTo>
                    <a:lnTo>
                      <a:pt x="998" y="870"/>
                    </a:lnTo>
                    <a:lnTo>
                      <a:pt x="1002" y="868"/>
                    </a:lnTo>
                    <a:lnTo>
                      <a:pt x="1002" y="868"/>
                    </a:lnTo>
                    <a:lnTo>
                      <a:pt x="1005" y="866"/>
                    </a:lnTo>
                    <a:lnTo>
                      <a:pt x="1005" y="864"/>
                    </a:lnTo>
                    <a:lnTo>
                      <a:pt x="1005" y="862"/>
                    </a:lnTo>
                    <a:lnTo>
                      <a:pt x="1005" y="859"/>
                    </a:lnTo>
                    <a:lnTo>
                      <a:pt x="1005" y="857"/>
                    </a:lnTo>
                    <a:lnTo>
                      <a:pt x="1005" y="853"/>
                    </a:lnTo>
                    <a:lnTo>
                      <a:pt x="1005" y="851"/>
                    </a:lnTo>
                    <a:lnTo>
                      <a:pt x="1005" y="849"/>
                    </a:lnTo>
                    <a:lnTo>
                      <a:pt x="998" y="846"/>
                    </a:lnTo>
                    <a:lnTo>
                      <a:pt x="992" y="844"/>
                    </a:lnTo>
                    <a:lnTo>
                      <a:pt x="992" y="840"/>
                    </a:lnTo>
                    <a:lnTo>
                      <a:pt x="992" y="838"/>
                    </a:lnTo>
                    <a:lnTo>
                      <a:pt x="990" y="838"/>
                    </a:lnTo>
                    <a:lnTo>
                      <a:pt x="988" y="834"/>
                    </a:lnTo>
                    <a:lnTo>
                      <a:pt x="990" y="830"/>
                    </a:lnTo>
                    <a:lnTo>
                      <a:pt x="988" y="827"/>
                    </a:lnTo>
                    <a:lnTo>
                      <a:pt x="983" y="827"/>
                    </a:lnTo>
                    <a:lnTo>
                      <a:pt x="977" y="825"/>
                    </a:lnTo>
                    <a:lnTo>
                      <a:pt x="975" y="821"/>
                    </a:lnTo>
                    <a:lnTo>
                      <a:pt x="977" y="819"/>
                    </a:lnTo>
                    <a:lnTo>
                      <a:pt x="977" y="819"/>
                    </a:lnTo>
                    <a:lnTo>
                      <a:pt x="973" y="815"/>
                    </a:lnTo>
                    <a:lnTo>
                      <a:pt x="973" y="814"/>
                    </a:lnTo>
                    <a:lnTo>
                      <a:pt x="972" y="814"/>
                    </a:lnTo>
                    <a:lnTo>
                      <a:pt x="968" y="815"/>
                    </a:lnTo>
                    <a:lnTo>
                      <a:pt x="968" y="819"/>
                    </a:lnTo>
                    <a:lnTo>
                      <a:pt x="968" y="821"/>
                    </a:lnTo>
                    <a:lnTo>
                      <a:pt x="966" y="819"/>
                    </a:lnTo>
                    <a:lnTo>
                      <a:pt x="966" y="815"/>
                    </a:lnTo>
                    <a:lnTo>
                      <a:pt x="964" y="814"/>
                    </a:lnTo>
                    <a:lnTo>
                      <a:pt x="966" y="812"/>
                    </a:lnTo>
                    <a:lnTo>
                      <a:pt x="968" y="812"/>
                    </a:lnTo>
                    <a:lnTo>
                      <a:pt x="968" y="812"/>
                    </a:lnTo>
                    <a:lnTo>
                      <a:pt x="968" y="808"/>
                    </a:lnTo>
                    <a:lnTo>
                      <a:pt x="968" y="806"/>
                    </a:lnTo>
                    <a:lnTo>
                      <a:pt x="968" y="802"/>
                    </a:lnTo>
                    <a:lnTo>
                      <a:pt x="966" y="802"/>
                    </a:lnTo>
                    <a:lnTo>
                      <a:pt x="966" y="800"/>
                    </a:lnTo>
                    <a:lnTo>
                      <a:pt x="968" y="797"/>
                    </a:lnTo>
                    <a:lnTo>
                      <a:pt x="966" y="797"/>
                    </a:lnTo>
                    <a:lnTo>
                      <a:pt x="958" y="798"/>
                    </a:lnTo>
                    <a:lnTo>
                      <a:pt x="955" y="802"/>
                    </a:lnTo>
                    <a:lnTo>
                      <a:pt x="953" y="810"/>
                    </a:lnTo>
                    <a:lnTo>
                      <a:pt x="949" y="815"/>
                    </a:lnTo>
                    <a:lnTo>
                      <a:pt x="949" y="815"/>
                    </a:lnTo>
                    <a:lnTo>
                      <a:pt x="947" y="819"/>
                    </a:lnTo>
                    <a:lnTo>
                      <a:pt x="947" y="821"/>
                    </a:lnTo>
                    <a:lnTo>
                      <a:pt x="943" y="829"/>
                    </a:lnTo>
                    <a:lnTo>
                      <a:pt x="943" y="830"/>
                    </a:lnTo>
                    <a:lnTo>
                      <a:pt x="943" y="832"/>
                    </a:lnTo>
                    <a:lnTo>
                      <a:pt x="941" y="836"/>
                    </a:lnTo>
                    <a:lnTo>
                      <a:pt x="941" y="838"/>
                    </a:lnTo>
                    <a:lnTo>
                      <a:pt x="936" y="844"/>
                    </a:lnTo>
                    <a:lnTo>
                      <a:pt x="936" y="846"/>
                    </a:lnTo>
                    <a:lnTo>
                      <a:pt x="936" y="849"/>
                    </a:lnTo>
                    <a:lnTo>
                      <a:pt x="934" y="851"/>
                    </a:lnTo>
                    <a:lnTo>
                      <a:pt x="934" y="857"/>
                    </a:lnTo>
                    <a:lnTo>
                      <a:pt x="932" y="861"/>
                    </a:lnTo>
                    <a:lnTo>
                      <a:pt x="926" y="861"/>
                    </a:lnTo>
                    <a:lnTo>
                      <a:pt x="923" y="862"/>
                    </a:lnTo>
                    <a:lnTo>
                      <a:pt x="923" y="866"/>
                    </a:lnTo>
                    <a:lnTo>
                      <a:pt x="919" y="874"/>
                    </a:lnTo>
                    <a:lnTo>
                      <a:pt x="919" y="876"/>
                    </a:lnTo>
                    <a:lnTo>
                      <a:pt x="919" y="876"/>
                    </a:lnTo>
                    <a:lnTo>
                      <a:pt x="919" y="876"/>
                    </a:lnTo>
                    <a:lnTo>
                      <a:pt x="919" y="876"/>
                    </a:lnTo>
                    <a:close/>
                    <a:moveTo>
                      <a:pt x="949" y="930"/>
                    </a:moveTo>
                    <a:lnTo>
                      <a:pt x="949" y="930"/>
                    </a:lnTo>
                    <a:lnTo>
                      <a:pt x="951" y="932"/>
                    </a:lnTo>
                    <a:lnTo>
                      <a:pt x="951" y="930"/>
                    </a:lnTo>
                    <a:lnTo>
                      <a:pt x="955" y="927"/>
                    </a:lnTo>
                    <a:lnTo>
                      <a:pt x="958" y="927"/>
                    </a:lnTo>
                    <a:lnTo>
                      <a:pt x="960" y="927"/>
                    </a:lnTo>
                    <a:lnTo>
                      <a:pt x="960" y="928"/>
                    </a:lnTo>
                    <a:lnTo>
                      <a:pt x="962" y="928"/>
                    </a:lnTo>
                    <a:lnTo>
                      <a:pt x="968" y="925"/>
                    </a:lnTo>
                    <a:lnTo>
                      <a:pt x="972" y="925"/>
                    </a:lnTo>
                    <a:lnTo>
                      <a:pt x="973" y="921"/>
                    </a:lnTo>
                    <a:lnTo>
                      <a:pt x="975" y="917"/>
                    </a:lnTo>
                    <a:lnTo>
                      <a:pt x="981" y="917"/>
                    </a:lnTo>
                    <a:lnTo>
                      <a:pt x="983" y="913"/>
                    </a:lnTo>
                    <a:lnTo>
                      <a:pt x="983" y="913"/>
                    </a:lnTo>
                    <a:lnTo>
                      <a:pt x="987" y="910"/>
                    </a:lnTo>
                    <a:lnTo>
                      <a:pt x="985" y="908"/>
                    </a:lnTo>
                    <a:lnTo>
                      <a:pt x="983" y="908"/>
                    </a:lnTo>
                    <a:lnTo>
                      <a:pt x="981" y="908"/>
                    </a:lnTo>
                    <a:lnTo>
                      <a:pt x="977" y="908"/>
                    </a:lnTo>
                    <a:lnTo>
                      <a:pt x="975" y="908"/>
                    </a:lnTo>
                    <a:lnTo>
                      <a:pt x="973" y="908"/>
                    </a:lnTo>
                    <a:lnTo>
                      <a:pt x="972" y="908"/>
                    </a:lnTo>
                    <a:lnTo>
                      <a:pt x="968" y="910"/>
                    </a:lnTo>
                    <a:lnTo>
                      <a:pt x="968" y="910"/>
                    </a:lnTo>
                    <a:lnTo>
                      <a:pt x="966" y="904"/>
                    </a:lnTo>
                    <a:lnTo>
                      <a:pt x="964" y="904"/>
                    </a:lnTo>
                    <a:lnTo>
                      <a:pt x="962" y="908"/>
                    </a:lnTo>
                    <a:lnTo>
                      <a:pt x="956" y="913"/>
                    </a:lnTo>
                    <a:lnTo>
                      <a:pt x="956" y="913"/>
                    </a:lnTo>
                    <a:lnTo>
                      <a:pt x="955" y="915"/>
                    </a:lnTo>
                    <a:lnTo>
                      <a:pt x="949" y="917"/>
                    </a:lnTo>
                    <a:lnTo>
                      <a:pt x="947" y="919"/>
                    </a:lnTo>
                    <a:lnTo>
                      <a:pt x="949" y="921"/>
                    </a:lnTo>
                    <a:lnTo>
                      <a:pt x="951" y="925"/>
                    </a:lnTo>
                    <a:lnTo>
                      <a:pt x="949" y="927"/>
                    </a:lnTo>
                    <a:lnTo>
                      <a:pt x="949" y="930"/>
                    </a:lnTo>
                    <a:lnTo>
                      <a:pt x="949" y="930"/>
                    </a:lnTo>
                    <a:lnTo>
                      <a:pt x="949" y="930"/>
                    </a:lnTo>
                    <a:lnTo>
                      <a:pt x="949" y="930"/>
                    </a:lnTo>
                    <a:close/>
                    <a:moveTo>
                      <a:pt x="1246" y="955"/>
                    </a:moveTo>
                    <a:lnTo>
                      <a:pt x="1246" y="955"/>
                    </a:lnTo>
                    <a:lnTo>
                      <a:pt x="1252" y="955"/>
                    </a:lnTo>
                    <a:lnTo>
                      <a:pt x="1254" y="959"/>
                    </a:lnTo>
                    <a:lnTo>
                      <a:pt x="1256" y="957"/>
                    </a:lnTo>
                    <a:lnTo>
                      <a:pt x="1256" y="955"/>
                    </a:lnTo>
                    <a:lnTo>
                      <a:pt x="1258" y="953"/>
                    </a:lnTo>
                    <a:lnTo>
                      <a:pt x="1258" y="951"/>
                    </a:lnTo>
                    <a:lnTo>
                      <a:pt x="1256" y="951"/>
                    </a:lnTo>
                    <a:lnTo>
                      <a:pt x="1252" y="951"/>
                    </a:lnTo>
                    <a:lnTo>
                      <a:pt x="1248" y="953"/>
                    </a:lnTo>
                    <a:lnTo>
                      <a:pt x="1246" y="955"/>
                    </a:lnTo>
                    <a:lnTo>
                      <a:pt x="1246" y="955"/>
                    </a:lnTo>
                    <a:lnTo>
                      <a:pt x="1246" y="955"/>
                    </a:lnTo>
                    <a:lnTo>
                      <a:pt x="1246" y="955"/>
                    </a:lnTo>
                    <a:close/>
                    <a:moveTo>
                      <a:pt x="1154" y="930"/>
                    </a:moveTo>
                    <a:lnTo>
                      <a:pt x="1156" y="930"/>
                    </a:lnTo>
                    <a:lnTo>
                      <a:pt x="1160" y="932"/>
                    </a:lnTo>
                    <a:lnTo>
                      <a:pt x="1160" y="934"/>
                    </a:lnTo>
                    <a:lnTo>
                      <a:pt x="1160" y="934"/>
                    </a:lnTo>
                    <a:lnTo>
                      <a:pt x="1160" y="938"/>
                    </a:lnTo>
                    <a:lnTo>
                      <a:pt x="1164" y="938"/>
                    </a:lnTo>
                    <a:lnTo>
                      <a:pt x="1164" y="938"/>
                    </a:lnTo>
                    <a:lnTo>
                      <a:pt x="1167" y="938"/>
                    </a:lnTo>
                    <a:lnTo>
                      <a:pt x="1167" y="938"/>
                    </a:lnTo>
                    <a:lnTo>
                      <a:pt x="1167" y="938"/>
                    </a:lnTo>
                    <a:lnTo>
                      <a:pt x="1167" y="934"/>
                    </a:lnTo>
                    <a:lnTo>
                      <a:pt x="1164" y="934"/>
                    </a:lnTo>
                    <a:lnTo>
                      <a:pt x="1164" y="932"/>
                    </a:lnTo>
                    <a:lnTo>
                      <a:pt x="1160" y="932"/>
                    </a:lnTo>
                    <a:lnTo>
                      <a:pt x="1158" y="930"/>
                    </a:lnTo>
                    <a:lnTo>
                      <a:pt x="1156" y="930"/>
                    </a:lnTo>
                    <a:lnTo>
                      <a:pt x="1154" y="930"/>
                    </a:lnTo>
                    <a:lnTo>
                      <a:pt x="1154" y="930"/>
                    </a:lnTo>
                    <a:lnTo>
                      <a:pt x="1154" y="930"/>
                    </a:lnTo>
                    <a:lnTo>
                      <a:pt x="1154" y="930"/>
                    </a:lnTo>
                    <a:close/>
                    <a:moveTo>
                      <a:pt x="1243" y="977"/>
                    </a:moveTo>
                    <a:lnTo>
                      <a:pt x="1241" y="977"/>
                    </a:lnTo>
                    <a:lnTo>
                      <a:pt x="1241" y="974"/>
                    </a:lnTo>
                    <a:lnTo>
                      <a:pt x="1239" y="972"/>
                    </a:lnTo>
                    <a:lnTo>
                      <a:pt x="1239" y="972"/>
                    </a:lnTo>
                    <a:lnTo>
                      <a:pt x="1241" y="968"/>
                    </a:lnTo>
                    <a:lnTo>
                      <a:pt x="1243" y="972"/>
                    </a:lnTo>
                    <a:lnTo>
                      <a:pt x="1243" y="972"/>
                    </a:lnTo>
                    <a:lnTo>
                      <a:pt x="1243" y="974"/>
                    </a:lnTo>
                    <a:lnTo>
                      <a:pt x="1243" y="977"/>
                    </a:lnTo>
                    <a:lnTo>
                      <a:pt x="1243" y="977"/>
                    </a:lnTo>
                    <a:lnTo>
                      <a:pt x="1243" y="977"/>
                    </a:lnTo>
                    <a:lnTo>
                      <a:pt x="1243" y="977"/>
                    </a:lnTo>
                    <a:lnTo>
                      <a:pt x="1243" y="977"/>
                    </a:lnTo>
                    <a:close/>
                    <a:moveTo>
                      <a:pt x="1241" y="989"/>
                    </a:moveTo>
                    <a:lnTo>
                      <a:pt x="1239" y="989"/>
                    </a:lnTo>
                    <a:lnTo>
                      <a:pt x="1239" y="987"/>
                    </a:lnTo>
                    <a:lnTo>
                      <a:pt x="1237" y="985"/>
                    </a:lnTo>
                    <a:lnTo>
                      <a:pt x="1235" y="985"/>
                    </a:lnTo>
                    <a:lnTo>
                      <a:pt x="1233" y="981"/>
                    </a:lnTo>
                    <a:lnTo>
                      <a:pt x="1233" y="979"/>
                    </a:lnTo>
                    <a:lnTo>
                      <a:pt x="1235" y="979"/>
                    </a:lnTo>
                    <a:lnTo>
                      <a:pt x="1237" y="977"/>
                    </a:lnTo>
                    <a:lnTo>
                      <a:pt x="1243" y="979"/>
                    </a:lnTo>
                    <a:lnTo>
                      <a:pt x="1246" y="981"/>
                    </a:lnTo>
                    <a:lnTo>
                      <a:pt x="1246" y="983"/>
                    </a:lnTo>
                    <a:lnTo>
                      <a:pt x="1243" y="985"/>
                    </a:lnTo>
                    <a:lnTo>
                      <a:pt x="1243" y="987"/>
                    </a:lnTo>
                    <a:lnTo>
                      <a:pt x="1243" y="987"/>
                    </a:lnTo>
                    <a:lnTo>
                      <a:pt x="1241" y="989"/>
                    </a:lnTo>
                    <a:lnTo>
                      <a:pt x="1241" y="989"/>
                    </a:lnTo>
                    <a:lnTo>
                      <a:pt x="1241" y="989"/>
                    </a:lnTo>
                    <a:lnTo>
                      <a:pt x="1241" y="989"/>
                    </a:lnTo>
                    <a:lnTo>
                      <a:pt x="1241" y="989"/>
                    </a:lnTo>
                    <a:close/>
                    <a:moveTo>
                      <a:pt x="1148" y="1045"/>
                    </a:moveTo>
                    <a:lnTo>
                      <a:pt x="1148" y="1047"/>
                    </a:lnTo>
                    <a:lnTo>
                      <a:pt x="1148" y="1047"/>
                    </a:lnTo>
                    <a:lnTo>
                      <a:pt x="1148" y="1045"/>
                    </a:lnTo>
                    <a:lnTo>
                      <a:pt x="1148" y="1045"/>
                    </a:lnTo>
                    <a:lnTo>
                      <a:pt x="1148" y="1045"/>
                    </a:lnTo>
                    <a:lnTo>
                      <a:pt x="1148" y="1045"/>
                    </a:lnTo>
                    <a:close/>
                    <a:moveTo>
                      <a:pt x="1150" y="1045"/>
                    </a:moveTo>
                    <a:lnTo>
                      <a:pt x="1150" y="1049"/>
                    </a:lnTo>
                    <a:lnTo>
                      <a:pt x="1150" y="1049"/>
                    </a:lnTo>
                    <a:lnTo>
                      <a:pt x="1150" y="1045"/>
                    </a:lnTo>
                    <a:lnTo>
                      <a:pt x="1150" y="1045"/>
                    </a:lnTo>
                    <a:lnTo>
                      <a:pt x="1150" y="1045"/>
                    </a:lnTo>
                    <a:lnTo>
                      <a:pt x="1150" y="1045"/>
                    </a:lnTo>
                    <a:close/>
                    <a:moveTo>
                      <a:pt x="1152" y="1045"/>
                    </a:moveTo>
                    <a:lnTo>
                      <a:pt x="1152" y="1047"/>
                    </a:lnTo>
                    <a:lnTo>
                      <a:pt x="1152" y="1051"/>
                    </a:lnTo>
                    <a:lnTo>
                      <a:pt x="1152" y="1053"/>
                    </a:lnTo>
                    <a:lnTo>
                      <a:pt x="1154" y="1053"/>
                    </a:lnTo>
                    <a:lnTo>
                      <a:pt x="1154" y="1049"/>
                    </a:lnTo>
                    <a:lnTo>
                      <a:pt x="1152" y="1045"/>
                    </a:lnTo>
                    <a:lnTo>
                      <a:pt x="1152" y="1045"/>
                    </a:lnTo>
                    <a:lnTo>
                      <a:pt x="1152" y="1045"/>
                    </a:lnTo>
                    <a:lnTo>
                      <a:pt x="1152" y="1045"/>
                    </a:lnTo>
                    <a:close/>
                    <a:moveTo>
                      <a:pt x="1177" y="1019"/>
                    </a:moveTo>
                    <a:lnTo>
                      <a:pt x="1177" y="1015"/>
                    </a:lnTo>
                    <a:lnTo>
                      <a:pt x="1177" y="1013"/>
                    </a:lnTo>
                    <a:lnTo>
                      <a:pt x="1179" y="1011"/>
                    </a:lnTo>
                    <a:lnTo>
                      <a:pt x="1179" y="1009"/>
                    </a:lnTo>
                    <a:lnTo>
                      <a:pt x="1184" y="1006"/>
                    </a:lnTo>
                    <a:lnTo>
                      <a:pt x="1188" y="1006"/>
                    </a:lnTo>
                    <a:lnTo>
                      <a:pt x="1188" y="1006"/>
                    </a:lnTo>
                    <a:lnTo>
                      <a:pt x="1188" y="1008"/>
                    </a:lnTo>
                    <a:lnTo>
                      <a:pt x="1188" y="1009"/>
                    </a:lnTo>
                    <a:lnTo>
                      <a:pt x="1188" y="1011"/>
                    </a:lnTo>
                    <a:lnTo>
                      <a:pt x="1184" y="1013"/>
                    </a:lnTo>
                    <a:lnTo>
                      <a:pt x="1184" y="1015"/>
                    </a:lnTo>
                    <a:lnTo>
                      <a:pt x="1182" y="1015"/>
                    </a:lnTo>
                    <a:lnTo>
                      <a:pt x="1179" y="1019"/>
                    </a:lnTo>
                    <a:lnTo>
                      <a:pt x="1177" y="1019"/>
                    </a:lnTo>
                    <a:lnTo>
                      <a:pt x="1177" y="1019"/>
                    </a:lnTo>
                    <a:lnTo>
                      <a:pt x="1177" y="1019"/>
                    </a:lnTo>
                    <a:lnTo>
                      <a:pt x="1177" y="1019"/>
                    </a:lnTo>
                    <a:close/>
                    <a:moveTo>
                      <a:pt x="1096" y="927"/>
                    </a:moveTo>
                    <a:lnTo>
                      <a:pt x="1100" y="928"/>
                    </a:lnTo>
                    <a:lnTo>
                      <a:pt x="1101" y="930"/>
                    </a:lnTo>
                    <a:lnTo>
                      <a:pt x="1105" y="932"/>
                    </a:lnTo>
                    <a:lnTo>
                      <a:pt x="1109" y="932"/>
                    </a:lnTo>
                    <a:lnTo>
                      <a:pt x="1105" y="932"/>
                    </a:lnTo>
                    <a:lnTo>
                      <a:pt x="1105" y="930"/>
                    </a:lnTo>
                    <a:lnTo>
                      <a:pt x="1100" y="927"/>
                    </a:lnTo>
                    <a:lnTo>
                      <a:pt x="1098" y="927"/>
                    </a:lnTo>
                    <a:lnTo>
                      <a:pt x="1096" y="927"/>
                    </a:lnTo>
                    <a:lnTo>
                      <a:pt x="1096" y="927"/>
                    </a:lnTo>
                    <a:lnTo>
                      <a:pt x="1096" y="927"/>
                    </a:lnTo>
                    <a:lnTo>
                      <a:pt x="1096" y="927"/>
                    </a:lnTo>
                    <a:close/>
                    <a:moveTo>
                      <a:pt x="1069" y="902"/>
                    </a:moveTo>
                    <a:lnTo>
                      <a:pt x="1069" y="902"/>
                    </a:lnTo>
                    <a:lnTo>
                      <a:pt x="1071" y="902"/>
                    </a:lnTo>
                    <a:lnTo>
                      <a:pt x="1073" y="904"/>
                    </a:lnTo>
                    <a:lnTo>
                      <a:pt x="1075" y="902"/>
                    </a:lnTo>
                    <a:lnTo>
                      <a:pt x="1075" y="902"/>
                    </a:lnTo>
                    <a:lnTo>
                      <a:pt x="1077" y="902"/>
                    </a:lnTo>
                    <a:lnTo>
                      <a:pt x="1077" y="900"/>
                    </a:lnTo>
                    <a:lnTo>
                      <a:pt x="1075" y="898"/>
                    </a:lnTo>
                    <a:lnTo>
                      <a:pt x="1077" y="896"/>
                    </a:lnTo>
                    <a:lnTo>
                      <a:pt x="1077" y="896"/>
                    </a:lnTo>
                    <a:lnTo>
                      <a:pt x="1073" y="893"/>
                    </a:lnTo>
                    <a:lnTo>
                      <a:pt x="1071" y="893"/>
                    </a:lnTo>
                    <a:lnTo>
                      <a:pt x="1069" y="891"/>
                    </a:lnTo>
                    <a:lnTo>
                      <a:pt x="1069" y="891"/>
                    </a:lnTo>
                    <a:lnTo>
                      <a:pt x="1068" y="891"/>
                    </a:lnTo>
                    <a:lnTo>
                      <a:pt x="1066" y="889"/>
                    </a:lnTo>
                    <a:lnTo>
                      <a:pt x="1064" y="891"/>
                    </a:lnTo>
                    <a:lnTo>
                      <a:pt x="1062" y="891"/>
                    </a:lnTo>
                    <a:lnTo>
                      <a:pt x="1064" y="895"/>
                    </a:lnTo>
                    <a:lnTo>
                      <a:pt x="1064" y="895"/>
                    </a:lnTo>
                    <a:lnTo>
                      <a:pt x="1066" y="895"/>
                    </a:lnTo>
                    <a:lnTo>
                      <a:pt x="1068" y="896"/>
                    </a:lnTo>
                    <a:lnTo>
                      <a:pt x="1069" y="898"/>
                    </a:lnTo>
                    <a:lnTo>
                      <a:pt x="1069" y="902"/>
                    </a:lnTo>
                    <a:lnTo>
                      <a:pt x="1069" y="902"/>
                    </a:lnTo>
                    <a:lnTo>
                      <a:pt x="1069" y="902"/>
                    </a:lnTo>
                    <a:lnTo>
                      <a:pt x="1069" y="902"/>
                    </a:lnTo>
                    <a:close/>
                    <a:moveTo>
                      <a:pt x="1051" y="910"/>
                    </a:moveTo>
                    <a:lnTo>
                      <a:pt x="1054" y="910"/>
                    </a:lnTo>
                    <a:lnTo>
                      <a:pt x="1056" y="910"/>
                    </a:lnTo>
                    <a:lnTo>
                      <a:pt x="1056" y="910"/>
                    </a:lnTo>
                    <a:lnTo>
                      <a:pt x="1060" y="908"/>
                    </a:lnTo>
                    <a:lnTo>
                      <a:pt x="1060" y="904"/>
                    </a:lnTo>
                    <a:lnTo>
                      <a:pt x="1060" y="904"/>
                    </a:lnTo>
                    <a:lnTo>
                      <a:pt x="1060" y="900"/>
                    </a:lnTo>
                    <a:lnTo>
                      <a:pt x="1056" y="898"/>
                    </a:lnTo>
                    <a:lnTo>
                      <a:pt x="1051" y="898"/>
                    </a:lnTo>
                    <a:lnTo>
                      <a:pt x="1051" y="896"/>
                    </a:lnTo>
                    <a:lnTo>
                      <a:pt x="1049" y="895"/>
                    </a:lnTo>
                    <a:lnTo>
                      <a:pt x="1047" y="895"/>
                    </a:lnTo>
                    <a:lnTo>
                      <a:pt x="1045" y="895"/>
                    </a:lnTo>
                    <a:lnTo>
                      <a:pt x="1043" y="895"/>
                    </a:lnTo>
                    <a:lnTo>
                      <a:pt x="1041" y="896"/>
                    </a:lnTo>
                    <a:lnTo>
                      <a:pt x="1043" y="900"/>
                    </a:lnTo>
                    <a:lnTo>
                      <a:pt x="1045" y="902"/>
                    </a:lnTo>
                    <a:lnTo>
                      <a:pt x="1047" y="904"/>
                    </a:lnTo>
                    <a:lnTo>
                      <a:pt x="1049" y="908"/>
                    </a:lnTo>
                    <a:lnTo>
                      <a:pt x="1049" y="910"/>
                    </a:lnTo>
                    <a:lnTo>
                      <a:pt x="1051" y="910"/>
                    </a:lnTo>
                    <a:lnTo>
                      <a:pt x="1051" y="910"/>
                    </a:lnTo>
                    <a:lnTo>
                      <a:pt x="1051" y="910"/>
                    </a:lnTo>
                    <a:lnTo>
                      <a:pt x="1051" y="910"/>
                    </a:lnTo>
                    <a:close/>
                    <a:moveTo>
                      <a:pt x="1047" y="927"/>
                    </a:moveTo>
                    <a:lnTo>
                      <a:pt x="1047" y="927"/>
                    </a:lnTo>
                    <a:lnTo>
                      <a:pt x="1049" y="925"/>
                    </a:lnTo>
                    <a:lnTo>
                      <a:pt x="1043" y="925"/>
                    </a:lnTo>
                    <a:lnTo>
                      <a:pt x="1043" y="925"/>
                    </a:lnTo>
                    <a:lnTo>
                      <a:pt x="1043" y="927"/>
                    </a:lnTo>
                    <a:lnTo>
                      <a:pt x="1047" y="927"/>
                    </a:lnTo>
                    <a:lnTo>
                      <a:pt x="1047" y="927"/>
                    </a:lnTo>
                    <a:lnTo>
                      <a:pt x="1047" y="927"/>
                    </a:lnTo>
                    <a:lnTo>
                      <a:pt x="1047" y="927"/>
                    </a:lnTo>
                    <a:close/>
                    <a:moveTo>
                      <a:pt x="1005" y="955"/>
                    </a:moveTo>
                    <a:lnTo>
                      <a:pt x="1005" y="955"/>
                    </a:lnTo>
                    <a:lnTo>
                      <a:pt x="1007" y="953"/>
                    </a:lnTo>
                    <a:lnTo>
                      <a:pt x="1007" y="951"/>
                    </a:lnTo>
                    <a:lnTo>
                      <a:pt x="1009" y="949"/>
                    </a:lnTo>
                    <a:lnTo>
                      <a:pt x="1009" y="949"/>
                    </a:lnTo>
                    <a:lnTo>
                      <a:pt x="1009" y="947"/>
                    </a:lnTo>
                    <a:lnTo>
                      <a:pt x="1009" y="945"/>
                    </a:lnTo>
                    <a:lnTo>
                      <a:pt x="1013" y="943"/>
                    </a:lnTo>
                    <a:lnTo>
                      <a:pt x="1015" y="940"/>
                    </a:lnTo>
                    <a:lnTo>
                      <a:pt x="1017" y="940"/>
                    </a:lnTo>
                    <a:lnTo>
                      <a:pt x="1019" y="938"/>
                    </a:lnTo>
                    <a:lnTo>
                      <a:pt x="1017" y="938"/>
                    </a:lnTo>
                    <a:lnTo>
                      <a:pt x="1017" y="934"/>
                    </a:lnTo>
                    <a:lnTo>
                      <a:pt x="1019" y="934"/>
                    </a:lnTo>
                    <a:lnTo>
                      <a:pt x="1020" y="932"/>
                    </a:lnTo>
                    <a:lnTo>
                      <a:pt x="1020" y="930"/>
                    </a:lnTo>
                    <a:lnTo>
                      <a:pt x="1020" y="928"/>
                    </a:lnTo>
                    <a:lnTo>
                      <a:pt x="1019" y="927"/>
                    </a:lnTo>
                    <a:lnTo>
                      <a:pt x="1017" y="927"/>
                    </a:lnTo>
                    <a:lnTo>
                      <a:pt x="1015" y="927"/>
                    </a:lnTo>
                    <a:lnTo>
                      <a:pt x="1013" y="925"/>
                    </a:lnTo>
                    <a:lnTo>
                      <a:pt x="1011" y="925"/>
                    </a:lnTo>
                    <a:lnTo>
                      <a:pt x="1011" y="927"/>
                    </a:lnTo>
                    <a:lnTo>
                      <a:pt x="1007" y="930"/>
                    </a:lnTo>
                    <a:lnTo>
                      <a:pt x="1005" y="930"/>
                    </a:lnTo>
                    <a:lnTo>
                      <a:pt x="1005" y="932"/>
                    </a:lnTo>
                    <a:lnTo>
                      <a:pt x="1002" y="934"/>
                    </a:lnTo>
                    <a:lnTo>
                      <a:pt x="1005" y="938"/>
                    </a:lnTo>
                    <a:lnTo>
                      <a:pt x="1002" y="938"/>
                    </a:lnTo>
                    <a:lnTo>
                      <a:pt x="1002" y="943"/>
                    </a:lnTo>
                    <a:lnTo>
                      <a:pt x="1002" y="943"/>
                    </a:lnTo>
                    <a:lnTo>
                      <a:pt x="998" y="947"/>
                    </a:lnTo>
                    <a:lnTo>
                      <a:pt x="1002" y="947"/>
                    </a:lnTo>
                    <a:lnTo>
                      <a:pt x="1002" y="949"/>
                    </a:lnTo>
                    <a:lnTo>
                      <a:pt x="1005" y="951"/>
                    </a:lnTo>
                    <a:lnTo>
                      <a:pt x="1005" y="951"/>
                    </a:lnTo>
                    <a:lnTo>
                      <a:pt x="1005" y="955"/>
                    </a:lnTo>
                    <a:lnTo>
                      <a:pt x="1005" y="955"/>
                    </a:lnTo>
                    <a:lnTo>
                      <a:pt x="1005" y="955"/>
                    </a:lnTo>
                    <a:lnTo>
                      <a:pt x="1005" y="955"/>
                    </a:lnTo>
                    <a:close/>
                    <a:moveTo>
                      <a:pt x="968" y="1111"/>
                    </a:moveTo>
                    <a:lnTo>
                      <a:pt x="968" y="1111"/>
                    </a:lnTo>
                    <a:lnTo>
                      <a:pt x="972" y="1111"/>
                    </a:lnTo>
                    <a:lnTo>
                      <a:pt x="972" y="1109"/>
                    </a:lnTo>
                    <a:lnTo>
                      <a:pt x="968" y="1111"/>
                    </a:lnTo>
                    <a:lnTo>
                      <a:pt x="968" y="1111"/>
                    </a:lnTo>
                    <a:lnTo>
                      <a:pt x="968" y="1111"/>
                    </a:lnTo>
                    <a:lnTo>
                      <a:pt x="968" y="1111"/>
                    </a:lnTo>
                    <a:close/>
                    <a:moveTo>
                      <a:pt x="972" y="1126"/>
                    </a:moveTo>
                    <a:lnTo>
                      <a:pt x="973" y="1122"/>
                    </a:lnTo>
                    <a:lnTo>
                      <a:pt x="973" y="1121"/>
                    </a:lnTo>
                    <a:lnTo>
                      <a:pt x="975" y="1121"/>
                    </a:lnTo>
                    <a:lnTo>
                      <a:pt x="975" y="1122"/>
                    </a:lnTo>
                    <a:lnTo>
                      <a:pt x="972" y="1126"/>
                    </a:lnTo>
                    <a:lnTo>
                      <a:pt x="972" y="1126"/>
                    </a:lnTo>
                    <a:lnTo>
                      <a:pt x="972" y="1126"/>
                    </a:lnTo>
                    <a:lnTo>
                      <a:pt x="972" y="1126"/>
                    </a:lnTo>
                    <a:lnTo>
                      <a:pt x="972" y="1126"/>
                    </a:lnTo>
                    <a:lnTo>
                      <a:pt x="972" y="1126"/>
                    </a:lnTo>
                    <a:close/>
                    <a:moveTo>
                      <a:pt x="949" y="1121"/>
                    </a:moveTo>
                    <a:lnTo>
                      <a:pt x="951" y="1117"/>
                    </a:lnTo>
                    <a:lnTo>
                      <a:pt x="953" y="1117"/>
                    </a:lnTo>
                    <a:lnTo>
                      <a:pt x="955" y="1117"/>
                    </a:lnTo>
                    <a:lnTo>
                      <a:pt x="956" y="1117"/>
                    </a:lnTo>
                    <a:lnTo>
                      <a:pt x="958" y="1115"/>
                    </a:lnTo>
                    <a:lnTo>
                      <a:pt x="960" y="1113"/>
                    </a:lnTo>
                    <a:lnTo>
                      <a:pt x="958" y="1117"/>
                    </a:lnTo>
                    <a:lnTo>
                      <a:pt x="953" y="1121"/>
                    </a:lnTo>
                    <a:lnTo>
                      <a:pt x="949" y="1121"/>
                    </a:lnTo>
                    <a:lnTo>
                      <a:pt x="949" y="1121"/>
                    </a:lnTo>
                    <a:lnTo>
                      <a:pt x="949" y="1121"/>
                    </a:lnTo>
                    <a:lnTo>
                      <a:pt x="949" y="1121"/>
                    </a:lnTo>
                    <a:lnTo>
                      <a:pt x="949" y="1121"/>
                    </a:lnTo>
                    <a:close/>
                    <a:moveTo>
                      <a:pt x="964" y="1128"/>
                    </a:moveTo>
                    <a:lnTo>
                      <a:pt x="968" y="1121"/>
                    </a:lnTo>
                    <a:lnTo>
                      <a:pt x="968" y="1121"/>
                    </a:lnTo>
                    <a:lnTo>
                      <a:pt x="972" y="1121"/>
                    </a:lnTo>
                    <a:lnTo>
                      <a:pt x="972" y="1121"/>
                    </a:lnTo>
                    <a:lnTo>
                      <a:pt x="966" y="1126"/>
                    </a:lnTo>
                    <a:lnTo>
                      <a:pt x="966" y="1130"/>
                    </a:lnTo>
                    <a:lnTo>
                      <a:pt x="968" y="1128"/>
                    </a:lnTo>
                    <a:lnTo>
                      <a:pt x="972" y="1122"/>
                    </a:lnTo>
                    <a:lnTo>
                      <a:pt x="972" y="1121"/>
                    </a:lnTo>
                    <a:lnTo>
                      <a:pt x="972" y="1117"/>
                    </a:lnTo>
                    <a:lnTo>
                      <a:pt x="972" y="1117"/>
                    </a:lnTo>
                    <a:lnTo>
                      <a:pt x="972" y="1117"/>
                    </a:lnTo>
                    <a:lnTo>
                      <a:pt x="972" y="1115"/>
                    </a:lnTo>
                    <a:lnTo>
                      <a:pt x="968" y="1113"/>
                    </a:lnTo>
                    <a:lnTo>
                      <a:pt x="968" y="1115"/>
                    </a:lnTo>
                    <a:lnTo>
                      <a:pt x="966" y="1121"/>
                    </a:lnTo>
                    <a:lnTo>
                      <a:pt x="962" y="1121"/>
                    </a:lnTo>
                    <a:lnTo>
                      <a:pt x="960" y="1122"/>
                    </a:lnTo>
                    <a:lnTo>
                      <a:pt x="960" y="1121"/>
                    </a:lnTo>
                    <a:lnTo>
                      <a:pt x="964" y="1117"/>
                    </a:lnTo>
                    <a:lnTo>
                      <a:pt x="964" y="1115"/>
                    </a:lnTo>
                    <a:lnTo>
                      <a:pt x="964" y="1115"/>
                    </a:lnTo>
                    <a:lnTo>
                      <a:pt x="962" y="1117"/>
                    </a:lnTo>
                    <a:lnTo>
                      <a:pt x="958" y="1121"/>
                    </a:lnTo>
                    <a:lnTo>
                      <a:pt x="955" y="1126"/>
                    </a:lnTo>
                    <a:lnTo>
                      <a:pt x="955" y="1126"/>
                    </a:lnTo>
                    <a:lnTo>
                      <a:pt x="951" y="1130"/>
                    </a:lnTo>
                    <a:lnTo>
                      <a:pt x="953" y="1132"/>
                    </a:lnTo>
                    <a:lnTo>
                      <a:pt x="953" y="1132"/>
                    </a:lnTo>
                    <a:lnTo>
                      <a:pt x="956" y="1126"/>
                    </a:lnTo>
                    <a:lnTo>
                      <a:pt x="960" y="1126"/>
                    </a:lnTo>
                    <a:lnTo>
                      <a:pt x="958" y="1128"/>
                    </a:lnTo>
                    <a:lnTo>
                      <a:pt x="956" y="1132"/>
                    </a:lnTo>
                    <a:lnTo>
                      <a:pt x="956" y="1132"/>
                    </a:lnTo>
                    <a:lnTo>
                      <a:pt x="960" y="1130"/>
                    </a:lnTo>
                    <a:lnTo>
                      <a:pt x="962" y="1130"/>
                    </a:lnTo>
                    <a:lnTo>
                      <a:pt x="962" y="1130"/>
                    </a:lnTo>
                    <a:lnTo>
                      <a:pt x="964" y="1128"/>
                    </a:lnTo>
                    <a:lnTo>
                      <a:pt x="964" y="1128"/>
                    </a:lnTo>
                    <a:lnTo>
                      <a:pt x="964" y="1128"/>
                    </a:lnTo>
                    <a:lnTo>
                      <a:pt x="964" y="1128"/>
                    </a:lnTo>
                    <a:close/>
                    <a:moveTo>
                      <a:pt x="960" y="1128"/>
                    </a:moveTo>
                    <a:lnTo>
                      <a:pt x="962" y="1126"/>
                    </a:lnTo>
                    <a:lnTo>
                      <a:pt x="966" y="1121"/>
                    </a:lnTo>
                    <a:lnTo>
                      <a:pt x="964" y="1126"/>
                    </a:lnTo>
                    <a:lnTo>
                      <a:pt x="962" y="1126"/>
                    </a:lnTo>
                    <a:lnTo>
                      <a:pt x="960" y="1128"/>
                    </a:lnTo>
                    <a:lnTo>
                      <a:pt x="960" y="1128"/>
                    </a:lnTo>
                    <a:lnTo>
                      <a:pt x="960" y="1128"/>
                    </a:lnTo>
                    <a:lnTo>
                      <a:pt x="960" y="1128"/>
                    </a:lnTo>
                    <a:close/>
                    <a:moveTo>
                      <a:pt x="1209" y="1382"/>
                    </a:moveTo>
                    <a:lnTo>
                      <a:pt x="1209" y="1382"/>
                    </a:lnTo>
                    <a:lnTo>
                      <a:pt x="1207" y="1380"/>
                    </a:lnTo>
                    <a:lnTo>
                      <a:pt x="1209" y="1380"/>
                    </a:lnTo>
                    <a:lnTo>
                      <a:pt x="1209" y="1377"/>
                    </a:lnTo>
                    <a:lnTo>
                      <a:pt x="1212" y="1375"/>
                    </a:lnTo>
                    <a:lnTo>
                      <a:pt x="1212" y="1375"/>
                    </a:lnTo>
                    <a:lnTo>
                      <a:pt x="1212" y="1375"/>
                    </a:lnTo>
                    <a:lnTo>
                      <a:pt x="1212" y="1375"/>
                    </a:lnTo>
                    <a:lnTo>
                      <a:pt x="1209" y="1377"/>
                    </a:lnTo>
                    <a:lnTo>
                      <a:pt x="1207" y="1380"/>
                    </a:lnTo>
                    <a:lnTo>
                      <a:pt x="1207" y="1382"/>
                    </a:lnTo>
                    <a:lnTo>
                      <a:pt x="1209" y="1382"/>
                    </a:lnTo>
                    <a:lnTo>
                      <a:pt x="1209" y="1382"/>
                    </a:lnTo>
                    <a:lnTo>
                      <a:pt x="1209" y="1382"/>
                    </a:lnTo>
                    <a:lnTo>
                      <a:pt x="1209" y="1382"/>
                    </a:lnTo>
                    <a:lnTo>
                      <a:pt x="1209" y="1382"/>
                    </a:lnTo>
                    <a:close/>
                    <a:moveTo>
                      <a:pt x="1301" y="1397"/>
                    </a:moveTo>
                    <a:lnTo>
                      <a:pt x="1301" y="1397"/>
                    </a:lnTo>
                    <a:lnTo>
                      <a:pt x="1301" y="1394"/>
                    </a:lnTo>
                    <a:lnTo>
                      <a:pt x="1301" y="1390"/>
                    </a:lnTo>
                    <a:lnTo>
                      <a:pt x="1297" y="1388"/>
                    </a:lnTo>
                    <a:lnTo>
                      <a:pt x="1301" y="1388"/>
                    </a:lnTo>
                    <a:lnTo>
                      <a:pt x="1301" y="1384"/>
                    </a:lnTo>
                    <a:lnTo>
                      <a:pt x="1301" y="1388"/>
                    </a:lnTo>
                    <a:lnTo>
                      <a:pt x="1301" y="1388"/>
                    </a:lnTo>
                    <a:lnTo>
                      <a:pt x="1301" y="1390"/>
                    </a:lnTo>
                    <a:lnTo>
                      <a:pt x="1301" y="1394"/>
                    </a:lnTo>
                    <a:lnTo>
                      <a:pt x="1301" y="1394"/>
                    </a:lnTo>
                    <a:lnTo>
                      <a:pt x="1301" y="1394"/>
                    </a:lnTo>
                    <a:lnTo>
                      <a:pt x="1301" y="1397"/>
                    </a:lnTo>
                    <a:lnTo>
                      <a:pt x="1301" y="1397"/>
                    </a:lnTo>
                    <a:lnTo>
                      <a:pt x="1301" y="1397"/>
                    </a:lnTo>
                    <a:lnTo>
                      <a:pt x="1301" y="1397"/>
                    </a:lnTo>
                    <a:lnTo>
                      <a:pt x="1301" y="1397"/>
                    </a:lnTo>
                    <a:lnTo>
                      <a:pt x="1301" y="1397"/>
                    </a:lnTo>
                    <a:close/>
                    <a:moveTo>
                      <a:pt x="1305" y="1399"/>
                    </a:moveTo>
                    <a:lnTo>
                      <a:pt x="1305" y="1397"/>
                    </a:lnTo>
                    <a:lnTo>
                      <a:pt x="1305" y="1397"/>
                    </a:lnTo>
                    <a:lnTo>
                      <a:pt x="1305" y="1399"/>
                    </a:lnTo>
                    <a:lnTo>
                      <a:pt x="1305" y="1401"/>
                    </a:lnTo>
                    <a:lnTo>
                      <a:pt x="1305" y="1399"/>
                    </a:lnTo>
                    <a:lnTo>
                      <a:pt x="1305" y="1399"/>
                    </a:lnTo>
                    <a:lnTo>
                      <a:pt x="1305" y="1399"/>
                    </a:lnTo>
                    <a:lnTo>
                      <a:pt x="1305" y="1399"/>
                    </a:lnTo>
                    <a:close/>
                    <a:moveTo>
                      <a:pt x="1339" y="1269"/>
                    </a:moveTo>
                    <a:lnTo>
                      <a:pt x="1340" y="1266"/>
                    </a:lnTo>
                    <a:lnTo>
                      <a:pt x="1342" y="1266"/>
                    </a:lnTo>
                    <a:lnTo>
                      <a:pt x="1342" y="1266"/>
                    </a:lnTo>
                    <a:lnTo>
                      <a:pt x="1342" y="1269"/>
                    </a:lnTo>
                    <a:lnTo>
                      <a:pt x="1340" y="1269"/>
                    </a:lnTo>
                    <a:lnTo>
                      <a:pt x="1340" y="1269"/>
                    </a:lnTo>
                    <a:lnTo>
                      <a:pt x="1339" y="1269"/>
                    </a:lnTo>
                    <a:lnTo>
                      <a:pt x="1339" y="1269"/>
                    </a:lnTo>
                    <a:lnTo>
                      <a:pt x="1339" y="1269"/>
                    </a:lnTo>
                    <a:lnTo>
                      <a:pt x="1339" y="1269"/>
                    </a:lnTo>
                    <a:close/>
                    <a:moveTo>
                      <a:pt x="1329" y="1296"/>
                    </a:moveTo>
                    <a:lnTo>
                      <a:pt x="1329" y="1300"/>
                    </a:lnTo>
                    <a:lnTo>
                      <a:pt x="1331" y="1300"/>
                    </a:lnTo>
                    <a:lnTo>
                      <a:pt x="1331" y="1300"/>
                    </a:lnTo>
                    <a:lnTo>
                      <a:pt x="1331" y="1300"/>
                    </a:lnTo>
                    <a:lnTo>
                      <a:pt x="1331" y="1296"/>
                    </a:lnTo>
                    <a:lnTo>
                      <a:pt x="1331" y="1296"/>
                    </a:lnTo>
                    <a:lnTo>
                      <a:pt x="1329" y="1296"/>
                    </a:lnTo>
                    <a:lnTo>
                      <a:pt x="1329" y="1296"/>
                    </a:lnTo>
                    <a:lnTo>
                      <a:pt x="1329" y="1296"/>
                    </a:lnTo>
                    <a:lnTo>
                      <a:pt x="1329" y="1296"/>
                    </a:lnTo>
                    <a:close/>
                    <a:moveTo>
                      <a:pt x="1348" y="1330"/>
                    </a:moveTo>
                    <a:lnTo>
                      <a:pt x="1346" y="1324"/>
                    </a:lnTo>
                    <a:lnTo>
                      <a:pt x="1346" y="1324"/>
                    </a:lnTo>
                    <a:lnTo>
                      <a:pt x="1348" y="1324"/>
                    </a:lnTo>
                    <a:lnTo>
                      <a:pt x="1350" y="1324"/>
                    </a:lnTo>
                    <a:lnTo>
                      <a:pt x="1350" y="1324"/>
                    </a:lnTo>
                    <a:lnTo>
                      <a:pt x="1352" y="1324"/>
                    </a:lnTo>
                    <a:lnTo>
                      <a:pt x="1352" y="1328"/>
                    </a:lnTo>
                    <a:lnTo>
                      <a:pt x="1350" y="1330"/>
                    </a:lnTo>
                    <a:lnTo>
                      <a:pt x="1350" y="1330"/>
                    </a:lnTo>
                    <a:lnTo>
                      <a:pt x="1348" y="1330"/>
                    </a:lnTo>
                    <a:lnTo>
                      <a:pt x="1348" y="1330"/>
                    </a:lnTo>
                    <a:lnTo>
                      <a:pt x="1348" y="1330"/>
                    </a:lnTo>
                    <a:lnTo>
                      <a:pt x="1348" y="1330"/>
                    </a:lnTo>
                    <a:close/>
                    <a:moveTo>
                      <a:pt x="1339" y="1328"/>
                    </a:moveTo>
                    <a:lnTo>
                      <a:pt x="1340" y="1330"/>
                    </a:lnTo>
                    <a:lnTo>
                      <a:pt x="1342" y="1328"/>
                    </a:lnTo>
                    <a:lnTo>
                      <a:pt x="1342" y="1324"/>
                    </a:lnTo>
                    <a:lnTo>
                      <a:pt x="1342" y="1324"/>
                    </a:lnTo>
                    <a:lnTo>
                      <a:pt x="1342" y="1324"/>
                    </a:lnTo>
                    <a:lnTo>
                      <a:pt x="1344" y="1328"/>
                    </a:lnTo>
                    <a:lnTo>
                      <a:pt x="1342" y="1330"/>
                    </a:lnTo>
                    <a:lnTo>
                      <a:pt x="1339" y="1330"/>
                    </a:lnTo>
                    <a:lnTo>
                      <a:pt x="1337" y="1330"/>
                    </a:lnTo>
                    <a:lnTo>
                      <a:pt x="1337" y="1330"/>
                    </a:lnTo>
                    <a:lnTo>
                      <a:pt x="1339" y="1328"/>
                    </a:lnTo>
                    <a:lnTo>
                      <a:pt x="1339" y="1328"/>
                    </a:lnTo>
                    <a:lnTo>
                      <a:pt x="1339" y="1328"/>
                    </a:lnTo>
                    <a:lnTo>
                      <a:pt x="1339" y="1328"/>
                    </a:lnTo>
                    <a:close/>
                    <a:moveTo>
                      <a:pt x="1310" y="1375"/>
                    </a:moveTo>
                    <a:lnTo>
                      <a:pt x="1310" y="1373"/>
                    </a:lnTo>
                    <a:lnTo>
                      <a:pt x="1310" y="1375"/>
                    </a:lnTo>
                    <a:lnTo>
                      <a:pt x="1310" y="1375"/>
                    </a:lnTo>
                    <a:lnTo>
                      <a:pt x="1310" y="1375"/>
                    </a:lnTo>
                    <a:lnTo>
                      <a:pt x="1310" y="1375"/>
                    </a:lnTo>
                    <a:lnTo>
                      <a:pt x="1310" y="1375"/>
                    </a:lnTo>
                    <a:lnTo>
                      <a:pt x="1310" y="1375"/>
                    </a:lnTo>
                    <a:close/>
                    <a:moveTo>
                      <a:pt x="1348" y="1364"/>
                    </a:moveTo>
                    <a:lnTo>
                      <a:pt x="1348" y="1365"/>
                    </a:lnTo>
                    <a:lnTo>
                      <a:pt x="1350" y="1365"/>
                    </a:lnTo>
                    <a:lnTo>
                      <a:pt x="1354" y="1365"/>
                    </a:lnTo>
                    <a:lnTo>
                      <a:pt x="1354" y="1365"/>
                    </a:lnTo>
                    <a:lnTo>
                      <a:pt x="1350" y="1364"/>
                    </a:lnTo>
                    <a:lnTo>
                      <a:pt x="1348" y="1364"/>
                    </a:lnTo>
                    <a:lnTo>
                      <a:pt x="1348" y="1364"/>
                    </a:lnTo>
                    <a:lnTo>
                      <a:pt x="1348" y="1364"/>
                    </a:lnTo>
                    <a:lnTo>
                      <a:pt x="1348" y="1364"/>
                    </a:lnTo>
                    <a:close/>
                    <a:moveTo>
                      <a:pt x="1307" y="1294"/>
                    </a:moveTo>
                    <a:lnTo>
                      <a:pt x="1305" y="1296"/>
                    </a:lnTo>
                    <a:lnTo>
                      <a:pt x="1301" y="1300"/>
                    </a:lnTo>
                    <a:lnTo>
                      <a:pt x="1301" y="1300"/>
                    </a:lnTo>
                    <a:lnTo>
                      <a:pt x="1301" y="1300"/>
                    </a:lnTo>
                    <a:lnTo>
                      <a:pt x="1301" y="1303"/>
                    </a:lnTo>
                    <a:lnTo>
                      <a:pt x="1297" y="1303"/>
                    </a:lnTo>
                    <a:lnTo>
                      <a:pt x="1297" y="1303"/>
                    </a:lnTo>
                    <a:lnTo>
                      <a:pt x="1297" y="1303"/>
                    </a:lnTo>
                    <a:lnTo>
                      <a:pt x="1297" y="1305"/>
                    </a:lnTo>
                    <a:lnTo>
                      <a:pt x="1295" y="1305"/>
                    </a:lnTo>
                    <a:lnTo>
                      <a:pt x="1293" y="1307"/>
                    </a:lnTo>
                    <a:lnTo>
                      <a:pt x="1293" y="1309"/>
                    </a:lnTo>
                    <a:lnTo>
                      <a:pt x="1295" y="1309"/>
                    </a:lnTo>
                    <a:lnTo>
                      <a:pt x="1295" y="1311"/>
                    </a:lnTo>
                    <a:lnTo>
                      <a:pt x="1293" y="1311"/>
                    </a:lnTo>
                    <a:lnTo>
                      <a:pt x="1292" y="1311"/>
                    </a:lnTo>
                    <a:lnTo>
                      <a:pt x="1290" y="1315"/>
                    </a:lnTo>
                    <a:lnTo>
                      <a:pt x="1290" y="1316"/>
                    </a:lnTo>
                    <a:lnTo>
                      <a:pt x="1286" y="1324"/>
                    </a:lnTo>
                    <a:lnTo>
                      <a:pt x="1286" y="1324"/>
                    </a:lnTo>
                    <a:lnTo>
                      <a:pt x="1286" y="1324"/>
                    </a:lnTo>
                    <a:lnTo>
                      <a:pt x="1286" y="1328"/>
                    </a:lnTo>
                    <a:lnTo>
                      <a:pt x="1286" y="1330"/>
                    </a:lnTo>
                    <a:lnTo>
                      <a:pt x="1284" y="1328"/>
                    </a:lnTo>
                    <a:lnTo>
                      <a:pt x="1284" y="1328"/>
                    </a:lnTo>
                    <a:lnTo>
                      <a:pt x="1280" y="1330"/>
                    </a:lnTo>
                    <a:lnTo>
                      <a:pt x="1280" y="1330"/>
                    </a:lnTo>
                    <a:lnTo>
                      <a:pt x="1280" y="1333"/>
                    </a:lnTo>
                    <a:lnTo>
                      <a:pt x="1280" y="1333"/>
                    </a:lnTo>
                    <a:lnTo>
                      <a:pt x="1282" y="1333"/>
                    </a:lnTo>
                    <a:lnTo>
                      <a:pt x="1280" y="1335"/>
                    </a:lnTo>
                    <a:lnTo>
                      <a:pt x="1280" y="1337"/>
                    </a:lnTo>
                    <a:lnTo>
                      <a:pt x="1280" y="1339"/>
                    </a:lnTo>
                    <a:lnTo>
                      <a:pt x="1276" y="1337"/>
                    </a:lnTo>
                    <a:lnTo>
                      <a:pt x="1273" y="1339"/>
                    </a:lnTo>
                    <a:lnTo>
                      <a:pt x="1273" y="1341"/>
                    </a:lnTo>
                    <a:lnTo>
                      <a:pt x="1273" y="1343"/>
                    </a:lnTo>
                    <a:lnTo>
                      <a:pt x="1271" y="1347"/>
                    </a:lnTo>
                    <a:lnTo>
                      <a:pt x="1267" y="1348"/>
                    </a:lnTo>
                    <a:lnTo>
                      <a:pt x="1267" y="1348"/>
                    </a:lnTo>
                    <a:lnTo>
                      <a:pt x="1267" y="1347"/>
                    </a:lnTo>
                    <a:lnTo>
                      <a:pt x="1265" y="1348"/>
                    </a:lnTo>
                    <a:lnTo>
                      <a:pt x="1265" y="1347"/>
                    </a:lnTo>
                    <a:lnTo>
                      <a:pt x="1265" y="1345"/>
                    </a:lnTo>
                    <a:lnTo>
                      <a:pt x="1267" y="1343"/>
                    </a:lnTo>
                    <a:lnTo>
                      <a:pt x="1267" y="1341"/>
                    </a:lnTo>
                    <a:lnTo>
                      <a:pt x="1267" y="1343"/>
                    </a:lnTo>
                    <a:lnTo>
                      <a:pt x="1265" y="1345"/>
                    </a:lnTo>
                    <a:lnTo>
                      <a:pt x="1260" y="1347"/>
                    </a:lnTo>
                    <a:lnTo>
                      <a:pt x="1258" y="1352"/>
                    </a:lnTo>
                    <a:lnTo>
                      <a:pt x="1260" y="1352"/>
                    </a:lnTo>
                    <a:lnTo>
                      <a:pt x="1261" y="1350"/>
                    </a:lnTo>
                    <a:lnTo>
                      <a:pt x="1267" y="1350"/>
                    </a:lnTo>
                    <a:lnTo>
                      <a:pt x="1273" y="1350"/>
                    </a:lnTo>
                    <a:lnTo>
                      <a:pt x="1267" y="1352"/>
                    </a:lnTo>
                    <a:lnTo>
                      <a:pt x="1265" y="1358"/>
                    </a:lnTo>
                    <a:lnTo>
                      <a:pt x="1263" y="1360"/>
                    </a:lnTo>
                    <a:lnTo>
                      <a:pt x="1260" y="1364"/>
                    </a:lnTo>
                    <a:lnTo>
                      <a:pt x="1256" y="1365"/>
                    </a:lnTo>
                    <a:lnTo>
                      <a:pt x="1252" y="1365"/>
                    </a:lnTo>
                    <a:lnTo>
                      <a:pt x="1252" y="1367"/>
                    </a:lnTo>
                    <a:lnTo>
                      <a:pt x="1252" y="1369"/>
                    </a:lnTo>
                    <a:lnTo>
                      <a:pt x="1252" y="1371"/>
                    </a:lnTo>
                    <a:lnTo>
                      <a:pt x="1252" y="1373"/>
                    </a:lnTo>
                    <a:lnTo>
                      <a:pt x="1256" y="1373"/>
                    </a:lnTo>
                    <a:lnTo>
                      <a:pt x="1260" y="1375"/>
                    </a:lnTo>
                    <a:lnTo>
                      <a:pt x="1263" y="1375"/>
                    </a:lnTo>
                    <a:lnTo>
                      <a:pt x="1265" y="1373"/>
                    </a:lnTo>
                    <a:lnTo>
                      <a:pt x="1267" y="1371"/>
                    </a:lnTo>
                    <a:lnTo>
                      <a:pt x="1271" y="1369"/>
                    </a:lnTo>
                    <a:lnTo>
                      <a:pt x="1273" y="1367"/>
                    </a:lnTo>
                    <a:lnTo>
                      <a:pt x="1273" y="1369"/>
                    </a:lnTo>
                    <a:lnTo>
                      <a:pt x="1271" y="1371"/>
                    </a:lnTo>
                    <a:lnTo>
                      <a:pt x="1273" y="1373"/>
                    </a:lnTo>
                    <a:lnTo>
                      <a:pt x="1276" y="1371"/>
                    </a:lnTo>
                    <a:lnTo>
                      <a:pt x="1276" y="1373"/>
                    </a:lnTo>
                    <a:lnTo>
                      <a:pt x="1282" y="1373"/>
                    </a:lnTo>
                    <a:lnTo>
                      <a:pt x="1286" y="1373"/>
                    </a:lnTo>
                    <a:lnTo>
                      <a:pt x="1286" y="1375"/>
                    </a:lnTo>
                    <a:lnTo>
                      <a:pt x="1288" y="1377"/>
                    </a:lnTo>
                    <a:lnTo>
                      <a:pt x="1292" y="1377"/>
                    </a:lnTo>
                    <a:lnTo>
                      <a:pt x="1292" y="1375"/>
                    </a:lnTo>
                    <a:lnTo>
                      <a:pt x="1293" y="1377"/>
                    </a:lnTo>
                    <a:lnTo>
                      <a:pt x="1295" y="1377"/>
                    </a:lnTo>
                    <a:lnTo>
                      <a:pt x="1297" y="1375"/>
                    </a:lnTo>
                    <a:lnTo>
                      <a:pt x="1297" y="1375"/>
                    </a:lnTo>
                    <a:lnTo>
                      <a:pt x="1297" y="1375"/>
                    </a:lnTo>
                    <a:lnTo>
                      <a:pt x="1301" y="1375"/>
                    </a:lnTo>
                    <a:lnTo>
                      <a:pt x="1301" y="1375"/>
                    </a:lnTo>
                    <a:lnTo>
                      <a:pt x="1305" y="1373"/>
                    </a:lnTo>
                    <a:lnTo>
                      <a:pt x="1305" y="1373"/>
                    </a:lnTo>
                    <a:lnTo>
                      <a:pt x="1307" y="1375"/>
                    </a:lnTo>
                    <a:lnTo>
                      <a:pt x="1307" y="1373"/>
                    </a:lnTo>
                    <a:lnTo>
                      <a:pt x="1307" y="1371"/>
                    </a:lnTo>
                    <a:lnTo>
                      <a:pt x="1307" y="1369"/>
                    </a:lnTo>
                    <a:lnTo>
                      <a:pt x="1307" y="1369"/>
                    </a:lnTo>
                    <a:lnTo>
                      <a:pt x="1310" y="1367"/>
                    </a:lnTo>
                    <a:lnTo>
                      <a:pt x="1310" y="1367"/>
                    </a:lnTo>
                    <a:lnTo>
                      <a:pt x="1310" y="1367"/>
                    </a:lnTo>
                    <a:lnTo>
                      <a:pt x="1310" y="1371"/>
                    </a:lnTo>
                    <a:lnTo>
                      <a:pt x="1310" y="1373"/>
                    </a:lnTo>
                    <a:lnTo>
                      <a:pt x="1310" y="1371"/>
                    </a:lnTo>
                    <a:lnTo>
                      <a:pt x="1312" y="1369"/>
                    </a:lnTo>
                    <a:lnTo>
                      <a:pt x="1312" y="1367"/>
                    </a:lnTo>
                    <a:lnTo>
                      <a:pt x="1312" y="1371"/>
                    </a:lnTo>
                    <a:lnTo>
                      <a:pt x="1312" y="1373"/>
                    </a:lnTo>
                    <a:lnTo>
                      <a:pt x="1312" y="1375"/>
                    </a:lnTo>
                    <a:lnTo>
                      <a:pt x="1314" y="1373"/>
                    </a:lnTo>
                    <a:lnTo>
                      <a:pt x="1314" y="1373"/>
                    </a:lnTo>
                    <a:lnTo>
                      <a:pt x="1314" y="1375"/>
                    </a:lnTo>
                    <a:lnTo>
                      <a:pt x="1310" y="1377"/>
                    </a:lnTo>
                    <a:lnTo>
                      <a:pt x="1307" y="1379"/>
                    </a:lnTo>
                    <a:lnTo>
                      <a:pt x="1310" y="1379"/>
                    </a:lnTo>
                    <a:lnTo>
                      <a:pt x="1310" y="1379"/>
                    </a:lnTo>
                    <a:lnTo>
                      <a:pt x="1312" y="1379"/>
                    </a:lnTo>
                    <a:lnTo>
                      <a:pt x="1312" y="1379"/>
                    </a:lnTo>
                    <a:lnTo>
                      <a:pt x="1314" y="1379"/>
                    </a:lnTo>
                    <a:lnTo>
                      <a:pt x="1316" y="1380"/>
                    </a:lnTo>
                    <a:lnTo>
                      <a:pt x="1316" y="1379"/>
                    </a:lnTo>
                    <a:lnTo>
                      <a:pt x="1320" y="1379"/>
                    </a:lnTo>
                    <a:lnTo>
                      <a:pt x="1320" y="1377"/>
                    </a:lnTo>
                    <a:lnTo>
                      <a:pt x="1320" y="1373"/>
                    </a:lnTo>
                    <a:lnTo>
                      <a:pt x="1322" y="1375"/>
                    </a:lnTo>
                    <a:lnTo>
                      <a:pt x="1325" y="1375"/>
                    </a:lnTo>
                    <a:lnTo>
                      <a:pt x="1325" y="1377"/>
                    </a:lnTo>
                    <a:lnTo>
                      <a:pt x="1325" y="1377"/>
                    </a:lnTo>
                    <a:lnTo>
                      <a:pt x="1329" y="1375"/>
                    </a:lnTo>
                    <a:lnTo>
                      <a:pt x="1331" y="1377"/>
                    </a:lnTo>
                    <a:lnTo>
                      <a:pt x="1331" y="1377"/>
                    </a:lnTo>
                    <a:lnTo>
                      <a:pt x="1331" y="1379"/>
                    </a:lnTo>
                    <a:lnTo>
                      <a:pt x="1325" y="1380"/>
                    </a:lnTo>
                    <a:lnTo>
                      <a:pt x="1322" y="1380"/>
                    </a:lnTo>
                    <a:lnTo>
                      <a:pt x="1322" y="1382"/>
                    </a:lnTo>
                    <a:lnTo>
                      <a:pt x="1322" y="1384"/>
                    </a:lnTo>
                    <a:lnTo>
                      <a:pt x="1320" y="1384"/>
                    </a:lnTo>
                    <a:lnTo>
                      <a:pt x="1320" y="1384"/>
                    </a:lnTo>
                    <a:lnTo>
                      <a:pt x="1318" y="1384"/>
                    </a:lnTo>
                    <a:lnTo>
                      <a:pt x="1316" y="1384"/>
                    </a:lnTo>
                    <a:lnTo>
                      <a:pt x="1316" y="1388"/>
                    </a:lnTo>
                    <a:lnTo>
                      <a:pt x="1314" y="1388"/>
                    </a:lnTo>
                    <a:lnTo>
                      <a:pt x="1310" y="1388"/>
                    </a:lnTo>
                    <a:lnTo>
                      <a:pt x="1310" y="1390"/>
                    </a:lnTo>
                    <a:lnTo>
                      <a:pt x="1307" y="1394"/>
                    </a:lnTo>
                    <a:lnTo>
                      <a:pt x="1310" y="1394"/>
                    </a:lnTo>
                    <a:lnTo>
                      <a:pt x="1310" y="1394"/>
                    </a:lnTo>
                    <a:lnTo>
                      <a:pt x="1312" y="1394"/>
                    </a:lnTo>
                    <a:lnTo>
                      <a:pt x="1312" y="1394"/>
                    </a:lnTo>
                    <a:lnTo>
                      <a:pt x="1314" y="1394"/>
                    </a:lnTo>
                    <a:lnTo>
                      <a:pt x="1316" y="1394"/>
                    </a:lnTo>
                    <a:lnTo>
                      <a:pt x="1316" y="1394"/>
                    </a:lnTo>
                    <a:lnTo>
                      <a:pt x="1316" y="1394"/>
                    </a:lnTo>
                    <a:lnTo>
                      <a:pt x="1320" y="1394"/>
                    </a:lnTo>
                    <a:lnTo>
                      <a:pt x="1322" y="1394"/>
                    </a:lnTo>
                    <a:lnTo>
                      <a:pt x="1322" y="1390"/>
                    </a:lnTo>
                    <a:lnTo>
                      <a:pt x="1322" y="1390"/>
                    </a:lnTo>
                    <a:lnTo>
                      <a:pt x="1322" y="1388"/>
                    </a:lnTo>
                    <a:lnTo>
                      <a:pt x="1322" y="1384"/>
                    </a:lnTo>
                    <a:lnTo>
                      <a:pt x="1325" y="1384"/>
                    </a:lnTo>
                    <a:lnTo>
                      <a:pt x="1329" y="1382"/>
                    </a:lnTo>
                    <a:lnTo>
                      <a:pt x="1331" y="1380"/>
                    </a:lnTo>
                    <a:lnTo>
                      <a:pt x="1331" y="1382"/>
                    </a:lnTo>
                    <a:lnTo>
                      <a:pt x="1335" y="1382"/>
                    </a:lnTo>
                    <a:lnTo>
                      <a:pt x="1331" y="1384"/>
                    </a:lnTo>
                    <a:lnTo>
                      <a:pt x="1335" y="1384"/>
                    </a:lnTo>
                    <a:lnTo>
                      <a:pt x="1335" y="1382"/>
                    </a:lnTo>
                    <a:lnTo>
                      <a:pt x="1337" y="1379"/>
                    </a:lnTo>
                    <a:lnTo>
                      <a:pt x="1339" y="1375"/>
                    </a:lnTo>
                    <a:lnTo>
                      <a:pt x="1339" y="1371"/>
                    </a:lnTo>
                    <a:lnTo>
                      <a:pt x="1339" y="1369"/>
                    </a:lnTo>
                    <a:lnTo>
                      <a:pt x="1340" y="1369"/>
                    </a:lnTo>
                    <a:lnTo>
                      <a:pt x="1340" y="1371"/>
                    </a:lnTo>
                    <a:lnTo>
                      <a:pt x="1342" y="1371"/>
                    </a:lnTo>
                    <a:lnTo>
                      <a:pt x="1344" y="1373"/>
                    </a:lnTo>
                    <a:lnTo>
                      <a:pt x="1344" y="1377"/>
                    </a:lnTo>
                    <a:lnTo>
                      <a:pt x="1344" y="1379"/>
                    </a:lnTo>
                    <a:lnTo>
                      <a:pt x="1344" y="1380"/>
                    </a:lnTo>
                    <a:lnTo>
                      <a:pt x="1344" y="1382"/>
                    </a:lnTo>
                    <a:lnTo>
                      <a:pt x="1344" y="1384"/>
                    </a:lnTo>
                    <a:lnTo>
                      <a:pt x="1340" y="1388"/>
                    </a:lnTo>
                    <a:lnTo>
                      <a:pt x="1339" y="1394"/>
                    </a:lnTo>
                    <a:lnTo>
                      <a:pt x="1339" y="1394"/>
                    </a:lnTo>
                    <a:lnTo>
                      <a:pt x="1337" y="1397"/>
                    </a:lnTo>
                    <a:lnTo>
                      <a:pt x="1337" y="1397"/>
                    </a:lnTo>
                    <a:lnTo>
                      <a:pt x="1339" y="1397"/>
                    </a:lnTo>
                    <a:lnTo>
                      <a:pt x="1342" y="1397"/>
                    </a:lnTo>
                    <a:lnTo>
                      <a:pt x="1344" y="1394"/>
                    </a:lnTo>
                    <a:lnTo>
                      <a:pt x="1346" y="1394"/>
                    </a:lnTo>
                    <a:lnTo>
                      <a:pt x="1348" y="1388"/>
                    </a:lnTo>
                    <a:lnTo>
                      <a:pt x="1350" y="1388"/>
                    </a:lnTo>
                    <a:lnTo>
                      <a:pt x="1350" y="1388"/>
                    </a:lnTo>
                    <a:lnTo>
                      <a:pt x="1354" y="1388"/>
                    </a:lnTo>
                    <a:lnTo>
                      <a:pt x="1354" y="1388"/>
                    </a:lnTo>
                    <a:lnTo>
                      <a:pt x="1352" y="1388"/>
                    </a:lnTo>
                    <a:lnTo>
                      <a:pt x="1348" y="1394"/>
                    </a:lnTo>
                    <a:lnTo>
                      <a:pt x="1348" y="1394"/>
                    </a:lnTo>
                    <a:lnTo>
                      <a:pt x="1348" y="1397"/>
                    </a:lnTo>
                    <a:lnTo>
                      <a:pt x="1348" y="1397"/>
                    </a:lnTo>
                    <a:lnTo>
                      <a:pt x="1348" y="1401"/>
                    </a:lnTo>
                    <a:lnTo>
                      <a:pt x="1350" y="1403"/>
                    </a:lnTo>
                    <a:lnTo>
                      <a:pt x="1352" y="1401"/>
                    </a:lnTo>
                    <a:lnTo>
                      <a:pt x="1354" y="1399"/>
                    </a:lnTo>
                    <a:lnTo>
                      <a:pt x="1354" y="1399"/>
                    </a:lnTo>
                    <a:lnTo>
                      <a:pt x="1356" y="1399"/>
                    </a:lnTo>
                    <a:lnTo>
                      <a:pt x="1356" y="1399"/>
                    </a:lnTo>
                    <a:lnTo>
                      <a:pt x="1356" y="1401"/>
                    </a:lnTo>
                    <a:lnTo>
                      <a:pt x="1356" y="1401"/>
                    </a:lnTo>
                    <a:lnTo>
                      <a:pt x="1359" y="1401"/>
                    </a:lnTo>
                    <a:lnTo>
                      <a:pt x="1359" y="1399"/>
                    </a:lnTo>
                    <a:lnTo>
                      <a:pt x="1359" y="1397"/>
                    </a:lnTo>
                    <a:lnTo>
                      <a:pt x="1361" y="1397"/>
                    </a:lnTo>
                    <a:lnTo>
                      <a:pt x="1361" y="1394"/>
                    </a:lnTo>
                    <a:lnTo>
                      <a:pt x="1361" y="1394"/>
                    </a:lnTo>
                    <a:lnTo>
                      <a:pt x="1361" y="1394"/>
                    </a:lnTo>
                    <a:lnTo>
                      <a:pt x="1361" y="1390"/>
                    </a:lnTo>
                    <a:lnTo>
                      <a:pt x="1361" y="1388"/>
                    </a:lnTo>
                    <a:lnTo>
                      <a:pt x="1365" y="1384"/>
                    </a:lnTo>
                    <a:lnTo>
                      <a:pt x="1367" y="1380"/>
                    </a:lnTo>
                    <a:lnTo>
                      <a:pt x="1367" y="1375"/>
                    </a:lnTo>
                    <a:lnTo>
                      <a:pt x="1367" y="1373"/>
                    </a:lnTo>
                    <a:lnTo>
                      <a:pt x="1365" y="1373"/>
                    </a:lnTo>
                    <a:lnTo>
                      <a:pt x="1365" y="1375"/>
                    </a:lnTo>
                    <a:lnTo>
                      <a:pt x="1365" y="1377"/>
                    </a:lnTo>
                    <a:lnTo>
                      <a:pt x="1361" y="1379"/>
                    </a:lnTo>
                    <a:lnTo>
                      <a:pt x="1359" y="1382"/>
                    </a:lnTo>
                    <a:lnTo>
                      <a:pt x="1359" y="1382"/>
                    </a:lnTo>
                    <a:lnTo>
                      <a:pt x="1356" y="1380"/>
                    </a:lnTo>
                    <a:lnTo>
                      <a:pt x="1359" y="1377"/>
                    </a:lnTo>
                    <a:lnTo>
                      <a:pt x="1359" y="1375"/>
                    </a:lnTo>
                    <a:lnTo>
                      <a:pt x="1359" y="1371"/>
                    </a:lnTo>
                    <a:lnTo>
                      <a:pt x="1361" y="1371"/>
                    </a:lnTo>
                    <a:lnTo>
                      <a:pt x="1363" y="1367"/>
                    </a:lnTo>
                    <a:lnTo>
                      <a:pt x="1365" y="1367"/>
                    </a:lnTo>
                    <a:lnTo>
                      <a:pt x="1367" y="1367"/>
                    </a:lnTo>
                    <a:lnTo>
                      <a:pt x="1365" y="1365"/>
                    </a:lnTo>
                    <a:lnTo>
                      <a:pt x="1363" y="1367"/>
                    </a:lnTo>
                    <a:lnTo>
                      <a:pt x="1363" y="1367"/>
                    </a:lnTo>
                    <a:lnTo>
                      <a:pt x="1359" y="1367"/>
                    </a:lnTo>
                    <a:lnTo>
                      <a:pt x="1359" y="1369"/>
                    </a:lnTo>
                    <a:lnTo>
                      <a:pt x="1356" y="1371"/>
                    </a:lnTo>
                    <a:lnTo>
                      <a:pt x="1356" y="1373"/>
                    </a:lnTo>
                    <a:lnTo>
                      <a:pt x="1352" y="1375"/>
                    </a:lnTo>
                    <a:lnTo>
                      <a:pt x="1352" y="1377"/>
                    </a:lnTo>
                    <a:lnTo>
                      <a:pt x="1350" y="1379"/>
                    </a:lnTo>
                    <a:lnTo>
                      <a:pt x="1348" y="1377"/>
                    </a:lnTo>
                    <a:lnTo>
                      <a:pt x="1348" y="1375"/>
                    </a:lnTo>
                    <a:lnTo>
                      <a:pt x="1346" y="1371"/>
                    </a:lnTo>
                    <a:lnTo>
                      <a:pt x="1346" y="1369"/>
                    </a:lnTo>
                    <a:lnTo>
                      <a:pt x="1348" y="1371"/>
                    </a:lnTo>
                    <a:lnTo>
                      <a:pt x="1348" y="1371"/>
                    </a:lnTo>
                    <a:lnTo>
                      <a:pt x="1352" y="1367"/>
                    </a:lnTo>
                    <a:lnTo>
                      <a:pt x="1350" y="1369"/>
                    </a:lnTo>
                    <a:lnTo>
                      <a:pt x="1346" y="1367"/>
                    </a:lnTo>
                    <a:lnTo>
                      <a:pt x="1348" y="1367"/>
                    </a:lnTo>
                    <a:lnTo>
                      <a:pt x="1352" y="1367"/>
                    </a:lnTo>
                    <a:lnTo>
                      <a:pt x="1348" y="1367"/>
                    </a:lnTo>
                    <a:lnTo>
                      <a:pt x="1348" y="1365"/>
                    </a:lnTo>
                    <a:lnTo>
                      <a:pt x="1348" y="1364"/>
                    </a:lnTo>
                    <a:lnTo>
                      <a:pt x="1348" y="1364"/>
                    </a:lnTo>
                    <a:lnTo>
                      <a:pt x="1352" y="1364"/>
                    </a:lnTo>
                    <a:lnTo>
                      <a:pt x="1352" y="1364"/>
                    </a:lnTo>
                    <a:lnTo>
                      <a:pt x="1356" y="1360"/>
                    </a:lnTo>
                    <a:lnTo>
                      <a:pt x="1356" y="1358"/>
                    </a:lnTo>
                    <a:lnTo>
                      <a:pt x="1359" y="1358"/>
                    </a:lnTo>
                    <a:lnTo>
                      <a:pt x="1359" y="1360"/>
                    </a:lnTo>
                    <a:lnTo>
                      <a:pt x="1363" y="1354"/>
                    </a:lnTo>
                    <a:lnTo>
                      <a:pt x="1363" y="1354"/>
                    </a:lnTo>
                    <a:lnTo>
                      <a:pt x="1363" y="1352"/>
                    </a:lnTo>
                    <a:lnTo>
                      <a:pt x="1363" y="1348"/>
                    </a:lnTo>
                    <a:lnTo>
                      <a:pt x="1359" y="1352"/>
                    </a:lnTo>
                    <a:lnTo>
                      <a:pt x="1359" y="1354"/>
                    </a:lnTo>
                    <a:lnTo>
                      <a:pt x="1359" y="1352"/>
                    </a:lnTo>
                    <a:lnTo>
                      <a:pt x="1356" y="1352"/>
                    </a:lnTo>
                    <a:lnTo>
                      <a:pt x="1356" y="1354"/>
                    </a:lnTo>
                    <a:lnTo>
                      <a:pt x="1356" y="1354"/>
                    </a:lnTo>
                    <a:lnTo>
                      <a:pt x="1356" y="1354"/>
                    </a:lnTo>
                    <a:lnTo>
                      <a:pt x="1354" y="1354"/>
                    </a:lnTo>
                    <a:lnTo>
                      <a:pt x="1352" y="1358"/>
                    </a:lnTo>
                    <a:lnTo>
                      <a:pt x="1350" y="1360"/>
                    </a:lnTo>
                    <a:lnTo>
                      <a:pt x="1350" y="1360"/>
                    </a:lnTo>
                    <a:lnTo>
                      <a:pt x="1348" y="1360"/>
                    </a:lnTo>
                    <a:lnTo>
                      <a:pt x="1348" y="1360"/>
                    </a:lnTo>
                    <a:lnTo>
                      <a:pt x="1348" y="1358"/>
                    </a:lnTo>
                    <a:lnTo>
                      <a:pt x="1348" y="1360"/>
                    </a:lnTo>
                    <a:lnTo>
                      <a:pt x="1346" y="1360"/>
                    </a:lnTo>
                    <a:lnTo>
                      <a:pt x="1348" y="1358"/>
                    </a:lnTo>
                    <a:lnTo>
                      <a:pt x="1350" y="1354"/>
                    </a:lnTo>
                    <a:lnTo>
                      <a:pt x="1350" y="1354"/>
                    </a:lnTo>
                    <a:lnTo>
                      <a:pt x="1348" y="1354"/>
                    </a:lnTo>
                    <a:lnTo>
                      <a:pt x="1350" y="1352"/>
                    </a:lnTo>
                    <a:lnTo>
                      <a:pt x="1352" y="1350"/>
                    </a:lnTo>
                    <a:lnTo>
                      <a:pt x="1350" y="1348"/>
                    </a:lnTo>
                    <a:lnTo>
                      <a:pt x="1348" y="1350"/>
                    </a:lnTo>
                    <a:lnTo>
                      <a:pt x="1350" y="1348"/>
                    </a:lnTo>
                    <a:lnTo>
                      <a:pt x="1350" y="1347"/>
                    </a:lnTo>
                    <a:lnTo>
                      <a:pt x="1348" y="1347"/>
                    </a:lnTo>
                    <a:lnTo>
                      <a:pt x="1346" y="1347"/>
                    </a:lnTo>
                    <a:lnTo>
                      <a:pt x="1342" y="1347"/>
                    </a:lnTo>
                    <a:lnTo>
                      <a:pt x="1346" y="1347"/>
                    </a:lnTo>
                    <a:lnTo>
                      <a:pt x="1348" y="1347"/>
                    </a:lnTo>
                    <a:lnTo>
                      <a:pt x="1350" y="1345"/>
                    </a:lnTo>
                    <a:lnTo>
                      <a:pt x="1354" y="1345"/>
                    </a:lnTo>
                    <a:lnTo>
                      <a:pt x="1354" y="1343"/>
                    </a:lnTo>
                    <a:lnTo>
                      <a:pt x="1356" y="1343"/>
                    </a:lnTo>
                    <a:lnTo>
                      <a:pt x="1356" y="1341"/>
                    </a:lnTo>
                    <a:lnTo>
                      <a:pt x="1356" y="1339"/>
                    </a:lnTo>
                    <a:lnTo>
                      <a:pt x="1359" y="1337"/>
                    </a:lnTo>
                    <a:lnTo>
                      <a:pt x="1359" y="1335"/>
                    </a:lnTo>
                    <a:lnTo>
                      <a:pt x="1356" y="1333"/>
                    </a:lnTo>
                    <a:lnTo>
                      <a:pt x="1354" y="1330"/>
                    </a:lnTo>
                    <a:lnTo>
                      <a:pt x="1352" y="1330"/>
                    </a:lnTo>
                    <a:lnTo>
                      <a:pt x="1348" y="1333"/>
                    </a:lnTo>
                    <a:lnTo>
                      <a:pt x="1346" y="1333"/>
                    </a:lnTo>
                    <a:lnTo>
                      <a:pt x="1346" y="1333"/>
                    </a:lnTo>
                    <a:lnTo>
                      <a:pt x="1344" y="1335"/>
                    </a:lnTo>
                    <a:lnTo>
                      <a:pt x="1344" y="1339"/>
                    </a:lnTo>
                    <a:lnTo>
                      <a:pt x="1342" y="1341"/>
                    </a:lnTo>
                    <a:lnTo>
                      <a:pt x="1342" y="1339"/>
                    </a:lnTo>
                    <a:lnTo>
                      <a:pt x="1344" y="1335"/>
                    </a:lnTo>
                    <a:lnTo>
                      <a:pt x="1342" y="1333"/>
                    </a:lnTo>
                    <a:lnTo>
                      <a:pt x="1344" y="1333"/>
                    </a:lnTo>
                    <a:lnTo>
                      <a:pt x="1344" y="1330"/>
                    </a:lnTo>
                    <a:lnTo>
                      <a:pt x="1344" y="1330"/>
                    </a:lnTo>
                    <a:lnTo>
                      <a:pt x="1340" y="1333"/>
                    </a:lnTo>
                    <a:lnTo>
                      <a:pt x="1340" y="1333"/>
                    </a:lnTo>
                    <a:lnTo>
                      <a:pt x="1339" y="1335"/>
                    </a:lnTo>
                    <a:lnTo>
                      <a:pt x="1337" y="1333"/>
                    </a:lnTo>
                    <a:lnTo>
                      <a:pt x="1335" y="1335"/>
                    </a:lnTo>
                    <a:lnTo>
                      <a:pt x="1335" y="1335"/>
                    </a:lnTo>
                    <a:lnTo>
                      <a:pt x="1335" y="1333"/>
                    </a:lnTo>
                    <a:lnTo>
                      <a:pt x="1331" y="1335"/>
                    </a:lnTo>
                    <a:lnTo>
                      <a:pt x="1331" y="1339"/>
                    </a:lnTo>
                    <a:lnTo>
                      <a:pt x="1329" y="1341"/>
                    </a:lnTo>
                    <a:lnTo>
                      <a:pt x="1331" y="1339"/>
                    </a:lnTo>
                    <a:lnTo>
                      <a:pt x="1331" y="1335"/>
                    </a:lnTo>
                    <a:lnTo>
                      <a:pt x="1331" y="1333"/>
                    </a:lnTo>
                    <a:lnTo>
                      <a:pt x="1331" y="1333"/>
                    </a:lnTo>
                    <a:lnTo>
                      <a:pt x="1331" y="1333"/>
                    </a:lnTo>
                    <a:lnTo>
                      <a:pt x="1329" y="1333"/>
                    </a:lnTo>
                    <a:lnTo>
                      <a:pt x="1325" y="1335"/>
                    </a:lnTo>
                    <a:lnTo>
                      <a:pt x="1325" y="1335"/>
                    </a:lnTo>
                    <a:lnTo>
                      <a:pt x="1325" y="1333"/>
                    </a:lnTo>
                    <a:lnTo>
                      <a:pt x="1329" y="1333"/>
                    </a:lnTo>
                    <a:lnTo>
                      <a:pt x="1325" y="1330"/>
                    </a:lnTo>
                    <a:lnTo>
                      <a:pt x="1325" y="1333"/>
                    </a:lnTo>
                    <a:lnTo>
                      <a:pt x="1322" y="1333"/>
                    </a:lnTo>
                    <a:lnTo>
                      <a:pt x="1322" y="1333"/>
                    </a:lnTo>
                    <a:lnTo>
                      <a:pt x="1320" y="1330"/>
                    </a:lnTo>
                    <a:lnTo>
                      <a:pt x="1320" y="1330"/>
                    </a:lnTo>
                    <a:lnTo>
                      <a:pt x="1316" y="1333"/>
                    </a:lnTo>
                    <a:lnTo>
                      <a:pt x="1314" y="1333"/>
                    </a:lnTo>
                    <a:lnTo>
                      <a:pt x="1314" y="1333"/>
                    </a:lnTo>
                    <a:lnTo>
                      <a:pt x="1318" y="1330"/>
                    </a:lnTo>
                    <a:lnTo>
                      <a:pt x="1320" y="1328"/>
                    </a:lnTo>
                    <a:lnTo>
                      <a:pt x="1320" y="1324"/>
                    </a:lnTo>
                    <a:lnTo>
                      <a:pt x="1320" y="1324"/>
                    </a:lnTo>
                    <a:lnTo>
                      <a:pt x="1318" y="1324"/>
                    </a:lnTo>
                    <a:lnTo>
                      <a:pt x="1314" y="1328"/>
                    </a:lnTo>
                    <a:lnTo>
                      <a:pt x="1316" y="1324"/>
                    </a:lnTo>
                    <a:lnTo>
                      <a:pt x="1320" y="1322"/>
                    </a:lnTo>
                    <a:lnTo>
                      <a:pt x="1322" y="1322"/>
                    </a:lnTo>
                    <a:lnTo>
                      <a:pt x="1322" y="1322"/>
                    </a:lnTo>
                    <a:lnTo>
                      <a:pt x="1325" y="1320"/>
                    </a:lnTo>
                    <a:lnTo>
                      <a:pt x="1329" y="1318"/>
                    </a:lnTo>
                    <a:lnTo>
                      <a:pt x="1329" y="1316"/>
                    </a:lnTo>
                    <a:lnTo>
                      <a:pt x="1325" y="1318"/>
                    </a:lnTo>
                    <a:lnTo>
                      <a:pt x="1322" y="1318"/>
                    </a:lnTo>
                    <a:lnTo>
                      <a:pt x="1322" y="1318"/>
                    </a:lnTo>
                    <a:lnTo>
                      <a:pt x="1320" y="1316"/>
                    </a:lnTo>
                    <a:lnTo>
                      <a:pt x="1318" y="1316"/>
                    </a:lnTo>
                    <a:lnTo>
                      <a:pt x="1316" y="1318"/>
                    </a:lnTo>
                    <a:lnTo>
                      <a:pt x="1318" y="1315"/>
                    </a:lnTo>
                    <a:lnTo>
                      <a:pt x="1320" y="1313"/>
                    </a:lnTo>
                    <a:lnTo>
                      <a:pt x="1318" y="1313"/>
                    </a:lnTo>
                    <a:lnTo>
                      <a:pt x="1316" y="1313"/>
                    </a:lnTo>
                    <a:lnTo>
                      <a:pt x="1314" y="1315"/>
                    </a:lnTo>
                    <a:lnTo>
                      <a:pt x="1312" y="1316"/>
                    </a:lnTo>
                    <a:lnTo>
                      <a:pt x="1310" y="1320"/>
                    </a:lnTo>
                    <a:lnTo>
                      <a:pt x="1310" y="1320"/>
                    </a:lnTo>
                    <a:lnTo>
                      <a:pt x="1310" y="1322"/>
                    </a:lnTo>
                    <a:lnTo>
                      <a:pt x="1305" y="1324"/>
                    </a:lnTo>
                    <a:lnTo>
                      <a:pt x="1305" y="1328"/>
                    </a:lnTo>
                    <a:lnTo>
                      <a:pt x="1305" y="1324"/>
                    </a:lnTo>
                    <a:lnTo>
                      <a:pt x="1305" y="1322"/>
                    </a:lnTo>
                    <a:lnTo>
                      <a:pt x="1305" y="1318"/>
                    </a:lnTo>
                    <a:lnTo>
                      <a:pt x="1305" y="1316"/>
                    </a:lnTo>
                    <a:lnTo>
                      <a:pt x="1307" y="1313"/>
                    </a:lnTo>
                    <a:lnTo>
                      <a:pt x="1310" y="1311"/>
                    </a:lnTo>
                    <a:lnTo>
                      <a:pt x="1310" y="1309"/>
                    </a:lnTo>
                    <a:lnTo>
                      <a:pt x="1310" y="1307"/>
                    </a:lnTo>
                    <a:lnTo>
                      <a:pt x="1312" y="1307"/>
                    </a:lnTo>
                    <a:lnTo>
                      <a:pt x="1314" y="1303"/>
                    </a:lnTo>
                    <a:lnTo>
                      <a:pt x="1316" y="1303"/>
                    </a:lnTo>
                    <a:lnTo>
                      <a:pt x="1318" y="1300"/>
                    </a:lnTo>
                    <a:lnTo>
                      <a:pt x="1320" y="1300"/>
                    </a:lnTo>
                    <a:lnTo>
                      <a:pt x="1320" y="1300"/>
                    </a:lnTo>
                    <a:lnTo>
                      <a:pt x="1320" y="1296"/>
                    </a:lnTo>
                    <a:lnTo>
                      <a:pt x="1322" y="1296"/>
                    </a:lnTo>
                    <a:lnTo>
                      <a:pt x="1322" y="1294"/>
                    </a:lnTo>
                    <a:lnTo>
                      <a:pt x="1322" y="1296"/>
                    </a:lnTo>
                    <a:lnTo>
                      <a:pt x="1322" y="1296"/>
                    </a:lnTo>
                    <a:lnTo>
                      <a:pt x="1322" y="1300"/>
                    </a:lnTo>
                    <a:lnTo>
                      <a:pt x="1325" y="1296"/>
                    </a:lnTo>
                    <a:lnTo>
                      <a:pt x="1329" y="1290"/>
                    </a:lnTo>
                    <a:lnTo>
                      <a:pt x="1329" y="1290"/>
                    </a:lnTo>
                    <a:lnTo>
                      <a:pt x="1329" y="1288"/>
                    </a:lnTo>
                    <a:lnTo>
                      <a:pt x="1325" y="1288"/>
                    </a:lnTo>
                    <a:lnTo>
                      <a:pt x="1325" y="1288"/>
                    </a:lnTo>
                    <a:lnTo>
                      <a:pt x="1325" y="1286"/>
                    </a:lnTo>
                    <a:lnTo>
                      <a:pt x="1322" y="1284"/>
                    </a:lnTo>
                    <a:lnTo>
                      <a:pt x="1325" y="1283"/>
                    </a:lnTo>
                    <a:lnTo>
                      <a:pt x="1325" y="1283"/>
                    </a:lnTo>
                    <a:lnTo>
                      <a:pt x="1329" y="1283"/>
                    </a:lnTo>
                    <a:lnTo>
                      <a:pt x="1331" y="1284"/>
                    </a:lnTo>
                    <a:lnTo>
                      <a:pt x="1331" y="1284"/>
                    </a:lnTo>
                    <a:lnTo>
                      <a:pt x="1335" y="1283"/>
                    </a:lnTo>
                    <a:lnTo>
                      <a:pt x="1335" y="1279"/>
                    </a:lnTo>
                    <a:lnTo>
                      <a:pt x="1331" y="1279"/>
                    </a:lnTo>
                    <a:lnTo>
                      <a:pt x="1331" y="1279"/>
                    </a:lnTo>
                    <a:lnTo>
                      <a:pt x="1331" y="1279"/>
                    </a:lnTo>
                    <a:lnTo>
                      <a:pt x="1329" y="1279"/>
                    </a:lnTo>
                    <a:lnTo>
                      <a:pt x="1329" y="1279"/>
                    </a:lnTo>
                    <a:lnTo>
                      <a:pt x="1329" y="1279"/>
                    </a:lnTo>
                    <a:lnTo>
                      <a:pt x="1325" y="1279"/>
                    </a:lnTo>
                    <a:lnTo>
                      <a:pt x="1325" y="1279"/>
                    </a:lnTo>
                    <a:lnTo>
                      <a:pt x="1322" y="1279"/>
                    </a:lnTo>
                    <a:lnTo>
                      <a:pt x="1322" y="1281"/>
                    </a:lnTo>
                    <a:lnTo>
                      <a:pt x="1320" y="1283"/>
                    </a:lnTo>
                    <a:lnTo>
                      <a:pt x="1316" y="1283"/>
                    </a:lnTo>
                    <a:lnTo>
                      <a:pt x="1312" y="1284"/>
                    </a:lnTo>
                    <a:lnTo>
                      <a:pt x="1310" y="1288"/>
                    </a:lnTo>
                    <a:lnTo>
                      <a:pt x="1310" y="1290"/>
                    </a:lnTo>
                    <a:lnTo>
                      <a:pt x="1307" y="1290"/>
                    </a:lnTo>
                    <a:lnTo>
                      <a:pt x="1305" y="1290"/>
                    </a:lnTo>
                    <a:lnTo>
                      <a:pt x="1305" y="1290"/>
                    </a:lnTo>
                    <a:lnTo>
                      <a:pt x="1307" y="1290"/>
                    </a:lnTo>
                    <a:lnTo>
                      <a:pt x="1307" y="1294"/>
                    </a:lnTo>
                    <a:lnTo>
                      <a:pt x="1307" y="1294"/>
                    </a:lnTo>
                    <a:lnTo>
                      <a:pt x="1307" y="1294"/>
                    </a:lnTo>
                    <a:lnTo>
                      <a:pt x="1307" y="1294"/>
                    </a:lnTo>
                    <a:close/>
                    <a:moveTo>
                      <a:pt x="1188" y="1328"/>
                    </a:moveTo>
                    <a:lnTo>
                      <a:pt x="1192" y="1330"/>
                    </a:lnTo>
                    <a:lnTo>
                      <a:pt x="1197" y="1333"/>
                    </a:lnTo>
                    <a:lnTo>
                      <a:pt x="1201" y="1333"/>
                    </a:lnTo>
                    <a:lnTo>
                      <a:pt x="1207" y="1333"/>
                    </a:lnTo>
                    <a:lnTo>
                      <a:pt x="1209" y="1335"/>
                    </a:lnTo>
                    <a:lnTo>
                      <a:pt x="1212" y="1335"/>
                    </a:lnTo>
                    <a:lnTo>
                      <a:pt x="1214" y="1337"/>
                    </a:lnTo>
                    <a:lnTo>
                      <a:pt x="1218" y="1335"/>
                    </a:lnTo>
                    <a:lnTo>
                      <a:pt x="1218" y="1333"/>
                    </a:lnTo>
                    <a:lnTo>
                      <a:pt x="1218" y="1333"/>
                    </a:lnTo>
                    <a:lnTo>
                      <a:pt x="1216" y="1330"/>
                    </a:lnTo>
                    <a:lnTo>
                      <a:pt x="1214" y="1330"/>
                    </a:lnTo>
                    <a:lnTo>
                      <a:pt x="1212" y="1330"/>
                    </a:lnTo>
                    <a:lnTo>
                      <a:pt x="1209" y="1324"/>
                    </a:lnTo>
                    <a:lnTo>
                      <a:pt x="1205" y="1322"/>
                    </a:lnTo>
                    <a:lnTo>
                      <a:pt x="1203" y="1322"/>
                    </a:lnTo>
                    <a:lnTo>
                      <a:pt x="1199" y="1318"/>
                    </a:lnTo>
                    <a:lnTo>
                      <a:pt x="1197" y="1316"/>
                    </a:lnTo>
                    <a:lnTo>
                      <a:pt x="1192" y="1316"/>
                    </a:lnTo>
                    <a:lnTo>
                      <a:pt x="1182" y="1313"/>
                    </a:lnTo>
                    <a:lnTo>
                      <a:pt x="1179" y="1311"/>
                    </a:lnTo>
                    <a:lnTo>
                      <a:pt x="1175" y="1313"/>
                    </a:lnTo>
                    <a:lnTo>
                      <a:pt x="1177" y="1316"/>
                    </a:lnTo>
                    <a:lnTo>
                      <a:pt x="1180" y="1318"/>
                    </a:lnTo>
                    <a:lnTo>
                      <a:pt x="1184" y="1324"/>
                    </a:lnTo>
                    <a:lnTo>
                      <a:pt x="1188" y="1328"/>
                    </a:lnTo>
                    <a:lnTo>
                      <a:pt x="1188" y="1328"/>
                    </a:lnTo>
                    <a:lnTo>
                      <a:pt x="1188" y="1328"/>
                    </a:lnTo>
                    <a:lnTo>
                      <a:pt x="1188" y="1328"/>
                    </a:lnTo>
                    <a:lnTo>
                      <a:pt x="1188" y="1328"/>
                    </a:lnTo>
                    <a:close/>
                    <a:moveTo>
                      <a:pt x="1188" y="1413"/>
                    </a:moveTo>
                    <a:lnTo>
                      <a:pt x="1184" y="1411"/>
                    </a:lnTo>
                    <a:lnTo>
                      <a:pt x="1184" y="1407"/>
                    </a:lnTo>
                    <a:lnTo>
                      <a:pt x="1175" y="1405"/>
                    </a:lnTo>
                    <a:lnTo>
                      <a:pt x="1173" y="1405"/>
                    </a:lnTo>
                    <a:lnTo>
                      <a:pt x="1173" y="1401"/>
                    </a:lnTo>
                    <a:lnTo>
                      <a:pt x="1173" y="1399"/>
                    </a:lnTo>
                    <a:lnTo>
                      <a:pt x="1169" y="1399"/>
                    </a:lnTo>
                    <a:lnTo>
                      <a:pt x="1167" y="1397"/>
                    </a:lnTo>
                    <a:lnTo>
                      <a:pt x="1167" y="1397"/>
                    </a:lnTo>
                    <a:lnTo>
                      <a:pt x="1167" y="1394"/>
                    </a:lnTo>
                    <a:lnTo>
                      <a:pt x="1164" y="1394"/>
                    </a:lnTo>
                    <a:lnTo>
                      <a:pt x="1164" y="1394"/>
                    </a:lnTo>
                    <a:lnTo>
                      <a:pt x="1164" y="1394"/>
                    </a:lnTo>
                    <a:lnTo>
                      <a:pt x="1164" y="1388"/>
                    </a:lnTo>
                    <a:lnTo>
                      <a:pt x="1169" y="1384"/>
                    </a:lnTo>
                    <a:lnTo>
                      <a:pt x="1173" y="1388"/>
                    </a:lnTo>
                    <a:lnTo>
                      <a:pt x="1167" y="1388"/>
                    </a:lnTo>
                    <a:lnTo>
                      <a:pt x="1167" y="1390"/>
                    </a:lnTo>
                    <a:lnTo>
                      <a:pt x="1169" y="1394"/>
                    </a:lnTo>
                    <a:lnTo>
                      <a:pt x="1169" y="1397"/>
                    </a:lnTo>
                    <a:lnTo>
                      <a:pt x="1173" y="1397"/>
                    </a:lnTo>
                    <a:lnTo>
                      <a:pt x="1173" y="1397"/>
                    </a:lnTo>
                    <a:lnTo>
                      <a:pt x="1177" y="1397"/>
                    </a:lnTo>
                    <a:lnTo>
                      <a:pt x="1180" y="1399"/>
                    </a:lnTo>
                    <a:lnTo>
                      <a:pt x="1182" y="1399"/>
                    </a:lnTo>
                    <a:lnTo>
                      <a:pt x="1184" y="1401"/>
                    </a:lnTo>
                    <a:lnTo>
                      <a:pt x="1188" y="1401"/>
                    </a:lnTo>
                    <a:lnTo>
                      <a:pt x="1192" y="1399"/>
                    </a:lnTo>
                    <a:lnTo>
                      <a:pt x="1194" y="1399"/>
                    </a:lnTo>
                    <a:lnTo>
                      <a:pt x="1199" y="1399"/>
                    </a:lnTo>
                    <a:lnTo>
                      <a:pt x="1197" y="1401"/>
                    </a:lnTo>
                    <a:lnTo>
                      <a:pt x="1194" y="1401"/>
                    </a:lnTo>
                    <a:lnTo>
                      <a:pt x="1194" y="1405"/>
                    </a:lnTo>
                    <a:lnTo>
                      <a:pt x="1194" y="1409"/>
                    </a:lnTo>
                    <a:lnTo>
                      <a:pt x="1194" y="1413"/>
                    </a:lnTo>
                    <a:lnTo>
                      <a:pt x="1188" y="1413"/>
                    </a:lnTo>
                    <a:lnTo>
                      <a:pt x="1188" y="1413"/>
                    </a:lnTo>
                    <a:lnTo>
                      <a:pt x="1188" y="1413"/>
                    </a:lnTo>
                    <a:lnTo>
                      <a:pt x="1188" y="1413"/>
                    </a:lnTo>
                    <a:close/>
                    <a:moveTo>
                      <a:pt x="1216" y="1424"/>
                    </a:moveTo>
                    <a:lnTo>
                      <a:pt x="1216" y="1422"/>
                    </a:lnTo>
                    <a:lnTo>
                      <a:pt x="1209" y="1418"/>
                    </a:lnTo>
                    <a:lnTo>
                      <a:pt x="1209" y="1414"/>
                    </a:lnTo>
                    <a:lnTo>
                      <a:pt x="1207" y="1413"/>
                    </a:lnTo>
                    <a:lnTo>
                      <a:pt x="1209" y="1409"/>
                    </a:lnTo>
                    <a:lnTo>
                      <a:pt x="1214" y="1407"/>
                    </a:lnTo>
                    <a:lnTo>
                      <a:pt x="1218" y="1401"/>
                    </a:lnTo>
                    <a:lnTo>
                      <a:pt x="1218" y="1399"/>
                    </a:lnTo>
                    <a:lnTo>
                      <a:pt x="1222" y="1394"/>
                    </a:lnTo>
                    <a:lnTo>
                      <a:pt x="1226" y="1390"/>
                    </a:lnTo>
                    <a:lnTo>
                      <a:pt x="1228" y="1388"/>
                    </a:lnTo>
                    <a:lnTo>
                      <a:pt x="1229" y="1388"/>
                    </a:lnTo>
                    <a:lnTo>
                      <a:pt x="1229" y="1388"/>
                    </a:lnTo>
                    <a:lnTo>
                      <a:pt x="1229" y="1394"/>
                    </a:lnTo>
                    <a:lnTo>
                      <a:pt x="1231" y="1394"/>
                    </a:lnTo>
                    <a:lnTo>
                      <a:pt x="1231" y="1394"/>
                    </a:lnTo>
                    <a:lnTo>
                      <a:pt x="1228" y="1401"/>
                    </a:lnTo>
                    <a:lnTo>
                      <a:pt x="1226" y="1405"/>
                    </a:lnTo>
                    <a:lnTo>
                      <a:pt x="1229" y="1405"/>
                    </a:lnTo>
                    <a:lnTo>
                      <a:pt x="1231" y="1409"/>
                    </a:lnTo>
                    <a:lnTo>
                      <a:pt x="1229" y="1411"/>
                    </a:lnTo>
                    <a:lnTo>
                      <a:pt x="1229" y="1413"/>
                    </a:lnTo>
                    <a:lnTo>
                      <a:pt x="1233" y="1411"/>
                    </a:lnTo>
                    <a:lnTo>
                      <a:pt x="1233" y="1409"/>
                    </a:lnTo>
                    <a:lnTo>
                      <a:pt x="1235" y="1407"/>
                    </a:lnTo>
                    <a:lnTo>
                      <a:pt x="1239" y="1409"/>
                    </a:lnTo>
                    <a:lnTo>
                      <a:pt x="1239" y="1413"/>
                    </a:lnTo>
                    <a:lnTo>
                      <a:pt x="1241" y="1414"/>
                    </a:lnTo>
                    <a:lnTo>
                      <a:pt x="1237" y="1416"/>
                    </a:lnTo>
                    <a:lnTo>
                      <a:pt x="1235" y="1418"/>
                    </a:lnTo>
                    <a:lnTo>
                      <a:pt x="1229" y="1418"/>
                    </a:lnTo>
                    <a:lnTo>
                      <a:pt x="1224" y="1422"/>
                    </a:lnTo>
                    <a:lnTo>
                      <a:pt x="1222" y="1422"/>
                    </a:lnTo>
                    <a:lnTo>
                      <a:pt x="1218" y="1422"/>
                    </a:lnTo>
                    <a:lnTo>
                      <a:pt x="1218" y="1422"/>
                    </a:lnTo>
                    <a:lnTo>
                      <a:pt x="1218" y="1424"/>
                    </a:lnTo>
                    <a:lnTo>
                      <a:pt x="1216" y="1424"/>
                    </a:lnTo>
                    <a:lnTo>
                      <a:pt x="1216" y="1424"/>
                    </a:lnTo>
                    <a:lnTo>
                      <a:pt x="1216" y="1424"/>
                    </a:lnTo>
                    <a:lnTo>
                      <a:pt x="1216" y="1424"/>
                    </a:lnTo>
                    <a:close/>
                    <a:moveTo>
                      <a:pt x="930" y="1202"/>
                    </a:moveTo>
                    <a:lnTo>
                      <a:pt x="930" y="1205"/>
                    </a:lnTo>
                    <a:lnTo>
                      <a:pt x="932" y="1205"/>
                    </a:lnTo>
                    <a:lnTo>
                      <a:pt x="932" y="1205"/>
                    </a:lnTo>
                    <a:lnTo>
                      <a:pt x="932" y="1200"/>
                    </a:lnTo>
                    <a:lnTo>
                      <a:pt x="932" y="1202"/>
                    </a:lnTo>
                    <a:lnTo>
                      <a:pt x="930" y="1202"/>
                    </a:lnTo>
                    <a:lnTo>
                      <a:pt x="930" y="1202"/>
                    </a:lnTo>
                    <a:lnTo>
                      <a:pt x="930" y="1202"/>
                    </a:lnTo>
                    <a:lnTo>
                      <a:pt x="930" y="1202"/>
                    </a:lnTo>
                    <a:close/>
                    <a:moveTo>
                      <a:pt x="930" y="1241"/>
                    </a:moveTo>
                    <a:lnTo>
                      <a:pt x="932" y="1239"/>
                    </a:lnTo>
                    <a:lnTo>
                      <a:pt x="934" y="1239"/>
                    </a:lnTo>
                    <a:lnTo>
                      <a:pt x="936" y="1239"/>
                    </a:lnTo>
                    <a:lnTo>
                      <a:pt x="936" y="1239"/>
                    </a:lnTo>
                    <a:lnTo>
                      <a:pt x="932" y="1245"/>
                    </a:lnTo>
                    <a:lnTo>
                      <a:pt x="930" y="1241"/>
                    </a:lnTo>
                    <a:lnTo>
                      <a:pt x="930" y="1241"/>
                    </a:lnTo>
                    <a:lnTo>
                      <a:pt x="930" y="1241"/>
                    </a:lnTo>
                    <a:lnTo>
                      <a:pt x="930" y="1241"/>
                    </a:lnTo>
                    <a:close/>
                    <a:moveTo>
                      <a:pt x="896" y="1215"/>
                    </a:moveTo>
                    <a:lnTo>
                      <a:pt x="900" y="1209"/>
                    </a:lnTo>
                    <a:lnTo>
                      <a:pt x="902" y="1209"/>
                    </a:lnTo>
                    <a:lnTo>
                      <a:pt x="902" y="1205"/>
                    </a:lnTo>
                    <a:lnTo>
                      <a:pt x="904" y="1205"/>
                    </a:lnTo>
                    <a:lnTo>
                      <a:pt x="908" y="1205"/>
                    </a:lnTo>
                    <a:lnTo>
                      <a:pt x="909" y="1205"/>
                    </a:lnTo>
                    <a:lnTo>
                      <a:pt x="913" y="1205"/>
                    </a:lnTo>
                    <a:lnTo>
                      <a:pt x="917" y="1211"/>
                    </a:lnTo>
                    <a:lnTo>
                      <a:pt x="917" y="1215"/>
                    </a:lnTo>
                    <a:lnTo>
                      <a:pt x="917" y="1215"/>
                    </a:lnTo>
                    <a:lnTo>
                      <a:pt x="917" y="1219"/>
                    </a:lnTo>
                    <a:lnTo>
                      <a:pt x="909" y="1217"/>
                    </a:lnTo>
                    <a:lnTo>
                      <a:pt x="906" y="1215"/>
                    </a:lnTo>
                    <a:lnTo>
                      <a:pt x="902" y="1215"/>
                    </a:lnTo>
                    <a:lnTo>
                      <a:pt x="902" y="1217"/>
                    </a:lnTo>
                    <a:lnTo>
                      <a:pt x="902" y="1217"/>
                    </a:lnTo>
                    <a:lnTo>
                      <a:pt x="900" y="1215"/>
                    </a:lnTo>
                    <a:lnTo>
                      <a:pt x="900" y="1215"/>
                    </a:lnTo>
                    <a:lnTo>
                      <a:pt x="896" y="1215"/>
                    </a:lnTo>
                    <a:lnTo>
                      <a:pt x="896" y="1215"/>
                    </a:lnTo>
                    <a:lnTo>
                      <a:pt x="896" y="1215"/>
                    </a:lnTo>
                    <a:lnTo>
                      <a:pt x="896" y="1215"/>
                    </a:lnTo>
                    <a:lnTo>
                      <a:pt x="896" y="1215"/>
                    </a:lnTo>
                    <a:close/>
                    <a:moveTo>
                      <a:pt x="141" y="1228"/>
                    </a:moveTo>
                    <a:lnTo>
                      <a:pt x="145" y="1232"/>
                    </a:lnTo>
                    <a:lnTo>
                      <a:pt x="147" y="1235"/>
                    </a:lnTo>
                    <a:lnTo>
                      <a:pt x="147" y="1239"/>
                    </a:lnTo>
                    <a:lnTo>
                      <a:pt x="141" y="1234"/>
                    </a:lnTo>
                    <a:lnTo>
                      <a:pt x="141" y="1228"/>
                    </a:lnTo>
                    <a:lnTo>
                      <a:pt x="141" y="1228"/>
                    </a:lnTo>
                    <a:lnTo>
                      <a:pt x="141" y="1228"/>
                    </a:lnTo>
                    <a:lnTo>
                      <a:pt x="141" y="1228"/>
                    </a:lnTo>
                    <a:close/>
                    <a:moveTo>
                      <a:pt x="134" y="1219"/>
                    </a:moveTo>
                    <a:lnTo>
                      <a:pt x="134" y="1215"/>
                    </a:lnTo>
                    <a:lnTo>
                      <a:pt x="136" y="1215"/>
                    </a:lnTo>
                    <a:lnTo>
                      <a:pt x="134" y="1219"/>
                    </a:lnTo>
                    <a:lnTo>
                      <a:pt x="134" y="1219"/>
                    </a:lnTo>
                    <a:lnTo>
                      <a:pt x="134" y="1219"/>
                    </a:lnTo>
                    <a:lnTo>
                      <a:pt x="134" y="1219"/>
                    </a:lnTo>
                    <a:close/>
                    <a:moveTo>
                      <a:pt x="113" y="1202"/>
                    </a:moveTo>
                    <a:lnTo>
                      <a:pt x="121" y="1205"/>
                    </a:lnTo>
                    <a:lnTo>
                      <a:pt x="121" y="1202"/>
                    </a:lnTo>
                    <a:lnTo>
                      <a:pt x="113" y="1202"/>
                    </a:lnTo>
                    <a:lnTo>
                      <a:pt x="113" y="1202"/>
                    </a:lnTo>
                    <a:lnTo>
                      <a:pt x="113" y="1202"/>
                    </a:lnTo>
                    <a:lnTo>
                      <a:pt x="113" y="1202"/>
                    </a:lnTo>
                    <a:close/>
                    <a:moveTo>
                      <a:pt x="83" y="1188"/>
                    </a:moveTo>
                    <a:lnTo>
                      <a:pt x="83" y="1194"/>
                    </a:lnTo>
                    <a:lnTo>
                      <a:pt x="87" y="1194"/>
                    </a:lnTo>
                    <a:lnTo>
                      <a:pt x="89" y="1198"/>
                    </a:lnTo>
                    <a:lnTo>
                      <a:pt x="96" y="1200"/>
                    </a:lnTo>
                    <a:lnTo>
                      <a:pt x="93" y="1202"/>
                    </a:lnTo>
                    <a:lnTo>
                      <a:pt x="89" y="1202"/>
                    </a:lnTo>
                    <a:lnTo>
                      <a:pt x="87" y="1205"/>
                    </a:lnTo>
                    <a:lnTo>
                      <a:pt x="89" y="1205"/>
                    </a:lnTo>
                    <a:lnTo>
                      <a:pt x="87" y="1211"/>
                    </a:lnTo>
                    <a:lnTo>
                      <a:pt x="89" y="1211"/>
                    </a:lnTo>
                    <a:lnTo>
                      <a:pt x="93" y="1211"/>
                    </a:lnTo>
                    <a:lnTo>
                      <a:pt x="93" y="1215"/>
                    </a:lnTo>
                    <a:lnTo>
                      <a:pt x="96" y="1215"/>
                    </a:lnTo>
                    <a:lnTo>
                      <a:pt x="96" y="1217"/>
                    </a:lnTo>
                    <a:lnTo>
                      <a:pt x="100" y="1220"/>
                    </a:lnTo>
                    <a:lnTo>
                      <a:pt x="104" y="1219"/>
                    </a:lnTo>
                    <a:lnTo>
                      <a:pt x="98" y="1224"/>
                    </a:lnTo>
                    <a:lnTo>
                      <a:pt x="102" y="1228"/>
                    </a:lnTo>
                    <a:lnTo>
                      <a:pt x="104" y="1228"/>
                    </a:lnTo>
                    <a:lnTo>
                      <a:pt x="104" y="1224"/>
                    </a:lnTo>
                    <a:lnTo>
                      <a:pt x="109" y="1222"/>
                    </a:lnTo>
                    <a:lnTo>
                      <a:pt x="108" y="1228"/>
                    </a:lnTo>
                    <a:lnTo>
                      <a:pt x="106" y="1230"/>
                    </a:lnTo>
                    <a:lnTo>
                      <a:pt x="106" y="1234"/>
                    </a:lnTo>
                    <a:lnTo>
                      <a:pt x="108" y="1234"/>
                    </a:lnTo>
                    <a:lnTo>
                      <a:pt x="108" y="1235"/>
                    </a:lnTo>
                    <a:lnTo>
                      <a:pt x="113" y="1235"/>
                    </a:lnTo>
                    <a:lnTo>
                      <a:pt x="113" y="1239"/>
                    </a:lnTo>
                    <a:lnTo>
                      <a:pt x="117" y="1239"/>
                    </a:lnTo>
                    <a:lnTo>
                      <a:pt x="117" y="1245"/>
                    </a:lnTo>
                    <a:lnTo>
                      <a:pt x="117" y="1247"/>
                    </a:lnTo>
                    <a:lnTo>
                      <a:pt x="121" y="1251"/>
                    </a:lnTo>
                    <a:lnTo>
                      <a:pt x="123" y="1247"/>
                    </a:lnTo>
                    <a:lnTo>
                      <a:pt x="126" y="1249"/>
                    </a:lnTo>
                    <a:lnTo>
                      <a:pt x="128" y="1249"/>
                    </a:lnTo>
                    <a:lnTo>
                      <a:pt x="123" y="1254"/>
                    </a:lnTo>
                    <a:lnTo>
                      <a:pt x="130" y="1262"/>
                    </a:lnTo>
                    <a:lnTo>
                      <a:pt x="132" y="1264"/>
                    </a:lnTo>
                    <a:lnTo>
                      <a:pt x="134" y="1266"/>
                    </a:lnTo>
                    <a:lnTo>
                      <a:pt x="147" y="1271"/>
                    </a:lnTo>
                    <a:lnTo>
                      <a:pt x="147" y="1269"/>
                    </a:lnTo>
                    <a:lnTo>
                      <a:pt x="151" y="1269"/>
                    </a:lnTo>
                    <a:lnTo>
                      <a:pt x="147" y="1262"/>
                    </a:lnTo>
                    <a:lnTo>
                      <a:pt x="147" y="1256"/>
                    </a:lnTo>
                    <a:lnTo>
                      <a:pt x="147" y="1254"/>
                    </a:lnTo>
                    <a:lnTo>
                      <a:pt x="147" y="1247"/>
                    </a:lnTo>
                    <a:lnTo>
                      <a:pt x="145" y="1241"/>
                    </a:lnTo>
                    <a:lnTo>
                      <a:pt x="138" y="1235"/>
                    </a:lnTo>
                    <a:lnTo>
                      <a:pt x="136" y="1226"/>
                    </a:lnTo>
                    <a:lnTo>
                      <a:pt x="132" y="1219"/>
                    </a:lnTo>
                    <a:lnTo>
                      <a:pt x="132" y="1215"/>
                    </a:lnTo>
                    <a:lnTo>
                      <a:pt x="128" y="1211"/>
                    </a:lnTo>
                    <a:lnTo>
                      <a:pt x="126" y="1211"/>
                    </a:lnTo>
                    <a:lnTo>
                      <a:pt x="121" y="1205"/>
                    </a:lnTo>
                    <a:lnTo>
                      <a:pt x="117" y="1205"/>
                    </a:lnTo>
                    <a:lnTo>
                      <a:pt x="111" y="1205"/>
                    </a:lnTo>
                    <a:lnTo>
                      <a:pt x="109" y="1202"/>
                    </a:lnTo>
                    <a:lnTo>
                      <a:pt x="104" y="1200"/>
                    </a:lnTo>
                    <a:lnTo>
                      <a:pt x="100" y="1196"/>
                    </a:lnTo>
                    <a:lnTo>
                      <a:pt x="100" y="1192"/>
                    </a:lnTo>
                    <a:lnTo>
                      <a:pt x="96" y="1192"/>
                    </a:lnTo>
                    <a:lnTo>
                      <a:pt x="93" y="1188"/>
                    </a:lnTo>
                    <a:lnTo>
                      <a:pt x="89" y="1186"/>
                    </a:lnTo>
                    <a:lnTo>
                      <a:pt x="89" y="1188"/>
                    </a:lnTo>
                    <a:lnTo>
                      <a:pt x="83" y="1188"/>
                    </a:lnTo>
                    <a:lnTo>
                      <a:pt x="83" y="1188"/>
                    </a:lnTo>
                    <a:lnTo>
                      <a:pt x="83" y="1188"/>
                    </a:lnTo>
                    <a:lnTo>
                      <a:pt x="83" y="1188"/>
                    </a:lnTo>
                    <a:close/>
                    <a:moveTo>
                      <a:pt x="117" y="1196"/>
                    </a:moveTo>
                    <a:lnTo>
                      <a:pt x="121" y="1196"/>
                    </a:lnTo>
                    <a:lnTo>
                      <a:pt x="121" y="1194"/>
                    </a:lnTo>
                    <a:lnTo>
                      <a:pt x="123" y="1196"/>
                    </a:lnTo>
                    <a:lnTo>
                      <a:pt x="121" y="1200"/>
                    </a:lnTo>
                    <a:lnTo>
                      <a:pt x="117" y="1200"/>
                    </a:lnTo>
                    <a:lnTo>
                      <a:pt x="117" y="1196"/>
                    </a:lnTo>
                    <a:lnTo>
                      <a:pt x="117" y="1196"/>
                    </a:lnTo>
                    <a:lnTo>
                      <a:pt x="117" y="1196"/>
                    </a:lnTo>
                    <a:lnTo>
                      <a:pt x="117" y="1196"/>
                    </a:lnTo>
                    <a:close/>
                    <a:moveTo>
                      <a:pt x="113" y="1194"/>
                    </a:moveTo>
                    <a:lnTo>
                      <a:pt x="117" y="1190"/>
                    </a:lnTo>
                    <a:lnTo>
                      <a:pt x="117" y="1194"/>
                    </a:lnTo>
                    <a:lnTo>
                      <a:pt x="113" y="1194"/>
                    </a:lnTo>
                    <a:lnTo>
                      <a:pt x="113" y="1194"/>
                    </a:lnTo>
                    <a:lnTo>
                      <a:pt x="113" y="1194"/>
                    </a:lnTo>
                    <a:lnTo>
                      <a:pt x="113" y="1194"/>
                    </a:lnTo>
                    <a:close/>
                    <a:moveTo>
                      <a:pt x="93" y="1113"/>
                    </a:moveTo>
                    <a:lnTo>
                      <a:pt x="93" y="1117"/>
                    </a:lnTo>
                    <a:lnTo>
                      <a:pt x="96" y="1115"/>
                    </a:lnTo>
                    <a:lnTo>
                      <a:pt x="93" y="1113"/>
                    </a:lnTo>
                    <a:lnTo>
                      <a:pt x="93" y="1113"/>
                    </a:lnTo>
                    <a:lnTo>
                      <a:pt x="93" y="1113"/>
                    </a:lnTo>
                    <a:lnTo>
                      <a:pt x="93" y="1113"/>
                    </a:lnTo>
                    <a:close/>
                    <a:moveTo>
                      <a:pt x="102" y="1151"/>
                    </a:moveTo>
                    <a:lnTo>
                      <a:pt x="102" y="1147"/>
                    </a:lnTo>
                    <a:lnTo>
                      <a:pt x="104" y="1147"/>
                    </a:lnTo>
                    <a:lnTo>
                      <a:pt x="104" y="1147"/>
                    </a:lnTo>
                    <a:lnTo>
                      <a:pt x="104" y="1151"/>
                    </a:lnTo>
                    <a:lnTo>
                      <a:pt x="102" y="1151"/>
                    </a:lnTo>
                    <a:lnTo>
                      <a:pt x="102" y="1151"/>
                    </a:lnTo>
                    <a:lnTo>
                      <a:pt x="102" y="1151"/>
                    </a:lnTo>
                    <a:lnTo>
                      <a:pt x="102" y="1151"/>
                    </a:lnTo>
                    <a:close/>
                    <a:moveTo>
                      <a:pt x="100" y="1162"/>
                    </a:moveTo>
                    <a:lnTo>
                      <a:pt x="98" y="1164"/>
                    </a:lnTo>
                    <a:lnTo>
                      <a:pt x="98" y="1168"/>
                    </a:lnTo>
                    <a:lnTo>
                      <a:pt x="100" y="1170"/>
                    </a:lnTo>
                    <a:lnTo>
                      <a:pt x="102" y="1164"/>
                    </a:lnTo>
                    <a:lnTo>
                      <a:pt x="100" y="1162"/>
                    </a:lnTo>
                    <a:lnTo>
                      <a:pt x="100" y="1162"/>
                    </a:lnTo>
                    <a:lnTo>
                      <a:pt x="100" y="1162"/>
                    </a:lnTo>
                    <a:lnTo>
                      <a:pt x="100" y="1162"/>
                    </a:lnTo>
                    <a:close/>
                    <a:moveTo>
                      <a:pt x="104" y="1156"/>
                    </a:moveTo>
                    <a:lnTo>
                      <a:pt x="108" y="1153"/>
                    </a:lnTo>
                    <a:lnTo>
                      <a:pt x="106" y="1151"/>
                    </a:lnTo>
                    <a:lnTo>
                      <a:pt x="100" y="1153"/>
                    </a:lnTo>
                    <a:lnTo>
                      <a:pt x="100" y="1156"/>
                    </a:lnTo>
                    <a:lnTo>
                      <a:pt x="102" y="1156"/>
                    </a:lnTo>
                    <a:lnTo>
                      <a:pt x="102" y="1156"/>
                    </a:lnTo>
                    <a:lnTo>
                      <a:pt x="104" y="1156"/>
                    </a:lnTo>
                    <a:lnTo>
                      <a:pt x="104" y="1156"/>
                    </a:lnTo>
                    <a:lnTo>
                      <a:pt x="104" y="1156"/>
                    </a:lnTo>
                    <a:lnTo>
                      <a:pt x="104" y="1156"/>
                    </a:lnTo>
                    <a:close/>
                    <a:moveTo>
                      <a:pt x="108" y="1153"/>
                    </a:moveTo>
                    <a:lnTo>
                      <a:pt x="113" y="1147"/>
                    </a:lnTo>
                    <a:lnTo>
                      <a:pt x="113" y="1147"/>
                    </a:lnTo>
                    <a:lnTo>
                      <a:pt x="117" y="1145"/>
                    </a:lnTo>
                    <a:lnTo>
                      <a:pt x="123" y="1143"/>
                    </a:lnTo>
                    <a:lnTo>
                      <a:pt x="121" y="1145"/>
                    </a:lnTo>
                    <a:lnTo>
                      <a:pt x="117" y="1151"/>
                    </a:lnTo>
                    <a:lnTo>
                      <a:pt x="113" y="1151"/>
                    </a:lnTo>
                    <a:lnTo>
                      <a:pt x="109" y="1153"/>
                    </a:lnTo>
                    <a:lnTo>
                      <a:pt x="108" y="1153"/>
                    </a:lnTo>
                    <a:lnTo>
                      <a:pt x="108" y="1153"/>
                    </a:lnTo>
                    <a:lnTo>
                      <a:pt x="108" y="1153"/>
                    </a:lnTo>
                    <a:lnTo>
                      <a:pt x="108" y="1153"/>
                    </a:lnTo>
                    <a:close/>
                    <a:moveTo>
                      <a:pt x="106" y="1134"/>
                    </a:moveTo>
                    <a:lnTo>
                      <a:pt x="106" y="1130"/>
                    </a:lnTo>
                    <a:lnTo>
                      <a:pt x="108" y="1126"/>
                    </a:lnTo>
                    <a:lnTo>
                      <a:pt x="109" y="1130"/>
                    </a:lnTo>
                    <a:lnTo>
                      <a:pt x="106" y="1132"/>
                    </a:lnTo>
                    <a:lnTo>
                      <a:pt x="106" y="1132"/>
                    </a:lnTo>
                    <a:lnTo>
                      <a:pt x="106" y="1134"/>
                    </a:lnTo>
                    <a:lnTo>
                      <a:pt x="106" y="1134"/>
                    </a:lnTo>
                    <a:lnTo>
                      <a:pt x="106" y="1134"/>
                    </a:lnTo>
                    <a:lnTo>
                      <a:pt x="106" y="1134"/>
                    </a:lnTo>
                    <a:close/>
                    <a:moveTo>
                      <a:pt x="96" y="1132"/>
                    </a:moveTo>
                    <a:lnTo>
                      <a:pt x="102" y="1134"/>
                    </a:lnTo>
                    <a:lnTo>
                      <a:pt x="102" y="1132"/>
                    </a:lnTo>
                    <a:lnTo>
                      <a:pt x="102" y="1130"/>
                    </a:lnTo>
                    <a:lnTo>
                      <a:pt x="96" y="1132"/>
                    </a:lnTo>
                    <a:lnTo>
                      <a:pt x="96" y="1132"/>
                    </a:lnTo>
                    <a:lnTo>
                      <a:pt x="96" y="1132"/>
                    </a:lnTo>
                    <a:lnTo>
                      <a:pt x="96" y="1132"/>
                    </a:lnTo>
                    <a:close/>
                    <a:moveTo>
                      <a:pt x="93" y="1121"/>
                    </a:moveTo>
                    <a:lnTo>
                      <a:pt x="93" y="1128"/>
                    </a:lnTo>
                    <a:lnTo>
                      <a:pt x="93" y="1130"/>
                    </a:lnTo>
                    <a:lnTo>
                      <a:pt x="93" y="1132"/>
                    </a:lnTo>
                    <a:lnTo>
                      <a:pt x="96" y="1128"/>
                    </a:lnTo>
                    <a:lnTo>
                      <a:pt x="96" y="1126"/>
                    </a:lnTo>
                    <a:lnTo>
                      <a:pt x="93" y="1121"/>
                    </a:lnTo>
                    <a:lnTo>
                      <a:pt x="93" y="1121"/>
                    </a:lnTo>
                    <a:lnTo>
                      <a:pt x="93" y="1121"/>
                    </a:lnTo>
                    <a:lnTo>
                      <a:pt x="93" y="1121"/>
                    </a:lnTo>
                    <a:close/>
                    <a:moveTo>
                      <a:pt x="96" y="1117"/>
                    </a:moveTo>
                    <a:lnTo>
                      <a:pt x="96" y="1121"/>
                    </a:lnTo>
                    <a:lnTo>
                      <a:pt x="96" y="1121"/>
                    </a:lnTo>
                    <a:lnTo>
                      <a:pt x="96" y="1122"/>
                    </a:lnTo>
                    <a:lnTo>
                      <a:pt x="100" y="1126"/>
                    </a:lnTo>
                    <a:lnTo>
                      <a:pt x="104" y="1121"/>
                    </a:lnTo>
                    <a:lnTo>
                      <a:pt x="102" y="1126"/>
                    </a:lnTo>
                    <a:lnTo>
                      <a:pt x="102" y="1128"/>
                    </a:lnTo>
                    <a:lnTo>
                      <a:pt x="106" y="1126"/>
                    </a:lnTo>
                    <a:lnTo>
                      <a:pt x="106" y="1117"/>
                    </a:lnTo>
                    <a:lnTo>
                      <a:pt x="102" y="1115"/>
                    </a:lnTo>
                    <a:lnTo>
                      <a:pt x="98" y="1115"/>
                    </a:lnTo>
                    <a:lnTo>
                      <a:pt x="96" y="1117"/>
                    </a:lnTo>
                    <a:lnTo>
                      <a:pt x="96" y="1117"/>
                    </a:lnTo>
                    <a:lnTo>
                      <a:pt x="96" y="1117"/>
                    </a:lnTo>
                    <a:lnTo>
                      <a:pt x="96" y="1117"/>
                    </a:lnTo>
                    <a:close/>
                    <a:moveTo>
                      <a:pt x="96" y="1111"/>
                    </a:moveTo>
                    <a:lnTo>
                      <a:pt x="96" y="1113"/>
                    </a:lnTo>
                    <a:lnTo>
                      <a:pt x="98" y="1111"/>
                    </a:lnTo>
                    <a:lnTo>
                      <a:pt x="96" y="1109"/>
                    </a:lnTo>
                    <a:lnTo>
                      <a:pt x="96" y="1111"/>
                    </a:lnTo>
                    <a:lnTo>
                      <a:pt x="96" y="1111"/>
                    </a:lnTo>
                    <a:lnTo>
                      <a:pt x="96" y="1111"/>
                    </a:lnTo>
                    <a:lnTo>
                      <a:pt x="96" y="1111"/>
                    </a:lnTo>
                    <a:close/>
                    <a:moveTo>
                      <a:pt x="102" y="1104"/>
                    </a:moveTo>
                    <a:lnTo>
                      <a:pt x="102" y="1100"/>
                    </a:lnTo>
                    <a:lnTo>
                      <a:pt x="108" y="1098"/>
                    </a:lnTo>
                    <a:lnTo>
                      <a:pt x="109" y="1098"/>
                    </a:lnTo>
                    <a:lnTo>
                      <a:pt x="108" y="1100"/>
                    </a:lnTo>
                    <a:lnTo>
                      <a:pt x="104" y="1102"/>
                    </a:lnTo>
                    <a:lnTo>
                      <a:pt x="102" y="1104"/>
                    </a:lnTo>
                    <a:lnTo>
                      <a:pt x="102" y="1104"/>
                    </a:lnTo>
                    <a:lnTo>
                      <a:pt x="102" y="1104"/>
                    </a:lnTo>
                    <a:lnTo>
                      <a:pt x="102" y="1104"/>
                    </a:lnTo>
                    <a:close/>
                    <a:moveTo>
                      <a:pt x="79" y="1092"/>
                    </a:moveTo>
                    <a:lnTo>
                      <a:pt x="87" y="1102"/>
                    </a:lnTo>
                    <a:lnTo>
                      <a:pt x="89" y="1107"/>
                    </a:lnTo>
                    <a:lnTo>
                      <a:pt x="89" y="1111"/>
                    </a:lnTo>
                    <a:lnTo>
                      <a:pt x="83" y="1109"/>
                    </a:lnTo>
                    <a:lnTo>
                      <a:pt x="83" y="1105"/>
                    </a:lnTo>
                    <a:lnTo>
                      <a:pt x="79" y="1100"/>
                    </a:lnTo>
                    <a:lnTo>
                      <a:pt x="77" y="1096"/>
                    </a:lnTo>
                    <a:lnTo>
                      <a:pt x="77" y="1096"/>
                    </a:lnTo>
                    <a:lnTo>
                      <a:pt x="79" y="1092"/>
                    </a:lnTo>
                    <a:lnTo>
                      <a:pt x="79" y="1092"/>
                    </a:lnTo>
                    <a:lnTo>
                      <a:pt x="79" y="1092"/>
                    </a:lnTo>
                    <a:lnTo>
                      <a:pt x="79" y="1092"/>
                    </a:lnTo>
                    <a:close/>
                    <a:moveTo>
                      <a:pt x="87" y="1090"/>
                    </a:moveTo>
                    <a:lnTo>
                      <a:pt x="87" y="1096"/>
                    </a:lnTo>
                    <a:lnTo>
                      <a:pt x="89" y="1098"/>
                    </a:lnTo>
                    <a:lnTo>
                      <a:pt x="89" y="1104"/>
                    </a:lnTo>
                    <a:lnTo>
                      <a:pt x="93" y="1107"/>
                    </a:lnTo>
                    <a:lnTo>
                      <a:pt x="96" y="1102"/>
                    </a:lnTo>
                    <a:lnTo>
                      <a:pt x="93" y="1092"/>
                    </a:lnTo>
                    <a:lnTo>
                      <a:pt x="89" y="1090"/>
                    </a:lnTo>
                    <a:lnTo>
                      <a:pt x="89" y="1087"/>
                    </a:lnTo>
                    <a:lnTo>
                      <a:pt x="87" y="1090"/>
                    </a:lnTo>
                    <a:lnTo>
                      <a:pt x="87" y="1090"/>
                    </a:lnTo>
                    <a:lnTo>
                      <a:pt x="87" y="1090"/>
                    </a:lnTo>
                    <a:lnTo>
                      <a:pt x="87" y="1090"/>
                    </a:lnTo>
                    <a:close/>
                    <a:moveTo>
                      <a:pt x="79" y="1083"/>
                    </a:moveTo>
                    <a:lnTo>
                      <a:pt x="83" y="1083"/>
                    </a:lnTo>
                    <a:lnTo>
                      <a:pt x="83" y="1087"/>
                    </a:lnTo>
                    <a:lnTo>
                      <a:pt x="89" y="1087"/>
                    </a:lnTo>
                    <a:lnTo>
                      <a:pt x="89" y="1083"/>
                    </a:lnTo>
                    <a:lnTo>
                      <a:pt x="87" y="1079"/>
                    </a:lnTo>
                    <a:lnTo>
                      <a:pt x="83" y="1083"/>
                    </a:lnTo>
                    <a:lnTo>
                      <a:pt x="79" y="1083"/>
                    </a:lnTo>
                    <a:lnTo>
                      <a:pt x="79" y="1083"/>
                    </a:lnTo>
                    <a:lnTo>
                      <a:pt x="79" y="1083"/>
                    </a:lnTo>
                    <a:lnTo>
                      <a:pt x="79" y="1083"/>
                    </a:lnTo>
                    <a:close/>
                    <a:moveTo>
                      <a:pt x="40" y="1087"/>
                    </a:moveTo>
                    <a:lnTo>
                      <a:pt x="40" y="1081"/>
                    </a:lnTo>
                    <a:lnTo>
                      <a:pt x="45" y="1070"/>
                    </a:lnTo>
                    <a:lnTo>
                      <a:pt x="51" y="1072"/>
                    </a:lnTo>
                    <a:lnTo>
                      <a:pt x="51" y="1077"/>
                    </a:lnTo>
                    <a:lnTo>
                      <a:pt x="53" y="1075"/>
                    </a:lnTo>
                    <a:lnTo>
                      <a:pt x="55" y="1073"/>
                    </a:lnTo>
                    <a:lnTo>
                      <a:pt x="59" y="1075"/>
                    </a:lnTo>
                    <a:lnTo>
                      <a:pt x="59" y="1077"/>
                    </a:lnTo>
                    <a:lnTo>
                      <a:pt x="59" y="1083"/>
                    </a:lnTo>
                    <a:lnTo>
                      <a:pt x="55" y="1083"/>
                    </a:lnTo>
                    <a:lnTo>
                      <a:pt x="47" y="1087"/>
                    </a:lnTo>
                    <a:lnTo>
                      <a:pt x="49" y="1090"/>
                    </a:lnTo>
                    <a:lnTo>
                      <a:pt x="49" y="1090"/>
                    </a:lnTo>
                    <a:lnTo>
                      <a:pt x="55" y="1090"/>
                    </a:lnTo>
                    <a:lnTo>
                      <a:pt x="57" y="1083"/>
                    </a:lnTo>
                    <a:lnTo>
                      <a:pt x="62" y="1079"/>
                    </a:lnTo>
                    <a:lnTo>
                      <a:pt x="68" y="1077"/>
                    </a:lnTo>
                    <a:lnTo>
                      <a:pt x="68" y="1077"/>
                    </a:lnTo>
                    <a:lnTo>
                      <a:pt x="62" y="1083"/>
                    </a:lnTo>
                    <a:lnTo>
                      <a:pt x="59" y="1090"/>
                    </a:lnTo>
                    <a:lnTo>
                      <a:pt x="57" y="1092"/>
                    </a:lnTo>
                    <a:lnTo>
                      <a:pt x="57" y="1100"/>
                    </a:lnTo>
                    <a:lnTo>
                      <a:pt x="53" y="1104"/>
                    </a:lnTo>
                    <a:lnTo>
                      <a:pt x="49" y="1104"/>
                    </a:lnTo>
                    <a:lnTo>
                      <a:pt x="47" y="1107"/>
                    </a:lnTo>
                    <a:lnTo>
                      <a:pt x="49" y="1107"/>
                    </a:lnTo>
                    <a:lnTo>
                      <a:pt x="53" y="1105"/>
                    </a:lnTo>
                    <a:lnTo>
                      <a:pt x="57" y="1105"/>
                    </a:lnTo>
                    <a:lnTo>
                      <a:pt x="57" y="1111"/>
                    </a:lnTo>
                    <a:lnTo>
                      <a:pt x="51" y="1111"/>
                    </a:lnTo>
                    <a:lnTo>
                      <a:pt x="49" y="1115"/>
                    </a:lnTo>
                    <a:lnTo>
                      <a:pt x="51" y="1117"/>
                    </a:lnTo>
                    <a:lnTo>
                      <a:pt x="49" y="1122"/>
                    </a:lnTo>
                    <a:lnTo>
                      <a:pt x="51" y="1130"/>
                    </a:lnTo>
                    <a:lnTo>
                      <a:pt x="53" y="1134"/>
                    </a:lnTo>
                    <a:lnTo>
                      <a:pt x="57" y="1134"/>
                    </a:lnTo>
                    <a:lnTo>
                      <a:pt x="57" y="1138"/>
                    </a:lnTo>
                    <a:lnTo>
                      <a:pt x="55" y="1139"/>
                    </a:lnTo>
                    <a:lnTo>
                      <a:pt x="51" y="1139"/>
                    </a:lnTo>
                    <a:lnTo>
                      <a:pt x="44" y="1126"/>
                    </a:lnTo>
                    <a:lnTo>
                      <a:pt x="44" y="1121"/>
                    </a:lnTo>
                    <a:lnTo>
                      <a:pt x="45" y="1121"/>
                    </a:lnTo>
                    <a:lnTo>
                      <a:pt x="40" y="1117"/>
                    </a:lnTo>
                    <a:lnTo>
                      <a:pt x="40" y="1115"/>
                    </a:lnTo>
                    <a:lnTo>
                      <a:pt x="42" y="1113"/>
                    </a:lnTo>
                    <a:lnTo>
                      <a:pt x="45" y="1113"/>
                    </a:lnTo>
                    <a:lnTo>
                      <a:pt x="42" y="1109"/>
                    </a:lnTo>
                    <a:lnTo>
                      <a:pt x="40" y="1109"/>
                    </a:lnTo>
                    <a:lnTo>
                      <a:pt x="42" y="1104"/>
                    </a:lnTo>
                    <a:lnTo>
                      <a:pt x="38" y="1102"/>
                    </a:lnTo>
                    <a:lnTo>
                      <a:pt x="40" y="1098"/>
                    </a:lnTo>
                    <a:lnTo>
                      <a:pt x="42" y="1100"/>
                    </a:lnTo>
                    <a:lnTo>
                      <a:pt x="44" y="1100"/>
                    </a:lnTo>
                    <a:lnTo>
                      <a:pt x="44" y="1096"/>
                    </a:lnTo>
                    <a:lnTo>
                      <a:pt x="42" y="1096"/>
                    </a:lnTo>
                    <a:lnTo>
                      <a:pt x="38" y="1092"/>
                    </a:lnTo>
                    <a:lnTo>
                      <a:pt x="38" y="1090"/>
                    </a:lnTo>
                    <a:lnTo>
                      <a:pt x="40" y="1087"/>
                    </a:lnTo>
                    <a:lnTo>
                      <a:pt x="40" y="1087"/>
                    </a:lnTo>
                    <a:lnTo>
                      <a:pt x="40" y="1087"/>
                    </a:lnTo>
                    <a:lnTo>
                      <a:pt x="40" y="1087"/>
                    </a:lnTo>
                    <a:close/>
                    <a:moveTo>
                      <a:pt x="87" y="1068"/>
                    </a:moveTo>
                    <a:lnTo>
                      <a:pt x="83" y="1062"/>
                    </a:lnTo>
                    <a:lnTo>
                      <a:pt x="89" y="1062"/>
                    </a:lnTo>
                    <a:lnTo>
                      <a:pt x="89" y="1066"/>
                    </a:lnTo>
                    <a:lnTo>
                      <a:pt x="87" y="1068"/>
                    </a:lnTo>
                    <a:lnTo>
                      <a:pt x="87" y="1068"/>
                    </a:lnTo>
                    <a:lnTo>
                      <a:pt x="87" y="1068"/>
                    </a:lnTo>
                    <a:lnTo>
                      <a:pt x="87" y="1068"/>
                    </a:lnTo>
                    <a:close/>
                    <a:moveTo>
                      <a:pt x="461" y="501"/>
                    </a:moveTo>
                    <a:lnTo>
                      <a:pt x="463" y="505"/>
                    </a:lnTo>
                    <a:lnTo>
                      <a:pt x="465" y="503"/>
                    </a:lnTo>
                    <a:lnTo>
                      <a:pt x="465" y="501"/>
                    </a:lnTo>
                    <a:lnTo>
                      <a:pt x="467" y="501"/>
                    </a:lnTo>
                    <a:lnTo>
                      <a:pt x="463" y="499"/>
                    </a:lnTo>
                    <a:lnTo>
                      <a:pt x="461" y="501"/>
                    </a:lnTo>
                    <a:lnTo>
                      <a:pt x="461" y="501"/>
                    </a:lnTo>
                    <a:lnTo>
                      <a:pt x="461" y="501"/>
                    </a:lnTo>
                    <a:lnTo>
                      <a:pt x="461" y="501"/>
                    </a:lnTo>
                    <a:close/>
                    <a:moveTo>
                      <a:pt x="426" y="465"/>
                    </a:moveTo>
                    <a:lnTo>
                      <a:pt x="428" y="467"/>
                    </a:lnTo>
                    <a:lnTo>
                      <a:pt x="431" y="465"/>
                    </a:lnTo>
                    <a:lnTo>
                      <a:pt x="431" y="463"/>
                    </a:lnTo>
                    <a:lnTo>
                      <a:pt x="428" y="463"/>
                    </a:lnTo>
                    <a:lnTo>
                      <a:pt x="426" y="465"/>
                    </a:lnTo>
                    <a:lnTo>
                      <a:pt x="426" y="465"/>
                    </a:lnTo>
                    <a:lnTo>
                      <a:pt x="426" y="465"/>
                    </a:lnTo>
                    <a:lnTo>
                      <a:pt x="426" y="465"/>
                    </a:lnTo>
                    <a:close/>
                    <a:moveTo>
                      <a:pt x="296" y="478"/>
                    </a:moveTo>
                    <a:lnTo>
                      <a:pt x="298" y="478"/>
                    </a:lnTo>
                    <a:lnTo>
                      <a:pt x="300" y="476"/>
                    </a:lnTo>
                    <a:lnTo>
                      <a:pt x="298" y="474"/>
                    </a:lnTo>
                    <a:lnTo>
                      <a:pt x="298" y="474"/>
                    </a:lnTo>
                    <a:lnTo>
                      <a:pt x="296" y="478"/>
                    </a:lnTo>
                    <a:lnTo>
                      <a:pt x="296" y="478"/>
                    </a:lnTo>
                    <a:lnTo>
                      <a:pt x="296" y="478"/>
                    </a:lnTo>
                    <a:lnTo>
                      <a:pt x="296" y="478"/>
                    </a:lnTo>
                    <a:close/>
                    <a:moveTo>
                      <a:pt x="296" y="484"/>
                    </a:moveTo>
                    <a:lnTo>
                      <a:pt x="294" y="482"/>
                    </a:lnTo>
                    <a:lnTo>
                      <a:pt x="296" y="482"/>
                    </a:lnTo>
                    <a:lnTo>
                      <a:pt x="298" y="484"/>
                    </a:lnTo>
                    <a:lnTo>
                      <a:pt x="296" y="484"/>
                    </a:lnTo>
                    <a:lnTo>
                      <a:pt x="296" y="484"/>
                    </a:lnTo>
                    <a:lnTo>
                      <a:pt x="296" y="484"/>
                    </a:lnTo>
                    <a:lnTo>
                      <a:pt x="296" y="484"/>
                    </a:lnTo>
                    <a:close/>
                    <a:moveTo>
                      <a:pt x="288" y="495"/>
                    </a:moveTo>
                    <a:lnTo>
                      <a:pt x="288" y="501"/>
                    </a:lnTo>
                    <a:lnTo>
                      <a:pt x="288" y="505"/>
                    </a:lnTo>
                    <a:lnTo>
                      <a:pt x="288" y="506"/>
                    </a:lnTo>
                    <a:lnTo>
                      <a:pt x="290" y="508"/>
                    </a:lnTo>
                    <a:lnTo>
                      <a:pt x="294" y="505"/>
                    </a:lnTo>
                    <a:lnTo>
                      <a:pt x="296" y="505"/>
                    </a:lnTo>
                    <a:lnTo>
                      <a:pt x="309" y="493"/>
                    </a:lnTo>
                    <a:lnTo>
                      <a:pt x="315" y="493"/>
                    </a:lnTo>
                    <a:lnTo>
                      <a:pt x="318" y="488"/>
                    </a:lnTo>
                    <a:lnTo>
                      <a:pt x="315" y="488"/>
                    </a:lnTo>
                    <a:lnTo>
                      <a:pt x="313" y="488"/>
                    </a:lnTo>
                    <a:lnTo>
                      <a:pt x="313" y="480"/>
                    </a:lnTo>
                    <a:lnTo>
                      <a:pt x="309" y="482"/>
                    </a:lnTo>
                    <a:lnTo>
                      <a:pt x="307" y="484"/>
                    </a:lnTo>
                    <a:lnTo>
                      <a:pt x="303" y="488"/>
                    </a:lnTo>
                    <a:lnTo>
                      <a:pt x="305" y="490"/>
                    </a:lnTo>
                    <a:lnTo>
                      <a:pt x="301" y="488"/>
                    </a:lnTo>
                    <a:lnTo>
                      <a:pt x="300" y="490"/>
                    </a:lnTo>
                    <a:lnTo>
                      <a:pt x="298" y="493"/>
                    </a:lnTo>
                    <a:lnTo>
                      <a:pt x="296" y="490"/>
                    </a:lnTo>
                    <a:lnTo>
                      <a:pt x="298" y="488"/>
                    </a:lnTo>
                    <a:lnTo>
                      <a:pt x="296" y="488"/>
                    </a:lnTo>
                    <a:lnTo>
                      <a:pt x="294" y="488"/>
                    </a:lnTo>
                    <a:lnTo>
                      <a:pt x="292" y="488"/>
                    </a:lnTo>
                    <a:lnTo>
                      <a:pt x="290" y="493"/>
                    </a:lnTo>
                    <a:lnTo>
                      <a:pt x="288" y="495"/>
                    </a:lnTo>
                    <a:lnTo>
                      <a:pt x="288" y="495"/>
                    </a:lnTo>
                    <a:lnTo>
                      <a:pt x="288" y="495"/>
                    </a:lnTo>
                    <a:lnTo>
                      <a:pt x="288" y="495"/>
                    </a:lnTo>
                    <a:close/>
                    <a:moveTo>
                      <a:pt x="275" y="506"/>
                    </a:moveTo>
                    <a:lnTo>
                      <a:pt x="275" y="503"/>
                    </a:lnTo>
                    <a:lnTo>
                      <a:pt x="275" y="495"/>
                    </a:lnTo>
                    <a:lnTo>
                      <a:pt x="273" y="499"/>
                    </a:lnTo>
                    <a:lnTo>
                      <a:pt x="271" y="503"/>
                    </a:lnTo>
                    <a:lnTo>
                      <a:pt x="271" y="503"/>
                    </a:lnTo>
                    <a:lnTo>
                      <a:pt x="271" y="505"/>
                    </a:lnTo>
                    <a:lnTo>
                      <a:pt x="271" y="505"/>
                    </a:lnTo>
                    <a:lnTo>
                      <a:pt x="275" y="506"/>
                    </a:lnTo>
                    <a:lnTo>
                      <a:pt x="275" y="506"/>
                    </a:lnTo>
                    <a:lnTo>
                      <a:pt x="275" y="506"/>
                    </a:lnTo>
                    <a:lnTo>
                      <a:pt x="275" y="506"/>
                    </a:lnTo>
                    <a:close/>
                    <a:moveTo>
                      <a:pt x="275" y="508"/>
                    </a:moveTo>
                    <a:lnTo>
                      <a:pt x="279" y="508"/>
                    </a:lnTo>
                    <a:lnTo>
                      <a:pt x="281" y="505"/>
                    </a:lnTo>
                    <a:lnTo>
                      <a:pt x="279" y="501"/>
                    </a:lnTo>
                    <a:lnTo>
                      <a:pt x="279" y="493"/>
                    </a:lnTo>
                    <a:lnTo>
                      <a:pt x="281" y="493"/>
                    </a:lnTo>
                    <a:lnTo>
                      <a:pt x="283" y="493"/>
                    </a:lnTo>
                    <a:lnTo>
                      <a:pt x="284" y="490"/>
                    </a:lnTo>
                    <a:lnTo>
                      <a:pt x="284" y="490"/>
                    </a:lnTo>
                    <a:lnTo>
                      <a:pt x="288" y="493"/>
                    </a:lnTo>
                    <a:lnTo>
                      <a:pt x="284" y="503"/>
                    </a:lnTo>
                    <a:lnTo>
                      <a:pt x="284" y="506"/>
                    </a:lnTo>
                    <a:lnTo>
                      <a:pt x="284" y="508"/>
                    </a:lnTo>
                    <a:lnTo>
                      <a:pt x="281" y="512"/>
                    </a:lnTo>
                    <a:lnTo>
                      <a:pt x="275" y="508"/>
                    </a:lnTo>
                    <a:lnTo>
                      <a:pt x="275" y="508"/>
                    </a:lnTo>
                    <a:lnTo>
                      <a:pt x="275" y="508"/>
                    </a:lnTo>
                    <a:lnTo>
                      <a:pt x="275" y="508"/>
                    </a:lnTo>
                    <a:close/>
                    <a:moveTo>
                      <a:pt x="283" y="527"/>
                    </a:moveTo>
                    <a:lnTo>
                      <a:pt x="284" y="523"/>
                    </a:lnTo>
                    <a:lnTo>
                      <a:pt x="283" y="518"/>
                    </a:lnTo>
                    <a:lnTo>
                      <a:pt x="283" y="514"/>
                    </a:lnTo>
                    <a:lnTo>
                      <a:pt x="279" y="514"/>
                    </a:lnTo>
                    <a:lnTo>
                      <a:pt x="273" y="508"/>
                    </a:lnTo>
                    <a:lnTo>
                      <a:pt x="271" y="508"/>
                    </a:lnTo>
                    <a:lnTo>
                      <a:pt x="271" y="512"/>
                    </a:lnTo>
                    <a:lnTo>
                      <a:pt x="279" y="518"/>
                    </a:lnTo>
                    <a:lnTo>
                      <a:pt x="273" y="514"/>
                    </a:lnTo>
                    <a:lnTo>
                      <a:pt x="273" y="518"/>
                    </a:lnTo>
                    <a:lnTo>
                      <a:pt x="275" y="520"/>
                    </a:lnTo>
                    <a:lnTo>
                      <a:pt x="283" y="527"/>
                    </a:lnTo>
                    <a:lnTo>
                      <a:pt x="283" y="527"/>
                    </a:lnTo>
                    <a:lnTo>
                      <a:pt x="283" y="527"/>
                    </a:lnTo>
                    <a:lnTo>
                      <a:pt x="283" y="527"/>
                    </a:lnTo>
                    <a:close/>
                    <a:moveTo>
                      <a:pt x="241" y="459"/>
                    </a:moveTo>
                    <a:lnTo>
                      <a:pt x="243" y="465"/>
                    </a:lnTo>
                    <a:lnTo>
                      <a:pt x="245" y="463"/>
                    </a:lnTo>
                    <a:lnTo>
                      <a:pt x="249" y="465"/>
                    </a:lnTo>
                    <a:lnTo>
                      <a:pt x="251" y="465"/>
                    </a:lnTo>
                    <a:lnTo>
                      <a:pt x="247" y="459"/>
                    </a:lnTo>
                    <a:lnTo>
                      <a:pt x="243" y="459"/>
                    </a:lnTo>
                    <a:lnTo>
                      <a:pt x="241" y="459"/>
                    </a:lnTo>
                    <a:lnTo>
                      <a:pt x="241" y="459"/>
                    </a:lnTo>
                    <a:lnTo>
                      <a:pt x="241" y="459"/>
                    </a:lnTo>
                    <a:lnTo>
                      <a:pt x="241" y="459"/>
                    </a:lnTo>
                    <a:close/>
                    <a:moveTo>
                      <a:pt x="164" y="1252"/>
                    </a:moveTo>
                    <a:lnTo>
                      <a:pt x="164" y="1252"/>
                    </a:lnTo>
                    <a:lnTo>
                      <a:pt x="160" y="1252"/>
                    </a:lnTo>
                    <a:lnTo>
                      <a:pt x="160" y="1245"/>
                    </a:lnTo>
                    <a:lnTo>
                      <a:pt x="164" y="1239"/>
                    </a:lnTo>
                    <a:lnTo>
                      <a:pt x="164" y="1234"/>
                    </a:lnTo>
                    <a:lnTo>
                      <a:pt x="162" y="1235"/>
                    </a:lnTo>
                    <a:lnTo>
                      <a:pt x="158" y="1239"/>
                    </a:lnTo>
                    <a:lnTo>
                      <a:pt x="153" y="1239"/>
                    </a:lnTo>
                    <a:lnTo>
                      <a:pt x="151" y="1235"/>
                    </a:lnTo>
                    <a:lnTo>
                      <a:pt x="151" y="1232"/>
                    </a:lnTo>
                    <a:lnTo>
                      <a:pt x="151" y="1232"/>
                    </a:lnTo>
                    <a:lnTo>
                      <a:pt x="153" y="1235"/>
                    </a:lnTo>
                    <a:lnTo>
                      <a:pt x="155" y="1235"/>
                    </a:lnTo>
                    <a:lnTo>
                      <a:pt x="155" y="1234"/>
                    </a:lnTo>
                    <a:lnTo>
                      <a:pt x="153" y="1230"/>
                    </a:lnTo>
                    <a:lnTo>
                      <a:pt x="153" y="1228"/>
                    </a:lnTo>
                    <a:lnTo>
                      <a:pt x="151" y="1228"/>
                    </a:lnTo>
                    <a:lnTo>
                      <a:pt x="147" y="1230"/>
                    </a:lnTo>
                    <a:lnTo>
                      <a:pt x="145" y="1226"/>
                    </a:lnTo>
                    <a:lnTo>
                      <a:pt x="141" y="1222"/>
                    </a:lnTo>
                    <a:lnTo>
                      <a:pt x="141" y="1220"/>
                    </a:lnTo>
                    <a:lnTo>
                      <a:pt x="147" y="1217"/>
                    </a:lnTo>
                    <a:lnTo>
                      <a:pt x="147" y="1211"/>
                    </a:lnTo>
                    <a:lnTo>
                      <a:pt x="151" y="1211"/>
                    </a:lnTo>
                    <a:lnTo>
                      <a:pt x="151" y="1211"/>
                    </a:lnTo>
                    <a:lnTo>
                      <a:pt x="147" y="1211"/>
                    </a:lnTo>
                    <a:lnTo>
                      <a:pt x="141" y="1211"/>
                    </a:lnTo>
                    <a:lnTo>
                      <a:pt x="141" y="1209"/>
                    </a:lnTo>
                    <a:lnTo>
                      <a:pt x="141" y="1205"/>
                    </a:lnTo>
                    <a:lnTo>
                      <a:pt x="147" y="1202"/>
                    </a:lnTo>
                    <a:lnTo>
                      <a:pt x="147" y="1196"/>
                    </a:lnTo>
                    <a:lnTo>
                      <a:pt x="147" y="1194"/>
                    </a:lnTo>
                    <a:lnTo>
                      <a:pt x="147" y="1192"/>
                    </a:lnTo>
                    <a:lnTo>
                      <a:pt x="147" y="1192"/>
                    </a:lnTo>
                    <a:lnTo>
                      <a:pt x="145" y="1196"/>
                    </a:lnTo>
                    <a:lnTo>
                      <a:pt x="145" y="1202"/>
                    </a:lnTo>
                    <a:lnTo>
                      <a:pt x="141" y="1209"/>
                    </a:lnTo>
                    <a:lnTo>
                      <a:pt x="138" y="1209"/>
                    </a:lnTo>
                    <a:lnTo>
                      <a:pt x="136" y="1205"/>
                    </a:lnTo>
                    <a:lnTo>
                      <a:pt x="134" y="1205"/>
                    </a:lnTo>
                    <a:lnTo>
                      <a:pt x="134" y="1202"/>
                    </a:lnTo>
                    <a:lnTo>
                      <a:pt x="136" y="1202"/>
                    </a:lnTo>
                    <a:lnTo>
                      <a:pt x="136" y="1202"/>
                    </a:lnTo>
                    <a:lnTo>
                      <a:pt x="132" y="1202"/>
                    </a:lnTo>
                    <a:lnTo>
                      <a:pt x="130" y="1205"/>
                    </a:lnTo>
                    <a:lnTo>
                      <a:pt x="128" y="1205"/>
                    </a:lnTo>
                    <a:lnTo>
                      <a:pt x="128" y="1202"/>
                    </a:lnTo>
                    <a:lnTo>
                      <a:pt x="126" y="1202"/>
                    </a:lnTo>
                    <a:lnTo>
                      <a:pt x="126" y="1205"/>
                    </a:lnTo>
                    <a:lnTo>
                      <a:pt x="121" y="1202"/>
                    </a:lnTo>
                    <a:lnTo>
                      <a:pt x="121" y="1202"/>
                    </a:lnTo>
                    <a:lnTo>
                      <a:pt x="126" y="1200"/>
                    </a:lnTo>
                    <a:lnTo>
                      <a:pt x="126" y="1200"/>
                    </a:lnTo>
                    <a:lnTo>
                      <a:pt x="132" y="1198"/>
                    </a:lnTo>
                    <a:lnTo>
                      <a:pt x="136" y="1194"/>
                    </a:lnTo>
                    <a:lnTo>
                      <a:pt x="138" y="1190"/>
                    </a:lnTo>
                    <a:lnTo>
                      <a:pt x="138" y="1186"/>
                    </a:lnTo>
                    <a:lnTo>
                      <a:pt x="138" y="1190"/>
                    </a:lnTo>
                    <a:lnTo>
                      <a:pt x="134" y="1192"/>
                    </a:lnTo>
                    <a:lnTo>
                      <a:pt x="132" y="1196"/>
                    </a:lnTo>
                    <a:lnTo>
                      <a:pt x="130" y="1198"/>
                    </a:lnTo>
                    <a:lnTo>
                      <a:pt x="126" y="1196"/>
                    </a:lnTo>
                    <a:lnTo>
                      <a:pt x="123" y="1194"/>
                    </a:lnTo>
                    <a:lnTo>
                      <a:pt x="121" y="1192"/>
                    </a:lnTo>
                    <a:lnTo>
                      <a:pt x="121" y="1192"/>
                    </a:lnTo>
                    <a:lnTo>
                      <a:pt x="123" y="1190"/>
                    </a:lnTo>
                    <a:lnTo>
                      <a:pt x="121" y="1188"/>
                    </a:lnTo>
                    <a:lnTo>
                      <a:pt x="117" y="1190"/>
                    </a:lnTo>
                    <a:lnTo>
                      <a:pt x="113" y="1188"/>
                    </a:lnTo>
                    <a:lnTo>
                      <a:pt x="111" y="1188"/>
                    </a:lnTo>
                    <a:lnTo>
                      <a:pt x="111" y="1192"/>
                    </a:lnTo>
                    <a:lnTo>
                      <a:pt x="108" y="1188"/>
                    </a:lnTo>
                    <a:lnTo>
                      <a:pt x="106" y="1185"/>
                    </a:lnTo>
                    <a:lnTo>
                      <a:pt x="106" y="1185"/>
                    </a:lnTo>
                    <a:lnTo>
                      <a:pt x="109" y="1185"/>
                    </a:lnTo>
                    <a:lnTo>
                      <a:pt x="113" y="1186"/>
                    </a:lnTo>
                    <a:lnTo>
                      <a:pt x="117" y="1185"/>
                    </a:lnTo>
                    <a:lnTo>
                      <a:pt x="117" y="1185"/>
                    </a:lnTo>
                    <a:lnTo>
                      <a:pt x="117" y="1185"/>
                    </a:lnTo>
                    <a:lnTo>
                      <a:pt x="111" y="1185"/>
                    </a:lnTo>
                    <a:lnTo>
                      <a:pt x="109" y="1185"/>
                    </a:lnTo>
                    <a:lnTo>
                      <a:pt x="109" y="1181"/>
                    </a:lnTo>
                    <a:lnTo>
                      <a:pt x="113" y="1185"/>
                    </a:lnTo>
                    <a:lnTo>
                      <a:pt x="117" y="1181"/>
                    </a:lnTo>
                    <a:lnTo>
                      <a:pt x="117" y="1181"/>
                    </a:lnTo>
                    <a:lnTo>
                      <a:pt x="113" y="1181"/>
                    </a:lnTo>
                    <a:lnTo>
                      <a:pt x="111" y="1181"/>
                    </a:lnTo>
                    <a:lnTo>
                      <a:pt x="106" y="1181"/>
                    </a:lnTo>
                    <a:lnTo>
                      <a:pt x="104" y="1181"/>
                    </a:lnTo>
                    <a:lnTo>
                      <a:pt x="102" y="1177"/>
                    </a:lnTo>
                    <a:lnTo>
                      <a:pt x="102" y="1177"/>
                    </a:lnTo>
                    <a:lnTo>
                      <a:pt x="106" y="1175"/>
                    </a:lnTo>
                    <a:lnTo>
                      <a:pt x="109" y="1177"/>
                    </a:lnTo>
                    <a:lnTo>
                      <a:pt x="113" y="1177"/>
                    </a:lnTo>
                    <a:lnTo>
                      <a:pt x="113" y="1175"/>
                    </a:lnTo>
                    <a:lnTo>
                      <a:pt x="111" y="1175"/>
                    </a:lnTo>
                    <a:lnTo>
                      <a:pt x="108" y="1171"/>
                    </a:lnTo>
                    <a:lnTo>
                      <a:pt x="104" y="1171"/>
                    </a:lnTo>
                    <a:lnTo>
                      <a:pt x="104" y="1171"/>
                    </a:lnTo>
                    <a:lnTo>
                      <a:pt x="109" y="1171"/>
                    </a:lnTo>
                    <a:lnTo>
                      <a:pt x="111" y="1171"/>
                    </a:lnTo>
                    <a:lnTo>
                      <a:pt x="113" y="1171"/>
                    </a:lnTo>
                    <a:lnTo>
                      <a:pt x="113" y="1170"/>
                    </a:lnTo>
                    <a:lnTo>
                      <a:pt x="113" y="1168"/>
                    </a:lnTo>
                    <a:lnTo>
                      <a:pt x="113" y="1166"/>
                    </a:lnTo>
                    <a:lnTo>
                      <a:pt x="121" y="1166"/>
                    </a:lnTo>
                    <a:lnTo>
                      <a:pt x="123" y="1166"/>
                    </a:lnTo>
                    <a:lnTo>
                      <a:pt x="123" y="1164"/>
                    </a:lnTo>
                    <a:lnTo>
                      <a:pt x="117" y="1164"/>
                    </a:lnTo>
                    <a:lnTo>
                      <a:pt x="117" y="1162"/>
                    </a:lnTo>
                    <a:lnTo>
                      <a:pt x="113" y="1162"/>
                    </a:lnTo>
                    <a:lnTo>
                      <a:pt x="113" y="1164"/>
                    </a:lnTo>
                    <a:lnTo>
                      <a:pt x="109" y="1166"/>
                    </a:lnTo>
                    <a:lnTo>
                      <a:pt x="108" y="1168"/>
                    </a:lnTo>
                    <a:lnTo>
                      <a:pt x="106" y="1166"/>
                    </a:lnTo>
                    <a:lnTo>
                      <a:pt x="106" y="1164"/>
                    </a:lnTo>
                    <a:lnTo>
                      <a:pt x="106" y="1160"/>
                    </a:lnTo>
                    <a:lnTo>
                      <a:pt x="108" y="1160"/>
                    </a:lnTo>
                    <a:lnTo>
                      <a:pt x="111" y="1156"/>
                    </a:lnTo>
                    <a:lnTo>
                      <a:pt x="113" y="1153"/>
                    </a:lnTo>
                    <a:lnTo>
                      <a:pt x="121" y="1147"/>
                    </a:lnTo>
                    <a:lnTo>
                      <a:pt x="126" y="1147"/>
                    </a:lnTo>
                    <a:lnTo>
                      <a:pt x="126" y="1147"/>
                    </a:lnTo>
                    <a:lnTo>
                      <a:pt x="126" y="1153"/>
                    </a:lnTo>
                    <a:lnTo>
                      <a:pt x="128" y="1156"/>
                    </a:lnTo>
                    <a:lnTo>
                      <a:pt x="128" y="1154"/>
                    </a:lnTo>
                    <a:lnTo>
                      <a:pt x="128" y="1151"/>
                    </a:lnTo>
                    <a:lnTo>
                      <a:pt x="128" y="1145"/>
                    </a:lnTo>
                    <a:lnTo>
                      <a:pt x="132" y="1145"/>
                    </a:lnTo>
                    <a:lnTo>
                      <a:pt x="136" y="1145"/>
                    </a:lnTo>
                    <a:lnTo>
                      <a:pt x="132" y="1143"/>
                    </a:lnTo>
                    <a:lnTo>
                      <a:pt x="128" y="1143"/>
                    </a:lnTo>
                    <a:lnTo>
                      <a:pt x="126" y="1145"/>
                    </a:lnTo>
                    <a:lnTo>
                      <a:pt x="123" y="1141"/>
                    </a:lnTo>
                    <a:lnTo>
                      <a:pt x="126" y="1139"/>
                    </a:lnTo>
                    <a:lnTo>
                      <a:pt x="128" y="1138"/>
                    </a:lnTo>
                    <a:lnTo>
                      <a:pt x="132" y="1136"/>
                    </a:lnTo>
                    <a:lnTo>
                      <a:pt x="136" y="1130"/>
                    </a:lnTo>
                    <a:lnTo>
                      <a:pt x="134" y="1126"/>
                    </a:lnTo>
                    <a:lnTo>
                      <a:pt x="134" y="1128"/>
                    </a:lnTo>
                    <a:lnTo>
                      <a:pt x="132" y="1132"/>
                    </a:lnTo>
                    <a:lnTo>
                      <a:pt x="128" y="1134"/>
                    </a:lnTo>
                    <a:lnTo>
                      <a:pt x="126" y="1134"/>
                    </a:lnTo>
                    <a:lnTo>
                      <a:pt x="121" y="1139"/>
                    </a:lnTo>
                    <a:lnTo>
                      <a:pt x="117" y="1143"/>
                    </a:lnTo>
                    <a:lnTo>
                      <a:pt x="111" y="1145"/>
                    </a:lnTo>
                    <a:lnTo>
                      <a:pt x="109" y="1141"/>
                    </a:lnTo>
                    <a:lnTo>
                      <a:pt x="109" y="1139"/>
                    </a:lnTo>
                    <a:lnTo>
                      <a:pt x="113" y="1139"/>
                    </a:lnTo>
                    <a:lnTo>
                      <a:pt x="109" y="1139"/>
                    </a:lnTo>
                    <a:lnTo>
                      <a:pt x="104" y="1141"/>
                    </a:lnTo>
                    <a:lnTo>
                      <a:pt x="102" y="1139"/>
                    </a:lnTo>
                    <a:lnTo>
                      <a:pt x="104" y="1138"/>
                    </a:lnTo>
                    <a:lnTo>
                      <a:pt x="108" y="1134"/>
                    </a:lnTo>
                    <a:lnTo>
                      <a:pt x="111" y="1132"/>
                    </a:lnTo>
                    <a:lnTo>
                      <a:pt x="113" y="1132"/>
                    </a:lnTo>
                    <a:lnTo>
                      <a:pt x="117" y="1132"/>
                    </a:lnTo>
                    <a:lnTo>
                      <a:pt x="117" y="1130"/>
                    </a:lnTo>
                    <a:lnTo>
                      <a:pt x="113" y="1128"/>
                    </a:lnTo>
                    <a:lnTo>
                      <a:pt x="113" y="1126"/>
                    </a:lnTo>
                    <a:lnTo>
                      <a:pt x="117" y="1126"/>
                    </a:lnTo>
                    <a:lnTo>
                      <a:pt x="113" y="1122"/>
                    </a:lnTo>
                    <a:lnTo>
                      <a:pt x="111" y="1126"/>
                    </a:lnTo>
                    <a:lnTo>
                      <a:pt x="109" y="1126"/>
                    </a:lnTo>
                    <a:lnTo>
                      <a:pt x="109" y="1121"/>
                    </a:lnTo>
                    <a:lnTo>
                      <a:pt x="108" y="1115"/>
                    </a:lnTo>
                    <a:lnTo>
                      <a:pt x="106" y="1113"/>
                    </a:lnTo>
                    <a:lnTo>
                      <a:pt x="106" y="1109"/>
                    </a:lnTo>
                    <a:lnTo>
                      <a:pt x="108" y="1105"/>
                    </a:lnTo>
                    <a:lnTo>
                      <a:pt x="113" y="1107"/>
                    </a:lnTo>
                    <a:lnTo>
                      <a:pt x="117" y="1109"/>
                    </a:lnTo>
                    <a:lnTo>
                      <a:pt x="121" y="1107"/>
                    </a:lnTo>
                    <a:lnTo>
                      <a:pt x="123" y="1111"/>
                    </a:lnTo>
                    <a:lnTo>
                      <a:pt x="123" y="1107"/>
                    </a:lnTo>
                    <a:lnTo>
                      <a:pt x="121" y="1107"/>
                    </a:lnTo>
                    <a:lnTo>
                      <a:pt x="117" y="1107"/>
                    </a:lnTo>
                    <a:lnTo>
                      <a:pt x="113" y="1104"/>
                    </a:lnTo>
                    <a:lnTo>
                      <a:pt x="111" y="1102"/>
                    </a:lnTo>
                    <a:lnTo>
                      <a:pt x="111" y="1100"/>
                    </a:lnTo>
                    <a:lnTo>
                      <a:pt x="113" y="1096"/>
                    </a:lnTo>
                    <a:lnTo>
                      <a:pt x="113" y="1096"/>
                    </a:lnTo>
                    <a:lnTo>
                      <a:pt x="117" y="1092"/>
                    </a:lnTo>
                    <a:lnTo>
                      <a:pt x="117" y="1087"/>
                    </a:lnTo>
                    <a:lnTo>
                      <a:pt x="113" y="1090"/>
                    </a:lnTo>
                    <a:lnTo>
                      <a:pt x="111" y="1092"/>
                    </a:lnTo>
                    <a:lnTo>
                      <a:pt x="108" y="1096"/>
                    </a:lnTo>
                    <a:lnTo>
                      <a:pt x="102" y="1096"/>
                    </a:lnTo>
                    <a:lnTo>
                      <a:pt x="100" y="1100"/>
                    </a:lnTo>
                    <a:lnTo>
                      <a:pt x="98" y="1102"/>
                    </a:lnTo>
                    <a:lnTo>
                      <a:pt x="96" y="1102"/>
                    </a:lnTo>
                    <a:lnTo>
                      <a:pt x="96" y="1096"/>
                    </a:lnTo>
                    <a:lnTo>
                      <a:pt x="93" y="1090"/>
                    </a:lnTo>
                    <a:lnTo>
                      <a:pt x="93" y="1083"/>
                    </a:lnTo>
                    <a:lnTo>
                      <a:pt x="96" y="1075"/>
                    </a:lnTo>
                    <a:lnTo>
                      <a:pt x="96" y="1073"/>
                    </a:lnTo>
                    <a:lnTo>
                      <a:pt x="93" y="1073"/>
                    </a:lnTo>
                    <a:lnTo>
                      <a:pt x="93" y="1068"/>
                    </a:lnTo>
                    <a:lnTo>
                      <a:pt x="93" y="1066"/>
                    </a:lnTo>
                    <a:lnTo>
                      <a:pt x="96" y="1068"/>
                    </a:lnTo>
                    <a:lnTo>
                      <a:pt x="96" y="1068"/>
                    </a:lnTo>
                    <a:lnTo>
                      <a:pt x="96" y="1066"/>
                    </a:lnTo>
                    <a:lnTo>
                      <a:pt x="100" y="1062"/>
                    </a:lnTo>
                    <a:lnTo>
                      <a:pt x="102" y="1057"/>
                    </a:lnTo>
                    <a:lnTo>
                      <a:pt x="106" y="1057"/>
                    </a:lnTo>
                    <a:lnTo>
                      <a:pt x="109" y="1057"/>
                    </a:lnTo>
                    <a:lnTo>
                      <a:pt x="111" y="1057"/>
                    </a:lnTo>
                    <a:lnTo>
                      <a:pt x="109" y="1053"/>
                    </a:lnTo>
                    <a:lnTo>
                      <a:pt x="108" y="1053"/>
                    </a:lnTo>
                    <a:lnTo>
                      <a:pt x="113" y="1047"/>
                    </a:lnTo>
                    <a:lnTo>
                      <a:pt x="113" y="1045"/>
                    </a:lnTo>
                    <a:lnTo>
                      <a:pt x="121" y="1041"/>
                    </a:lnTo>
                    <a:lnTo>
                      <a:pt x="121" y="1040"/>
                    </a:lnTo>
                    <a:lnTo>
                      <a:pt x="117" y="1040"/>
                    </a:lnTo>
                    <a:lnTo>
                      <a:pt x="117" y="1038"/>
                    </a:lnTo>
                    <a:lnTo>
                      <a:pt x="113" y="1041"/>
                    </a:lnTo>
                    <a:lnTo>
                      <a:pt x="113" y="1045"/>
                    </a:lnTo>
                    <a:lnTo>
                      <a:pt x="106" y="1053"/>
                    </a:lnTo>
                    <a:lnTo>
                      <a:pt x="106" y="1053"/>
                    </a:lnTo>
                    <a:lnTo>
                      <a:pt x="106" y="1049"/>
                    </a:lnTo>
                    <a:lnTo>
                      <a:pt x="109" y="1045"/>
                    </a:lnTo>
                    <a:lnTo>
                      <a:pt x="109" y="1038"/>
                    </a:lnTo>
                    <a:lnTo>
                      <a:pt x="113" y="1028"/>
                    </a:lnTo>
                    <a:lnTo>
                      <a:pt x="117" y="1026"/>
                    </a:lnTo>
                    <a:lnTo>
                      <a:pt x="117" y="1023"/>
                    </a:lnTo>
                    <a:lnTo>
                      <a:pt x="117" y="1023"/>
                    </a:lnTo>
                    <a:lnTo>
                      <a:pt x="117" y="1021"/>
                    </a:lnTo>
                    <a:lnTo>
                      <a:pt x="117" y="1021"/>
                    </a:lnTo>
                    <a:lnTo>
                      <a:pt x="117" y="1019"/>
                    </a:lnTo>
                    <a:lnTo>
                      <a:pt x="117" y="1017"/>
                    </a:lnTo>
                    <a:lnTo>
                      <a:pt x="117" y="1015"/>
                    </a:lnTo>
                    <a:lnTo>
                      <a:pt x="113" y="1013"/>
                    </a:lnTo>
                    <a:lnTo>
                      <a:pt x="113" y="1009"/>
                    </a:lnTo>
                    <a:lnTo>
                      <a:pt x="113" y="1006"/>
                    </a:lnTo>
                    <a:lnTo>
                      <a:pt x="109" y="1004"/>
                    </a:lnTo>
                    <a:lnTo>
                      <a:pt x="108" y="1002"/>
                    </a:lnTo>
                    <a:lnTo>
                      <a:pt x="106" y="998"/>
                    </a:lnTo>
                    <a:lnTo>
                      <a:pt x="102" y="996"/>
                    </a:lnTo>
                    <a:lnTo>
                      <a:pt x="100" y="994"/>
                    </a:lnTo>
                    <a:lnTo>
                      <a:pt x="96" y="994"/>
                    </a:lnTo>
                    <a:lnTo>
                      <a:pt x="96" y="992"/>
                    </a:lnTo>
                    <a:lnTo>
                      <a:pt x="98" y="989"/>
                    </a:lnTo>
                    <a:lnTo>
                      <a:pt x="96" y="989"/>
                    </a:lnTo>
                    <a:lnTo>
                      <a:pt x="96" y="987"/>
                    </a:lnTo>
                    <a:lnTo>
                      <a:pt x="96" y="985"/>
                    </a:lnTo>
                    <a:lnTo>
                      <a:pt x="96" y="983"/>
                    </a:lnTo>
                    <a:lnTo>
                      <a:pt x="98" y="981"/>
                    </a:lnTo>
                    <a:lnTo>
                      <a:pt x="96" y="979"/>
                    </a:lnTo>
                    <a:lnTo>
                      <a:pt x="96" y="979"/>
                    </a:lnTo>
                    <a:lnTo>
                      <a:pt x="93" y="979"/>
                    </a:lnTo>
                    <a:lnTo>
                      <a:pt x="93" y="977"/>
                    </a:lnTo>
                    <a:lnTo>
                      <a:pt x="96" y="974"/>
                    </a:lnTo>
                    <a:lnTo>
                      <a:pt x="96" y="962"/>
                    </a:lnTo>
                    <a:lnTo>
                      <a:pt x="96" y="947"/>
                    </a:lnTo>
                    <a:lnTo>
                      <a:pt x="96" y="938"/>
                    </a:lnTo>
                    <a:lnTo>
                      <a:pt x="96" y="934"/>
                    </a:lnTo>
                    <a:lnTo>
                      <a:pt x="96" y="930"/>
                    </a:lnTo>
                    <a:lnTo>
                      <a:pt x="96" y="928"/>
                    </a:lnTo>
                    <a:lnTo>
                      <a:pt x="96" y="925"/>
                    </a:lnTo>
                    <a:lnTo>
                      <a:pt x="96" y="921"/>
                    </a:lnTo>
                    <a:lnTo>
                      <a:pt x="96" y="913"/>
                    </a:lnTo>
                    <a:lnTo>
                      <a:pt x="89" y="910"/>
                    </a:lnTo>
                    <a:lnTo>
                      <a:pt x="89" y="904"/>
                    </a:lnTo>
                    <a:lnTo>
                      <a:pt x="89" y="900"/>
                    </a:lnTo>
                    <a:lnTo>
                      <a:pt x="87" y="889"/>
                    </a:lnTo>
                    <a:lnTo>
                      <a:pt x="89" y="885"/>
                    </a:lnTo>
                    <a:lnTo>
                      <a:pt x="89" y="883"/>
                    </a:lnTo>
                    <a:lnTo>
                      <a:pt x="89" y="879"/>
                    </a:lnTo>
                    <a:lnTo>
                      <a:pt x="89" y="876"/>
                    </a:lnTo>
                    <a:lnTo>
                      <a:pt x="83" y="870"/>
                    </a:lnTo>
                    <a:lnTo>
                      <a:pt x="79" y="874"/>
                    </a:lnTo>
                    <a:lnTo>
                      <a:pt x="74" y="876"/>
                    </a:lnTo>
                    <a:lnTo>
                      <a:pt x="72" y="876"/>
                    </a:lnTo>
                    <a:lnTo>
                      <a:pt x="64" y="876"/>
                    </a:lnTo>
                    <a:lnTo>
                      <a:pt x="62" y="883"/>
                    </a:lnTo>
                    <a:lnTo>
                      <a:pt x="57" y="889"/>
                    </a:lnTo>
                    <a:lnTo>
                      <a:pt x="51" y="891"/>
                    </a:lnTo>
                    <a:lnTo>
                      <a:pt x="45" y="893"/>
                    </a:lnTo>
                    <a:lnTo>
                      <a:pt x="38" y="895"/>
                    </a:lnTo>
                    <a:lnTo>
                      <a:pt x="38" y="895"/>
                    </a:lnTo>
                    <a:lnTo>
                      <a:pt x="38" y="891"/>
                    </a:lnTo>
                    <a:lnTo>
                      <a:pt x="40" y="885"/>
                    </a:lnTo>
                    <a:lnTo>
                      <a:pt x="38" y="883"/>
                    </a:lnTo>
                    <a:lnTo>
                      <a:pt x="34" y="861"/>
                    </a:lnTo>
                    <a:lnTo>
                      <a:pt x="30" y="849"/>
                    </a:lnTo>
                    <a:lnTo>
                      <a:pt x="29" y="846"/>
                    </a:lnTo>
                    <a:lnTo>
                      <a:pt x="32" y="838"/>
                    </a:lnTo>
                    <a:lnTo>
                      <a:pt x="23" y="836"/>
                    </a:lnTo>
                    <a:lnTo>
                      <a:pt x="15" y="840"/>
                    </a:lnTo>
                    <a:lnTo>
                      <a:pt x="13" y="838"/>
                    </a:lnTo>
                    <a:lnTo>
                      <a:pt x="0" y="838"/>
                    </a:lnTo>
                    <a:lnTo>
                      <a:pt x="213" y="446"/>
                    </a:lnTo>
                    <a:lnTo>
                      <a:pt x="215" y="448"/>
                    </a:lnTo>
                    <a:lnTo>
                      <a:pt x="217" y="448"/>
                    </a:lnTo>
                    <a:lnTo>
                      <a:pt x="226" y="458"/>
                    </a:lnTo>
                    <a:lnTo>
                      <a:pt x="230" y="458"/>
                    </a:lnTo>
                    <a:lnTo>
                      <a:pt x="234" y="459"/>
                    </a:lnTo>
                    <a:lnTo>
                      <a:pt x="234" y="463"/>
                    </a:lnTo>
                    <a:lnTo>
                      <a:pt x="236" y="463"/>
                    </a:lnTo>
                    <a:lnTo>
                      <a:pt x="239" y="463"/>
                    </a:lnTo>
                    <a:lnTo>
                      <a:pt x="239" y="467"/>
                    </a:lnTo>
                    <a:lnTo>
                      <a:pt x="245" y="473"/>
                    </a:lnTo>
                    <a:lnTo>
                      <a:pt x="243" y="474"/>
                    </a:lnTo>
                    <a:lnTo>
                      <a:pt x="243" y="476"/>
                    </a:lnTo>
                    <a:lnTo>
                      <a:pt x="241" y="480"/>
                    </a:lnTo>
                    <a:lnTo>
                      <a:pt x="243" y="484"/>
                    </a:lnTo>
                    <a:lnTo>
                      <a:pt x="245" y="484"/>
                    </a:lnTo>
                    <a:lnTo>
                      <a:pt x="247" y="484"/>
                    </a:lnTo>
                    <a:lnTo>
                      <a:pt x="249" y="484"/>
                    </a:lnTo>
                    <a:lnTo>
                      <a:pt x="249" y="488"/>
                    </a:lnTo>
                    <a:lnTo>
                      <a:pt x="249" y="493"/>
                    </a:lnTo>
                    <a:lnTo>
                      <a:pt x="254" y="501"/>
                    </a:lnTo>
                    <a:lnTo>
                      <a:pt x="260" y="503"/>
                    </a:lnTo>
                    <a:lnTo>
                      <a:pt x="260" y="503"/>
                    </a:lnTo>
                    <a:lnTo>
                      <a:pt x="264" y="505"/>
                    </a:lnTo>
                    <a:lnTo>
                      <a:pt x="264" y="506"/>
                    </a:lnTo>
                    <a:lnTo>
                      <a:pt x="264" y="508"/>
                    </a:lnTo>
                    <a:lnTo>
                      <a:pt x="266" y="508"/>
                    </a:lnTo>
                    <a:lnTo>
                      <a:pt x="269" y="514"/>
                    </a:lnTo>
                    <a:lnTo>
                      <a:pt x="269" y="518"/>
                    </a:lnTo>
                    <a:lnTo>
                      <a:pt x="273" y="518"/>
                    </a:lnTo>
                    <a:lnTo>
                      <a:pt x="275" y="522"/>
                    </a:lnTo>
                    <a:lnTo>
                      <a:pt x="275" y="522"/>
                    </a:lnTo>
                    <a:lnTo>
                      <a:pt x="281" y="527"/>
                    </a:lnTo>
                    <a:lnTo>
                      <a:pt x="281" y="531"/>
                    </a:lnTo>
                    <a:lnTo>
                      <a:pt x="283" y="531"/>
                    </a:lnTo>
                    <a:lnTo>
                      <a:pt x="283" y="535"/>
                    </a:lnTo>
                    <a:lnTo>
                      <a:pt x="279" y="539"/>
                    </a:lnTo>
                    <a:lnTo>
                      <a:pt x="275" y="542"/>
                    </a:lnTo>
                    <a:lnTo>
                      <a:pt x="284" y="535"/>
                    </a:lnTo>
                    <a:lnTo>
                      <a:pt x="288" y="533"/>
                    </a:lnTo>
                    <a:lnTo>
                      <a:pt x="288" y="535"/>
                    </a:lnTo>
                    <a:lnTo>
                      <a:pt x="288" y="529"/>
                    </a:lnTo>
                    <a:lnTo>
                      <a:pt x="288" y="518"/>
                    </a:lnTo>
                    <a:lnTo>
                      <a:pt x="288" y="514"/>
                    </a:lnTo>
                    <a:lnTo>
                      <a:pt x="290" y="510"/>
                    </a:lnTo>
                    <a:lnTo>
                      <a:pt x="298" y="508"/>
                    </a:lnTo>
                    <a:lnTo>
                      <a:pt x="301" y="505"/>
                    </a:lnTo>
                    <a:lnTo>
                      <a:pt x="305" y="503"/>
                    </a:lnTo>
                    <a:lnTo>
                      <a:pt x="309" y="501"/>
                    </a:lnTo>
                    <a:lnTo>
                      <a:pt x="309" y="499"/>
                    </a:lnTo>
                    <a:lnTo>
                      <a:pt x="313" y="499"/>
                    </a:lnTo>
                    <a:lnTo>
                      <a:pt x="315" y="497"/>
                    </a:lnTo>
                    <a:lnTo>
                      <a:pt x="318" y="497"/>
                    </a:lnTo>
                    <a:lnTo>
                      <a:pt x="320" y="497"/>
                    </a:lnTo>
                    <a:lnTo>
                      <a:pt x="324" y="497"/>
                    </a:lnTo>
                    <a:lnTo>
                      <a:pt x="326" y="499"/>
                    </a:lnTo>
                    <a:lnTo>
                      <a:pt x="332" y="493"/>
                    </a:lnTo>
                    <a:lnTo>
                      <a:pt x="332" y="490"/>
                    </a:lnTo>
                    <a:lnTo>
                      <a:pt x="333" y="488"/>
                    </a:lnTo>
                    <a:lnTo>
                      <a:pt x="339" y="490"/>
                    </a:lnTo>
                    <a:lnTo>
                      <a:pt x="339" y="488"/>
                    </a:lnTo>
                    <a:lnTo>
                      <a:pt x="339" y="488"/>
                    </a:lnTo>
                    <a:lnTo>
                      <a:pt x="343" y="488"/>
                    </a:lnTo>
                    <a:lnTo>
                      <a:pt x="343" y="488"/>
                    </a:lnTo>
                    <a:lnTo>
                      <a:pt x="354" y="488"/>
                    </a:lnTo>
                    <a:lnTo>
                      <a:pt x="364" y="484"/>
                    </a:lnTo>
                    <a:lnTo>
                      <a:pt x="367" y="484"/>
                    </a:lnTo>
                    <a:lnTo>
                      <a:pt x="367" y="484"/>
                    </a:lnTo>
                    <a:lnTo>
                      <a:pt x="369" y="488"/>
                    </a:lnTo>
                    <a:lnTo>
                      <a:pt x="371" y="484"/>
                    </a:lnTo>
                    <a:lnTo>
                      <a:pt x="373" y="482"/>
                    </a:lnTo>
                    <a:lnTo>
                      <a:pt x="379" y="478"/>
                    </a:lnTo>
                    <a:lnTo>
                      <a:pt x="382" y="478"/>
                    </a:lnTo>
                    <a:lnTo>
                      <a:pt x="384" y="480"/>
                    </a:lnTo>
                    <a:lnTo>
                      <a:pt x="386" y="480"/>
                    </a:lnTo>
                    <a:lnTo>
                      <a:pt x="388" y="482"/>
                    </a:lnTo>
                    <a:lnTo>
                      <a:pt x="388" y="482"/>
                    </a:lnTo>
                    <a:lnTo>
                      <a:pt x="388" y="478"/>
                    </a:lnTo>
                    <a:lnTo>
                      <a:pt x="392" y="476"/>
                    </a:lnTo>
                    <a:lnTo>
                      <a:pt x="394" y="478"/>
                    </a:lnTo>
                    <a:lnTo>
                      <a:pt x="394" y="482"/>
                    </a:lnTo>
                    <a:lnTo>
                      <a:pt x="397" y="484"/>
                    </a:lnTo>
                    <a:lnTo>
                      <a:pt x="394" y="484"/>
                    </a:lnTo>
                    <a:lnTo>
                      <a:pt x="392" y="484"/>
                    </a:lnTo>
                    <a:lnTo>
                      <a:pt x="392" y="488"/>
                    </a:lnTo>
                    <a:lnTo>
                      <a:pt x="384" y="490"/>
                    </a:lnTo>
                    <a:lnTo>
                      <a:pt x="377" y="493"/>
                    </a:lnTo>
                    <a:lnTo>
                      <a:pt x="373" y="495"/>
                    </a:lnTo>
                    <a:lnTo>
                      <a:pt x="369" y="497"/>
                    </a:lnTo>
                    <a:lnTo>
                      <a:pt x="367" y="497"/>
                    </a:lnTo>
                    <a:lnTo>
                      <a:pt x="364" y="499"/>
                    </a:lnTo>
                    <a:lnTo>
                      <a:pt x="364" y="499"/>
                    </a:lnTo>
                    <a:lnTo>
                      <a:pt x="362" y="497"/>
                    </a:lnTo>
                    <a:lnTo>
                      <a:pt x="356" y="499"/>
                    </a:lnTo>
                    <a:lnTo>
                      <a:pt x="348" y="499"/>
                    </a:lnTo>
                    <a:lnTo>
                      <a:pt x="348" y="501"/>
                    </a:lnTo>
                    <a:lnTo>
                      <a:pt x="343" y="499"/>
                    </a:lnTo>
                    <a:lnTo>
                      <a:pt x="339" y="501"/>
                    </a:lnTo>
                    <a:lnTo>
                      <a:pt x="333" y="506"/>
                    </a:lnTo>
                    <a:lnTo>
                      <a:pt x="326" y="510"/>
                    </a:lnTo>
                    <a:lnTo>
                      <a:pt x="326" y="508"/>
                    </a:lnTo>
                    <a:lnTo>
                      <a:pt x="322" y="512"/>
                    </a:lnTo>
                    <a:lnTo>
                      <a:pt x="320" y="514"/>
                    </a:lnTo>
                    <a:lnTo>
                      <a:pt x="318" y="514"/>
                    </a:lnTo>
                    <a:lnTo>
                      <a:pt x="318" y="514"/>
                    </a:lnTo>
                    <a:lnTo>
                      <a:pt x="313" y="518"/>
                    </a:lnTo>
                    <a:lnTo>
                      <a:pt x="309" y="520"/>
                    </a:lnTo>
                    <a:lnTo>
                      <a:pt x="309" y="520"/>
                    </a:lnTo>
                    <a:lnTo>
                      <a:pt x="307" y="522"/>
                    </a:lnTo>
                    <a:lnTo>
                      <a:pt x="309" y="527"/>
                    </a:lnTo>
                    <a:lnTo>
                      <a:pt x="313" y="529"/>
                    </a:lnTo>
                    <a:lnTo>
                      <a:pt x="309" y="523"/>
                    </a:lnTo>
                    <a:lnTo>
                      <a:pt x="309" y="523"/>
                    </a:lnTo>
                    <a:lnTo>
                      <a:pt x="313" y="523"/>
                    </a:lnTo>
                    <a:lnTo>
                      <a:pt x="315" y="522"/>
                    </a:lnTo>
                    <a:lnTo>
                      <a:pt x="318" y="523"/>
                    </a:lnTo>
                    <a:lnTo>
                      <a:pt x="318" y="520"/>
                    </a:lnTo>
                    <a:lnTo>
                      <a:pt x="322" y="518"/>
                    </a:lnTo>
                    <a:lnTo>
                      <a:pt x="328" y="514"/>
                    </a:lnTo>
                    <a:lnTo>
                      <a:pt x="332" y="514"/>
                    </a:lnTo>
                    <a:lnTo>
                      <a:pt x="339" y="508"/>
                    </a:lnTo>
                    <a:lnTo>
                      <a:pt x="343" y="505"/>
                    </a:lnTo>
                    <a:lnTo>
                      <a:pt x="345" y="505"/>
                    </a:lnTo>
                    <a:lnTo>
                      <a:pt x="347" y="508"/>
                    </a:lnTo>
                    <a:lnTo>
                      <a:pt x="348" y="505"/>
                    </a:lnTo>
                    <a:lnTo>
                      <a:pt x="352" y="505"/>
                    </a:lnTo>
                    <a:lnTo>
                      <a:pt x="352" y="506"/>
                    </a:lnTo>
                    <a:lnTo>
                      <a:pt x="358" y="503"/>
                    </a:lnTo>
                    <a:lnTo>
                      <a:pt x="360" y="505"/>
                    </a:lnTo>
                    <a:lnTo>
                      <a:pt x="354" y="512"/>
                    </a:lnTo>
                    <a:lnTo>
                      <a:pt x="356" y="514"/>
                    </a:lnTo>
                    <a:lnTo>
                      <a:pt x="360" y="508"/>
                    </a:lnTo>
                    <a:lnTo>
                      <a:pt x="364" y="506"/>
                    </a:lnTo>
                    <a:lnTo>
                      <a:pt x="377" y="497"/>
                    </a:lnTo>
                    <a:lnTo>
                      <a:pt x="382" y="497"/>
                    </a:lnTo>
                    <a:lnTo>
                      <a:pt x="386" y="495"/>
                    </a:lnTo>
                    <a:lnTo>
                      <a:pt x="392" y="495"/>
                    </a:lnTo>
                    <a:lnTo>
                      <a:pt x="397" y="493"/>
                    </a:lnTo>
                    <a:lnTo>
                      <a:pt x="397" y="493"/>
                    </a:lnTo>
                    <a:lnTo>
                      <a:pt x="397" y="497"/>
                    </a:lnTo>
                    <a:lnTo>
                      <a:pt x="392" y="499"/>
                    </a:lnTo>
                    <a:lnTo>
                      <a:pt x="392" y="501"/>
                    </a:lnTo>
                    <a:lnTo>
                      <a:pt x="397" y="503"/>
                    </a:lnTo>
                    <a:lnTo>
                      <a:pt x="401" y="499"/>
                    </a:lnTo>
                    <a:lnTo>
                      <a:pt x="409" y="493"/>
                    </a:lnTo>
                    <a:lnTo>
                      <a:pt x="411" y="493"/>
                    </a:lnTo>
                    <a:lnTo>
                      <a:pt x="411" y="493"/>
                    </a:lnTo>
                    <a:lnTo>
                      <a:pt x="412" y="490"/>
                    </a:lnTo>
                    <a:lnTo>
                      <a:pt x="418" y="490"/>
                    </a:lnTo>
                    <a:lnTo>
                      <a:pt x="418" y="488"/>
                    </a:lnTo>
                    <a:lnTo>
                      <a:pt x="418" y="484"/>
                    </a:lnTo>
                    <a:lnTo>
                      <a:pt x="422" y="488"/>
                    </a:lnTo>
                    <a:lnTo>
                      <a:pt x="422" y="488"/>
                    </a:lnTo>
                    <a:lnTo>
                      <a:pt x="426" y="484"/>
                    </a:lnTo>
                    <a:lnTo>
                      <a:pt x="422" y="480"/>
                    </a:lnTo>
                    <a:lnTo>
                      <a:pt x="426" y="478"/>
                    </a:lnTo>
                    <a:lnTo>
                      <a:pt x="422" y="474"/>
                    </a:lnTo>
                    <a:lnTo>
                      <a:pt x="426" y="471"/>
                    </a:lnTo>
                    <a:lnTo>
                      <a:pt x="431" y="467"/>
                    </a:lnTo>
                    <a:lnTo>
                      <a:pt x="431" y="473"/>
                    </a:lnTo>
                    <a:lnTo>
                      <a:pt x="431" y="488"/>
                    </a:lnTo>
                    <a:lnTo>
                      <a:pt x="429" y="490"/>
                    </a:lnTo>
                    <a:lnTo>
                      <a:pt x="429" y="503"/>
                    </a:lnTo>
                    <a:lnTo>
                      <a:pt x="428" y="510"/>
                    </a:lnTo>
                    <a:lnTo>
                      <a:pt x="426" y="525"/>
                    </a:lnTo>
                    <a:lnTo>
                      <a:pt x="428" y="531"/>
                    </a:lnTo>
                    <a:lnTo>
                      <a:pt x="433" y="531"/>
                    </a:lnTo>
                    <a:lnTo>
                      <a:pt x="435" y="537"/>
                    </a:lnTo>
                    <a:lnTo>
                      <a:pt x="441" y="533"/>
                    </a:lnTo>
                    <a:lnTo>
                      <a:pt x="439" y="531"/>
                    </a:lnTo>
                    <a:lnTo>
                      <a:pt x="435" y="531"/>
                    </a:lnTo>
                    <a:lnTo>
                      <a:pt x="435" y="529"/>
                    </a:lnTo>
                    <a:lnTo>
                      <a:pt x="439" y="525"/>
                    </a:lnTo>
                    <a:lnTo>
                      <a:pt x="443" y="527"/>
                    </a:lnTo>
                    <a:lnTo>
                      <a:pt x="443" y="523"/>
                    </a:lnTo>
                    <a:lnTo>
                      <a:pt x="441" y="522"/>
                    </a:lnTo>
                    <a:lnTo>
                      <a:pt x="444" y="520"/>
                    </a:lnTo>
                    <a:lnTo>
                      <a:pt x="450" y="520"/>
                    </a:lnTo>
                    <a:lnTo>
                      <a:pt x="450" y="522"/>
                    </a:lnTo>
                    <a:lnTo>
                      <a:pt x="452" y="520"/>
                    </a:lnTo>
                    <a:lnTo>
                      <a:pt x="450" y="514"/>
                    </a:lnTo>
                    <a:lnTo>
                      <a:pt x="452" y="514"/>
                    </a:lnTo>
                    <a:lnTo>
                      <a:pt x="460" y="510"/>
                    </a:lnTo>
                    <a:lnTo>
                      <a:pt x="460" y="506"/>
                    </a:lnTo>
                    <a:lnTo>
                      <a:pt x="463" y="506"/>
                    </a:lnTo>
                    <a:lnTo>
                      <a:pt x="463" y="510"/>
                    </a:lnTo>
                    <a:lnTo>
                      <a:pt x="463" y="514"/>
                    </a:lnTo>
                    <a:lnTo>
                      <a:pt x="460" y="514"/>
                    </a:lnTo>
                    <a:lnTo>
                      <a:pt x="461" y="518"/>
                    </a:lnTo>
                    <a:lnTo>
                      <a:pt x="458" y="520"/>
                    </a:lnTo>
                    <a:lnTo>
                      <a:pt x="456" y="523"/>
                    </a:lnTo>
                    <a:lnTo>
                      <a:pt x="458" y="523"/>
                    </a:lnTo>
                    <a:lnTo>
                      <a:pt x="461" y="523"/>
                    </a:lnTo>
                    <a:lnTo>
                      <a:pt x="461" y="525"/>
                    </a:lnTo>
                    <a:lnTo>
                      <a:pt x="461" y="527"/>
                    </a:lnTo>
                    <a:lnTo>
                      <a:pt x="458" y="529"/>
                    </a:lnTo>
                    <a:lnTo>
                      <a:pt x="456" y="533"/>
                    </a:lnTo>
                    <a:lnTo>
                      <a:pt x="452" y="531"/>
                    </a:lnTo>
                    <a:lnTo>
                      <a:pt x="450" y="533"/>
                    </a:lnTo>
                    <a:lnTo>
                      <a:pt x="450" y="537"/>
                    </a:lnTo>
                    <a:lnTo>
                      <a:pt x="450" y="539"/>
                    </a:lnTo>
                    <a:lnTo>
                      <a:pt x="456" y="539"/>
                    </a:lnTo>
                    <a:lnTo>
                      <a:pt x="460" y="542"/>
                    </a:lnTo>
                    <a:lnTo>
                      <a:pt x="463" y="542"/>
                    </a:lnTo>
                    <a:lnTo>
                      <a:pt x="465" y="539"/>
                    </a:lnTo>
                    <a:lnTo>
                      <a:pt x="471" y="539"/>
                    </a:lnTo>
                    <a:lnTo>
                      <a:pt x="475" y="531"/>
                    </a:lnTo>
                    <a:lnTo>
                      <a:pt x="476" y="527"/>
                    </a:lnTo>
                    <a:lnTo>
                      <a:pt x="480" y="525"/>
                    </a:lnTo>
                    <a:lnTo>
                      <a:pt x="484" y="527"/>
                    </a:lnTo>
                    <a:lnTo>
                      <a:pt x="488" y="527"/>
                    </a:lnTo>
                    <a:lnTo>
                      <a:pt x="490" y="531"/>
                    </a:lnTo>
                    <a:lnTo>
                      <a:pt x="493" y="531"/>
                    </a:lnTo>
                    <a:lnTo>
                      <a:pt x="499" y="535"/>
                    </a:lnTo>
                    <a:lnTo>
                      <a:pt x="501" y="535"/>
                    </a:lnTo>
                    <a:lnTo>
                      <a:pt x="501" y="539"/>
                    </a:lnTo>
                    <a:lnTo>
                      <a:pt x="505" y="548"/>
                    </a:lnTo>
                    <a:lnTo>
                      <a:pt x="505" y="552"/>
                    </a:lnTo>
                    <a:lnTo>
                      <a:pt x="508" y="557"/>
                    </a:lnTo>
                    <a:lnTo>
                      <a:pt x="524" y="569"/>
                    </a:lnTo>
                    <a:lnTo>
                      <a:pt x="525" y="569"/>
                    </a:lnTo>
                    <a:lnTo>
                      <a:pt x="529" y="572"/>
                    </a:lnTo>
                    <a:lnTo>
                      <a:pt x="535" y="578"/>
                    </a:lnTo>
                    <a:lnTo>
                      <a:pt x="539" y="578"/>
                    </a:lnTo>
                    <a:lnTo>
                      <a:pt x="540" y="582"/>
                    </a:lnTo>
                    <a:lnTo>
                      <a:pt x="542" y="584"/>
                    </a:lnTo>
                    <a:lnTo>
                      <a:pt x="544" y="586"/>
                    </a:lnTo>
                    <a:lnTo>
                      <a:pt x="546" y="584"/>
                    </a:lnTo>
                    <a:lnTo>
                      <a:pt x="548" y="587"/>
                    </a:lnTo>
                    <a:lnTo>
                      <a:pt x="554" y="591"/>
                    </a:lnTo>
                    <a:lnTo>
                      <a:pt x="556" y="591"/>
                    </a:lnTo>
                    <a:lnTo>
                      <a:pt x="556" y="595"/>
                    </a:lnTo>
                    <a:lnTo>
                      <a:pt x="559" y="599"/>
                    </a:lnTo>
                    <a:lnTo>
                      <a:pt x="559" y="595"/>
                    </a:lnTo>
                    <a:lnTo>
                      <a:pt x="559" y="591"/>
                    </a:lnTo>
                    <a:lnTo>
                      <a:pt x="559" y="589"/>
                    </a:lnTo>
                    <a:lnTo>
                      <a:pt x="556" y="587"/>
                    </a:lnTo>
                    <a:lnTo>
                      <a:pt x="556" y="586"/>
                    </a:lnTo>
                    <a:lnTo>
                      <a:pt x="563" y="587"/>
                    </a:lnTo>
                    <a:lnTo>
                      <a:pt x="563" y="591"/>
                    </a:lnTo>
                    <a:lnTo>
                      <a:pt x="563" y="591"/>
                    </a:lnTo>
                    <a:lnTo>
                      <a:pt x="565" y="587"/>
                    </a:lnTo>
                    <a:lnTo>
                      <a:pt x="567" y="587"/>
                    </a:lnTo>
                    <a:lnTo>
                      <a:pt x="571" y="593"/>
                    </a:lnTo>
                    <a:lnTo>
                      <a:pt x="572" y="595"/>
                    </a:lnTo>
                    <a:lnTo>
                      <a:pt x="574" y="597"/>
                    </a:lnTo>
                    <a:lnTo>
                      <a:pt x="576" y="601"/>
                    </a:lnTo>
                    <a:lnTo>
                      <a:pt x="578" y="603"/>
                    </a:lnTo>
                    <a:lnTo>
                      <a:pt x="580" y="608"/>
                    </a:lnTo>
                    <a:lnTo>
                      <a:pt x="582" y="612"/>
                    </a:lnTo>
                    <a:lnTo>
                      <a:pt x="580" y="616"/>
                    </a:lnTo>
                    <a:lnTo>
                      <a:pt x="578" y="620"/>
                    </a:lnTo>
                    <a:lnTo>
                      <a:pt x="574" y="623"/>
                    </a:lnTo>
                    <a:lnTo>
                      <a:pt x="567" y="621"/>
                    </a:lnTo>
                    <a:lnTo>
                      <a:pt x="563" y="621"/>
                    </a:lnTo>
                    <a:lnTo>
                      <a:pt x="563" y="621"/>
                    </a:lnTo>
                    <a:lnTo>
                      <a:pt x="559" y="623"/>
                    </a:lnTo>
                    <a:lnTo>
                      <a:pt x="556" y="621"/>
                    </a:lnTo>
                    <a:lnTo>
                      <a:pt x="554" y="621"/>
                    </a:lnTo>
                    <a:lnTo>
                      <a:pt x="556" y="625"/>
                    </a:lnTo>
                    <a:lnTo>
                      <a:pt x="552" y="627"/>
                    </a:lnTo>
                    <a:lnTo>
                      <a:pt x="552" y="631"/>
                    </a:lnTo>
                    <a:lnTo>
                      <a:pt x="548" y="631"/>
                    </a:lnTo>
                    <a:lnTo>
                      <a:pt x="544" y="631"/>
                    </a:lnTo>
                    <a:lnTo>
                      <a:pt x="544" y="633"/>
                    </a:lnTo>
                    <a:lnTo>
                      <a:pt x="548" y="633"/>
                    </a:lnTo>
                    <a:lnTo>
                      <a:pt x="550" y="638"/>
                    </a:lnTo>
                    <a:lnTo>
                      <a:pt x="554" y="640"/>
                    </a:lnTo>
                    <a:lnTo>
                      <a:pt x="556" y="638"/>
                    </a:lnTo>
                    <a:lnTo>
                      <a:pt x="559" y="642"/>
                    </a:lnTo>
                    <a:lnTo>
                      <a:pt x="559" y="646"/>
                    </a:lnTo>
                    <a:lnTo>
                      <a:pt x="563" y="646"/>
                    </a:lnTo>
                    <a:lnTo>
                      <a:pt x="571" y="650"/>
                    </a:lnTo>
                    <a:lnTo>
                      <a:pt x="576" y="650"/>
                    </a:lnTo>
                    <a:lnTo>
                      <a:pt x="584" y="653"/>
                    </a:lnTo>
                    <a:lnTo>
                      <a:pt x="588" y="653"/>
                    </a:lnTo>
                    <a:lnTo>
                      <a:pt x="588" y="652"/>
                    </a:lnTo>
                    <a:lnTo>
                      <a:pt x="589" y="652"/>
                    </a:lnTo>
                    <a:lnTo>
                      <a:pt x="593" y="653"/>
                    </a:lnTo>
                    <a:lnTo>
                      <a:pt x="593" y="657"/>
                    </a:lnTo>
                    <a:lnTo>
                      <a:pt x="599" y="652"/>
                    </a:lnTo>
                    <a:lnTo>
                      <a:pt x="601" y="655"/>
                    </a:lnTo>
                    <a:lnTo>
                      <a:pt x="603" y="653"/>
                    </a:lnTo>
                    <a:lnTo>
                      <a:pt x="606" y="652"/>
                    </a:lnTo>
                    <a:lnTo>
                      <a:pt x="608" y="652"/>
                    </a:lnTo>
                    <a:lnTo>
                      <a:pt x="608" y="653"/>
                    </a:lnTo>
                    <a:lnTo>
                      <a:pt x="610" y="653"/>
                    </a:lnTo>
                    <a:lnTo>
                      <a:pt x="614" y="652"/>
                    </a:lnTo>
                    <a:lnTo>
                      <a:pt x="625" y="646"/>
                    </a:lnTo>
                    <a:lnTo>
                      <a:pt x="629" y="646"/>
                    </a:lnTo>
                    <a:lnTo>
                      <a:pt x="627" y="650"/>
                    </a:lnTo>
                    <a:lnTo>
                      <a:pt x="627" y="652"/>
                    </a:lnTo>
                    <a:lnTo>
                      <a:pt x="627" y="653"/>
                    </a:lnTo>
                    <a:lnTo>
                      <a:pt x="629" y="653"/>
                    </a:lnTo>
                    <a:lnTo>
                      <a:pt x="629" y="657"/>
                    </a:lnTo>
                    <a:lnTo>
                      <a:pt x="629" y="661"/>
                    </a:lnTo>
                    <a:lnTo>
                      <a:pt x="629" y="663"/>
                    </a:lnTo>
                    <a:lnTo>
                      <a:pt x="631" y="663"/>
                    </a:lnTo>
                    <a:lnTo>
                      <a:pt x="633" y="661"/>
                    </a:lnTo>
                    <a:lnTo>
                      <a:pt x="635" y="663"/>
                    </a:lnTo>
                    <a:lnTo>
                      <a:pt x="635" y="667"/>
                    </a:lnTo>
                    <a:lnTo>
                      <a:pt x="633" y="670"/>
                    </a:lnTo>
                    <a:lnTo>
                      <a:pt x="633" y="676"/>
                    </a:lnTo>
                    <a:lnTo>
                      <a:pt x="635" y="676"/>
                    </a:lnTo>
                    <a:lnTo>
                      <a:pt x="636" y="672"/>
                    </a:lnTo>
                    <a:lnTo>
                      <a:pt x="638" y="670"/>
                    </a:lnTo>
                    <a:lnTo>
                      <a:pt x="638" y="667"/>
                    </a:lnTo>
                    <a:lnTo>
                      <a:pt x="638" y="667"/>
                    </a:lnTo>
                    <a:lnTo>
                      <a:pt x="638" y="670"/>
                    </a:lnTo>
                    <a:lnTo>
                      <a:pt x="636" y="678"/>
                    </a:lnTo>
                    <a:lnTo>
                      <a:pt x="635" y="682"/>
                    </a:lnTo>
                    <a:lnTo>
                      <a:pt x="635" y="687"/>
                    </a:lnTo>
                    <a:lnTo>
                      <a:pt x="636" y="693"/>
                    </a:lnTo>
                    <a:lnTo>
                      <a:pt x="636" y="701"/>
                    </a:lnTo>
                    <a:lnTo>
                      <a:pt x="635" y="702"/>
                    </a:lnTo>
                    <a:lnTo>
                      <a:pt x="638" y="706"/>
                    </a:lnTo>
                    <a:lnTo>
                      <a:pt x="638" y="708"/>
                    </a:lnTo>
                    <a:lnTo>
                      <a:pt x="638" y="712"/>
                    </a:lnTo>
                    <a:lnTo>
                      <a:pt x="638" y="714"/>
                    </a:lnTo>
                    <a:lnTo>
                      <a:pt x="642" y="719"/>
                    </a:lnTo>
                    <a:lnTo>
                      <a:pt x="642" y="731"/>
                    </a:lnTo>
                    <a:lnTo>
                      <a:pt x="642" y="719"/>
                    </a:lnTo>
                    <a:lnTo>
                      <a:pt x="638" y="710"/>
                    </a:lnTo>
                    <a:lnTo>
                      <a:pt x="642" y="701"/>
                    </a:lnTo>
                    <a:lnTo>
                      <a:pt x="644" y="695"/>
                    </a:lnTo>
                    <a:lnTo>
                      <a:pt x="648" y="695"/>
                    </a:lnTo>
                    <a:lnTo>
                      <a:pt x="648" y="697"/>
                    </a:lnTo>
                    <a:lnTo>
                      <a:pt x="646" y="697"/>
                    </a:lnTo>
                    <a:lnTo>
                      <a:pt x="646" y="701"/>
                    </a:lnTo>
                    <a:lnTo>
                      <a:pt x="646" y="701"/>
                    </a:lnTo>
                    <a:lnTo>
                      <a:pt x="650" y="701"/>
                    </a:lnTo>
                    <a:lnTo>
                      <a:pt x="650" y="701"/>
                    </a:lnTo>
                    <a:lnTo>
                      <a:pt x="652" y="701"/>
                    </a:lnTo>
                    <a:lnTo>
                      <a:pt x="652" y="697"/>
                    </a:lnTo>
                    <a:lnTo>
                      <a:pt x="650" y="693"/>
                    </a:lnTo>
                    <a:lnTo>
                      <a:pt x="650" y="691"/>
                    </a:lnTo>
                    <a:lnTo>
                      <a:pt x="653" y="687"/>
                    </a:lnTo>
                    <a:lnTo>
                      <a:pt x="653" y="687"/>
                    </a:lnTo>
                    <a:lnTo>
                      <a:pt x="650" y="685"/>
                    </a:lnTo>
                    <a:lnTo>
                      <a:pt x="652" y="682"/>
                    </a:lnTo>
                    <a:lnTo>
                      <a:pt x="653" y="676"/>
                    </a:lnTo>
                    <a:lnTo>
                      <a:pt x="655" y="667"/>
                    </a:lnTo>
                    <a:lnTo>
                      <a:pt x="655" y="663"/>
                    </a:lnTo>
                    <a:lnTo>
                      <a:pt x="655" y="661"/>
                    </a:lnTo>
                    <a:lnTo>
                      <a:pt x="657" y="659"/>
                    </a:lnTo>
                    <a:lnTo>
                      <a:pt x="663" y="659"/>
                    </a:lnTo>
                    <a:lnTo>
                      <a:pt x="663" y="657"/>
                    </a:lnTo>
                    <a:lnTo>
                      <a:pt x="663" y="655"/>
                    </a:lnTo>
                    <a:lnTo>
                      <a:pt x="668" y="653"/>
                    </a:lnTo>
                    <a:lnTo>
                      <a:pt x="668" y="655"/>
                    </a:lnTo>
                    <a:lnTo>
                      <a:pt x="672" y="655"/>
                    </a:lnTo>
                    <a:lnTo>
                      <a:pt x="672" y="652"/>
                    </a:lnTo>
                    <a:lnTo>
                      <a:pt x="676" y="652"/>
                    </a:lnTo>
                    <a:lnTo>
                      <a:pt x="676" y="653"/>
                    </a:lnTo>
                    <a:lnTo>
                      <a:pt x="676" y="653"/>
                    </a:lnTo>
                    <a:lnTo>
                      <a:pt x="682" y="653"/>
                    </a:lnTo>
                    <a:lnTo>
                      <a:pt x="684" y="648"/>
                    </a:lnTo>
                    <a:lnTo>
                      <a:pt x="685" y="648"/>
                    </a:lnTo>
                    <a:lnTo>
                      <a:pt x="687" y="652"/>
                    </a:lnTo>
                    <a:lnTo>
                      <a:pt x="689" y="652"/>
                    </a:lnTo>
                    <a:lnTo>
                      <a:pt x="689" y="657"/>
                    </a:lnTo>
                    <a:lnTo>
                      <a:pt x="689" y="652"/>
                    </a:lnTo>
                    <a:lnTo>
                      <a:pt x="687" y="648"/>
                    </a:lnTo>
                    <a:lnTo>
                      <a:pt x="691" y="642"/>
                    </a:lnTo>
                    <a:lnTo>
                      <a:pt x="693" y="642"/>
                    </a:lnTo>
                    <a:lnTo>
                      <a:pt x="693" y="646"/>
                    </a:lnTo>
                    <a:lnTo>
                      <a:pt x="697" y="642"/>
                    </a:lnTo>
                    <a:lnTo>
                      <a:pt x="700" y="642"/>
                    </a:lnTo>
                    <a:lnTo>
                      <a:pt x="702" y="646"/>
                    </a:lnTo>
                    <a:lnTo>
                      <a:pt x="706" y="638"/>
                    </a:lnTo>
                    <a:lnTo>
                      <a:pt x="704" y="636"/>
                    </a:lnTo>
                    <a:lnTo>
                      <a:pt x="708" y="633"/>
                    </a:lnTo>
                    <a:lnTo>
                      <a:pt x="704" y="633"/>
                    </a:lnTo>
                    <a:lnTo>
                      <a:pt x="702" y="633"/>
                    </a:lnTo>
                    <a:lnTo>
                      <a:pt x="700" y="633"/>
                    </a:lnTo>
                    <a:lnTo>
                      <a:pt x="693" y="636"/>
                    </a:lnTo>
                    <a:lnTo>
                      <a:pt x="691" y="636"/>
                    </a:lnTo>
                    <a:lnTo>
                      <a:pt x="691" y="636"/>
                    </a:lnTo>
                    <a:lnTo>
                      <a:pt x="687" y="638"/>
                    </a:lnTo>
                    <a:lnTo>
                      <a:pt x="687" y="640"/>
                    </a:lnTo>
                    <a:lnTo>
                      <a:pt x="687" y="642"/>
                    </a:lnTo>
                    <a:lnTo>
                      <a:pt x="684" y="638"/>
                    </a:lnTo>
                    <a:lnTo>
                      <a:pt x="684" y="636"/>
                    </a:lnTo>
                    <a:lnTo>
                      <a:pt x="682" y="636"/>
                    </a:lnTo>
                    <a:lnTo>
                      <a:pt x="680" y="640"/>
                    </a:lnTo>
                    <a:lnTo>
                      <a:pt x="678" y="642"/>
                    </a:lnTo>
                    <a:lnTo>
                      <a:pt x="676" y="638"/>
                    </a:lnTo>
                    <a:lnTo>
                      <a:pt x="672" y="638"/>
                    </a:lnTo>
                    <a:lnTo>
                      <a:pt x="672" y="636"/>
                    </a:lnTo>
                    <a:lnTo>
                      <a:pt x="668" y="638"/>
                    </a:lnTo>
                    <a:lnTo>
                      <a:pt x="668" y="640"/>
                    </a:lnTo>
                    <a:lnTo>
                      <a:pt x="672" y="642"/>
                    </a:lnTo>
                    <a:lnTo>
                      <a:pt x="672" y="646"/>
                    </a:lnTo>
                    <a:lnTo>
                      <a:pt x="668" y="646"/>
                    </a:lnTo>
                    <a:lnTo>
                      <a:pt x="667" y="646"/>
                    </a:lnTo>
                    <a:lnTo>
                      <a:pt x="661" y="646"/>
                    </a:lnTo>
                    <a:lnTo>
                      <a:pt x="661" y="642"/>
                    </a:lnTo>
                    <a:lnTo>
                      <a:pt x="663" y="640"/>
                    </a:lnTo>
                    <a:lnTo>
                      <a:pt x="663" y="636"/>
                    </a:lnTo>
                    <a:lnTo>
                      <a:pt x="663" y="636"/>
                    </a:lnTo>
                    <a:lnTo>
                      <a:pt x="661" y="636"/>
                    </a:lnTo>
                    <a:lnTo>
                      <a:pt x="657" y="636"/>
                    </a:lnTo>
                    <a:lnTo>
                      <a:pt x="659" y="633"/>
                    </a:lnTo>
                    <a:lnTo>
                      <a:pt x="663" y="633"/>
                    </a:lnTo>
                    <a:lnTo>
                      <a:pt x="668" y="625"/>
                    </a:lnTo>
                    <a:lnTo>
                      <a:pt x="668" y="625"/>
                    </a:lnTo>
                    <a:lnTo>
                      <a:pt x="676" y="627"/>
                    </a:lnTo>
                    <a:lnTo>
                      <a:pt x="687" y="625"/>
                    </a:lnTo>
                    <a:lnTo>
                      <a:pt x="697" y="623"/>
                    </a:lnTo>
                    <a:lnTo>
                      <a:pt x="700" y="623"/>
                    </a:lnTo>
                    <a:lnTo>
                      <a:pt x="704" y="621"/>
                    </a:lnTo>
                    <a:lnTo>
                      <a:pt x="706" y="625"/>
                    </a:lnTo>
                    <a:lnTo>
                      <a:pt x="708" y="627"/>
                    </a:lnTo>
                    <a:lnTo>
                      <a:pt x="710" y="627"/>
                    </a:lnTo>
                    <a:lnTo>
                      <a:pt x="712" y="629"/>
                    </a:lnTo>
                    <a:lnTo>
                      <a:pt x="710" y="636"/>
                    </a:lnTo>
                    <a:lnTo>
                      <a:pt x="710" y="638"/>
                    </a:lnTo>
                    <a:lnTo>
                      <a:pt x="712" y="640"/>
                    </a:lnTo>
                    <a:lnTo>
                      <a:pt x="710" y="640"/>
                    </a:lnTo>
                    <a:lnTo>
                      <a:pt x="708" y="646"/>
                    </a:lnTo>
                    <a:lnTo>
                      <a:pt x="708" y="646"/>
                    </a:lnTo>
                    <a:lnTo>
                      <a:pt x="710" y="646"/>
                    </a:lnTo>
                    <a:lnTo>
                      <a:pt x="710" y="653"/>
                    </a:lnTo>
                    <a:lnTo>
                      <a:pt x="714" y="653"/>
                    </a:lnTo>
                    <a:lnTo>
                      <a:pt x="716" y="655"/>
                    </a:lnTo>
                    <a:lnTo>
                      <a:pt x="716" y="657"/>
                    </a:lnTo>
                    <a:lnTo>
                      <a:pt x="712" y="659"/>
                    </a:lnTo>
                    <a:lnTo>
                      <a:pt x="712" y="663"/>
                    </a:lnTo>
                    <a:lnTo>
                      <a:pt x="710" y="663"/>
                    </a:lnTo>
                    <a:lnTo>
                      <a:pt x="716" y="663"/>
                    </a:lnTo>
                    <a:lnTo>
                      <a:pt x="717" y="667"/>
                    </a:lnTo>
                    <a:lnTo>
                      <a:pt x="717" y="667"/>
                    </a:lnTo>
                    <a:lnTo>
                      <a:pt x="721" y="667"/>
                    </a:lnTo>
                    <a:lnTo>
                      <a:pt x="721" y="670"/>
                    </a:lnTo>
                    <a:lnTo>
                      <a:pt x="727" y="670"/>
                    </a:lnTo>
                    <a:lnTo>
                      <a:pt x="731" y="667"/>
                    </a:lnTo>
                    <a:lnTo>
                      <a:pt x="731" y="667"/>
                    </a:lnTo>
                    <a:lnTo>
                      <a:pt x="731" y="670"/>
                    </a:lnTo>
                    <a:lnTo>
                      <a:pt x="731" y="670"/>
                    </a:lnTo>
                    <a:lnTo>
                      <a:pt x="732" y="670"/>
                    </a:lnTo>
                    <a:lnTo>
                      <a:pt x="734" y="672"/>
                    </a:lnTo>
                    <a:lnTo>
                      <a:pt x="734" y="676"/>
                    </a:lnTo>
                    <a:lnTo>
                      <a:pt x="734" y="676"/>
                    </a:lnTo>
                    <a:lnTo>
                      <a:pt x="736" y="678"/>
                    </a:lnTo>
                    <a:lnTo>
                      <a:pt x="736" y="680"/>
                    </a:lnTo>
                    <a:lnTo>
                      <a:pt x="742" y="685"/>
                    </a:lnTo>
                    <a:lnTo>
                      <a:pt x="742" y="687"/>
                    </a:lnTo>
                    <a:lnTo>
                      <a:pt x="746" y="685"/>
                    </a:lnTo>
                    <a:lnTo>
                      <a:pt x="748" y="685"/>
                    </a:lnTo>
                    <a:lnTo>
                      <a:pt x="748" y="687"/>
                    </a:lnTo>
                    <a:lnTo>
                      <a:pt x="749" y="687"/>
                    </a:lnTo>
                    <a:lnTo>
                      <a:pt x="751" y="693"/>
                    </a:lnTo>
                    <a:lnTo>
                      <a:pt x="755" y="691"/>
                    </a:lnTo>
                    <a:lnTo>
                      <a:pt x="763" y="691"/>
                    </a:lnTo>
                    <a:lnTo>
                      <a:pt x="764" y="687"/>
                    </a:lnTo>
                    <a:lnTo>
                      <a:pt x="770" y="685"/>
                    </a:lnTo>
                    <a:lnTo>
                      <a:pt x="770" y="685"/>
                    </a:lnTo>
                    <a:lnTo>
                      <a:pt x="772" y="687"/>
                    </a:lnTo>
                    <a:lnTo>
                      <a:pt x="780" y="687"/>
                    </a:lnTo>
                    <a:lnTo>
                      <a:pt x="785" y="693"/>
                    </a:lnTo>
                    <a:lnTo>
                      <a:pt x="787" y="693"/>
                    </a:lnTo>
                    <a:lnTo>
                      <a:pt x="789" y="697"/>
                    </a:lnTo>
                    <a:lnTo>
                      <a:pt x="791" y="695"/>
                    </a:lnTo>
                    <a:lnTo>
                      <a:pt x="798" y="693"/>
                    </a:lnTo>
                    <a:lnTo>
                      <a:pt x="800" y="697"/>
                    </a:lnTo>
                    <a:lnTo>
                      <a:pt x="804" y="695"/>
                    </a:lnTo>
                    <a:lnTo>
                      <a:pt x="800" y="691"/>
                    </a:lnTo>
                    <a:lnTo>
                      <a:pt x="800" y="687"/>
                    </a:lnTo>
                    <a:lnTo>
                      <a:pt x="798" y="682"/>
                    </a:lnTo>
                    <a:lnTo>
                      <a:pt x="800" y="680"/>
                    </a:lnTo>
                    <a:lnTo>
                      <a:pt x="800" y="682"/>
                    </a:lnTo>
                    <a:lnTo>
                      <a:pt x="804" y="687"/>
                    </a:lnTo>
                    <a:lnTo>
                      <a:pt x="806" y="693"/>
                    </a:lnTo>
                    <a:lnTo>
                      <a:pt x="810" y="697"/>
                    </a:lnTo>
                    <a:lnTo>
                      <a:pt x="812" y="701"/>
                    </a:lnTo>
                    <a:lnTo>
                      <a:pt x="813" y="704"/>
                    </a:lnTo>
                    <a:lnTo>
                      <a:pt x="813" y="697"/>
                    </a:lnTo>
                    <a:lnTo>
                      <a:pt x="812" y="695"/>
                    </a:lnTo>
                    <a:lnTo>
                      <a:pt x="806" y="693"/>
                    </a:lnTo>
                    <a:lnTo>
                      <a:pt x="806" y="687"/>
                    </a:lnTo>
                    <a:lnTo>
                      <a:pt x="804" y="678"/>
                    </a:lnTo>
                    <a:lnTo>
                      <a:pt x="806" y="676"/>
                    </a:lnTo>
                    <a:lnTo>
                      <a:pt x="806" y="676"/>
                    </a:lnTo>
                    <a:lnTo>
                      <a:pt x="806" y="680"/>
                    </a:lnTo>
                    <a:lnTo>
                      <a:pt x="806" y="680"/>
                    </a:lnTo>
                    <a:lnTo>
                      <a:pt x="810" y="680"/>
                    </a:lnTo>
                    <a:lnTo>
                      <a:pt x="810" y="676"/>
                    </a:lnTo>
                    <a:lnTo>
                      <a:pt x="810" y="672"/>
                    </a:lnTo>
                    <a:lnTo>
                      <a:pt x="810" y="670"/>
                    </a:lnTo>
                    <a:lnTo>
                      <a:pt x="810" y="670"/>
                    </a:lnTo>
                    <a:lnTo>
                      <a:pt x="810" y="667"/>
                    </a:lnTo>
                    <a:lnTo>
                      <a:pt x="812" y="667"/>
                    </a:lnTo>
                    <a:lnTo>
                      <a:pt x="813" y="670"/>
                    </a:lnTo>
                    <a:lnTo>
                      <a:pt x="813" y="672"/>
                    </a:lnTo>
                    <a:lnTo>
                      <a:pt x="815" y="672"/>
                    </a:lnTo>
                    <a:lnTo>
                      <a:pt x="815" y="672"/>
                    </a:lnTo>
                    <a:lnTo>
                      <a:pt x="819" y="670"/>
                    </a:lnTo>
                    <a:lnTo>
                      <a:pt x="821" y="667"/>
                    </a:lnTo>
                    <a:lnTo>
                      <a:pt x="825" y="667"/>
                    </a:lnTo>
                    <a:lnTo>
                      <a:pt x="827" y="670"/>
                    </a:lnTo>
                    <a:lnTo>
                      <a:pt x="825" y="670"/>
                    </a:lnTo>
                    <a:lnTo>
                      <a:pt x="825" y="672"/>
                    </a:lnTo>
                    <a:lnTo>
                      <a:pt x="825" y="670"/>
                    </a:lnTo>
                    <a:lnTo>
                      <a:pt x="828" y="670"/>
                    </a:lnTo>
                    <a:lnTo>
                      <a:pt x="830" y="672"/>
                    </a:lnTo>
                    <a:lnTo>
                      <a:pt x="830" y="676"/>
                    </a:lnTo>
                    <a:lnTo>
                      <a:pt x="828" y="680"/>
                    </a:lnTo>
                    <a:lnTo>
                      <a:pt x="830" y="682"/>
                    </a:lnTo>
                    <a:lnTo>
                      <a:pt x="834" y="682"/>
                    </a:lnTo>
                    <a:lnTo>
                      <a:pt x="834" y="682"/>
                    </a:lnTo>
                    <a:lnTo>
                      <a:pt x="834" y="685"/>
                    </a:lnTo>
                    <a:lnTo>
                      <a:pt x="830" y="687"/>
                    </a:lnTo>
                    <a:lnTo>
                      <a:pt x="830" y="687"/>
                    </a:lnTo>
                    <a:lnTo>
                      <a:pt x="830" y="691"/>
                    </a:lnTo>
                    <a:lnTo>
                      <a:pt x="836" y="687"/>
                    </a:lnTo>
                    <a:lnTo>
                      <a:pt x="838" y="684"/>
                    </a:lnTo>
                    <a:lnTo>
                      <a:pt x="844" y="682"/>
                    </a:lnTo>
                    <a:lnTo>
                      <a:pt x="847" y="682"/>
                    </a:lnTo>
                    <a:lnTo>
                      <a:pt x="847" y="684"/>
                    </a:lnTo>
                    <a:lnTo>
                      <a:pt x="844" y="685"/>
                    </a:lnTo>
                    <a:lnTo>
                      <a:pt x="844" y="687"/>
                    </a:lnTo>
                    <a:lnTo>
                      <a:pt x="844" y="691"/>
                    </a:lnTo>
                    <a:lnTo>
                      <a:pt x="836" y="695"/>
                    </a:lnTo>
                    <a:lnTo>
                      <a:pt x="834" y="697"/>
                    </a:lnTo>
                    <a:lnTo>
                      <a:pt x="830" y="701"/>
                    </a:lnTo>
                    <a:lnTo>
                      <a:pt x="830" y="704"/>
                    </a:lnTo>
                    <a:lnTo>
                      <a:pt x="830" y="706"/>
                    </a:lnTo>
                    <a:lnTo>
                      <a:pt x="828" y="702"/>
                    </a:lnTo>
                    <a:lnTo>
                      <a:pt x="827" y="706"/>
                    </a:lnTo>
                    <a:lnTo>
                      <a:pt x="825" y="712"/>
                    </a:lnTo>
                    <a:lnTo>
                      <a:pt x="825" y="716"/>
                    </a:lnTo>
                    <a:lnTo>
                      <a:pt x="828" y="714"/>
                    </a:lnTo>
                    <a:lnTo>
                      <a:pt x="830" y="714"/>
                    </a:lnTo>
                    <a:lnTo>
                      <a:pt x="830" y="717"/>
                    </a:lnTo>
                    <a:lnTo>
                      <a:pt x="827" y="719"/>
                    </a:lnTo>
                    <a:lnTo>
                      <a:pt x="827" y="721"/>
                    </a:lnTo>
                    <a:lnTo>
                      <a:pt x="830" y="719"/>
                    </a:lnTo>
                    <a:lnTo>
                      <a:pt x="834" y="717"/>
                    </a:lnTo>
                    <a:lnTo>
                      <a:pt x="834" y="717"/>
                    </a:lnTo>
                    <a:lnTo>
                      <a:pt x="834" y="721"/>
                    </a:lnTo>
                    <a:lnTo>
                      <a:pt x="830" y="721"/>
                    </a:lnTo>
                    <a:lnTo>
                      <a:pt x="834" y="725"/>
                    </a:lnTo>
                    <a:lnTo>
                      <a:pt x="836" y="721"/>
                    </a:lnTo>
                    <a:lnTo>
                      <a:pt x="834" y="727"/>
                    </a:lnTo>
                    <a:lnTo>
                      <a:pt x="834" y="731"/>
                    </a:lnTo>
                    <a:lnTo>
                      <a:pt x="830" y="733"/>
                    </a:lnTo>
                    <a:lnTo>
                      <a:pt x="828" y="731"/>
                    </a:lnTo>
                    <a:lnTo>
                      <a:pt x="827" y="727"/>
                    </a:lnTo>
                    <a:lnTo>
                      <a:pt x="821" y="731"/>
                    </a:lnTo>
                    <a:lnTo>
                      <a:pt x="819" y="725"/>
                    </a:lnTo>
                    <a:lnTo>
                      <a:pt x="819" y="725"/>
                    </a:lnTo>
                    <a:lnTo>
                      <a:pt x="817" y="731"/>
                    </a:lnTo>
                    <a:lnTo>
                      <a:pt x="819" y="733"/>
                    </a:lnTo>
                    <a:lnTo>
                      <a:pt x="821" y="738"/>
                    </a:lnTo>
                    <a:lnTo>
                      <a:pt x="819" y="746"/>
                    </a:lnTo>
                    <a:lnTo>
                      <a:pt x="823" y="738"/>
                    </a:lnTo>
                    <a:lnTo>
                      <a:pt x="823" y="733"/>
                    </a:lnTo>
                    <a:lnTo>
                      <a:pt x="825" y="731"/>
                    </a:lnTo>
                    <a:lnTo>
                      <a:pt x="827" y="733"/>
                    </a:lnTo>
                    <a:lnTo>
                      <a:pt x="830" y="733"/>
                    </a:lnTo>
                    <a:lnTo>
                      <a:pt x="834" y="736"/>
                    </a:lnTo>
                    <a:lnTo>
                      <a:pt x="836" y="733"/>
                    </a:lnTo>
                    <a:lnTo>
                      <a:pt x="836" y="731"/>
                    </a:lnTo>
                    <a:lnTo>
                      <a:pt x="840" y="727"/>
                    </a:lnTo>
                    <a:lnTo>
                      <a:pt x="844" y="725"/>
                    </a:lnTo>
                    <a:lnTo>
                      <a:pt x="847" y="725"/>
                    </a:lnTo>
                    <a:lnTo>
                      <a:pt x="851" y="721"/>
                    </a:lnTo>
                    <a:lnTo>
                      <a:pt x="847" y="721"/>
                    </a:lnTo>
                    <a:lnTo>
                      <a:pt x="844" y="721"/>
                    </a:lnTo>
                    <a:lnTo>
                      <a:pt x="844" y="727"/>
                    </a:lnTo>
                    <a:lnTo>
                      <a:pt x="840" y="727"/>
                    </a:lnTo>
                    <a:lnTo>
                      <a:pt x="838" y="727"/>
                    </a:lnTo>
                    <a:lnTo>
                      <a:pt x="840" y="721"/>
                    </a:lnTo>
                    <a:lnTo>
                      <a:pt x="844" y="721"/>
                    </a:lnTo>
                    <a:lnTo>
                      <a:pt x="840" y="719"/>
                    </a:lnTo>
                    <a:lnTo>
                      <a:pt x="844" y="716"/>
                    </a:lnTo>
                    <a:lnTo>
                      <a:pt x="844" y="710"/>
                    </a:lnTo>
                    <a:lnTo>
                      <a:pt x="844" y="708"/>
                    </a:lnTo>
                    <a:lnTo>
                      <a:pt x="844" y="704"/>
                    </a:lnTo>
                    <a:lnTo>
                      <a:pt x="844" y="704"/>
                    </a:lnTo>
                    <a:lnTo>
                      <a:pt x="845" y="701"/>
                    </a:lnTo>
                    <a:lnTo>
                      <a:pt x="847" y="695"/>
                    </a:lnTo>
                    <a:lnTo>
                      <a:pt x="851" y="693"/>
                    </a:lnTo>
                    <a:lnTo>
                      <a:pt x="851" y="693"/>
                    </a:lnTo>
                    <a:lnTo>
                      <a:pt x="851" y="695"/>
                    </a:lnTo>
                    <a:lnTo>
                      <a:pt x="853" y="695"/>
                    </a:lnTo>
                    <a:lnTo>
                      <a:pt x="855" y="691"/>
                    </a:lnTo>
                    <a:lnTo>
                      <a:pt x="855" y="693"/>
                    </a:lnTo>
                    <a:lnTo>
                      <a:pt x="859" y="693"/>
                    </a:lnTo>
                    <a:lnTo>
                      <a:pt x="859" y="695"/>
                    </a:lnTo>
                    <a:lnTo>
                      <a:pt x="862" y="695"/>
                    </a:lnTo>
                    <a:lnTo>
                      <a:pt x="864" y="691"/>
                    </a:lnTo>
                    <a:lnTo>
                      <a:pt x="872" y="687"/>
                    </a:lnTo>
                    <a:lnTo>
                      <a:pt x="874" y="684"/>
                    </a:lnTo>
                    <a:lnTo>
                      <a:pt x="874" y="682"/>
                    </a:lnTo>
                    <a:lnTo>
                      <a:pt x="876" y="682"/>
                    </a:lnTo>
                    <a:lnTo>
                      <a:pt x="879" y="678"/>
                    </a:lnTo>
                    <a:lnTo>
                      <a:pt x="885" y="678"/>
                    </a:lnTo>
                    <a:lnTo>
                      <a:pt x="889" y="676"/>
                    </a:lnTo>
                    <a:lnTo>
                      <a:pt x="887" y="672"/>
                    </a:lnTo>
                    <a:lnTo>
                      <a:pt x="889" y="667"/>
                    </a:lnTo>
                    <a:lnTo>
                      <a:pt x="889" y="663"/>
                    </a:lnTo>
                    <a:lnTo>
                      <a:pt x="892" y="661"/>
                    </a:lnTo>
                    <a:lnTo>
                      <a:pt x="889" y="659"/>
                    </a:lnTo>
                    <a:lnTo>
                      <a:pt x="889" y="661"/>
                    </a:lnTo>
                    <a:lnTo>
                      <a:pt x="885" y="661"/>
                    </a:lnTo>
                    <a:lnTo>
                      <a:pt x="885" y="663"/>
                    </a:lnTo>
                    <a:lnTo>
                      <a:pt x="885" y="663"/>
                    </a:lnTo>
                    <a:lnTo>
                      <a:pt x="881" y="667"/>
                    </a:lnTo>
                    <a:lnTo>
                      <a:pt x="879" y="663"/>
                    </a:lnTo>
                    <a:lnTo>
                      <a:pt x="876" y="663"/>
                    </a:lnTo>
                    <a:lnTo>
                      <a:pt x="876" y="663"/>
                    </a:lnTo>
                    <a:lnTo>
                      <a:pt x="877" y="657"/>
                    </a:lnTo>
                    <a:lnTo>
                      <a:pt x="879" y="657"/>
                    </a:lnTo>
                    <a:lnTo>
                      <a:pt x="883" y="655"/>
                    </a:lnTo>
                    <a:lnTo>
                      <a:pt x="887" y="653"/>
                    </a:lnTo>
                    <a:lnTo>
                      <a:pt x="887" y="650"/>
                    </a:lnTo>
                    <a:lnTo>
                      <a:pt x="885" y="648"/>
                    </a:lnTo>
                    <a:lnTo>
                      <a:pt x="889" y="646"/>
                    </a:lnTo>
                    <a:lnTo>
                      <a:pt x="892" y="646"/>
                    </a:lnTo>
                    <a:lnTo>
                      <a:pt x="896" y="646"/>
                    </a:lnTo>
                    <a:lnTo>
                      <a:pt x="892" y="648"/>
                    </a:lnTo>
                    <a:lnTo>
                      <a:pt x="892" y="652"/>
                    </a:lnTo>
                    <a:lnTo>
                      <a:pt x="892" y="652"/>
                    </a:lnTo>
                    <a:lnTo>
                      <a:pt x="898" y="650"/>
                    </a:lnTo>
                    <a:lnTo>
                      <a:pt x="900" y="642"/>
                    </a:lnTo>
                    <a:lnTo>
                      <a:pt x="900" y="638"/>
                    </a:lnTo>
                    <a:lnTo>
                      <a:pt x="896" y="638"/>
                    </a:lnTo>
                    <a:lnTo>
                      <a:pt x="892" y="638"/>
                    </a:lnTo>
                    <a:lnTo>
                      <a:pt x="892" y="636"/>
                    </a:lnTo>
                    <a:lnTo>
                      <a:pt x="887" y="636"/>
                    </a:lnTo>
                    <a:lnTo>
                      <a:pt x="885" y="631"/>
                    </a:lnTo>
                    <a:lnTo>
                      <a:pt x="887" y="627"/>
                    </a:lnTo>
                    <a:lnTo>
                      <a:pt x="883" y="631"/>
                    </a:lnTo>
                    <a:lnTo>
                      <a:pt x="881" y="631"/>
                    </a:lnTo>
                    <a:lnTo>
                      <a:pt x="879" y="627"/>
                    </a:lnTo>
                    <a:lnTo>
                      <a:pt x="876" y="625"/>
                    </a:lnTo>
                    <a:lnTo>
                      <a:pt x="876" y="621"/>
                    </a:lnTo>
                    <a:lnTo>
                      <a:pt x="874" y="620"/>
                    </a:lnTo>
                    <a:lnTo>
                      <a:pt x="870" y="621"/>
                    </a:lnTo>
                    <a:lnTo>
                      <a:pt x="870" y="618"/>
                    </a:lnTo>
                    <a:lnTo>
                      <a:pt x="868" y="616"/>
                    </a:lnTo>
                    <a:lnTo>
                      <a:pt x="870" y="612"/>
                    </a:lnTo>
                    <a:lnTo>
                      <a:pt x="870" y="612"/>
                    </a:lnTo>
                    <a:lnTo>
                      <a:pt x="868" y="606"/>
                    </a:lnTo>
                    <a:lnTo>
                      <a:pt x="868" y="599"/>
                    </a:lnTo>
                    <a:lnTo>
                      <a:pt x="872" y="595"/>
                    </a:lnTo>
                    <a:lnTo>
                      <a:pt x="877" y="589"/>
                    </a:lnTo>
                    <a:lnTo>
                      <a:pt x="881" y="587"/>
                    </a:lnTo>
                    <a:lnTo>
                      <a:pt x="885" y="587"/>
                    </a:lnTo>
                    <a:lnTo>
                      <a:pt x="885" y="586"/>
                    </a:lnTo>
                    <a:lnTo>
                      <a:pt x="889" y="584"/>
                    </a:lnTo>
                    <a:lnTo>
                      <a:pt x="889" y="582"/>
                    </a:lnTo>
                    <a:lnTo>
                      <a:pt x="887" y="582"/>
                    </a:lnTo>
                    <a:lnTo>
                      <a:pt x="883" y="584"/>
                    </a:lnTo>
                    <a:lnTo>
                      <a:pt x="881" y="582"/>
                    </a:lnTo>
                    <a:lnTo>
                      <a:pt x="881" y="582"/>
                    </a:lnTo>
                    <a:lnTo>
                      <a:pt x="879" y="578"/>
                    </a:lnTo>
                    <a:lnTo>
                      <a:pt x="881" y="572"/>
                    </a:lnTo>
                    <a:lnTo>
                      <a:pt x="885" y="569"/>
                    </a:lnTo>
                    <a:lnTo>
                      <a:pt x="889" y="561"/>
                    </a:lnTo>
                    <a:lnTo>
                      <a:pt x="889" y="561"/>
                    </a:lnTo>
                    <a:lnTo>
                      <a:pt x="892" y="555"/>
                    </a:lnTo>
                    <a:lnTo>
                      <a:pt x="894" y="555"/>
                    </a:lnTo>
                    <a:lnTo>
                      <a:pt x="898" y="552"/>
                    </a:lnTo>
                    <a:lnTo>
                      <a:pt x="902" y="548"/>
                    </a:lnTo>
                    <a:lnTo>
                      <a:pt x="906" y="552"/>
                    </a:lnTo>
                    <a:lnTo>
                      <a:pt x="904" y="555"/>
                    </a:lnTo>
                    <a:lnTo>
                      <a:pt x="906" y="557"/>
                    </a:lnTo>
                    <a:lnTo>
                      <a:pt x="906" y="559"/>
                    </a:lnTo>
                    <a:lnTo>
                      <a:pt x="909" y="557"/>
                    </a:lnTo>
                    <a:lnTo>
                      <a:pt x="909" y="555"/>
                    </a:lnTo>
                    <a:lnTo>
                      <a:pt x="913" y="548"/>
                    </a:lnTo>
                    <a:lnTo>
                      <a:pt x="913" y="548"/>
                    </a:lnTo>
                    <a:lnTo>
                      <a:pt x="911" y="548"/>
                    </a:lnTo>
                    <a:lnTo>
                      <a:pt x="908" y="548"/>
                    </a:lnTo>
                    <a:lnTo>
                      <a:pt x="906" y="544"/>
                    </a:lnTo>
                    <a:lnTo>
                      <a:pt x="908" y="539"/>
                    </a:lnTo>
                    <a:lnTo>
                      <a:pt x="913" y="539"/>
                    </a:lnTo>
                    <a:lnTo>
                      <a:pt x="913" y="539"/>
                    </a:lnTo>
                    <a:lnTo>
                      <a:pt x="919" y="535"/>
                    </a:lnTo>
                    <a:lnTo>
                      <a:pt x="919" y="531"/>
                    </a:lnTo>
                    <a:lnTo>
                      <a:pt x="923" y="529"/>
                    </a:lnTo>
                    <a:lnTo>
                      <a:pt x="926" y="531"/>
                    </a:lnTo>
                    <a:lnTo>
                      <a:pt x="932" y="533"/>
                    </a:lnTo>
                    <a:lnTo>
                      <a:pt x="932" y="537"/>
                    </a:lnTo>
                    <a:lnTo>
                      <a:pt x="932" y="539"/>
                    </a:lnTo>
                    <a:lnTo>
                      <a:pt x="934" y="539"/>
                    </a:lnTo>
                    <a:lnTo>
                      <a:pt x="938" y="542"/>
                    </a:lnTo>
                    <a:lnTo>
                      <a:pt x="940" y="544"/>
                    </a:lnTo>
                    <a:lnTo>
                      <a:pt x="940" y="548"/>
                    </a:lnTo>
                    <a:lnTo>
                      <a:pt x="938" y="548"/>
                    </a:lnTo>
                    <a:lnTo>
                      <a:pt x="938" y="552"/>
                    </a:lnTo>
                    <a:lnTo>
                      <a:pt x="938" y="554"/>
                    </a:lnTo>
                    <a:lnTo>
                      <a:pt x="940" y="557"/>
                    </a:lnTo>
                    <a:lnTo>
                      <a:pt x="941" y="559"/>
                    </a:lnTo>
                    <a:lnTo>
                      <a:pt x="941" y="567"/>
                    </a:lnTo>
                    <a:lnTo>
                      <a:pt x="943" y="569"/>
                    </a:lnTo>
                    <a:lnTo>
                      <a:pt x="943" y="569"/>
                    </a:lnTo>
                    <a:lnTo>
                      <a:pt x="940" y="572"/>
                    </a:lnTo>
                    <a:lnTo>
                      <a:pt x="940" y="576"/>
                    </a:lnTo>
                    <a:lnTo>
                      <a:pt x="938" y="582"/>
                    </a:lnTo>
                    <a:lnTo>
                      <a:pt x="938" y="584"/>
                    </a:lnTo>
                    <a:lnTo>
                      <a:pt x="936" y="586"/>
                    </a:lnTo>
                    <a:lnTo>
                      <a:pt x="938" y="589"/>
                    </a:lnTo>
                    <a:lnTo>
                      <a:pt x="936" y="593"/>
                    </a:lnTo>
                    <a:lnTo>
                      <a:pt x="940" y="599"/>
                    </a:lnTo>
                    <a:lnTo>
                      <a:pt x="940" y="601"/>
                    </a:lnTo>
                    <a:lnTo>
                      <a:pt x="938" y="603"/>
                    </a:lnTo>
                    <a:lnTo>
                      <a:pt x="940" y="606"/>
                    </a:lnTo>
                    <a:lnTo>
                      <a:pt x="938" y="608"/>
                    </a:lnTo>
                    <a:lnTo>
                      <a:pt x="938" y="612"/>
                    </a:lnTo>
                    <a:lnTo>
                      <a:pt x="941" y="612"/>
                    </a:lnTo>
                    <a:lnTo>
                      <a:pt x="943" y="614"/>
                    </a:lnTo>
                    <a:lnTo>
                      <a:pt x="943" y="618"/>
                    </a:lnTo>
                    <a:lnTo>
                      <a:pt x="940" y="620"/>
                    </a:lnTo>
                    <a:lnTo>
                      <a:pt x="938" y="620"/>
                    </a:lnTo>
                    <a:lnTo>
                      <a:pt x="934" y="620"/>
                    </a:lnTo>
                    <a:lnTo>
                      <a:pt x="932" y="616"/>
                    </a:lnTo>
                    <a:lnTo>
                      <a:pt x="934" y="612"/>
                    </a:lnTo>
                    <a:lnTo>
                      <a:pt x="928" y="614"/>
                    </a:lnTo>
                    <a:lnTo>
                      <a:pt x="926" y="618"/>
                    </a:lnTo>
                    <a:lnTo>
                      <a:pt x="924" y="620"/>
                    </a:lnTo>
                    <a:lnTo>
                      <a:pt x="924" y="621"/>
                    </a:lnTo>
                    <a:lnTo>
                      <a:pt x="928" y="620"/>
                    </a:lnTo>
                    <a:lnTo>
                      <a:pt x="932" y="621"/>
                    </a:lnTo>
                    <a:lnTo>
                      <a:pt x="930" y="625"/>
                    </a:lnTo>
                    <a:lnTo>
                      <a:pt x="923" y="631"/>
                    </a:lnTo>
                    <a:lnTo>
                      <a:pt x="917" y="633"/>
                    </a:lnTo>
                    <a:lnTo>
                      <a:pt x="917" y="633"/>
                    </a:lnTo>
                    <a:lnTo>
                      <a:pt x="917" y="633"/>
                    </a:lnTo>
                    <a:lnTo>
                      <a:pt x="913" y="636"/>
                    </a:lnTo>
                    <a:lnTo>
                      <a:pt x="917" y="640"/>
                    </a:lnTo>
                    <a:lnTo>
                      <a:pt x="919" y="638"/>
                    </a:lnTo>
                    <a:lnTo>
                      <a:pt x="923" y="640"/>
                    </a:lnTo>
                    <a:lnTo>
                      <a:pt x="923" y="642"/>
                    </a:lnTo>
                    <a:lnTo>
                      <a:pt x="926" y="646"/>
                    </a:lnTo>
                    <a:lnTo>
                      <a:pt x="930" y="646"/>
                    </a:lnTo>
                    <a:lnTo>
                      <a:pt x="932" y="642"/>
                    </a:lnTo>
                    <a:lnTo>
                      <a:pt x="934" y="642"/>
                    </a:lnTo>
                    <a:lnTo>
                      <a:pt x="936" y="642"/>
                    </a:lnTo>
                    <a:lnTo>
                      <a:pt x="934" y="646"/>
                    </a:lnTo>
                    <a:lnTo>
                      <a:pt x="934" y="646"/>
                    </a:lnTo>
                    <a:lnTo>
                      <a:pt x="938" y="648"/>
                    </a:lnTo>
                    <a:lnTo>
                      <a:pt x="940" y="650"/>
                    </a:lnTo>
                    <a:lnTo>
                      <a:pt x="943" y="646"/>
                    </a:lnTo>
                    <a:lnTo>
                      <a:pt x="943" y="648"/>
                    </a:lnTo>
                    <a:lnTo>
                      <a:pt x="943" y="652"/>
                    </a:lnTo>
                    <a:lnTo>
                      <a:pt x="940" y="652"/>
                    </a:lnTo>
                    <a:lnTo>
                      <a:pt x="936" y="655"/>
                    </a:lnTo>
                    <a:lnTo>
                      <a:pt x="934" y="657"/>
                    </a:lnTo>
                    <a:lnTo>
                      <a:pt x="934" y="652"/>
                    </a:lnTo>
                    <a:lnTo>
                      <a:pt x="932" y="653"/>
                    </a:lnTo>
                    <a:lnTo>
                      <a:pt x="930" y="652"/>
                    </a:lnTo>
                    <a:lnTo>
                      <a:pt x="930" y="653"/>
                    </a:lnTo>
                    <a:lnTo>
                      <a:pt x="932" y="657"/>
                    </a:lnTo>
                    <a:lnTo>
                      <a:pt x="932" y="661"/>
                    </a:lnTo>
                    <a:lnTo>
                      <a:pt x="936" y="667"/>
                    </a:lnTo>
                    <a:lnTo>
                      <a:pt x="936" y="670"/>
                    </a:lnTo>
                    <a:lnTo>
                      <a:pt x="936" y="670"/>
                    </a:lnTo>
                    <a:lnTo>
                      <a:pt x="936" y="676"/>
                    </a:lnTo>
                    <a:lnTo>
                      <a:pt x="932" y="676"/>
                    </a:lnTo>
                    <a:lnTo>
                      <a:pt x="932" y="680"/>
                    </a:lnTo>
                    <a:lnTo>
                      <a:pt x="932" y="684"/>
                    </a:lnTo>
                    <a:lnTo>
                      <a:pt x="928" y="687"/>
                    </a:lnTo>
                    <a:lnTo>
                      <a:pt x="928" y="687"/>
                    </a:lnTo>
                    <a:lnTo>
                      <a:pt x="930" y="695"/>
                    </a:lnTo>
                    <a:lnTo>
                      <a:pt x="926" y="695"/>
                    </a:lnTo>
                    <a:lnTo>
                      <a:pt x="928" y="697"/>
                    </a:lnTo>
                    <a:lnTo>
                      <a:pt x="930" y="697"/>
                    </a:lnTo>
                    <a:lnTo>
                      <a:pt x="932" y="695"/>
                    </a:lnTo>
                    <a:lnTo>
                      <a:pt x="934" y="691"/>
                    </a:lnTo>
                    <a:lnTo>
                      <a:pt x="940" y="687"/>
                    </a:lnTo>
                    <a:lnTo>
                      <a:pt x="940" y="687"/>
                    </a:lnTo>
                    <a:lnTo>
                      <a:pt x="940" y="685"/>
                    </a:lnTo>
                    <a:lnTo>
                      <a:pt x="941" y="684"/>
                    </a:lnTo>
                    <a:lnTo>
                      <a:pt x="943" y="685"/>
                    </a:lnTo>
                    <a:lnTo>
                      <a:pt x="943" y="684"/>
                    </a:lnTo>
                    <a:lnTo>
                      <a:pt x="943" y="676"/>
                    </a:lnTo>
                    <a:lnTo>
                      <a:pt x="947" y="672"/>
                    </a:lnTo>
                    <a:lnTo>
                      <a:pt x="949" y="670"/>
                    </a:lnTo>
                    <a:lnTo>
                      <a:pt x="955" y="663"/>
                    </a:lnTo>
                    <a:lnTo>
                      <a:pt x="956" y="659"/>
                    </a:lnTo>
                    <a:lnTo>
                      <a:pt x="956" y="659"/>
                    </a:lnTo>
                    <a:lnTo>
                      <a:pt x="958" y="661"/>
                    </a:lnTo>
                    <a:lnTo>
                      <a:pt x="960" y="663"/>
                    </a:lnTo>
                    <a:lnTo>
                      <a:pt x="962" y="670"/>
                    </a:lnTo>
                    <a:lnTo>
                      <a:pt x="964" y="676"/>
                    </a:lnTo>
                    <a:lnTo>
                      <a:pt x="968" y="678"/>
                    </a:lnTo>
                    <a:lnTo>
                      <a:pt x="968" y="684"/>
                    </a:lnTo>
                    <a:lnTo>
                      <a:pt x="966" y="687"/>
                    </a:lnTo>
                    <a:lnTo>
                      <a:pt x="968" y="695"/>
                    </a:lnTo>
                    <a:lnTo>
                      <a:pt x="964" y="697"/>
                    </a:lnTo>
                    <a:lnTo>
                      <a:pt x="962" y="701"/>
                    </a:lnTo>
                    <a:lnTo>
                      <a:pt x="960" y="697"/>
                    </a:lnTo>
                    <a:lnTo>
                      <a:pt x="956" y="701"/>
                    </a:lnTo>
                    <a:lnTo>
                      <a:pt x="955" y="702"/>
                    </a:lnTo>
                    <a:lnTo>
                      <a:pt x="956" y="706"/>
                    </a:lnTo>
                    <a:lnTo>
                      <a:pt x="953" y="710"/>
                    </a:lnTo>
                    <a:lnTo>
                      <a:pt x="953" y="714"/>
                    </a:lnTo>
                    <a:lnTo>
                      <a:pt x="953" y="716"/>
                    </a:lnTo>
                    <a:lnTo>
                      <a:pt x="953" y="721"/>
                    </a:lnTo>
                    <a:lnTo>
                      <a:pt x="956" y="734"/>
                    </a:lnTo>
                    <a:lnTo>
                      <a:pt x="960" y="740"/>
                    </a:lnTo>
                    <a:lnTo>
                      <a:pt x="958" y="744"/>
                    </a:lnTo>
                    <a:lnTo>
                      <a:pt x="960" y="748"/>
                    </a:lnTo>
                    <a:lnTo>
                      <a:pt x="964" y="748"/>
                    </a:lnTo>
                    <a:lnTo>
                      <a:pt x="964" y="742"/>
                    </a:lnTo>
                    <a:lnTo>
                      <a:pt x="962" y="742"/>
                    </a:lnTo>
                    <a:lnTo>
                      <a:pt x="964" y="738"/>
                    </a:lnTo>
                    <a:lnTo>
                      <a:pt x="968" y="738"/>
                    </a:lnTo>
                    <a:lnTo>
                      <a:pt x="968" y="742"/>
                    </a:lnTo>
                    <a:lnTo>
                      <a:pt x="972" y="742"/>
                    </a:lnTo>
                    <a:lnTo>
                      <a:pt x="972" y="738"/>
                    </a:lnTo>
                    <a:lnTo>
                      <a:pt x="973" y="734"/>
                    </a:lnTo>
                    <a:lnTo>
                      <a:pt x="973" y="731"/>
                    </a:lnTo>
                    <a:lnTo>
                      <a:pt x="977" y="727"/>
                    </a:lnTo>
                    <a:lnTo>
                      <a:pt x="981" y="721"/>
                    </a:lnTo>
                    <a:lnTo>
                      <a:pt x="981" y="721"/>
                    </a:lnTo>
                    <a:lnTo>
                      <a:pt x="985" y="719"/>
                    </a:lnTo>
                    <a:lnTo>
                      <a:pt x="990" y="716"/>
                    </a:lnTo>
                    <a:lnTo>
                      <a:pt x="996" y="708"/>
                    </a:lnTo>
                    <a:lnTo>
                      <a:pt x="998" y="701"/>
                    </a:lnTo>
                    <a:lnTo>
                      <a:pt x="1002" y="693"/>
                    </a:lnTo>
                    <a:lnTo>
                      <a:pt x="1005" y="691"/>
                    </a:lnTo>
                    <a:lnTo>
                      <a:pt x="1007" y="695"/>
                    </a:lnTo>
                    <a:lnTo>
                      <a:pt x="1009" y="693"/>
                    </a:lnTo>
                    <a:lnTo>
                      <a:pt x="1011" y="695"/>
                    </a:lnTo>
                    <a:lnTo>
                      <a:pt x="1015" y="693"/>
                    </a:lnTo>
                    <a:lnTo>
                      <a:pt x="1015" y="691"/>
                    </a:lnTo>
                    <a:lnTo>
                      <a:pt x="1013" y="691"/>
                    </a:lnTo>
                    <a:lnTo>
                      <a:pt x="1009" y="687"/>
                    </a:lnTo>
                    <a:lnTo>
                      <a:pt x="1011" y="685"/>
                    </a:lnTo>
                    <a:lnTo>
                      <a:pt x="1015" y="685"/>
                    </a:lnTo>
                    <a:lnTo>
                      <a:pt x="1019" y="687"/>
                    </a:lnTo>
                    <a:lnTo>
                      <a:pt x="1019" y="685"/>
                    </a:lnTo>
                    <a:lnTo>
                      <a:pt x="1022" y="685"/>
                    </a:lnTo>
                    <a:lnTo>
                      <a:pt x="1024" y="685"/>
                    </a:lnTo>
                    <a:lnTo>
                      <a:pt x="1022" y="682"/>
                    </a:lnTo>
                    <a:lnTo>
                      <a:pt x="1020" y="682"/>
                    </a:lnTo>
                    <a:lnTo>
                      <a:pt x="1019" y="678"/>
                    </a:lnTo>
                    <a:lnTo>
                      <a:pt x="1017" y="678"/>
                    </a:lnTo>
                    <a:lnTo>
                      <a:pt x="1017" y="672"/>
                    </a:lnTo>
                    <a:lnTo>
                      <a:pt x="1019" y="670"/>
                    </a:lnTo>
                    <a:lnTo>
                      <a:pt x="1019" y="667"/>
                    </a:lnTo>
                    <a:lnTo>
                      <a:pt x="1022" y="667"/>
                    </a:lnTo>
                    <a:lnTo>
                      <a:pt x="1020" y="663"/>
                    </a:lnTo>
                    <a:lnTo>
                      <a:pt x="1020" y="661"/>
                    </a:lnTo>
                    <a:lnTo>
                      <a:pt x="1022" y="659"/>
                    </a:lnTo>
                    <a:lnTo>
                      <a:pt x="1022" y="657"/>
                    </a:lnTo>
                    <a:lnTo>
                      <a:pt x="1022" y="655"/>
                    </a:lnTo>
                    <a:lnTo>
                      <a:pt x="1026" y="655"/>
                    </a:lnTo>
                    <a:lnTo>
                      <a:pt x="1026" y="652"/>
                    </a:lnTo>
                    <a:lnTo>
                      <a:pt x="1024" y="652"/>
                    </a:lnTo>
                    <a:lnTo>
                      <a:pt x="1022" y="648"/>
                    </a:lnTo>
                    <a:lnTo>
                      <a:pt x="1026" y="650"/>
                    </a:lnTo>
                    <a:lnTo>
                      <a:pt x="1026" y="652"/>
                    </a:lnTo>
                    <a:lnTo>
                      <a:pt x="1030" y="652"/>
                    </a:lnTo>
                    <a:lnTo>
                      <a:pt x="1032" y="652"/>
                    </a:lnTo>
                    <a:lnTo>
                      <a:pt x="1037" y="652"/>
                    </a:lnTo>
                    <a:lnTo>
                      <a:pt x="1043" y="655"/>
                    </a:lnTo>
                    <a:lnTo>
                      <a:pt x="1045" y="657"/>
                    </a:lnTo>
                    <a:lnTo>
                      <a:pt x="1045" y="659"/>
                    </a:lnTo>
                    <a:lnTo>
                      <a:pt x="1051" y="663"/>
                    </a:lnTo>
                    <a:lnTo>
                      <a:pt x="1056" y="661"/>
                    </a:lnTo>
                    <a:lnTo>
                      <a:pt x="1060" y="663"/>
                    </a:lnTo>
                    <a:lnTo>
                      <a:pt x="1064" y="663"/>
                    </a:lnTo>
                    <a:lnTo>
                      <a:pt x="1064" y="667"/>
                    </a:lnTo>
                    <a:lnTo>
                      <a:pt x="1062" y="667"/>
                    </a:lnTo>
                    <a:lnTo>
                      <a:pt x="1064" y="670"/>
                    </a:lnTo>
                    <a:lnTo>
                      <a:pt x="1062" y="670"/>
                    </a:lnTo>
                    <a:lnTo>
                      <a:pt x="1060" y="670"/>
                    </a:lnTo>
                    <a:lnTo>
                      <a:pt x="1056" y="670"/>
                    </a:lnTo>
                    <a:lnTo>
                      <a:pt x="1056" y="670"/>
                    </a:lnTo>
                    <a:lnTo>
                      <a:pt x="1064" y="676"/>
                    </a:lnTo>
                    <a:lnTo>
                      <a:pt x="1066" y="680"/>
                    </a:lnTo>
                    <a:lnTo>
                      <a:pt x="1062" y="682"/>
                    </a:lnTo>
                    <a:lnTo>
                      <a:pt x="1064" y="682"/>
                    </a:lnTo>
                    <a:lnTo>
                      <a:pt x="1068" y="682"/>
                    </a:lnTo>
                    <a:lnTo>
                      <a:pt x="1073" y="682"/>
                    </a:lnTo>
                    <a:lnTo>
                      <a:pt x="1073" y="685"/>
                    </a:lnTo>
                    <a:lnTo>
                      <a:pt x="1077" y="685"/>
                    </a:lnTo>
                    <a:lnTo>
                      <a:pt x="1077" y="687"/>
                    </a:lnTo>
                    <a:lnTo>
                      <a:pt x="1075" y="691"/>
                    </a:lnTo>
                    <a:lnTo>
                      <a:pt x="1068" y="695"/>
                    </a:lnTo>
                    <a:lnTo>
                      <a:pt x="1064" y="697"/>
                    </a:lnTo>
                    <a:lnTo>
                      <a:pt x="1062" y="697"/>
                    </a:lnTo>
                    <a:lnTo>
                      <a:pt x="1068" y="697"/>
                    </a:lnTo>
                    <a:lnTo>
                      <a:pt x="1069" y="697"/>
                    </a:lnTo>
                    <a:lnTo>
                      <a:pt x="1069" y="701"/>
                    </a:lnTo>
                    <a:lnTo>
                      <a:pt x="1071" y="701"/>
                    </a:lnTo>
                    <a:lnTo>
                      <a:pt x="1073" y="701"/>
                    </a:lnTo>
                    <a:lnTo>
                      <a:pt x="1069" y="704"/>
                    </a:lnTo>
                    <a:lnTo>
                      <a:pt x="1071" y="706"/>
                    </a:lnTo>
                    <a:lnTo>
                      <a:pt x="1068" y="710"/>
                    </a:lnTo>
                    <a:lnTo>
                      <a:pt x="1062" y="712"/>
                    </a:lnTo>
                    <a:lnTo>
                      <a:pt x="1060" y="710"/>
                    </a:lnTo>
                    <a:lnTo>
                      <a:pt x="1056" y="714"/>
                    </a:lnTo>
                    <a:lnTo>
                      <a:pt x="1056" y="712"/>
                    </a:lnTo>
                    <a:lnTo>
                      <a:pt x="1051" y="708"/>
                    </a:lnTo>
                    <a:lnTo>
                      <a:pt x="1049" y="708"/>
                    </a:lnTo>
                    <a:lnTo>
                      <a:pt x="1047" y="706"/>
                    </a:lnTo>
                    <a:lnTo>
                      <a:pt x="1045" y="706"/>
                    </a:lnTo>
                    <a:lnTo>
                      <a:pt x="1045" y="710"/>
                    </a:lnTo>
                    <a:lnTo>
                      <a:pt x="1043" y="712"/>
                    </a:lnTo>
                    <a:lnTo>
                      <a:pt x="1047" y="712"/>
                    </a:lnTo>
                    <a:lnTo>
                      <a:pt x="1049" y="714"/>
                    </a:lnTo>
                    <a:lnTo>
                      <a:pt x="1049" y="716"/>
                    </a:lnTo>
                    <a:lnTo>
                      <a:pt x="1045" y="719"/>
                    </a:lnTo>
                    <a:lnTo>
                      <a:pt x="1049" y="719"/>
                    </a:lnTo>
                    <a:lnTo>
                      <a:pt x="1047" y="721"/>
                    </a:lnTo>
                    <a:lnTo>
                      <a:pt x="1047" y="725"/>
                    </a:lnTo>
                    <a:lnTo>
                      <a:pt x="1049" y="725"/>
                    </a:lnTo>
                    <a:lnTo>
                      <a:pt x="1051" y="721"/>
                    </a:lnTo>
                    <a:lnTo>
                      <a:pt x="1051" y="721"/>
                    </a:lnTo>
                    <a:lnTo>
                      <a:pt x="1051" y="725"/>
                    </a:lnTo>
                    <a:lnTo>
                      <a:pt x="1047" y="727"/>
                    </a:lnTo>
                    <a:lnTo>
                      <a:pt x="1045" y="731"/>
                    </a:lnTo>
                    <a:lnTo>
                      <a:pt x="1045" y="734"/>
                    </a:lnTo>
                    <a:lnTo>
                      <a:pt x="1051" y="736"/>
                    </a:lnTo>
                    <a:lnTo>
                      <a:pt x="1049" y="740"/>
                    </a:lnTo>
                    <a:lnTo>
                      <a:pt x="1051" y="748"/>
                    </a:lnTo>
                    <a:lnTo>
                      <a:pt x="1051" y="751"/>
                    </a:lnTo>
                    <a:lnTo>
                      <a:pt x="1051" y="751"/>
                    </a:lnTo>
                    <a:lnTo>
                      <a:pt x="1051" y="755"/>
                    </a:lnTo>
                    <a:lnTo>
                      <a:pt x="1045" y="761"/>
                    </a:lnTo>
                    <a:lnTo>
                      <a:pt x="1047" y="765"/>
                    </a:lnTo>
                    <a:lnTo>
                      <a:pt x="1045" y="765"/>
                    </a:lnTo>
                    <a:lnTo>
                      <a:pt x="1041" y="765"/>
                    </a:lnTo>
                    <a:lnTo>
                      <a:pt x="1036" y="765"/>
                    </a:lnTo>
                    <a:lnTo>
                      <a:pt x="1032" y="766"/>
                    </a:lnTo>
                    <a:lnTo>
                      <a:pt x="1032" y="770"/>
                    </a:lnTo>
                    <a:lnTo>
                      <a:pt x="1030" y="772"/>
                    </a:lnTo>
                    <a:lnTo>
                      <a:pt x="1026" y="776"/>
                    </a:lnTo>
                    <a:lnTo>
                      <a:pt x="1024" y="776"/>
                    </a:lnTo>
                    <a:lnTo>
                      <a:pt x="1019" y="781"/>
                    </a:lnTo>
                    <a:lnTo>
                      <a:pt x="1017" y="781"/>
                    </a:lnTo>
                    <a:lnTo>
                      <a:pt x="1013" y="781"/>
                    </a:lnTo>
                    <a:lnTo>
                      <a:pt x="1011" y="785"/>
                    </a:lnTo>
                    <a:lnTo>
                      <a:pt x="1002" y="785"/>
                    </a:lnTo>
                    <a:lnTo>
                      <a:pt x="1002" y="785"/>
                    </a:lnTo>
                    <a:lnTo>
                      <a:pt x="1002" y="781"/>
                    </a:lnTo>
                    <a:lnTo>
                      <a:pt x="1002" y="778"/>
                    </a:lnTo>
                    <a:lnTo>
                      <a:pt x="998" y="776"/>
                    </a:lnTo>
                    <a:lnTo>
                      <a:pt x="998" y="774"/>
                    </a:lnTo>
                    <a:lnTo>
                      <a:pt x="1002" y="772"/>
                    </a:lnTo>
                    <a:lnTo>
                      <a:pt x="1002" y="770"/>
                    </a:lnTo>
                    <a:lnTo>
                      <a:pt x="1005" y="765"/>
                    </a:lnTo>
                    <a:lnTo>
                      <a:pt x="1002" y="768"/>
                    </a:lnTo>
                    <a:lnTo>
                      <a:pt x="998" y="768"/>
                    </a:lnTo>
                    <a:lnTo>
                      <a:pt x="998" y="761"/>
                    </a:lnTo>
                    <a:lnTo>
                      <a:pt x="998" y="761"/>
                    </a:lnTo>
                    <a:lnTo>
                      <a:pt x="996" y="755"/>
                    </a:lnTo>
                    <a:lnTo>
                      <a:pt x="992" y="761"/>
                    </a:lnTo>
                    <a:lnTo>
                      <a:pt x="990" y="757"/>
                    </a:lnTo>
                    <a:lnTo>
                      <a:pt x="987" y="757"/>
                    </a:lnTo>
                    <a:lnTo>
                      <a:pt x="983" y="765"/>
                    </a:lnTo>
                    <a:lnTo>
                      <a:pt x="985" y="765"/>
                    </a:lnTo>
                    <a:lnTo>
                      <a:pt x="990" y="761"/>
                    </a:lnTo>
                    <a:lnTo>
                      <a:pt x="992" y="761"/>
                    </a:lnTo>
                    <a:lnTo>
                      <a:pt x="992" y="765"/>
                    </a:lnTo>
                    <a:lnTo>
                      <a:pt x="996" y="765"/>
                    </a:lnTo>
                    <a:lnTo>
                      <a:pt x="998" y="772"/>
                    </a:lnTo>
                    <a:lnTo>
                      <a:pt x="996" y="778"/>
                    </a:lnTo>
                    <a:lnTo>
                      <a:pt x="998" y="778"/>
                    </a:lnTo>
                    <a:lnTo>
                      <a:pt x="998" y="781"/>
                    </a:lnTo>
                    <a:lnTo>
                      <a:pt x="998" y="785"/>
                    </a:lnTo>
                    <a:lnTo>
                      <a:pt x="998" y="785"/>
                    </a:lnTo>
                    <a:lnTo>
                      <a:pt x="998" y="789"/>
                    </a:lnTo>
                    <a:lnTo>
                      <a:pt x="996" y="789"/>
                    </a:lnTo>
                    <a:lnTo>
                      <a:pt x="990" y="785"/>
                    </a:lnTo>
                    <a:lnTo>
                      <a:pt x="990" y="781"/>
                    </a:lnTo>
                    <a:lnTo>
                      <a:pt x="987" y="781"/>
                    </a:lnTo>
                    <a:lnTo>
                      <a:pt x="987" y="778"/>
                    </a:lnTo>
                    <a:lnTo>
                      <a:pt x="985" y="781"/>
                    </a:lnTo>
                    <a:lnTo>
                      <a:pt x="988" y="785"/>
                    </a:lnTo>
                    <a:lnTo>
                      <a:pt x="987" y="785"/>
                    </a:lnTo>
                    <a:lnTo>
                      <a:pt x="983" y="785"/>
                    </a:lnTo>
                    <a:lnTo>
                      <a:pt x="981" y="785"/>
                    </a:lnTo>
                    <a:lnTo>
                      <a:pt x="981" y="781"/>
                    </a:lnTo>
                    <a:lnTo>
                      <a:pt x="975" y="781"/>
                    </a:lnTo>
                    <a:lnTo>
                      <a:pt x="975" y="781"/>
                    </a:lnTo>
                    <a:lnTo>
                      <a:pt x="977" y="776"/>
                    </a:lnTo>
                    <a:lnTo>
                      <a:pt x="981" y="774"/>
                    </a:lnTo>
                    <a:lnTo>
                      <a:pt x="977" y="774"/>
                    </a:lnTo>
                    <a:lnTo>
                      <a:pt x="977" y="772"/>
                    </a:lnTo>
                    <a:lnTo>
                      <a:pt x="972" y="774"/>
                    </a:lnTo>
                    <a:lnTo>
                      <a:pt x="968" y="774"/>
                    </a:lnTo>
                    <a:lnTo>
                      <a:pt x="964" y="772"/>
                    </a:lnTo>
                    <a:lnTo>
                      <a:pt x="962" y="772"/>
                    </a:lnTo>
                    <a:lnTo>
                      <a:pt x="956" y="770"/>
                    </a:lnTo>
                    <a:lnTo>
                      <a:pt x="956" y="772"/>
                    </a:lnTo>
                    <a:lnTo>
                      <a:pt x="958" y="774"/>
                    </a:lnTo>
                    <a:lnTo>
                      <a:pt x="956" y="776"/>
                    </a:lnTo>
                    <a:lnTo>
                      <a:pt x="956" y="780"/>
                    </a:lnTo>
                    <a:lnTo>
                      <a:pt x="958" y="781"/>
                    </a:lnTo>
                    <a:lnTo>
                      <a:pt x="962" y="781"/>
                    </a:lnTo>
                    <a:lnTo>
                      <a:pt x="966" y="785"/>
                    </a:lnTo>
                    <a:lnTo>
                      <a:pt x="962" y="791"/>
                    </a:lnTo>
                    <a:lnTo>
                      <a:pt x="960" y="791"/>
                    </a:lnTo>
                    <a:lnTo>
                      <a:pt x="951" y="798"/>
                    </a:lnTo>
                    <a:lnTo>
                      <a:pt x="947" y="804"/>
                    </a:lnTo>
                    <a:lnTo>
                      <a:pt x="943" y="810"/>
                    </a:lnTo>
                    <a:lnTo>
                      <a:pt x="941" y="808"/>
                    </a:lnTo>
                    <a:lnTo>
                      <a:pt x="938" y="810"/>
                    </a:lnTo>
                    <a:lnTo>
                      <a:pt x="936" y="815"/>
                    </a:lnTo>
                    <a:lnTo>
                      <a:pt x="932" y="815"/>
                    </a:lnTo>
                    <a:lnTo>
                      <a:pt x="923" y="814"/>
                    </a:lnTo>
                    <a:lnTo>
                      <a:pt x="917" y="810"/>
                    </a:lnTo>
                    <a:lnTo>
                      <a:pt x="917" y="806"/>
                    </a:lnTo>
                    <a:lnTo>
                      <a:pt x="911" y="802"/>
                    </a:lnTo>
                    <a:lnTo>
                      <a:pt x="911" y="800"/>
                    </a:lnTo>
                    <a:lnTo>
                      <a:pt x="913" y="800"/>
                    </a:lnTo>
                    <a:lnTo>
                      <a:pt x="913" y="798"/>
                    </a:lnTo>
                    <a:lnTo>
                      <a:pt x="913" y="797"/>
                    </a:lnTo>
                    <a:lnTo>
                      <a:pt x="909" y="797"/>
                    </a:lnTo>
                    <a:lnTo>
                      <a:pt x="906" y="789"/>
                    </a:lnTo>
                    <a:lnTo>
                      <a:pt x="900" y="785"/>
                    </a:lnTo>
                    <a:lnTo>
                      <a:pt x="892" y="785"/>
                    </a:lnTo>
                    <a:lnTo>
                      <a:pt x="889" y="781"/>
                    </a:lnTo>
                    <a:lnTo>
                      <a:pt x="879" y="781"/>
                    </a:lnTo>
                    <a:lnTo>
                      <a:pt x="876" y="781"/>
                    </a:lnTo>
                    <a:lnTo>
                      <a:pt x="876" y="781"/>
                    </a:lnTo>
                    <a:lnTo>
                      <a:pt x="879" y="785"/>
                    </a:lnTo>
                    <a:lnTo>
                      <a:pt x="879" y="785"/>
                    </a:lnTo>
                    <a:lnTo>
                      <a:pt x="883" y="785"/>
                    </a:lnTo>
                    <a:lnTo>
                      <a:pt x="889" y="785"/>
                    </a:lnTo>
                    <a:lnTo>
                      <a:pt x="898" y="785"/>
                    </a:lnTo>
                    <a:lnTo>
                      <a:pt x="900" y="789"/>
                    </a:lnTo>
                    <a:lnTo>
                      <a:pt x="898" y="789"/>
                    </a:lnTo>
                    <a:lnTo>
                      <a:pt x="898" y="789"/>
                    </a:lnTo>
                    <a:lnTo>
                      <a:pt x="896" y="791"/>
                    </a:lnTo>
                    <a:lnTo>
                      <a:pt x="898" y="795"/>
                    </a:lnTo>
                    <a:lnTo>
                      <a:pt x="898" y="798"/>
                    </a:lnTo>
                    <a:lnTo>
                      <a:pt x="900" y="798"/>
                    </a:lnTo>
                    <a:lnTo>
                      <a:pt x="904" y="808"/>
                    </a:lnTo>
                    <a:lnTo>
                      <a:pt x="906" y="814"/>
                    </a:lnTo>
                    <a:lnTo>
                      <a:pt x="913" y="815"/>
                    </a:lnTo>
                    <a:lnTo>
                      <a:pt x="919" y="815"/>
                    </a:lnTo>
                    <a:lnTo>
                      <a:pt x="934" y="819"/>
                    </a:lnTo>
                    <a:lnTo>
                      <a:pt x="934" y="823"/>
                    </a:lnTo>
                    <a:lnTo>
                      <a:pt x="932" y="825"/>
                    </a:lnTo>
                    <a:lnTo>
                      <a:pt x="928" y="829"/>
                    </a:lnTo>
                    <a:lnTo>
                      <a:pt x="924" y="830"/>
                    </a:lnTo>
                    <a:lnTo>
                      <a:pt x="919" y="838"/>
                    </a:lnTo>
                    <a:lnTo>
                      <a:pt x="919" y="836"/>
                    </a:lnTo>
                    <a:lnTo>
                      <a:pt x="917" y="836"/>
                    </a:lnTo>
                    <a:lnTo>
                      <a:pt x="917" y="840"/>
                    </a:lnTo>
                    <a:lnTo>
                      <a:pt x="906" y="851"/>
                    </a:lnTo>
                    <a:lnTo>
                      <a:pt x="900" y="853"/>
                    </a:lnTo>
                    <a:lnTo>
                      <a:pt x="896" y="859"/>
                    </a:lnTo>
                    <a:lnTo>
                      <a:pt x="892" y="859"/>
                    </a:lnTo>
                    <a:lnTo>
                      <a:pt x="892" y="859"/>
                    </a:lnTo>
                    <a:lnTo>
                      <a:pt x="889" y="859"/>
                    </a:lnTo>
                    <a:lnTo>
                      <a:pt x="889" y="861"/>
                    </a:lnTo>
                    <a:lnTo>
                      <a:pt x="885" y="855"/>
                    </a:lnTo>
                    <a:lnTo>
                      <a:pt x="883" y="853"/>
                    </a:lnTo>
                    <a:lnTo>
                      <a:pt x="879" y="857"/>
                    </a:lnTo>
                    <a:lnTo>
                      <a:pt x="879" y="853"/>
                    </a:lnTo>
                    <a:lnTo>
                      <a:pt x="877" y="853"/>
                    </a:lnTo>
                    <a:lnTo>
                      <a:pt x="879" y="849"/>
                    </a:lnTo>
                    <a:lnTo>
                      <a:pt x="879" y="849"/>
                    </a:lnTo>
                    <a:lnTo>
                      <a:pt x="877" y="846"/>
                    </a:lnTo>
                    <a:lnTo>
                      <a:pt x="874" y="849"/>
                    </a:lnTo>
                    <a:lnTo>
                      <a:pt x="872" y="855"/>
                    </a:lnTo>
                    <a:lnTo>
                      <a:pt x="872" y="851"/>
                    </a:lnTo>
                    <a:lnTo>
                      <a:pt x="868" y="846"/>
                    </a:lnTo>
                    <a:lnTo>
                      <a:pt x="868" y="851"/>
                    </a:lnTo>
                    <a:lnTo>
                      <a:pt x="870" y="853"/>
                    </a:lnTo>
                    <a:lnTo>
                      <a:pt x="868" y="861"/>
                    </a:lnTo>
                    <a:lnTo>
                      <a:pt x="864" y="868"/>
                    </a:lnTo>
                    <a:lnTo>
                      <a:pt x="864" y="866"/>
                    </a:lnTo>
                    <a:lnTo>
                      <a:pt x="862" y="864"/>
                    </a:lnTo>
                    <a:lnTo>
                      <a:pt x="859" y="861"/>
                    </a:lnTo>
                    <a:lnTo>
                      <a:pt x="859" y="864"/>
                    </a:lnTo>
                    <a:lnTo>
                      <a:pt x="859" y="866"/>
                    </a:lnTo>
                    <a:lnTo>
                      <a:pt x="855" y="868"/>
                    </a:lnTo>
                    <a:lnTo>
                      <a:pt x="855" y="870"/>
                    </a:lnTo>
                    <a:lnTo>
                      <a:pt x="855" y="870"/>
                    </a:lnTo>
                    <a:lnTo>
                      <a:pt x="851" y="870"/>
                    </a:lnTo>
                    <a:lnTo>
                      <a:pt x="851" y="866"/>
                    </a:lnTo>
                    <a:lnTo>
                      <a:pt x="847" y="864"/>
                    </a:lnTo>
                    <a:lnTo>
                      <a:pt x="844" y="859"/>
                    </a:lnTo>
                    <a:lnTo>
                      <a:pt x="836" y="857"/>
                    </a:lnTo>
                    <a:lnTo>
                      <a:pt x="830" y="851"/>
                    </a:lnTo>
                    <a:lnTo>
                      <a:pt x="828" y="846"/>
                    </a:lnTo>
                    <a:lnTo>
                      <a:pt x="825" y="846"/>
                    </a:lnTo>
                    <a:lnTo>
                      <a:pt x="819" y="844"/>
                    </a:lnTo>
                    <a:lnTo>
                      <a:pt x="817" y="840"/>
                    </a:lnTo>
                    <a:lnTo>
                      <a:pt x="817" y="846"/>
                    </a:lnTo>
                    <a:lnTo>
                      <a:pt x="813" y="846"/>
                    </a:lnTo>
                    <a:lnTo>
                      <a:pt x="815" y="849"/>
                    </a:lnTo>
                    <a:lnTo>
                      <a:pt x="819" y="851"/>
                    </a:lnTo>
                    <a:lnTo>
                      <a:pt x="821" y="849"/>
                    </a:lnTo>
                    <a:lnTo>
                      <a:pt x="819" y="849"/>
                    </a:lnTo>
                    <a:lnTo>
                      <a:pt x="819" y="846"/>
                    </a:lnTo>
                    <a:lnTo>
                      <a:pt x="821" y="846"/>
                    </a:lnTo>
                    <a:lnTo>
                      <a:pt x="828" y="853"/>
                    </a:lnTo>
                    <a:lnTo>
                      <a:pt x="834" y="859"/>
                    </a:lnTo>
                    <a:lnTo>
                      <a:pt x="836" y="861"/>
                    </a:lnTo>
                    <a:lnTo>
                      <a:pt x="830" y="862"/>
                    </a:lnTo>
                    <a:lnTo>
                      <a:pt x="828" y="864"/>
                    </a:lnTo>
                    <a:lnTo>
                      <a:pt x="825" y="862"/>
                    </a:lnTo>
                    <a:lnTo>
                      <a:pt x="827" y="866"/>
                    </a:lnTo>
                    <a:lnTo>
                      <a:pt x="827" y="866"/>
                    </a:lnTo>
                    <a:lnTo>
                      <a:pt x="828" y="866"/>
                    </a:lnTo>
                    <a:lnTo>
                      <a:pt x="834" y="864"/>
                    </a:lnTo>
                    <a:lnTo>
                      <a:pt x="838" y="861"/>
                    </a:lnTo>
                    <a:lnTo>
                      <a:pt x="840" y="861"/>
                    </a:lnTo>
                    <a:lnTo>
                      <a:pt x="844" y="862"/>
                    </a:lnTo>
                    <a:lnTo>
                      <a:pt x="844" y="868"/>
                    </a:lnTo>
                    <a:lnTo>
                      <a:pt x="851" y="876"/>
                    </a:lnTo>
                    <a:lnTo>
                      <a:pt x="849" y="883"/>
                    </a:lnTo>
                    <a:lnTo>
                      <a:pt x="845" y="889"/>
                    </a:lnTo>
                    <a:lnTo>
                      <a:pt x="844" y="889"/>
                    </a:lnTo>
                    <a:lnTo>
                      <a:pt x="840" y="891"/>
                    </a:lnTo>
                    <a:lnTo>
                      <a:pt x="834" y="891"/>
                    </a:lnTo>
                    <a:lnTo>
                      <a:pt x="830" y="889"/>
                    </a:lnTo>
                    <a:lnTo>
                      <a:pt x="825" y="887"/>
                    </a:lnTo>
                    <a:lnTo>
                      <a:pt x="819" y="883"/>
                    </a:lnTo>
                    <a:lnTo>
                      <a:pt x="817" y="876"/>
                    </a:lnTo>
                    <a:lnTo>
                      <a:pt x="815" y="874"/>
                    </a:lnTo>
                    <a:lnTo>
                      <a:pt x="813" y="876"/>
                    </a:lnTo>
                    <a:lnTo>
                      <a:pt x="813" y="876"/>
                    </a:lnTo>
                    <a:lnTo>
                      <a:pt x="813" y="879"/>
                    </a:lnTo>
                    <a:lnTo>
                      <a:pt x="817" y="883"/>
                    </a:lnTo>
                    <a:lnTo>
                      <a:pt x="821" y="893"/>
                    </a:lnTo>
                    <a:lnTo>
                      <a:pt x="825" y="898"/>
                    </a:lnTo>
                    <a:lnTo>
                      <a:pt x="823" y="900"/>
                    </a:lnTo>
                    <a:lnTo>
                      <a:pt x="819" y="900"/>
                    </a:lnTo>
                    <a:lnTo>
                      <a:pt x="815" y="900"/>
                    </a:lnTo>
                    <a:lnTo>
                      <a:pt x="815" y="895"/>
                    </a:lnTo>
                    <a:lnTo>
                      <a:pt x="813" y="898"/>
                    </a:lnTo>
                    <a:lnTo>
                      <a:pt x="812" y="898"/>
                    </a:lnTo>
                    <a:lnTo>
                      <a:pt x="813" y="900"/>
                    </a:lnTo>
                    <a:lnTo>
                      <a:pt x="817" y="902"/>
                    </a:lnTo>
                    <a:lnTo>
                      <a:pt x="817" y="904"/>
                    </a:lnTo>
                    <a:lnTo>
                      <a:pt x="812" y="904"/>
                    </a:lnTo>
                    <a:lnTo>
                      <a:pt x="810" y="902"/>
                    </a:lnTo>
                    <a:lnTo>
                      <a:pt x="810" y="904"/>
                    </a:lnTo>
                    <a:lnTo>
                      <a:pt x="812" y="908"/>
                    </a:lnTo>
                    <a:lnTo>
                      <a:pt x="812" y="910"/>
                    </a:lnTo>
                    <a:lnTo>
                      <a:pt x="810" y="913"/>
                    </a:lnTo>
                    <a:lnTo>
                      <a:pt x="810" y="910"/>
                    </a:lnTo>
                    <a:lnTo>
                      <a:pt x="806" y="910"/>
                    </a:lnTo>
                    <a:lnTo>
                      <a:pt x="806" y="910"/>
                    </a:lnTo>
                    <a:lnTo>
                      <a:pt x="806" y="913"/>
                    </a:lnTo>
                    <a:lnTo>
                      <a:pt x="806" y="913"/>
                    </a:lnTo>
                    <a:lnTo>
                      <a:pt x="800" y="913"/>
                    </a:lnTo>
                    <a:lnTo>
                      <a:pt x="800" y="913"/>
                    </a:lnTo>
                    <a:lnTo>
                      <a:pt x="795" y="915"/>
                    </a:lnTo>
                    <a:lnTo>
                      <a:pt x="796" y="917"/>
                    </a:lnTo>
                    <a:lnTo>
                      <a:pt x="798" y="921"/>
                    </a:lnTo>
                    <a:lnTo>
                      <a:pt x="796" y="921"/>
                    </a:lnTo>
                    <a:lnTo>
                      <a:pt x="795" y="919"/>
                    </a:lnTo>
                    <a:lnTo>
                      <a:pt x="791" y="915"/>
                    </a:lnTo>
                    <a:lnTo>
                      <a:pt x="787" y="915"/>
                    </a:lnTo>
                    <a:lnTo>
                      <a:pt x="787" y="917"/>
                    </a:lnTo>
                    <a:lnTo>
                      <a:pt x="785" y="919"/>
                    </a:lnTo>
                    <a:lnTo>
                      <a:pt x="791" y="923"/>
                    </a:lnTo>
                    <a:lnTo>
                      <a:pt x="789" y="925"/>
                    </a:lnTo>
                    <a:lnTo>
                      <a:pt x="789" y="927"/>
                    </a:lnTo>
                    <a:lnTo>
                      <a:pt x="785" y="927"/>
                    </a:lnTo>
                    <a:lnTo>
                      <a:pt x="781" y="932"/>
                    </a:lnTo>
                    <a:lnTo>
                      <a:pt x="780" y="934"/>
                    </a:lnTo>
                    <a:lnTo>
                      <a:pt x="780" y="934"/>
                    </a:lnTo>
                    <a:lnTo>
                      <a:pt x="780" y="938"/>
                    </a:lnTo>
                    <a:lnTo>
                      <a:pt x="776" y="938"/>
                    </a:lnTo>
                    <a:lnTo>
                      <a:pt x="776" y="940"/>
                    </a:lnTo>
                    <a:lnTo>
                      <a:pt x="776" y="943"/>
                    </a:lnTo>
                    <a:lnTo>
                      <a:pt x="772" y="945"/>
                    </a:lnTo>
                    <a:lnTo>
                      <a:pt x="766" y="951"/>
                    </a:lnTo>
                    <a:lnTo>
                      <a:pt x="763" y="953"/>
                    </a:lnTo>
                    <a:lnTo>
                      <a:pt x="763" y="957"/>
                    </a:lnTo>
                    <a:lnTo>
                      <a:pt x="759" y="959"/>
                    </a:lnTo>
                    <a:lnTo>
                      <a:pt x="755" y="957"/>
                    </a:lnTo>
                    <a:lnTo>
                      <a:pt x="755" y="959"/>
                    </a:lnTo>
                    <a:lnTo>
                      <a:pt x="755" y="964"/>
                    </a:lnTo>
                    <a:lnTo>
                      <a:pt x="751" y="968"/>
                    </a:lnTo>
                    <a:lnTo>
                      <a:pt x="751" y="972"/>
                    </a:lnTo>
                    <a:lnTo>
                      <a:pt x="749" y="977"/>
                    </a:lnTo>
                    <a:lnTo>
                      <a:pt x="748" y="981"/>
                    </a:lnTo>
                    <a:lnTo>
                      <a:pt x="746" y="983"/>
                    </a:lnTo>
                    <a:lnTo>
                      <a:pt x="742" y="989"/>
                    </a:lnTo>
                    <a:lnTo>
                      <a:pt x="742" y="992"/>
                    </a:lnTo>
                    <a:lnTo>
                      <a:pt x="742" y="998"/>
                    </a:lnTo>
                    <a:lnTo>
                      <a:pt x="740" y="1002"/>
                    </a:lnTo>
                    <a:lnTo>
                      <a:pt x="738" y="1006"/>
                    </a:lnTo>
                    <a:lnTo>
                      <a:pt x="736" y="1008"/>
                    </a:lnTo>
                    <a:lnTo>
                      <a:pt x="734" y="1009"/>
                    </a:lnTo>
                    <a:lnTo>
                      <a:pt x="738" y="1009"/>
                    </a:lnTo>
                    <a:lnTo>
                      <a:pt x="738" y="1013"/>
                    </a:lnTo>
                    <a:lnTo>
                      <a:pt x="738" y="1017"/>
                    </a:lnTo>
                    <a:lnTo>
                      <a:pt x="740" y="1019"/>
                    </a:lnTo>
                    <a:lnTo>
                      <a:pt x="740" y="1023"/>
                    </a:lnTo>
                    <a:lnTo>
                      <a:pt x="742" y="1023"/>
                    </a:lnTo>
                    <a:lnTo>
                      <a:pt x="738" y="1032"/>
                    </a:lnTo>
                    <a:lnTo>
                      <a:pt x="732" y="1038"/>
                    </a:lnTo>
                    <a:lnTo>
                      <a:pt x="721" y="1040"/>
                    </a:lnTo>
                    <a:lnTo>
                      <a:pt x="721" y="1043"/>
                    </a:lnTo>
                    <a:lnTo>
                      <a:pt x="727" y="1040"/>
                    </a:lnTo>
                    <a:lnTo>
                      <a:pt x="734" y="1038"/>
                    </a:lnTo>
                    <a:lnTo>
                      <a:pt x="742" y="1032"/>
                    </a:lnTo>
                    <a:lnTo>
                      <a:pt x="746" y="1021"/>
                    </a:lnTo>
                    <a:lnTo>
                      <a:pt x="755" y="1021"/>
                    </a:lnTo>
                    <a:lnTo>
                      <a:pt x="759" y="1023"/>
                    </a:lnTo>
                    <a:lnTo>
                      <a:pt x="759" y="1026"/>
                    </a:lnTo>
                    <a:lnTo>
                      <a:pt x="757" y="1028"/>
                    </a:lnTo>
                    <a:lnTo>
                      <a:pt x="757" y="1034"/>
                    </a:lnTo>
                    <a:lnTo>
                      <a:pt x="761" y="1040"/>
                    </a:lnTo>
                    <a:lnTo>
                      <a:pt x="761" y="1047"/>
                    </a:lnTo>
                    <a:lnTo>
                      <a:pt x="757" y="1053"/>
                    </a:lnTo>
                    <a:lnTo>
                      <a:pt x="759" y="1057"/>
                    </a:lnTo>
                    <a:lnTo>
                      <a:pt x="761" y="1066"/>
                    </a:lnTo>
                    <a:lnTo>
                      <a:pt x="759" y="1068"/>
                    </a:lnTo>
                    <a:lnTo>
                      <a:pt x="749" y="1079"/>
                    </a:lnTo>
                    <a:lnTo>
                      <a:pt x="742" y="1081"/>
                    </a:lnTo>
                    <a:lnTo>
                      <a:pt x="738" y="1081"/>
                    </a:lnTo>
                    <a:lnTo>
                      <a:pt x="742" y="1083"/>
                    </a:lnTo>
                    <a:lnTo>
                      <a:pt x="749" y="1083"/>
                    </a:lnTo>
                    <a:lnTo>
                      <a:pt x="761" y="1077"/>
                    </a:lnTo>
                    <a:lnTo>
                      <a:pt x="776" y="1073"/>
                    </a:lnTo>
                    <a:lnTo>
                      <a:pt x="781" y="1072"/>
                    </a:lnTo>
                    <a:lnTo>
                      <a:pt x="789" y="1077"/>
                    </a:lnTo>
                    <a:lnTo>
                      <a:pt x="795" y="1083"/>
                    </a:lnTo>
                    <a:lnTo>
                      <a:pt x="804" y="1087"/>
                    </a:lnTo>
                    <a:lnTo>
                      <a:pt x="806" y="1087"/>
                    </a:lnTo>
                    <a:lnTo>
                      <a:pt x="810" y="1087"/>
                    </a:lnTo>
                    <a:lnTo>
                      <a:pt x="813" y="1096"/>
                    </a:lnTo>
                    <a:lnTo>
                      <a:pt x="817" y="1096"/>
                    </a:lnTo>
                    <a:lnTo>
                      <a:pt x="821" y="1100"/>
                    </a:lnTo>
                    <a:lnTo>
                      <a:pt x="825" y="1104"/>
                    </a:lnTo>
                    <a:lnTo>
                      <a:pt x="825" y="1105"/>
                    </a:lnTo>
                    <a:lnTo>
                      <a:pt x="827" y="1109"/>
                    </a:lnTo>
                    <a:lnTo>
                      <a:pt x="828" y="1115"/>
                    </a:lnTo>
                    <a:lnTo>
                      <a:pt x="828" y="1117"/>
                    </a:lnTo>
                    <a:lnTo>
                      <a:pt x="830" y="1117"/>
                    </a:lnTo>
                    <a:lnTo>
                      <a:pt x="834" y="1117"/>
                    </a:lnTo>
                    <a:lnTo>
                      <a:pt x="840" y="1122"/>
                    </a:lnTo>
                    <a:lnTo>
                      <a:pt x="844" y="1122"/>
                    </a:lnTo>
                    <a:lnTo>
                      <a:pt x="849" y="1126"/>
                    </a:lnTo>
                    <a:lnTo>
                      <a:pt x="851" y="1128"/>
                    </a:lnTo>
                    <a:lnTo>
                      <a:pt x="859" y="1134"/>
                    </a:lnTo>
                    <a:lnTo>
                      <a:pt x="859" y="1138"/>
                    </a:lnTo>
                    <a:lnTo>
                      <a:pt x="864" y="1141"/>
                    </a:lnTo>
                    <a:lnTo>
                      <a:pt x="862" y="1143"/>
                    </a:lnTo>
                    <a:lnTo>
                      <a:pt x="864" y="1145"/>
                    </a:lnTo>
                    <a:lnTo>
                      <a:pt x="868" y="1145"/>
                    </a:lnTo>
                    <a:lnTo>
                      <a:pt x="870" y="1145"/>
                    </a:lnTo>
                    <a:lnTo>
                      <a:pt x="876" y="1145"/>
                    </a:lnTo>
                    <a:lnTo>
                      <a:pt x="883" y="1145"/>
                    </a:lnTo>
                    <a:lnTo>
                      <a:pt x="885" y="1147"/>
                    </a:lnTo>
                    <a:lnTo>
                      <a:pt x="887" y="1147"/>
                    </a:lnTo>
                    <a:lnTo>
                      <a:pt x="892" y="1147"/>
                    </a:lnTo>
                    <a:lnTo>
                      <a:pt x="898" y="1147"/>
                    </a:lnTo>
                    <a:lnTo>
                      <a:pt x="902" y="1147"/>
                    </a:lnTo>
                    <a:lnTo>
                      <a:pt x="906" y="1147"/>
                    </a:lnTo>
                    <a:lnTo>
                      <a:pt x="906" y="1147"/>
                    </a:lnTo>
                    <a:lnTo>
                      <a:pt x="906" y="1147"/>
                    </a:lnTo>
                    <a:lnTo>
                      <a:pt x="908" y="1147"/>
                    </a:lnTo>
                    <a:lnTo>
                      <a:pt x="909" y="1153"/>
                    </a:lnTo>
                    <a:lnTo>
                      <a:pt x="904" y="1162"/>
                    </a:lnTo>
                    <a:lnTo>
                      <a:pt x="904" y="1166"/>
                    </a:lnTo>
                    <a:lnTo>
                      <a:pt x="902" y="1170"/>
                    </a:lnTo>
                    <a:lnTo>
                      <a:pt x="898" y="1175"/>
                    </a:lnTo>
                    <a:lnTo>
                      <a:pt x="898" y="1177"/>
                    </a:lnTo>
                    <a:lnTo>
                      <a:pt x="900" y="1181"/>
                    </a:lnTo>
                    <a:lnTo>
                      <a:pt x="900" y="1186"/>
                    </a:lnTo>
                    <a:lnTo>
                      <a:pt x="896" y="1194"/>
                    </a:lnTo>
                    <a:lnTo>
                      <a:pt x="896" y="1198"/>
                    </a:lnTo>
                    <a:lnTo>
                      <a:pt x="894" y="1202"/>
                    </a:lnTo>
                    <a:lnTo>
                      <a:pt x="892" y="1205"/>
                    </a:lnTo>
                    <a:lnTo>
                      <a:pt x="889" y="1215"/>
                    </a:lnTo>
                    <a:lnTo>
                      <a:pt x="889" y="1217"/>
                    </a:lnTo>
                    <a:lnTo>
                      <a:pt x="894" y="1219"/>
                    </a:lnTo>
                    <a:lnTo>
                      <a:pt x="894" y="1224"/>
                    </a:lnTo>
                    <a:lnTo>
                      <a:pt x="896" y="1226"/>
                    </a:lnTo>
                    <a:lnTo>
                      <a:pt x="898" y="1228"/>
                    </a:lnTo>
                    <a:lnTo>
                      <a:pt x="898" y="1232"/>
                    </a:lnTo>
                    <a:lnTo>
                      <a:pt x="898" y="1234"/>
                    </a:lnTo>
                    <a:lnTo>
                      <a:pt x="898" y="1235"/>
                    </a:lnTo>
                    <a:lnTo>
                      <a:pt x="902" y="1235"/>
                    </a:lnTo>
                    <a:lnTo>
                      <a:pt x="906" y="1239"/>
                    </a:lnTo>
                    <a:lnTo>
                      <a:pt x="908" y="1239"/>
                    </a:lnTo>
                    <a:lnTo>
                      <a:pt x="908" y="1241"/>
                    </a:lnTo>
                    <a:lnTo>
                      <a:pt x="911" y="1245"/>
                    </a:lnTo>
                    <a:lnTo>
                      <a:pt x="911" y="1251"/>
                    </a:lnTo>
                    <a:lnTo>
                      <a:pt x="913" y="1252"/>
                    </a:lnTo>
                    <a:lnTo>
                      <a:pt x="911" y="1258"/>
                    </a:lnTo>
                    <a:lnTo>
                      <a:pt x="904" y="1266"/>
                    </a:lnTo>
                    <a:lnTo>
                      <a:pt x="909" y="1262"/>
                    </a:lnTo>
                    <a:lnTo>
                      <a:pt x="913" y="1260"/>
                    </a:lnTo>
                    <a:lnTo>
                      <a:pt x="917" y="1260"/>
                    </a:lnTo>
                    <a:lnTo>
                      <a:pt x="923" y="1264"/>
                    </a:lnTo>
                    <a:lnTo>
                      <a:pt x="924" y="1264"/>
                    </a:lnTo>
                    <a:lnTo>
                      <a:pt x="924" y="1262"/>
                    </a:lnTo>
                    <a:lnTo>
                      <a:pt x="924" y="1258"/>
                    </a:lnTo>
                    <a:lnTo>
                      <a:pt x="932" y="1249"/>
                    </a:lnTo>
                    <a:lnTo>
                      <a:pt x="934" y="1249"/>
                    </a:lnTo>
                    <a:lnTo>
                      <a:pt x="932" y="1252"/>
                    </a:lnTo>
                    <a:lnTo>
                      <a:pt x="932" y="1254"/>
                    </a:lnTo>
                    <a:lnTo>
                      <a:pt x="936" y="1256"/>
                    </a:lnTo>
                    <a:lnTo>
                      <a:pt x="936" y="1262"/>
                    </a:lnTo>
                    <a:lnTo>
                      <a:pt x="936" y="1266"/>
                    </a:lnTo>
                    <a:lnTo>
                      <a:pt x="940" y="1269"/>
                    </a:lnTo>
                    <a:lnTo>
                      <a:pt x="947" y="1269"/>
                    </a:lnTo>
                    <a:lnTo>
                      <a:pt x="943" y="1269"/>
                    </a:lnTo>
                    <a:lnTo>
                      <a:pt x="940" y="1266"/>
                    </a:lnTo>
                    <a:lnTo>
                      <a:pt x="940" y="1262"/>
                    </a:lnTo>
                    <a:lnTo>
                      <a:pt x="940" y="1254"/>
                    </a:lnTo>
                    <a:lnTo>
                      <a:pt x="941" y="1252"/>
                    </a:lnTo>
                    <a:lnTo>
                      <a:pt x="940" y="1251"/>
                    </a:lnTo>
                    <a:lnTo>
                      <a:pt x="940" y="1247"/>
                    </a:lnTo>
                    <a:lnTo>
                      <a:pt x="941" y="1247"/>
                    </a:lnTo>
                    <a:lnTo>
                      <a:pt x="943" y="1247"/>
                    </a:lnTo>
                    <a:lnTo>
                      <a:pt x="943" y="1241"/>
                    </a:lnTo>
                    <a:lnTo>
                      <a:pt x="947" y="1235"/>
                    </a:lnTo>
                    <a:lnTo>
                      <a:pt x="947" y="1235"/>
                    </a:lnTo>
                    <a:lnTo>
                      <a:pt x="947" y="1230"/>
                    </a:lnTo>
                    <a:lnTo>
                      <a:pt x="943" y="1230"/>
                    </a:lnTo>
                    <a:lnTo>
                      <a:pt x="943" y="1226"/>
                    </a:lnTo>
                    <a:lnTo>
                      <a:pt x="947" y="1220"/>
                    </a:lnTo>
                    <a:lnTo>
                      <a:pt x="947" y="1219"/>
                    </a:lnTo>
                    <a:lnTo>
                      <a:pt x="947" y="1217"/>
                    </a:lnTo>
                    <a:lnTo>
                      <a:pt x="943" y="1215"/>
                    </a:lnTo>
                    <a:lnTo>
                      <a:pt x="943" y="1215"/>
                    </a:lnTo>
                    <a:lnTo>
                      <a:pt x="947" y="1205"/>
                    </a:lnTo>
                    <a:lnTo>
                      <a:pt x="947" y="1202"/>
                    </a:lnTo>
                    <a:lnTo>
                      <a:pt x="947" y="1194"/>
                    </a:lnTo>
                    <a:lnTo>
                      <a:pt x="949" y="1192"/>
                    </a:lnTo>
                    <a:lnTo>
                      <a:pt x="947" y="1188"/>
                    </a:lnTo>
                    <a:lnTo>
                      <a:pt x="949" y="1188"/>
                    </a:lnTo>
                    <a:lnTo>
                      <a:pt x="949" y="1185"/>
                    </a:lnTo>
                    <a:lnTo>
                      <a:pt x="951" y="1185"/>
                    </a:lnTo>
                    <a:lnTo>
                      <a:pt x="949" y="1185"/>
                    </a:lnTo>
                    <a:lnTo>
                      <a:pt x="947" y="1181"/>
                    </a:lnTo>
                    <a:lnTo>
                      <a:pt x="949" y="1181"/>
                    </a:lnTo>
                    <a:lnTo>
                      <a:pt x="947" y="1177"/>
                    </a:lnTo>
                    <a:lnTo>
                      <a:pt x="947" y="1171"/>
                    </a:lnTo>
                    <a:lnTo>
                      <a:pt x="947" y="1171"/>
                    </a:lnTo>
                    <a:lnTo>
                      <a:pt x="947" y="1168"/>
                    </a:lnTo>
                    <a:lnTo>
                      <a:pt x="943" y="1164"/>
                    </a:lnTo>
                    <a:lnTo>
                      <a:pt x="949" y="1162"/>
                    </a:lnTo>
                    <a:lnTo>
                      <a:pt x="956" y="1160"/>
                    </a:lnTo>
                    <a:lnTo>
                      <a:pt x="960" y="1160"/>
                    </a:lnTo>
                    <a:lnTo>
                      <a:pt x="966" y="1160"/>
                    </a:lnTo>
                    <a:lnTo>
                      <a:pt x="968" y="1156"/>
                    </a:lnTo>
                    <a:lnTo>
                      <a:pt x="973" y="1153"/>
                    </a:lnTo>
                    <a:lnTo>
                      <a:pt x="987" y="1151"/>
                    </a:lnTo>
                    <a:lnTo>
                      <a:pt x="987" y="1147"/>
                    </a:lnTo>
                    <a:lnTo>
                      <a:pt x="988" y="1147"/>
                    </a:lnTo>
                    <a:lnTo>
                      <a:pt x="998" y="1141"/>
                    </a:lnTo>
                    <a:lnTo>
                      <a:pt x="998" y="1139"/>
                    </a:lnTo>
                    <a:lnTo>
                      <a:pt x="1002" y="1138"/>
                    </a:lnTo>
                    <a:lnTo>
                      <a:pt x="1005" y="1128"/>
                    </a:lnTo>
                    <a:lnTo>
                      <a:pt x="1009" y="1128"/>
                    </a:lnTo>
                    <a:lnTo>
                      <a:pt x="1011" y="1130"/>
                    </a:lnTo>
                    <a:lnTo>
                      <a:pt x="1015" y="1130"/>
                    </a:lnTo>
                    <a:lnTo>
                      <a:pt x="1017" y="1126"/>
                    </a:lnTo>
                    <a:lnTo>
                      <a:pt x="1015" y="1122"/>
                    </a:lnTo>
                    <a:lnTo>
                      <a:pt x="1013" y="1117"/>
                    </a:lnTo>
                    <a:lnTo>
                      <a:pt x="1011" y="1121"/>
                    </a:lnTo>
                    <a:lnTo>
                      <a:pt x="1011" y="1122"/>
                    </a:lnTo>
                    <a:lnTo>
                      <a:pt x="1009" y="1126"/>
                    </a:lnTo>
                    <a:lnTo>
                      <a:pt x="1009" y="1121"/>
                    </a:lnTo>
                    <a:lnTo>
                      <a:pt x="1013" y="1111"/>
                    </a:lnTo>
                    <a:lnTo>
                      <a:pt x="1015" y="1109"/>
                    </a:lnTo>
                    <a:lnTo>
                      <a:pt x="1015" y="1102"/>
                    </a:lnTo>
                    <a:lnTo>
                      <a:pt x="1015" y="1098"/>
                    </a:lnTo>
                    <a:lnTo>
                      <a:pt x="1013" y="1092"/>
                    </a:lnTo>
                    <a:lnTo>
                      <a:pt x="1013" y="1081"/>
                    </a:lnTo>
                    <a:lnTo>
                      <a:pt x="1011" y="1072"/>
                    </a:lnTo>
                    <a:lnTo>
                      <a:pt x="1005" y="1062"/>
                    </a:lnTo>
                    <a:lnTo>
                      <a:pt x="1002" y="1058"/>
                    </a:lnTo>
                    <a:lnTo>
                      <a:pt x="1002" y="1057"/>
                    </a:lnTo>
                    <a:lnTo>
                      <a:pt x="998" y="1057"/>
                    </a:lnTo>
                    <a:lnTo>
                      <a:pt x="998" y="1053"/>
                    </a:lnTo>
                    <a:lnTo>
                      <a:pt x="998" y="1045"/>
                    </a:lnTo>
                    <a:lnTo>
                      <a:pt x="1002" y="1043"/>
                    </a:lnTo>
                    <a:lnTo>
                      <a:pt x="1011" y="1032"/>
                    </a:lnTo>
                    <a:lnTo>
                      <a:pt x="1015" y="1032"/>
                    </a:lnTo>
                    <a:lnTo>
                      <a:pt x="1017" y="1028"/>
                    </a:lnTo>
                    <a:lnTo>
                      <a:pt x="1017" y="1028"/>
                    </a:lnTo>
                    <a:lnTo>
                      <a:pt x="1017" y="1028"/>
                    </a:lnTo>
                    <a:lnTo>
                      <a:pt x="1017" y="1026"/>
                    </a:lnTo>
                    <a:lnTo>
                      <a:pt x="1020" y="1021"/>
                    </a:lnTo>
                    <a:lnTo>
                      <a:pt x="1022" y="1021"/>
                    </a:lnTo>
                    <a:lnTo>
                      <a:pt x="1024" y="1023"/>
                    </a:lnTo>
                    <a:lnTo>
                      <a:pt x="1026" y="1026"/>
                    </a:lnTo>
                    <a:lnTo>
                      <a:pt x="1026" y="1023"/>
                    </a:lnTo>
                    <a:lnTo>
                      <a:pt x="1026" y="1019"/>
                    </a:lnTo>
                    <a:lnTo>
                      <a:pt x="1030" y="1017"/>
                    </a:lnTo>
                    <a:lnTo>
                      <a:pt x="1032" y="1009"/>
                    </a:lnTo>
                    <a:lnTo>
                      <a:pt x="1032" y="1008"/>
                    </a:lnTo>
                    <a:lnTo>
                      <a:pt x="1026" y="1008"/>
                    </a:lnTo>
                    <a:lnTo>
                      <a:pt x="1026" y="1006"/>
                    </a:lnTo>
                    <a:lnTo>
                      <a:pt x="1030" y="1002"/>
                    </a:lnTo>
                    <a:lnTo>
                      <a:pt x="1030" y="1002"/>
                    </a:lnTo>
                    <a:lnTo>
                      <a:pt x="1026" y="998"/>
                    </a:lnTo>
                    <a:lnTo>
                      <a:pt x="1030" y="996"/>
                    </a:lnTo>
                    <a:lnTo>
                      <a:pt x="1032" y="994"/>
                    </a:lnTo>
                    <a:lnTo>
                      <a:pt x="1030" y="994"/>
                    </a:lnTo>
                    <a:lnTo>
                      <a:pt x="1030" y="992"/>
                    </a:lnTo>
                    <a:lnTo>
                      <a:pt x="1030" y="987"/>
                    </a:lnTo>
                    <a:lnTo>
                      <a:pt x="1034" y="985"/>
                    </a:lnTo>
                    <a:lnTo>
                      <a:pt x="1030" y="983"/>
                    </a:lnTo>
                    <a:lnTo>
                      <a:pt x="1026" y="985"/>
                    </a:lnTo>
                    <a:lnTo>
                      <a:pt x="1024" y="983"/>
                    </a:lnTo>
                    <a:lnTo>
                      <a:pt x="1024" y="981"/>
                    </a:lnTo>
                    <a:lnTo>
                      <a:pt x="1030" y="974"/>
                    </a:lnTo>
                    <a:lnTo>
                      <a:pt x="1036" y="968"/>
                    </a:lnTo>
                    <a:lnTo>
                      <a:pt x="1037" y="964"/>
                    </a:lnTo>
                    <a:lnTo>
                      <a:pt x="1039" y="964"/>
                    </a:lnTo>
                    <a:lnTo>
                      <a:pt x="1041" y="962"/>
                    </a:lnTo>
                    <a:lnTo>
                      <a:pt x="1041" y="957"/>
                    </a:lnTo>
                    <a:lnTo>
                      <a:pt x="1039" y="957"/>
                    </a:lnTo>
                    <a:lnTo>
                      <a:pt x="1039" y="955"/>
                    </a:lnTo>
                    <a:lnTo>
                      <a:pt x="1037" y="955"/>
                    </a:lnTo>
                    <a:lnTo>
                      <a:pt x="1034" y="951"/>
                    </a:lnTo>
                    <a:lnTo>
                      <a:pt x="1034" y="943"/>
                    </a:lnTo>
                    <a:lnTo>
                      <a:pt x="1037" y="938"/>
                    </a:lnTo>
                    <a:lnTo>
                      <a:pt x="1037" y="934"/>
                    </a:lnTo>
                    <a:lnTo>
                      <a:pt x="1041" y="932"/>
                    </a:lnTo>
                    <a:lnTo>
                      <a:pt x="1041" y="934"/>
                    </a:lnTo>
                    <a:lnTo>
                      <a:pt x="1045" y="934"/>
                    </a:lnTo>
                    <a:lnTo>
                      <a:pt x="1045" y="930"/>
                    </a:lnTo>
                    <a:lnTo>
                      <a:pt x="1047" y="928"/>
                    </a:lnTo>
                    <a:lnTo>
                      <a:pt x="1049" y="928"/>
                    </a:lnTo>
                    <a:lnTo>
                      <a:pt x="1051" y="927"/>
                    </a:lnTo>
                    <a:lnTo>
                      <a:pt x="1054" y="928"/>
                    </a:lnTo>
                    <a:lnTo>
                      <a:pt x="1060" y="928"/>
                    </a:lnTo>
                    <a:lnTo>
                      <a:pt x="1066" y="932"/>
                    </a:lnTo>
                    <a:lnTo>
                      <a:pt x="1075" y="938"/>
                    </a:lnTo>
                    <a:lnTo>
                      <a:pt x="1079" y="938"/>
                    </a:lnTo>
                    <a:lnTo>
                      <a:pt x="1079" y="940"/>
                    </a:lnTo>
                    <a:lnTo>
                      <a:pt x="1073" y="943"/>
                    </a:lnTo>
                    <a:lnTo>
                      <a:pt x="1079" y="943"/>
                    </a:lnTo>
                    <a:lnTo>
                      <a:pt x="1084" y="938"/>
                    </a:lnTo>
                    <a:lnTo>
                      <a:pt x="1086" y="938"/>
                    </a:lnTo>
                    <a:lnTo>
                      <a:pt x="1088" y="940"/>
                    </a:lnTo>
                    <a:lnTo>
                      <a:pt x="1092" y="940"/>
                    </a:lnTo>
                    <a:lnTo>
                      <a:pt x="1094" y="943"/>
                    </a:lnTo>
                    <a:lnTo>
                      <a:pt x="1094" y="940"/>
                    </a:lnTo>
                    <a:lnTo>
                      <a:pt x="1100" y="943"/>
                    </a:lnTo>
                    <a:lnTo>
                      <a:pt x="1101" y="940"/>
                    </a:lnTo>
                    <a:lnTo>
                      <a:pt x="1103" y="938"/>
                    </a:lnTo>
                    <a:lnTo>
                      <a:pt x="1109" y="938"/>
                    </a:lnTo>
                    <a:lnTo>
                      <a:pt x="1115" y="943"/>
                    </a:lnTo>
                    <a:lnTo>
                      <a:pt x="1115" y="945"/>
                    </a:lnTo>
                    <a:lnTo>
                      <a:pt x="1118" y="949"/>
                    </a:lnTo>
                    <a:lnTo>
                      <a:pt x="1122" y="949"/>
                    </a:lnTo>
                    <a:lnTo>
                      <a:pt x="1122" y="955"/>
                    </a:lnTo>
                    <a:lnTo>
                      <a:pt x="1120" y="959"/>
                    </a:lnTo>
                    <a:lnTo>
                      <a:pt x="1120" y="960"/>
                    </a:lnTo>
                    <a:lnTo>
                      <a:pt x="1122" y="959"/>
                    </a:lnTo>
                    <a:lnTo>
                      <a:pt x="1126" y="962"/>
                    </a:lnTo>
                    <a:lnTo>
                      <a:pt x="1128" y="968"/>
                    </a:lnTo>
                    <a:lnTo>
                      <a:pt x="1126" y="968"/>
                    </a:lnTo>
                    <a:lnTo>
                      <a:pt x="1130" y="972"/>
                    </a:lnTo>
                    <a:lnTo>
                      <a:pt x="1130" y="968"/>
                    </a:lnTo>
                    <a:lnTo>
                      <a:pt x="1135" y="972"/>
                    </a:lnTo>
                    <a:lnTo>
                      <a:pt x="1135" y="974"/>
                    </a:lnTo>
                    <a:lnTo>
                      <a:pt x="1130" y="972"/>
                    </a:lnTo>
                    <a:lnTo>
                      <a:pt x="1130" y="977"/>
                    </a:lnTo>
                    <a:lnTo>
                      <a:pt x="1126" y="977"/>
                    </a:lnTo>
                    <a:lnTo>
                      <a:pt x="1130" y="979"/>
                    </a:lnTo>
                    <a:lnTo>
                      <a:pt x="1130" y="983"/>
                    </a:lnTo>
                    <a:lnTo>
                      <a:pt x="1133" y="979"/>
                    </a:lnTo>
                    <a:lnTo>
                      <a:pt x="1133" y="983"/>
                    </a:lnTo>
                    <a:lnTo>
                      <a:pt x="1135" y="981"/>
                    </a:lnTo>
                    <a:lnTo>
                      <a:pt x="1143" y="987"/>
                    </a:lnTo>
                    <a:lnTo>
                      <a:pt x="1145" y="985"/>
                    </a:lnTo>
                    <a:lnTo>
                      <a:pt x="1145" y="989"/>
                    </a:lnTo>
                    <a:lnTo>
                      <a:pt x="1150" y="985"/>
                    </a:lnTo>
                    <a:lnTo>
                      <a:pt x="1154" y="987"/>
                    </a:lnTo>
                    <a:lnTo>
                      <a:pt x="1154" y="994"/>
                    </a:lnTo>
                    <a:lnTo>
                      <a:pt x="1156" y="998"/>
                    </a:lnTo>
                    <a:lnTo>
                      <a:pt x="1160" y="994"/>
                    </a:lnTo>
                    <a:lnTo>
                      <a:pt x="1160" y="989"/>
                    </a:lnTo>
                    <a:lnTo>
                      <a:pt x="1164" y="989"/>
                    </a:lnTo>
                    <a:lnTo>
                      <a:pt x="1164" y="994"/>
                    </a:lnTo>
                    <a:lnTo>
                      <a:pt x="1164" y="1002"/>
                    </a:lnTo>
                    <a:lnTo>
                      <a:pt x="1158" y="1002"/>
                    </a:lnTo>
                    <a:lnTo>
                      <a:pt x="1154" y="1006"/>
                    </a:lnTo>
                    <a:lnTo>
                      <a:pt x="1156" y="1017"/>
                    </a:lnTo>
                    <a:lnTo>
                      <a:pt x="1154" y="1019"/>
                    </a:lnTo>
                    <a:lnTo>
                      <a:pt x="1152" y="1015"/>
                    </a:lnTo>
                    <a:lnTo>
                      <a:pt x="1152" y="1017"/>
                    </a:lnTo>
                    <a:lnTo>
                      <a:pt x="1150" y="1023"/>
                    </a:lnTo>
                    <a:lnTo>
                      <a:pt x="1143" y="1021"/>
                    </a:lnTo>
                    <a:lnTo>
                      <a:pt x="1133" y="1019"/>
                    </a:lnTo>
                    <a:lnTo>
                      <a:pt x="1143" y="1023"/>
                    </a:lnTo>
                    <a:lnTo>
                      <a:pt x="1148" y="1023"/>
                    </a:lnTo>
                    <a:lnTo>
                      <a:pt x="1154" y="1028"/>
                    </a:lnTo>
                    <a:lnTo>
                      <a:pt x="1152" y="1034"/>
                    </a:lnTo>
                    <a:lnTo>
                      <a:pt x="1148" y="1040"/>
                    </a:lnTo>
                    <a:lnTo>
                      <a:pt x="1148" y="1041"/>
                    </a:lnTo>
                    <a:lnTo>
                      <a:pt x="1145" y="1047"/>
                    </a:lnTo>
                    <a:lnTo>
                      <a:pt x="1147" y="1047"/>
                    </a:lnTo>
                    <a:lnTo>
                      <a:pt x="1150" y="1053"/>
                    </a:lnTo>
                    <a:lnTo>
                      <a:pt x="1154" y="1057"/>
                    </a:lnTo>
                    <a:lnTo>
                      <a:pt x="1152" y="1057"/>
                    </a:lnTo>
                    <a:lnTo>
                      <a:pt x="1145" y="1053"/>
                    </a:lnTo>
                    <a:lnTo>
                      <a:pt x="1150" y="1058"/>
                    </a:lnTo>
                    <a:lnTo>
                      <a:pt x="1154" y="1062"/>
                    </a:lnTo>
                    <a:lnTo>
                      <a:pt x="1154" y="1062"/>
                    </a:lnTo>
                    <a:lnTo>
                      <a:pt x="1154" y="1057"/>
                    </a:lnTo>
                    <a:lnTo>
                      <a:pt x="1156" y="1057"/>
                    </a:lnTo>
                    <a:lnTo>
                      <a:pt x="1160" y="1062"/>
                    </a:lnTo>
                    <a:lnTo>
                      <a:pt x="1164" y="1066"/>
                    </a:lnTo>
                    <a:lnTo>
                      <a:pt x="1160" y="1068"/>
                    </a:lnTo>
                    <a:lnTo>
                      <a:pt x="1160" y="1073"/>
                    </a:lnTo>
                    <a:lnTo>
                      <a:pt x="1158" y="1079"/>
                    </a:lnTo>
                    <a:lnTo>
                      <a:pt x="1158" y="1083"/>
                    </a:lnTo>
                    <a:lnTo>
                      <a:pt x="1154" y="1087"/>
                    </a:lnTo>
                    <a:lnTo>
                      <a:pt x="1158" y="1083"/>
                    </a:lnTo>
                    <a:lnTo>
                      <a:pt x="1164" y="1075"/>
                    </a:lnTo>
                    <a:lnTo>
                      <a:pt x="1167" y="1070"/>
                    </a:lnTo>
                    <a:lnTo>
                      <a:pt x="1167" y="1070"/>
                    </a:lnTo>
                    <a:lnTo>
                      <a:pt x="1167" y="1073"/>
                    </a:lnTo>
                    <a:lnTo>
                      <a:pt x="1167" y="1081"/>
                    </a:lnTo>
                    <a:lnTo>
                      <a:pt x="1167" y="1083"/>
                    </a:lnTo>
                    <a:lnTo>
                      <a:pt x="1167" y="1087"/>
                    </a:lnTo>
                    <a:lnTo>
                      <a:pt x="1167" y="1090"/>
                    </a:lnTo>
                    <a:lnTo>
                      <a:pt x="1169" y="1083"/>
                    </a:lnTo>
                    <a:lnTo>
                      <a:pt x="1173" y="1081"/>
                    </a:lnTo>
                    <a:lnTo>
                      <a:pt x="1175" y="1077"/>
                    </a:lnTo>
                    <a:lnTo>
                      <a:pt x="1179" y="1077"/>
                    </a:lnTo>
                    <a:lnTo>
                      <a:pt x="1182" y="1073"/>
                    </a:lnTo>
                    <a:lnTo>
                      <a:pt x="1184" y="1075"/>
                    </a:lnTo>
                    <a:lnTo>
                      <a:pt x="1184" y="1077"/>
                    </a:lnTo>
                    <a:lnTo>
                      <a:pt x="1184" y="1073"/>
                    </a:lnTo>
                    <a:lnTo>
                      <a:pt x="1188" y="1073"/>
                    </a:lnTo>
                    <a:lnTo>
                      <a:pt x="1188" y="1070"/>
                    </a:lnTo>
                    <a:lnTo>
                      <a:pt x="1194" y="1066"/>
                    </a:lnTo>
                    <a:lnTo>
                      <a:pt x="1197" y="1062"/>
                    </a:lnTo>
                    <a:lnTo>
                      <a:pt x="1199" y="1066"/>
                    </a:lnTo>
                    <a:lnTo>
                      <a:pt x="1201" y="1070"/>
                    </a:lnTo>
                    <a:lnTo>
                      <a:pt x="1199" y="1075"/>
                    </a:lnTo>
                    <a:lnTo>
                      <a:pt x="1203" y="1070"/>
                    </a:lnTo>
                    <a:lnTo>
                      <a:pt x="1203" y="1066"/>
                    </a:lnTo>
                    <a:lnTo>
                      <a:pt x="1203" y="1062"/>
                    </a:lnTo>
                    <a:lnTo>
                      <a:pt x="1203" y="1062"/>
                    </a:lnTo>
                    <a:lnTo>
                      <a:pt x="1205" y="1057"/>
                    </a:lnTo>
                    <a:lnTo>
                      <a:pt x="1209" y="1057"/>
                    </a:lnTo>
                    <a:lnTo>
                      <a:pt x="1211" y="1053"/>
                    </a:lnTo>
                    <a:lnTo>
                      <a:pt x="1212" y="1051"/>
                    </a:lnTo>
                    <a:lnTo>
                      <a:pt x="1216" y="1047"/>
                    </a:lnTo>
                    <a:lnTo>
                      <a:pt x="1216" y="1045"/>
                    </a:lnTo>
                    <a:lnTo>
                      <a:pt x="1218" y="1045"/>
                    </a:lnTo>
                    <a:lnTo>
                      <a:pt x="1222" y="1049"/>
                    </a:lnTo>
                    <a:lnTo>
                      <a:pt x="1222" y="1045"/>
                    </a:lnTo>
                    <a:lnTo>
                      <a:pt x="1218" y="1043"/>
                    </a:lnTo>
                    <a:lnTo>
                      <a:pt x="1216" y="1043"/>
                    </a:lnTo>
                    <a:lnTo>
                      <a:pt x="1216" y="1041"/>
                    </a:lnTo>
                    <a:lnTo>
                      <a:pt x="1218" y="1034"/>
                    </a:lnTo>
                    <a:lnTo>
                      <a:pt x="1222" y="1034"/>
                    </a:lnTo>
                    <a:lnTo>
                      <a:pt x="1222" y="1036"/>
                    </a:lnTo>
                    <a:lnTo>
                      <a:pt x="1222" y="1032"/>
                    </a:lnTo>
                    <a:lnTo>
                      <a:pt x="1224" y="1032"/>
                    </a:lnTo>
                    <a:lnTo>
                      <a:pt x="1224" y="1028"/>
                    </a:lnTo>
                    <a:lnTo>
                      <a:pt x="1229" y="1023"/>
                    </a:lnTo>
                    <a:lnTo>
                      <a:pt x="1231" y="1021"/>
                    </a:lnTo>
                    <a:lnTo>
                      <a:pt x="1229" y="1019"/>
                    </a:lnTo>
                    <a:lnTo>
                      <a:pt x="1233" y="1015"/>
                    </a:lnTo>
                    <a:lnTo>
                      <a:pt x="1237" y="1013"/>
                    </a:lnTo>
                    <a:lnTo>
                      <a:pt x="1239" y="1015"/>
                    </a:lnTo>
                    <a:lnTo>
                      <a:pt x="1235" y="1017"/>
                    </a:lnTo>
                    <a:lnTo>
                      <a:pt x="1239" y="1015"/>
                    </a:lnTo>
                    <a:lnTo>
                      <a:pt x="1241" y="1017"/>
                    </a:lnTo>
                    <a:lnTo>
                      <a:pt x="1237" y="1019"/>
                    </a:lnTo>
                    <a:lnTo>
                      <a:pt x="1237" y="1023"/>
                    </a:lnTo>
                    <a:lnTo>
                      <a:pt x="1241" y="1023"/>
                    </a:lnTo>
                    <a:lnTo>
                      <a:pt x="1237" y="1026"/>
                    </a:lnTo>
                    <a:lnTo>
                      <a:pt x="1235" y="1026"/>
                    </a:lnTo>
                    <a:lnTo>
                      <a:pt x="1235" y="1028"/>
                    </a:lnTo>
                    <a:lnTo>
                      <a:pt x="1237" y="1028"/>
                    </a:lnTo>
                    <a:lnTo>
                      <a:pt x="1241" y="1028"/>
                    </a:lnTo>
                    <a:lnTo>
                      <a:pt x="1239" y="1032"/>
                    </a:lnTo>
                    <a:lnTo>
                      <a:pt x="1239" y="1032"/>
                    </a:lnTo>
                    <a:lnTo>
                      <a:pt x="1241" y="1032"/>
                    </a:lnTo>
                    <a:lnTo>
                      <a:pt x="1241" y="1036"/>
                    </a:lnTo>
                    <a:lnTo>
                      <a:pt x="1239" y="1038"/>
                    </a:lnTo>
                    <a:lnTo>
                      <a:pt x="1239" y="1041"/>
                    </a:lnTo>
                    <a:lnTo>
                      <a:pt x="1243" y="1043"/>
                    </a:lnTo>
                    <a:lnTo>
                      <a:pt x="1243" y="1049"/>
                    </a:lnTo>
                    <a:lnTo>
                      <a:pt x="1243" y="1051"/>
                    </a:lnTo>
                    <a:lnTo>
                      <a:pt x="1241" y="1049"/>
                    </a:lnTo>
                    <a:lnTo>
                      <a:pt x="1237" y="1051"/>
                    </a:lnTo>
                    <a:lnTo>
                      <a:pt x="1241" y="1053"/>
                    </a:lnTo>
                    <a:lnTo>
                      <a:pt x="1241" y="1053"/>
                    </a:lnTo>
                    <a:lnTo>
                      <a:pt x="1243" y="1053"/>
                    </a:lnTo>
                    <a:lnTo>
                      <a:pt x="1243" y="1053"/>
                    </a:lnTo>
                    <a:lnTo>
                      <a:pt x="1243" y="1053"/>
                    </a:lnTo>
                    <a:lnTo>
                      <a:pt x="1246" y="1057"/>
                    </a:lnTo>
                    <a:lnTo>
                      <a:pt x="1243" y="1062"/>
                    </a:lnTo>
                    <a:lnTo>
                      <a:pt x="1241" y="1062"/>
                    </a:lnTo>
                    <a:lnTo>
                      <a:pt x="1237" y="1062"/>
                    </a:lnTo>
                    <a:lnTo>
                      <a:pt x="1235" y="1062"/>
                    </a:lnTo>
                    <a:lnTo>
                      <a:pt x="1239" y="1066"/>
                    </a:lnTo>
                    <a:lnTo>
                      <a:pt x="1246" y="1062"/>
                    </a:lnTo>
                    <a:lnTo>
                      <a:pt x="1248" y="1062"/>
                    </a:lnTo>
                    <a:lnTo>
                      <a:pt x="1248" y="1066"/>
                    </a:lnTo>
                    <a:lnTo>
                      <a:pt x="1246" y="1070"/>
                    </a:lnTo>
                    <a:lnTo>
                      <a:pt x="1246" y="1072"/>
                    </a:lnTo>
                    <a:lnTo>
                      <a:pt x="1252" y="1070"/>
                    </a:lnTo>
                    <a:lnTo>
                      <a:pt x="1252" y="1073"/>
                    </a:lnTo>
                    <a:lnTo>
                      <a:pt x="1246" y="1077"/>
                    </a:lnTo>
                    <a:lnTo>
                      <a:pt x="1243" y="1077"/>
                    </a:lnTo>
                    <a:lnTo>
                      <a:pt x="1241" y="1075"/>
                    </a:lnTo>
                    <a:lnTo>
                      <a:pt x="1239" y="1079"/>
                    </a:lnTo>
                    <a:lnTo>
                      <a:pt x="1239" y="1081"/>
                    </a:lnTo>
                    <a:lnTo>
                      <a:pt x="1237" y="1083"/>
                    </a:lnTo>
                    <a:lnTo>
                      <a:pt x="1243" y="1083"/>
                    </a:lnTo>
                    <a:lnTo>
                      <a:pt x="1248" y="1083"/>
                    </a:lnTo>
                    <a:lnTo>
                      <a:pt x="1252" y="1081"/>
                    </a:lnTo>
                    <a:lnTo>
                      <a:pt x="1252" y="1081"/>
                    </a:lnTo>
                    <a:lnTo>
                      <a:pt x="1252" y="1083"/>
                    </a:lnTo>
                    <a:lnTo>
                      <a:pt x="1252" y="1087"/>
                    </a:lnTo>
                    <a:lnTo>
                      <a:pt x="1246" y="1087"/>
                    </a:lnTo>
                    <a:lnTo>
                      <a:pt x="1243" y="1087"/>
                    </a:lnTo>
                    <a:lnTo>
                      <a:pt x="1239" y="1092"/>
                    </a:lnTo>
                    <a:lnTo>
                      <a:pt x="1246" y="1090"/>
                    </a:lnTo>
                    <a:lnTo>
                      <a:pt x="1248" y="1090"/>
                    </a:lnTo>
                    <a:lnTo>
                      <a:pt x="1252" y="1090"/>
                    </a:lnTo>
                    <a:lnTo>
                      <a:pt x="1254" y="1090"/>
                    </a:lnTo>
                    <a:lnTo>
                      <a:pt x="1254" y="1096"/>
                    </a:lnTo>
                    <a:lnTo>
                      <a:pt x="1252" y="1096"/>
                    </a:lnTo>
                    <a:lnTo>
                      <a:pt x="1248" y="1096"/>
                    </a:lnTo>
                    <a:lnTo>
                      <a:pt x="1246" y="1100"/>
                    </a:lnTo>
                    <a:lnTo>
                      <a:pt x="1248" y="1098"/>
                    </a:lnTo>
                    <a:lnTo>
                      <a:pt x="1252" y="1100"/>
                    </a:lnTo>
                    <a:lnTo>
                      <a:pt x="1254" y="1096"/>
                    </a:lnTo>
                    <a:lnTo>
                      <a:pt x="1258" y="1100"/>
                    </a:lnTo>
                    <a:lnTo>
                      <a:pt x="1260" y="1107"/>
                    </a:lnTo>
                    <a:lnTo>
                      <a:pt x="1256" y="1109"/>
                    </a:lnTo>
                    <a:lnTo>
                      <a:pt x="1254" y="1109"/>
                    </a:lnTo>
                    <a:lnTo>
                      <a:pt x="1252" y="1111"/>
                    </a:lnTo>
                    <a:lnTo>
                      <a:pt x="1248" y="1111"/>
                    </a:lnTo>
                    <a:lnTo>
                      <a:pt x="1252" y="1113"/>
                    </a:lnTo>
                    <a:lnTo>
                      <a:pt x="1254" y="1113"/>
                    </a:lnTo>
                    <a:lnTo>
                      <a:pt x="1254" y="1113"/>
                    </a:lnTo>
                    <a:lnTo>
                      <a:pt x="1260" y="1113"/>
                    </a:lnTo>
                    <a:lnTo>
                      <a:pt x="1261" y="1115"/>
                    </a:lnTo>
                    <a:lnTo>
                      <a:pt x="1260" y="1117"/>
                    </a:lnTo>
                    <a:lnTo>
                      <a:pt x="1258" y="1121"/>
                    </a:lnTo>
                    <a:lnTo>
                      <a:pt x="1260" y="1121"/>
                    </a:lnTo>
                    <a:lnTo>
                      <a:pt x="1263" y="1121"/>
                    </a:lnTo>
                    <a:lnTo>
                      <a:pt x="1267" y="1122"/>
                    </a:lnTo>
                    <a:lnTo>
                      <a:pt x="1265" y="1126"/>
                    </a:lnTo>
                    <a:lnTo>
                      <a:pt x="1263" y="1128"/>
                    </a:lnTo>
                    <a:lnTo>
                      <a:pt x="1258" y="1132"/>
                    </a:lnTo>
                    <a:lnTo>
                      <a:pt x="1256" y="1130"/>
                    </a:lnTo>
                    <a:lnTo>
                      <a:pt x="1254" y="1132"/>
                    </a:lnTo>
                    <a:lnTo>
                      <a:pt x="1258" y="1134"/>
                    </a:lnTo>
                    <a:lnTo>
                      <a:pt x="1258" y="1136"/>
                    </a:lnTo>
                    <a:lnTo>
                      <a:pt x="1254" y="1138"/>
                    </a:lnTo>
                    <a:lnTo>
                      <a:pt x="1248" y="1134"/>
                    </a:lnTo>
                    <a:lnTo>
                      <a:pt x="1243" y="1134"/>
                    </a:lnTo>
                    <a:lnTo>
                      <a:pt x="1248" y="1138"/>
                    </a:lnTo>
                    <a:lnTo>
                      <a:pt x="1248" y="1139"/>
                    </a:lnTo>
                    <a:lnTo>
                      <a:pt x="1252" y="1143"/>
                    </a:lnTo>
                    <a:lnTo>
                      <a:pt x="1254" y="1147"/>
                    </a:lnTo>
                    <a:lnTo>
                      <a:pt x="1254" y="1147"/>
                    </a:lnTo>
                    <a:lnTo>
                      <a:pt x="1252" y="1147"/>
                    </a:lnTo>
                    <a:lnTo>
                      <a:pt x="1248" y="1151"/>
                    </a:lnTo>
                    <a:lnTo>
                      <a:pt x="1243" y="1151"/>
                    </a:lnTo>
                    <a:lnTo>
                      <a:pt x="1252" y="1151"/>
                    </a:lnTo>
                    <a:lnTo>
                      <a:pt x="1252" y="1151"/>
                    </a:lnTo>
                    <a:lnTo>
                      <a:pt x="1252" y="1151"/>
                    </a:lnTo>
                    <a:lnTo>
                      <a:pt x="1258" y="1147"/>
                    </a:lnTo>
                    <a:lnTo>
                      <a:pt x="1260" y="1151"/>
                    </a:lnTo>
                    <a:lnTo>
                      <a:pt x="1260" y="1151"/>
                    </a:lnTo>
                    <a:lnTo>
                      <a:pt x="1261" y="1153"/>
                    </a:lnTo>
                    <a:lnTo>
                      <a:pt x="1260" y="1154"/>
                    </a:lnTo>
                    <a:lnTo>
                      <a:pt x="1261" y="1154"/>
                    </a:lnTo>
                    <a:lnTo>
                      <a:pt x="1263" y="1156"/>
                    </a:lnTo>
                    <a:lnTo>
                      <a:pt x="1261" y="1160"/>
                    </a:lnTo>
                    <a:lnTo>
                      <a:pt x="1263" y="1160"/>
                    </a:lnTo>
                    <a:lnTo>
                      <a:pt x="1267" y="1160"/>
                    </a:lnTo>
                    <a:lnTo>
                      <a:pt x="1267" y="1160"/>
                    </a:lnTo>
                    <a:lnTo>
                      <a:pt x="1271" y="1160"/>
                    </a:lnTo>
                    <a:lnTo>
                      <a:pt x="1271" y="1164"/>
                    </a:lnTo>
                    <a:lnTo>
                      <a:pt x="1267" y="1166"/>
                    </a:lnTo>
                    <a:lnTo>
                      <a:pt x="1267" y="1168"/>
                    </a:lnTo>
                    <a:lnTo>
                      <a:pt x="1271" y="1168"/>
                    </a:lnTo>
                    <a:lnTo>
                      <a:pt x="1273" y="1162"/>
                    </a:lnTo>
                    <a:lnTo>
                      <a:pt x="1273" y="1164"/>
                    </a:lnTo>
                    <a:lnTo>
                      <a:pt x="1273" y="1166"/>
                    </a:lnTo>
                    <a:lnTo>
                      <a:pt x="1276" y="1170"/>
                    </a:lnTo>
                    <a:lnTo>
                      <a:pt x="1273" y="1171"/>
                    </a:lnTo>
                    <a:lnTo>
                      <a:pt x="1267" y="1177"/>
                    </a:lnTo>
                    <a:lnTo>
                      <a:pt x="1263" y="1181"/>
                    </a:lnTo>
                    <a:lnTo>
                      <a:pt x="1260" y="1181"/>
                    </a:lnTo>
                    <a:lnTo>
                      <a:pt x="1263" y="1181"/>
                    </a:lnTo>
                    <a:lnTo>
                      <a:pt x="1265" y="1181"/>
                    </a:lnTo>
                    <a:lnTo>
                      <a:pt x="1273" y="1175"/>
                    </a:lnTo>
                    <a:lnTo>
                      <a:pt x="1276" y="1175"/>
                    </a:lnTo>
                    <a:lnTo>
                      <a:pt x="1276" y="1177"/>
                    </a:lnTo>
                    <a:lnTo>
                      <a:pt x="1273" y="1181"/>
                    </a:lnTo>
                    <a:lnTo>
                      <a:pt x="1271" y="1185"/>
                    </a:lnTo>
                    <a:lnTo>
                      <a:pt x="1273" y="1185"/>
                    </a:lnTo>
                    <a:lnTo>
                      <a:pt x="1276" y="1177"/>
                    </a:lnTo>
                    <a:lnTo>
                      <a:pt x="1280" y="1175"/>
                    </a:lnTo>
                    <a:lnTo>
                      <a:pt x="1282" y="1175"/>
                    </a:lnTo>
                    <a:lnTo>
                      <a:pt x="1282" y="1177"/>
                    </a:lnTo>
                    <a:lnTo>
                      <a:pt x="1280" y="1177"/>
                    </a:lnTo>
                    <a:lnTo>
                      <a:pt x="1280" y="1181"/>
                    </a:lnTo>
                    <a:lnTo>
                      <a:pt x="1280" y="1181"/>
                    </a:lnTo>
                    <a:lnTo>
                      <a:pt x="1284" y="1177"/>
                    </a:lnTo>
                    <a:lnTo>
                      <a:pt x="1286" y="1181"/>
                    </a:lnTo>
                    <a:lnTo>
                      <a:pt x="1280" y="1185"/>
                    </a:lnTo>
                    <a:lnTo>
                      <a:pt x="1280" y="1186"/>
                    </a:lnTo>
                    <a:lnTo>
                      <a:pt x="1280" y="1186"/>
                    </a:lnTo>
                    <a:lnTo>
                      <a:pt x="1284" y="1185"/>
                    </a:lnTo>
                    <a:lnTo>
                      <a:pt x="1292" y="1177"/>
                    </a:lnTo>
                    <a:lnTo>
                      <a:pt x="1292" y="1177"/>
                    </a:lnTo>
                    <a:lnTo>
                      <a:pt x="1290" y="1181"/>
                    </a:lnTo>
                    <a:lnTo>
                      <a:pt x="1290" y="1181"/>
                    </a:lnTo>
                    <a:lnTo>
                      <a:pt x="1295" y="1177"/>
                    </a:lnTo>
                    <a:lnTo>
                      <a:pt x="1295" y="1181"/>
                    </a:lnTo>
                    <a:lnTo>
                      <a:pt x="1295" y="1186"/>
                    </a:lnTo>
                    <a:lnTo>
                      <a:pt x="1292" y="1186"/>
                    </a:lnTo>
                    <a:lnTo>
                      <a:pt x="1293" y="1188"/>
                    </a:lnTo>
                    <a:lnTo>
                      <a:pt x="1297" y="1188"/>
                    </a:lnTo>
                    <a:lnTo>
                      <a:pt x="1301" y="1192"/>
                    </a:lnTo>
                    <a:lnTo>
                      <a:pt x="1305" y="1188"/>
                    </a:lnTo>
                    <a:lnTo>
                      <a:pt x="1310" y="1186"/>
                    </a:lnTo>
                    <a:lnTo>
                      <a:pt x="1310" y="1186"/>
                    </a:lnTo>
                    <a:lnTo>
                      <a:pt x="1310" y="1190"/>
                    </a:lnTo>
                    <a:lnTo>
                      <a:pt x="1307" y="1190"/>
                    </a:lnTo>
                    <a:lnTo>
                      <a:pt x="1305" y="1192"/>
                    </a:lnTo>
                    <a:lnTo>
                      <a:pt x="1314" y="1196"/>
                    </a:lnTo>
                    <a:lnTo>
                      <a:pt x="1318" y="1198"/>
                    </a:lnTo>
                    <a:lnTo>
                      <a:pt x="1312" y="1200"/>
                    </a:lnTo>
                    <a:lnTo>
                      <a:pt x="1312" y="1202"/>
                    </a:lnTo>
                    <a:lnTo>
                      <a:pt x="1305" y="1202"/>
                    </a:lnTo>
                    <a:lnTo>
                      <a:pt x="1305" y="1202"/>
                    </a:lnTo>
                    <a:lnTo>
                      <a:pt x="1297" y="1202"/>
                    </a:lnTo>
                    <a:lnTo>
                      <a:pt x="1295" y="1205"/>
                    </a:lnTo>
                    <a:lnTo>
                      <a:pt x="1288" y="1205"/>
                    </a:lnTo>
                    <a:lnTo>
                      <a:pt x="1276" y="1209"/>
                    </a:lnTo>
                    <a:lnTo>
                      <a:pt x="1276" y="1211"/>
                    </a:lnTo>
                    <a:lnTo>
                      <a:pt x="1284" y="1209"/>
                    </a:lnTo>
                    <a:lnTo>
                      <a:pt x="1292" y="1205"/>
                    </a:lnTo>
                    <a:lnTo>
                      <a:pt x="1295" y="1209"/>
                    </a:lnTo>
                    <a:lnTo>
                      <a:pt x="1295" y="1211"/>
                    </a:lnTo>
                    <a:lnTo>
                      <a:pt x="1288" y="1211"/>
                    </a:lnTo>
                    <a:lnTo>
                      <a:pt x="1280" y="1211"/>
                    </a:lnTo>
                    <a:lnTo>
                      <a:pt x="1276" y="1215"/>
                    </a:lnTo>
                    <a:lnTo>
                      <a:pt x="1273" y="1217"/>
                    </a:lnTo>
                    <a:lnTo>
                      <a:pt x="1267" y="1217"/>
                    </a:lnTo>
                    <a:lnTo>
                      <a:pt x="1267" y="1220"/>
                    </a:lnTo>
                    <a:lnTo>
                      <a:pt x="1267" y="1222"/>
                    </a:lnTo>
                    <a:lnTo>
                      <a:pt x="1260" y="1219"/>
                    </a:lnTo>
                    <a:lnTo>
                      <a:pt x="1256" y="1211"/>
                    </a:lnTo>
                    <a:lnTo>
                      <a:pt x="1256" y="1215"/>
                    </a:lnTo>
                    <a:lnTo>
                      <a:pt x="1254" y="1217"/>
                    </a:lnTo>
                    <a:lnTo>
                      <a:pt x="1258" y="1217"/>
                    </a:lnTo>
                    <a:lnTo>
                      <a:pt x="1258" y="1219"/>
                    </a:lnTo>
                    <a:lnTo>
                      <a:pt x="1265" y="1226"/>
                    </a:lnTo>
                    <a:lnTo>
                      <a:pt x="1265" y="1228"/>
                    </a:lnTo>
                    <a:lnTo>
                      <a:pt x="1263" y="1226"/>
                    </a:lnTo>
                    <a:lnTo>
                      <a:pt x="1260" y="1230"/>
                    </a:lnTo>
                    <a:lnTo>
                      <a:pt x="1261" y="1232"/>
                    </a:lnTo>
                    <a:lnTo>
                      <a:pt x="1263" y="1234"/>
                    </a:lnTo>
                    <a:lnTo>
                      <a:pt x="1265" y="1232"/>
                    </a:lnTo>
                    <a:lnTo>
                      <a:pt x="1267" y="1232"/>
                    </a:lnTo>
                    <a:lnTo>
                      <a:pt x="1271" y="1224"/>
                    </a:lnTo>
                    <a:lnTo>
                      <a:pt x="1276" y="1224"/>
                    </a:lnTo>
                    <a:lnTo>
                      <a:pt x="1280" y="1220"/>
                    </a:lnTo>
                    <a:lnTo>
                      <a:pt x="1282" y="1220"/>
                    </a:lnTo>
                    <a:lnTo>
                      <a:pt x="1284" y="1217"/>
                    </a:lnTo>
                    <a:lnTo>
                      <a:pt x="1288" y="1215"/>
                    </a:lnTo>
                    <a:lnTo>
                      <a:pt x="1292" y="1215"/>
                    </a:lnTo>
                    <a:lnTo>
                      <a:pt x="1297" y="1211"/>
                    </a:lnTo>
                    <a:lnTo>
                      <a:pt x="1301" y="1211"/>
                    </a:lnTo>
                    <a:lnTo>
                      <a:pt x="1305" y="1211"/>
                    </a:lnTo>
                    <a:lnTo>
                      <a:pt x="1305" y="1211"/>
                    </a:lnTo>
                    <a:lnTo>
                      <a:pt x="1301" y="1211"/>
                    </a:lnTo>
                    <a:lnTo>
                      <a:pt x="1297" y="1209"/>
                    </a:lnTo>
                    <a:lnTo>
                      <a:pt x="1301" y="1209"/>
                    </a:lnTo>
                    <a:lnTo>
                      <a:pt x="1310" y="1205"/>
                    </a:lnTo>
                    <a:lnTo>
                      <a:pt x="1316" y="1209"/>
                    </a:lnTo>
                    <a:lnTo>
                      <a:pt x="1318" y="1215"/>
                    </a:lnTo>
                    <a:lnTo>
                      <a:pt x="1318" y="1217"/>
                    </a:lnTo>
                    <a:lnTo>
                      <a:pt x="1314" y="1220"/>
                    </a:lnTo>
                    <a:lnTo>
                      <a:pt x="1310" y="1220"/>
                    </a:lnTo>
                    <a:lnTo>
                      <a:pt x="1310" y="1224"/>
                    </a:lnTo>
                    <a:lnTo>
                      <a:pt x="1314" y="1224"/>
                    </a:lnTo>
                    <a:lnTo>
                      <a:pt x="1314" y="1228"/>
                    </a:lnTo>
                    <a:lnTo>
                      <a:pt x="1316" y="1226"/>
                    </a:lnTo>
                    <a:lnTo>
                      <a:pt x="1318" y="1222"/>
                    </a:lnTo>
                    <a:lnTo>
                      <a:pt x="1322" y="1219"/>
                    </a:lnTo>
                    <a:lnTo>
                      <a:pt x="1325" y="1219"/>
                    </a:lnTo>
                    <a:lnTo>
                      <a:pt x="1329" y="1220"/>
                    </a:lnTo>
                    <a:lnTo>
                      <a:pt x="1325" y="1222"/>
                    </a:lnTo>
                    <a:lnTo>
                      <a:pt x="1325" y="1224"/>
                    </a:lnTo>
                    <a:lnTo>
                      <a:pt x="1331" y="1224"/>
                    </a:lnTo>
                    <a:lnTo>
                      <a:pt x="1335" y="1226"/>
                    </a:lnTo>
                    <a:lnTo>
                      <a:pt x="1337" y="1228"/>
                    </a:lnTo>
                    <a:lnTo>
                      <a:pt x="1335" y="1226"/>
                    </a:lnTo>
                    <a:lnTo>
                      <a:pt x="1331" y="1228"/>
                    </a:lnTo>
                    <a:lnTo>
                      <a:pt x="1331" y="1232"/>
                    </a:lnTo>
                    <a:lnTo>
                      <a:pt x="1337" y="1234"/>
                    </a:lnTo>
                    <a:lnTo>
                      <a:pt x="1339" y="1235"/>
                    </a:lnTo>
                    <a:lnTo>
                      <a:pt x="1335" y="1239"/>
                    </a:lnTo>
                    <a:lnTo>
                      <a:pt x="1331" y="1235"/>
                    </a:lnTo>
                    <a:lnTo>
                      <a:pt x="1331" y="1239"/>
                    </a:lnTo>
                    <a:lnTo>
                      <a:pt x="1335" y="1241"/>
                    </a:lnTo>
                    <a:lnTo>
                      <a:pt x="1335" y="1245"/>
                    </a:lnTo>
                    <a:lnTo>
                      <a:pt x="1331" y="1245"/>
                    </a:lnTo>
                    <a:lnTo>
                      <a:pt x="1331" y="1249"/>
                    </a:lnTo>
                    <a:lnTo>
                      <a:pt x="1325" y="1251"/>
                    </a:lnTo>
                    <a:lnTo>
                      <a:pt x="1322" y="1247"/>
                    </a:lnTo>
                    <a:lnTo>
                      <a:pt x="1325" y="1251"/>
                    </a:lnTo>
                    <a:lnTo>
                      <a:pt x="1331" y="1252"/>
                    </a:lnTo>
                    <a:lnTo>
                      <a:pt x="1335" y="1252"/>
                    </a:lnTo>
                    <a:lnTo>
                      <a:pt x="1335" y="1256"/>
                    </a:lnTo>
                    <a:lnTo>
                      <a:pt x="1331" y="1256"/>
                    </a:lnTo>
                    <a:lnTo>
                      <a:pt x="1331" y="1256"/>
                    </a:lnTo>
                    <a:lnTo>
                      <a:pt x="1329" y="1256"/>
                    </a:lnTo>
                    <a:lnTo>
                      <a:pt x="1331" y="1258"/>
                    </a:lnTo>
                    <a:lnTo>
                      <a:pt x="1335" y="1258"/>
                    </a:lnTo>
                    <a:lnTo>
                      <a:pt x="1335" y="1258"/>
                    </a:lnTo>
                    <a:lnTo>
                      <a:pt x="1335" y="1262"/>
                    </a:lnTo>
                    <a:lnTo>
                      <a:pt x="1335" y="1266"/>
                    </a:lnTo>
                    <a:lnTo>
                      <a:pt x="1331" y="1266"/>
                    </a:lnTo>
                    <a:lnTo>
                      <a:pt x="1329" y="1269"/>
                    </a:lnTo>
                    <a:lnTo>
                      <a:pt x="1325" y="1271"/>
                    </a:lnTo>
                    <a:lnTo>
                      <a:pt x="1320" y="1271"/>
                    </a:lnTo>
                    <a:lnTo>
                      <a:pt x="1316" y="1275"/>
                    </a:lnTo>
                    <a:lnTo>
                      <a:pt x="1314" y="1275"/>
                    </a:lnTo>
                    <a:lnTo>
                      <a:pt x="1312" y="1279"/>
                    </a:lnTo>
                    <a:lnTo>
                      <a:pt x="1310" y="1279"/>
                    </a:lnTo>
                    <a:lnTo>
                      <a:pt x="1310" y="1281"/>
                    </a:lnTo>
                    <a:lnTo>
                      <a:pt x="1305" y="1281"/>
                    </a:lnTo>
                    <a:lnTo>
                      <a:pt x="1305" y="1279"/>
                    </a:lnTo>
                    <a:lnTo>
                      <a:pt x="1301" y="1281"/>
                    </a:lnTo>
                    <a:lnTo>
                      <a:pt x="1297" y="1281"/>
                    </a:lnTo>
                    <a:lnTo>
                      <a:pt x="1297" y="1279"/>
                    </a:lnTo>
                    <a:lnTo>
                      <a:pt x="1293" y="1281"/>
                    </a:lnTo>
                    <a:lnTo>
                      <a:pt x="1290" y="1281"/>
                    </a:lnTo>
                    <a:lnTo>
                      <a:pt x="1288" y="1279"/>
                    </a:lnTo>
                    <a:lnTo>
                      <a:pt x="1286" y="1279"/>
                    </a:lnTo>
                    <a:lnTo>
                      <a:pt x="1286" y="1281"/>
                    </a:lnTo>
                    <a:lnTo>
                      <a:pt x="1284" y="1283"/>
                    </a:lnTo>
                    <a:lnTo>
                      <a:pt x="1280" y="1283"/>
                    </a:lnTo>
                    <a:lnTo>
                      <a:pt x="1280" y="1284"/>
                    </a:lnTo>
                    <a:lnTo>
                      <a:pt x="1280" y="1284"/>
                    </a:lnTo>
                    <a:lnTo>
                      <a:pt x="1280" y="1286"/>
                    </a:lnTo>
                    <a:lnTo>
                      <a:pt x="1276" y="1290"/>
                    </a:lnTo>
                    <a:lnTo>
                      <a:pt x="1273" y="1288"/>
                    </a:lnTo>
                    <a:lnTo>
                      <a:pt x="1273" y="1290"/>
                    </a:lnTo>
                    <a:lnTo>
                      <a:pt x="1273" y="1296"/>
                    </a:lnTo>
                    <a:lnTo>
                      <a:pt x="1267" y="1296"/>
                    </a:lnTo>
                    <a:lnTo>
                      <a:pt x="1267" y="1300"/>
                    </a:lnTo>
                    <a:lnTo>
                      <a:pt x="1265" y="1300"/>
                    </a:lnTo>
                    <a:lnTo>
                      <a:pt x="1263" y="1303"/>
                    </a:lnTo>
                    <a:lnTo>
                      <a:pt x="1261" y="1303"/>
                    </a:lnTo>
                    <a:lnTo>
                      <a:pt x="1258" y="1303"/>
                    </a:lnTo>
                    <a:lnTo>
                      <a:pt x="1254" y="1303"/>
                    </a:lnTo>
                    <a:lnTo>
                      <a:pt x="1254" y="1305"/>
                    </a:lnTo>
                    <a:lnTo>
                      <a:pt x="1252" y="1307"/>
                    </a:lnTo>
                    <a:lnTo>
                      <a:pt x="1248" y="1305"/>
                    </a:lnTo>
                    <a:lnTo>
                      <a:pt x="1243" y="1305"/>
                    </a:lnTo>
                    <a:lnTo>
                      <a:pt x="1241" y="1305"/>
                    </a:lnTo>
                    <a:lnTo>
                      <a:pt x="1237" y="1305"/>
                    </a:lnTo>
                    <a:lnTo>
                      <a:pt x="1235" y="1305"/>
                    </a:lnTo>
                    <a:lnTo>
                      <a:pt x="1226" y="1309"/>
                    </a:lnTo>
                    <a:lnTo>
                      <a:pt x="1222" y="1307"/>
                    </a:lnTo>
                    <a:lnTo>
                      <a:pt x="1224" y="1305"/>
                    </a:lnTo>
                    <a:lnTo>
                      <a:pt x="1222" y="1305"/>
                    </a:lnTo>
                    <a:lnTo>
                      <a:pt x="1218" y="1307"/>
                    </a:lnTo>
                    <a:lnTo>
                      <a:pt x="1216" y="1307"/>
                    </a:lnTo>
                    <a:lnTo>
                      <a:pt x="1211" y="1303"/>
                    </a:lnTo>
                    <a:lnTo>
                      <a:pt x="1209" y="1305"/>
                    </a:lnTo>
                    <a:lnTo>
                      <a:pt x="1203" y="1303"/>
                    </a:lnTo>
                    <a:lnTo>
                      <a:pt x="1201" y="1303"/>
                    </a:lnTo>
                    <a:lnTo>
                      <a:pt x="1199" y="1303"/>
                    </a:lnTo>
                    <a:lnTo>
                      <a:pt x="1197" y="1303"/>
                    </a:lnTo>
                    <a:lnTo>
                      <a:pt x="1192" y="1303"/>
                    </a:lnTo>
                    <a:lnTo>
                      <a:pt x="1188" y="1300"/>
                    </a:lnTo>
                    <a:lnTo>
                      <a:pt x="1184" y="1303"/>
                    </a:lnTo>
                    <a:lnTo>
                      <a:pt x="1180" y="1303"/>
                    </a:lnTo>
                    <a:lnTo>
                      <a:pt x="1177" y="1300"/>
                    </a:lnTo>
                    <a:lnTo>
                      <a:pt x="1173" y="1303"/>
                    </a:lnTo>
                    <a:lnTo>
                      <a:pt x="1173" y="1303"/>
                    </a:lnTo>
                    <a:lnTo>
                      <a:pt x="1167" y="1303"/>
                    </a:lnTo>
                    <a:lnTo>
                      <a:pt x="1164" y="1300"/>
                    </a:lnTo>
                    <a:lnTo>
                      <a:pt x="1156" y="1303"/>
                    </a:lnTo>
                    <a:lnTo>
                      <a:pt x="1150" y="1300"/>
                    </a:lnTo>
                    <a:lnTo>
                      <a:pt x="1148" y="1296"/>
                    </a:lnTo>
                    <a:lnTo>
                      <a:pt x="1145" y="1300"/>
                    </a:lnTo>
                    <a:lnTo>
                      <a:pt x="1143" y="1300"/>
                    </a:lnTo>
                    <a:lnTo>
                      <a:pt x="1145" y="1303"/>
                    </a:lnTo>
                    <a:lnTo>
                      <a:pt x="1143" y="1303"/>
                    </a:lnTo>
                    <a:lnTo>
                      <a:pt x="1139" y="1303"/>
                    </a:lnTo>
                    <a:lnTo>
                      <a:pt x="1133" y="1311"/>
                    </a:lnTo>
                    <a:lnTo>
                      <a:pt x="1130" y="1313"/>
                    </a:lnTo>
                    <a:lnTo>
                      <a:pt x="1130" y="1315"/>
                    </a:lnTo>
                    <a:lnTo>
                      <a:pt x="1128" y="1318"/>
                    </a:lnTo>
                    <a:lnTo>
                      <a:pt x="1128" y="1322"/>
                    </a:lnTo>
                    <a:lnTo>
                      <a:pt x="1124" y="1324"/>
                    </a:lnTo>
                    <a:lnTo>
                      <a:pt x="1118" y="1324"/>
                    </a:lnTo>
                    <a:lnTo>
                      <a:pt x="1115" y="1328"/>
                    </a:lnTo>
                    <a:lnTo>
                      <a:pt x="1109" y="1328"/>
                    </a:lnTo>
                    <a:lnTo>
                      <a:pt x="1105" y="1330"/>
                    </a:lnTo>
                    <a:lnTo>
                      <a:pt x="1105" y="1333"/>
                    </a:lnTo>
                    <a:lnTo>
                      <a:pt x="1103" y="1330"/>
                    </a:lnTo>
                    <a:lnTo>
                      <a:pt x="1100" y="1333"/>
                    </a:lnTo>
                    <a:lnTo>
                      <a:pt x="1100" y="1335"/>
                    </a:lnTo>
                    <a:lnTo>
                      <a:pt x="1096" y="1335"/>
                    </a:lnTo>
                    <a:lnTo>
                      <a:pt x="1090" y="1339"/>
                    </a:lnTo>
                    <a:lnTo>
                      <a:pt x="1090" y="1341"/>
                    </a:lnTo>
                    <a:lnTo>
                      <a:pt x="1088" y="1341"/>
                    </a:lnTo>
                    <a:lnTo>
                      <a:pt x="1084" y="1348"/>
                    </a:lnTo>
                    <a:lnTo>
                      <a:pt x="1077" y="1352"/>
                    </a:lnTo>
                    <a:lnTo>
                      <a:pt x="1075" y="1360"/>
                    </a:lnTo>
                    <a:lnTo>
                      <a:pt x="1069" y="1360"/>
                    </a:lnTo>
                    <a:lnTo>
                      <a:pt x="1066" y="1365"/>
                    </a:lnTo>
                    <a:lnTo>
                      <a:pt x="1062" y="1365"/>
                    </a:lnTo>
                    <a:lnTo>
                      <a:pt x="1060" y="1371"/>
                    </a:lnTo>
                    <a:lnTo>
                      <a:pt x="1060" y="1375"/>
                    </a:lnTo>
                    <a:lnTo>
                      <a:pt x="1051" y="1380"/>
                    </a:lnTo>
                    <a:lnTo>
                      <a:pt x="1049" y="1384"/>
                    </a:lnTo>
                    <a:lnTo>
                      <a:pt x="1039" y="1388"/>
                    </a:lnTo>
                    <a:lnTo>
                      <a:pt x="1034" y="1388"/>
                    </a:lnTo>
                    <a:lnTo>
                      <a:pt x="1037" y="1388"/>
                    </a:lnTo>
                    <a:lnTo>
                      <a:pt x="1049" y="1384"/>
                    </a:lnTo>
                    <a:lnTo>
                      <a:pt x="1056" y="1380"/>
                    </a:lnTo>
                    <a:lnTo>
                      <a:pt x="1062" y="1377"/>
                    </a:lnTo>
                    <a:lnTo>
                      <a:pt x="1068" y="1371"/>
                    </a:lnTo>
                    <a:lnTo>
                      <a:pt x="1071" y="1365"/>
                    </a:lnTo>
                    <a:lnTo>
                      <a:pt x="1075" y="1364"/>
                    </a:lnTo>
                    <a:lnTo>
                      <a:pt x="1084" y="1354"/>
                    </a:lnTo>
                    <a:lnTo>
                      <a:pt x="1096" y="1348"/>
                    </a:lnTo>
                    <a:lnTo>
                      <a:pt x="1105" y="1341"/>
                    </a:lnTo>
                    <a:lnTo>
                      <a:pt x="1109" y="1341"/>
                    </a:lnTo>
                    <a:lnTo>
                      <a:pt x="1115" y="1339"/>
                    </a:lnTo>
                    <a:lnTo>
                      <a:pt x="1124" y="1337"/>
                    </a:lnTo>
                    <a:lnTo>
                      <a:pt x="1135" y="1333"/>
                    </a:lnTo>
                    <a:lnTo>
                      <a:pt x="1139" y="1333"/>
                    </a:lnTo>
                    <a:lnTo>
                      <a:pt x="1143" y="1330"/>
                    </a:lnTo>
                    <a:lnTo>
                      <a:pt x="1156" y="1330"/>
                    </a:lnTo>
                    <a:lnTo>
                      <a:pt x="1160" y="1333"/>
                    </a:lnTo>
                    <a:lnTo>
                      <a:pt x="1169" y="1337"/>
                    </a:lnTo>
                    <a:lnTo>
                      <a:pt x="1169" y="1339"/>
                    </a:lnTo>
                    <a:lnTo>
                      <a:pt x="1164" y="1339"/>
                    </a:lnTo>
                    <a:lnTo>
                      <a:pt x="1164" y="1339"/>
                    </a:lnTo>
                    <a:lnTo>
                      <a:pt x="1164" y="1341"/>
                    </a:lnTo>
                    <a:lnTo>
                      <a:pt x="1167" y="1341"/>
                    </a:lnTo>
                    <a:lnTo>
                      <a:pt x="1169" y="1341"/>
                    </a:lnTo>
                    <a:lnTo>
                      <a:pt x="1173" y="1345"/>
                    </a:lnTo>
                    <a:lnTo>
                      <a:pt x="1169" y="1345"/>
                    </a:lnTo>
                    <a:lnTo>
                      <a:pt x="1173" y="1347"/>
                    </a:lnTo>
                    <a:lnTo>
                      <a:pt x="1167" y="1354"/>
                    </a:lnTo>
                    <a:lnTo>
                      <a:pt x="1164" y="1354"/>
                    </a:lnTo>
                    <a:lnTo>
                      <a:pt x="1160" y="1358"/>
                    </a:lnTo>
                    <a:lnTo>
                      <a:pt x="1158" y="1358"/>
                    </a:lnTo>
                    <a:lnTo>
                      <a:pt x="1152" y="1360"/>
                    </a:lnTo>
                    <a:lnTo>
                      <a:pt x="1148" y="1360"/>
                    </a:lnTo>
                    <a:lnTo>
                      <a:pt x="1145" y="1360"/>
                    </a:lnTo>
                    <a:lnTo>
                      <a:pt x="1143" y="1358"/>
                    </a:lnTo>
                    <a:lnTo>
                      <a:pt x="1139" y="1360"/>
                    </a:lnTo>
                    <a:lnTo>
                      <a:pt x="1135" y="1360"/>
                    </a:lnTo>
                    <a:lnTo>
                      <a:pt x="1130" y="1360"/>
                    </a:lnTo>
                    <a:lnTo>
                      <a:pt x="1126" y="1360"/>
                    </a:lnTo>
                    <a:lnTo>
                      <a:pt x="1130" y="1360"/>
                    </a:lnTo>
                    <a:lnTo>
                      <a:pt x="1135" y="1360"/>
                    </a:lnTo>
                    <a:lnTo>
                      <a:pt x="1143" y="1364"/>
                    </a:lnTo>
                    <a:lnTo>
                      <a:pt x="1145" y="1365"/>
                    </a:lnTo>
                    <a:lnTo>
                      <a:pt x="1147" y="1367"/>
                    </a:lnTo>
                    <a:lnTo>
                      <a:pt x="1150" y="1365"/>
                    </a:lnTo>
                    <a:lnTo>
                      <a:pt x="1154" y="1364"/>
                    </a:lnTo>
                    <a:lnTo>
                      <a:pt x="1158" y="1364"/>
                    </a:lnTo>
                    <a:lnTo>
                      <a:pt x="1160" y="1365"/>
                    </a:lnTo>
                    <a:lnTo>
                      <a:pt x="1160" y="1365"/>
                    </a:lnTo>
                    <a:lnTo>
                      <a:pt x="1164" y="1367"/>
                    </a:lnTo>
                    <a:lnTo>
                      <a:pt x="1160" y="1371"/>
                    </a:lnTo>
                    <a:lnTo>
                      <a:pt x="1154" y="1380"/>
                    </a:lnTo>
                    <a:lnTo>
                      <a:pt x="1152" y="1380"/>
                    </a:lnTo>
                    <a:lnTo>
                      <a:pt x="1148" y="1384"/>
                    </a:lnTo>
                    <a:lnTo>
                      <a:pt x="1156" y="1384"/>
                    </a:lnTo>
                    <a:lnTo>
                      <a:pt x="1156" y="1384"/>
                    </a:lnTo>
                    <a:lnTo>
                      <a:pt x="1154" y="1388"/>
                    </a:lnTo>
                    <a:lnTo>
                      <a:pt x="1156" y="1390"/>
                    </a:lnTo>
                    <a:lnTo>
                      <a:pt x="1156" y="1394"/>
                    </a:lnTo>
                    <a:lnTo>
                      <a:pt x="1156" y="1399"/>
                    </a:lnTo>
                    <a:lnTo>
                      <a:pt x="1158" y="1399"/>
                    </a:lnTo>
                    <a:lnTo>
                      <a:pt x="1160" y="1405"/>
                    </a:lnTo>
                    <a:lnTo>
                      <a:pt x="1164" y="1405"/>
                    </a:lnTo>
                    <a:lnTo>
                      <a:pt x="1164" y="1407"/>
                    </a:lnTo>
                    <a:lnTo>
                      <a:pt x="1169" y="1407"/>
                    </a:lnTo>
                    <a:lnTo>
                      <a:pt x="1169" y="1411"/>
                    </a:lnTo>
                    <a:lnTo>
                      <a:pt x="1167" y="1411"/>
                    </a:lnTo>
                    <a:lnTo>
                      <a:pt x="1169" y="1414"/>
                    </a:lnTo>
                    <a:lnTo>
                      <a:pt x="1177" y="1414"/>
                    </a:lnTo>
                    <a:lnTo>
                      <a:pt x="1180" y="1416"/>
                    </a:lnTo>
                    <a:lnTo>
                      <a:pt x="1182" y="1416"/>
                    </a:lnTo>
                    <a:lnTo>
                      <a:pt x="1184" y="1418"/>
                    </a:lnTo>
                    <a:lnTo>
                      <a:pt x="1188" y="1418"/>
                    </a:lnTo>
                    <a:lnTo>
                      <a:pt x="1194" y="1418"/>
                    </a:lnTo>
                    <a:lnTo>
                      <a:pt x="1194" y="1418"/>
                    </a:lnTo>
                    <a:lnTo>
                      <a:pt x="1199" y="1414"/>
                    </a:lnTo>
                    <a:lnTo>
                      <a:pt x="1201" y="1418"/>
                    </a:lnTo>
                    <a:lnTo>
                      <a:pt x="1199" y="1418"/>
                    </a:lnTo>
                    <a:lnTo>
                      <a:pt x="1205" y="1418"/>
                    </a:lnTo>
                    <a:lnTo>
                      <a:pt x="1211" y="1422"/>
                    </a:lnTo>
                    <a:lnTo>
                      <a:pt x="1211" y="1424"/>
                    </a:lnTo>
                    <a:lnTo>
                      <a:pt x="1209" y="1424"/>
                    </a:lnTo>
                    <a:lnTo>
                      <a:pt x="1207" y="1428"/>
                    </a:lnTo>
                    <a:lnTo>
                      <a:pt x="1211" y="1428"/>
                    </a:lnTo>
                    <a:lnTo>
                      <a:pt x="1214" y="1428"/>
                    </a:lnTo>
                    <a:lnTo>
                      <a:pt x="1216" y="1429"/>
                    </a:lnTo>
                    <a:lnTo>
                      <a:pt x="1212" y="1431"/>
                    </a:lnTo>
                    <a:lnTo>
                      <a:pt x="1211" y="1429"/>
                    </a:lnTo>
                    <a:lnTo>
                      <a:pt x="1207" y="1429"/>
                    </a:lnTo>
                    <a:lnTo>
                      <a:pt x="1201" y="1431"/>
                    </a:lnTo>
                    <a:lnTo>
                      <a:pt x="1194" y="1437"/>
                    </a:lnTo>
                    <a:lnTo>
                      <a:pt x="1188" y="1437"/>
                    </a:lnTo>
                    <a:lnTo>
                      <a:pt x="1184" y="1439"/>
                    </a:lnTo>
                    <a:lnTo>
                      <a:pt x="1177" y="1441"/>
                    </a:lnTo>
                    <a:lnTo>
                      <a:pt x="1173" y="1443"/>
                    </a:lnTo>
                    <a:lnTo>
                      <a:pt x="1167" y="1443"/>
                    </a:lnTo>
                    <a:lnTo>
                      <a:pt x="1169" y="1445"/>
                    </a:lnTo>
                    <a:lnTo>
                      <a:pt x="1164" y="1445"/>
                    </a:lnTo>
                    <a:lnTo>
                      <a:pt x="1164" y="1441"/>
                    </a:lnTo>
                    <a:lnTo>
                      <a:pt x="1160" y="1441"/>
                    </a:lnTo>
                    <a:lnTo>
                      <a:pt x="1160" y="1443"/>
                    </a:lnTo>
                    <a:lnTo>
                      <a:pt x="1158" y="1443"/>
                    </a:lnTo>
                    <a:lnTo>
                      <a:pt x="1156" y="1446"/>
                    </a:lnTo>
                    <a:lnTo>
                      <a:pt x="1156" y="1448"/>
                    </a:lnTo>
                    <a:lnTo>
                      <a:pt x="1150" y="1452"/>
                    </a:lnTo>
                    <a:lnTo>
                      <a:pt x="1145" y="1458"/>
                    </a:lnTo>
                    <a:lnTo>
                      <a:pt x="1143" y="1460"/>
                    </a:lnTo>
                    <a:lnTo>
                      <a:pt x="1139" y="1463"/>
                    </a:lnTo>
                    <a:lnTo>
                      <a:pt x="1135" y="1463"/>
                    </a:lnTo>
                    <a:lnTo>
                      <a:pt x="1135" y="1463"/>
                    </a:lnTo>
                    <a:lnTo>
                      <a:pt x="1135" y="1467"/>
                    </a:lnTo>
                    <a:lnTo>
                      <a:pt x="1133" y="1469"/>
                    </a:lnTo>
                    <a:lnTo>
                      <a:pt x="1130" y="1467"/>
                    </a:lnTo>
                    <a:lnTo>
                      <a:pt x="1130" y="1469"/>
                    </a:lnTo>
                    <a:lnTo>
                      <a:pt x="1126" y="1465"/>
                    </a:lnTo>
                    <a:lnTo>
                      <a:pt x="1126" y="1461"/>
                    </a:lnTo>
                    <a:lnTo>
                      <a:pt x="1124" y="1460"/>
                    </a:lnTo>
                    <a:lnTo>
                      <a:pt x="1122" y="1461"/>
                    </a:lnTo>
                    <a:lnTo>
                      <a:pt x="1120" y="1458"/>
                    </a:lnTo>
                    <a:lnTo>
                      <a:pt x="1120" y="1454"/>
                    </a:lnTo>
                    <a:lnTo>
                      <a:pt x="1120" y="1452"/>
                    </a:lnTo>
                    <a:lnTo>
                      <a:pt x="1122" y="1445"/>
                    </a:lnTo>
                    <a:lnTo>
                      <a:pt x="1128" y="1441"/>
                    </a:lnTo>
                    <a:lnTo>
                      <a:pt x="1128" y="1439"/>
                    </a:lnTo>
                    <a:lnTo>
                      <a:pt x="1135" y="1433"/>
                    </a:lnTo>
                    <a:lnTo>
                      <a:pt x="1143" y="1431"/>
                    </a:lnTo>
                    <a:lnTo>
                      <a:pt x="1148" y="1428"/>
                    </a:lnTo>
                    <a:lnTo>
                      <a:pt x="1154" y="1428"/>
                    </a:lnTo>
                    <a:lnTo>
                      <a:pt x="1158" y="1428"/>
                    </a:lnTo>
                    <a:lnTo>
                      <a:pt x="1158" y="1429"/>
                    </a:lnTo>
                    <a:lnTo>
                      <a:pt x="1160" y="1431"/>
                    </a:lnTo>
                    <a:lnTo>
                      <a:pt x="1160" y="1429"/>
                    </a:lnTo>
                    <a:lnTo>
                      <a:pt x="1160" y="1428"/>
                    </a:lnTo>
                    <a:lnTo>
                      <a:pt x="1164" y="1428"/>
                    </a:lnTo>
                    <a:lnTo>
                      <a:pt x="1167" y="1428"/>
                    </a:lnTo>
                    <a:lnTo>
                      <a:pt x="1173" y="1424"/>
                    </a:lnTo>
                    <a:lnTo>
                      <a:pt x="1167" y="1428"/>
                    </a:lnTo>
                    <a:lnTo>
                      <a:pt x="1160" y="1424"/>
                    </a:lnTo>
                    <a:lnTo>
                      <a:pt x="1158" y="1422"/>
                    </a:lnTo>
                    <a:lnTo>
                      <a:pt x="1154" y="1422"/>
                    </a:lnTo>
                    <a:lnTo>
                      <a:pt x="1150" y="1428"/>
                    </a:lnTo>
                    <a:lnTo>
                      <a:pt x="1147" y="1424"/>
                    </a:lnTo>
                    <a:lnTo>
                      <a:pt x="1150" y="1422"/>
                    </a:lnTo>
                    <a:lnTo>
                      <a:pt x="1154" y="1418"/>
                    </a:lnTo>
                    <a:lnTo>
                      <a:pt x="1158" y="1416"/>
                    </a:lnTo>
                    <a:lnTo>
                      <a:pt x="1158" y="1414"/>
                    </a:lnTo>
                    <a:lnTo>
                      <a:pt x="1156" y="1416"/>
                    </a:lnTo>
                    <a:lnTo>
                      <a:pt x="1156" y="1413"/>
                    </a:lnTo>
                    <a:lnTo>
                      <a:pt x="1150" y="1418"/>
                    </a:lnTo>
                    <a:lnTo>
                      <a:pt x="1148" y="1418"/>
                    </a:lnTo>
                    <a:lnTo>
                      <a:pt x="1143" y="1422"/>
                    </a:lnTo>
                    <a:lnTo>
                      <a:pt x="1139" y="1422"/>
                    </a:lnTo>
                    <a:lnTo>
                      <a:pt x="1139" y="1428"/>
                    </a:lnTo>
                    <a:lnTo>
                      <a:pt x="1130" y="1428"/>
                    </a:lnTo>
                    <a:lnTo>
                      <a:pt x="1130" y="1428"/>
                    </a:lnTo>
                    <a:lnTo>
                      <a:pt x="1130" y="1424"/>
                    </a:lnTo>
                    <a:lnTo>
                      <a:pt x="1128" y="1424"/>
                    </a:lnTo>
                    <a:lnTo>
                      <a:pt x="1130" y="1422"/>
                    </a:lnTo>
                    <a:lnTo>
                      <a:pt x="1128" y="1424"/>
                    </a:lnTo>
                    <a:lnTo>
                      <a:pt x="1126" y="1428"/>
                    </a:lnTo>
                    <a:lnTo>
                      <a:pt x="1120" y="1429"/>
                    </a:lnTo>
                    <a:lnTo>
                      <a:pt x="1118" y="1428"/>
                    </a:lnTo>
                    <a:lnTo>
                      <a:pt x="1118" y="1429"/>
                    </a:lnTo>
                    <a:lnTo>
                      <a:pt x="1115" y="1429"/>
                    </a:lnTo>
                    <a:lnTo>
                      <a:pt x="1115" y="1428"/>
                    </a:lnTo>
                    <a:lnTo>
                      <a:pt x="1109" y="1428"/>
                    </a:lnTo>
                    <a:lnTo>
                      <a:pt x="1105" y="1428"/>
                    </a:lnTo>
                    <a:lnTo>
                      <a:pt x="1103" y="1428"/>
                    </a:lnTo>
                    <a:lnTo>
                      <a:pt x="1103" y="1424"/>
                    </a:lnTo>
                    <a:lnTo>
                      <a:pt x="1105" y="1422"/>
                    </a:lnTo>
                    <a:lnTo>
                      <a:pt x="1103" y="1422"/>
                    </a:lnTo>
                    <a:lnTo>
                      <a:pt x="1105" y="1418"/>
                    </a:lnTo>
                    <a:lnTo>
                      <a:pt x="1105" y="1418"/>
                    </a:lnTo>
                    <a:lnTo>
                      <a:pt x="1103" y="1416"/>
                    </a:lnTo>
                    <a:lnTo>
                      <a:pt x="1101" y="1413"/>
                    </a:lnTo>
                    <a:lnTo>
                      <a:pt x="1100" y="1413"/>
                    </a:lnTo>
                    <a:lnTo>
                      <a:pt x="1101" y="1411"/>
                    </a:lnTo>
                    <a:lnTo>
                      <a:pt x="1105" y="1384"/>
                    </a:lnTo>
                    <a:lnTo>
                      <a:pt x="1105" y="1380"/>
                    </a:lnTo>
                    <a:lnTo>
                      <a:pt x="1098" y="1373"/>
                    </a:lnTo>
                    <a:lnTo>
                      <a:pt x="1096" y="1375"/>
                    </a:lnTo>
                    <a:lnTo>
                      <a:pt x="1090" y="1373"/>
                    </a:lnTo>
                    <a:lnTo>
                      <a:pt x="1086" y="1375"/>
                    </a:lnTo>
                    <a:lnTo>
                      <a:pt x="1084" y="1371"/>
                    </a:lnTo>
                    <a:lnTo>
                      <a:pt x="1081" y="1371"/>
                    </a:lnTo>
                    <a:lnTo>
                      <a:pt x="1081" y="1371"/>
                    </a:lnTo>
                    <a:lnTo>
                      <a:pt x="1079" y="1373"/>
                    </a:lnTo>
                    <a:lnTo>
                      <a:pt x="1077" y="1377"/>
                    </a:lnTo>
                    <a:lnTo>
                      <a:pt x="1069" y="1384"/>
                    </a:lnTo>
                    <a:lnTo>
                      <a:pt x="1066" y="1388"/>
                    </a:lnTo>
                    <a:lnTo>
                      <a:pt x="1066" y="1390"/>
                    </a:lnTo>
                    <a:lnTo>
                      <a:pt x="1062" y="1394"/>
                    </a:lnTo>
                    <a:lnTo>
                      <a:pt x="1060" y="1397"/>
                    </a:lnTo>
                    <a:lnTo>
                      <a:pt x="1060" y="1401"/>
                    </a:lnTo>
                    <a:lnTo>
                      <a:pt x="1056" y="1409"/>
                    </a:lnTo>
                    <a:lnTo>
                      <a:pt x="1051" y="1409"/>
                    </a:lnTo>
                    <a:lnTo>
                      <a:pt x="1047" y="1416"/>
                    </a:lnTo>
                    <a:lnTo>
                      <a:pt x="1047" y="1418"/>
                    </a:lnTo>
                    <a:lnTo>
                      <a:pt x="1043" y="1418"/>
                    </a:lnTo>
                    <a:lnTo>
                      <a:pt x="1039" y="1418"/>
                    </a:lnTo>
                    <a:lnTo>
                      <a:pt x="1037" y="1418"/>
                    </a:lnTo>
                    <a:lnTo>
                      <a:pt x="1036" y="1422"/>
                    </a:lnTo>
                    <a:lnTo>
                      <a:pt x="1034" y="1422"/>
                    </a:lnTo>
                    <a:lnTo>
                      <a:pt x="1030" y="1424"/>
                    </a:lnTo>
                    <a:lnTo>
                      <a:pt x="975" y="1422"/>
                    </a:lnTo>
                    <a:lnTo>
                      <a:pt x="972" y="1424"/>
                    </a:lnTo>
                    <a:lnTo>
                      <a:pt x="968" y="1428"/>
                    </a:lnTo>
                    <a:lnTo>
                      <a:pt x="962" y="1429"/>
                    </a:lnTo>
                    <a:lnTo>
                      <a:pt x="958" y="1433"/>
                    </a:lnTo>
                    <a:lnTo>
                      <a:pt x="951" y="1441"/>
                    </a:lnTo>
                    <a:lnTo>
                      <a:pt x="947" y="1441"/>
                    </a:lnTo>
                    <a:lnTo>
                      <a:pt x="943" y="1445"/>
                    </a:lnTo>
                    <a:lnTo>
                      <a:pt x="926" y="1454"/>
                    </a:lnTo>
                    <a:lnTo>
                      <a:pt x="892" y="1465"/>
                    </a:lnTo>
                    <a:lnTo>
                      <a:pt x="889" y="1473"/>
                    </a:lnTo>
                    <a:lnTo>
                      <a:pt x="883" y="1478"/>
                    </a:lnTo>
                    <a:lnTo>
                      <a:pt x="819" y="1495"/>
                    </a:lnTo>
                    <a:lnTo>
                      <a:pt x="815" y="1488"/>
                    </a:lnTo>
                    <a:lnTo>
                      <a:pt x="819" y="1484"/>
                    </a:lnTo>
                    <a:lnTo>
                      <a:pt x="827" y="1482"/>
                    </a:lnTo>
                    <a:lnTo>
                      <a:pt x="830" y="1478"/>
                    </a:lnTo>
                    <a:lnTo>
                      <a:pt x="830" y="1473"/>
                    </a:lnTo>
                    <a:lnTo>
                      <a:pt x="834" y="1469"/>
                    </a:lnTo>
                    <a:lnTo>
                      <a:pt x="834" y="1445"/>
                    </a:lnTo>
                    <a:lnTo>
                      <a:pt x="823" y="1388"/>
                    </a:lnTo>
                    <a:lnTo>
                      <a:pt x="812" y="1379"/>
                    </a:lnTo>
                    <a:lnTo>
                      <a:pt x="806" y="1371"/>
                    </a:lnTo>
                    <a:lnTo>
                      <a:pt x="732" y="1337"/>
                    </a:lnTo>
                    <a:lnTo>
                      <a:pt x="731" y="1335"/>
                    </a:lnTo>
                    <a:lnTo>
                      <a:pt x="727" y="1333"/>
                    </a:lnTo>
                    <a:lnTo>
                      <a:pt x="725" y="1333"/>
                    </a:lnTo>
                    <a:lnTo>
                      <a:pt x="716" y="1333"/>
                    </a:lnTo>
                    <a:lnTo>
                      <a:pt x="714" y="1330"/>
                    </a:lnTo>
                    <a:lnTo>
                      <a:pt x="712" y="1328"/>
                    </a:lnTo>
                    <a:lnTo>
                      <a:pt x="708" y="1330"/>
                    </a:lnTo>
                    <a:lnTo>
                      <a:pt x="702" y="1330"/>
                    </a:lnTo>
                    <a:lnTo>
                      <a:pt x="700" y="1328"/>
                    </a:lnTo>
                    <a:lnTo>
                      <a:pt x="697" y="1324"/>
                    </a:lnTo>
                    <a:lnTo>
                      <a:pt x="693" y="1324"/>
                    </a:lnTo>
                    <a:lnTo>
                      <a:pt x="687" y="1322"/>
                    </a:lnTo>
                    <a:lnTo>
                      <a:pt x="685" y="1318"/>
                    </a:lnTo>
                    <a:lnTo>
                      <a:pt x="684" y="1318"/>
                    </a:lnTo>
                    <a:lnTo>
                      <a:pt x="680" y="1315"/>
                    </a:lnTo>
                    <a:lnTo>
                      <a:pt x="676" y="1315"/>
                    </a:lnTo>
                    <a:lnTo>
                      <a:pt x="672" y="1313"/>
                    </a:lnTo>
                    <a:lnTo>
                      <a:pt x="668" y="1315"/>
                    </a:lnTo>
                    <a:lnTo>
                      <a:pt x="668" y="1315"/>
                    </a:lnTo>
                    <a:lnTo>
                      <a:pt x="667" y="1313"/>
                    </a:lnTo>
                    <a:lnTo>
                      <a:pt x="663" y="1311"/>
                    </a:lnTo>
                    <a:lnTo>
                      <a:pt x="663" y="1311"/>
                    </a:lnTo>
                    <a:lnTo>
                      <a:pt x="659" y="1309"/>
                    </a:lnTo>
                    <a:lnTo>
                      <a:pt x="657" y="1309"/>
                    </a:lnTo>
                    <a:lnTo>
                      <a:pt x="655" y="1305"/>
                    </a:lnTo>
                    <a:lnTo>
                      <a:pt x="655" y="1303"/>
                    </a:lnTo>
                    <a:lnTo>
                      <a:pt x="650" y="1303"/>
                    </a:lnTo>
                    <a:lnTo>
                      <a:pt x="646" y="1303"/>
                    </a:lnTo>
                    <a:lnTo>
                      <a:pt x="642" y="1300"/>
                    </a:lnTo>
                    <a:lnTo>
                      <a:pt x="164" y="1252"/>
                    </a:lnTo>
                    <a:lnTo>
                      <a:pt x="164" y="1252"/>
                    </a:lnTo>
                    <a:lnTo>
                      <a:pt x="164" y="1252"/>
                    </a:lnTo>
                    <a:close/>
                  </a:path>
                </a:pathLst>
              </a:custGeom>
              <a:solidFill>
                <a:srgbClr val="0098CC"/>
              </a:solidFill>
              <a:ln w="3175"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7" name="Freeform 39"/>
              <p:cNvSpPr>
                <a:spLocks noEditPoints="1"/>
              </p:cNvSpPr>
              <p:nvPr/>
            </p:nvSpPr>
            <p:spPr bwMode="auto">
              <a:xfrm>
                <a:off x="-263" y="1041"/>
                <a:ext cx="992" cy="761"/>
              </a:xfrm>
              <a:custGeom>
                <a:avLst/>
                <a:gdLst/>
                <a:ahLst/>
                <a:cxnLst>
                  <a:cxn ang="0">
                    <a:pos x="866" y="589"/>
                  </a:cxn>
                  <a:cxn ang="0">
                    <a:pos x="951" y="122"/>
                  </a:cxn>
                  <a:cxn ang="0">
                    <a:pos x="892" y="92"/>
                  </a:cxn>
                  <a:cxn ang="0">
                    <a:pos x="840" y="33"/>
                  </a:cxn>
                  <a:cxn ang="0">
                    <a:pos x="830" y="5"/>
                  </a:cxn>
                  <a:cxn ang="0">
                    <a:pos x="744" y="24"/>
                  </a:cxn>
                  <a:cxn ang="0">
                    <a:pos x="597" y="137"/>
                  </a:cxn>
                  <a:cxn ang="0">
                    <a:pos x="604" y="177"/>
                  </a:cxn>
                  <a:cxn ang="0">
                    <a:pos x="569" y="190"/>
                  </a:cxn>
                  <a:cxn ang="0">
                    <a:pos x="503" y="237"/>
                  </a:cxn>
                  <a:cxn ang="0">
                    <a:pos x="533" y="280"/>
                  </a:cxn>
                  <a:cxn ang="0">
                    <a:pos x="512" y="322"/>
                  </a:cxn>
                  <a:cxn ang="0">
                    <a:pos x="403" y="389"/>
                  </a:cxn>
                  <a:cxn ang="0">
                    <a:pos x="410" y="423"/>
                  </a:cxn>
                  <a:cxn ang="0">
                    <a:pos x="437" y="474"/>
                  </a:cxn>
                  <a:cxn ang="0">
                    <a:pos x="450" y="521"/>
                  </a:cxn>
                  <a:cxn ang="0">
                    <a:pos x="469" y="563"/>
                  </a:cxn>
                  <a:cxn ang="0">
                    <a:pos x="380" y="627"/>
                  </a:cxn>
                  <a:cxn ang="0">
                    <a:pos x="352" y="649"/>
                  </a:cxn>
                  <a:cxn ang="0">
                    <a:pos x="418" y="631"/>
                  </a:cxn>
                  <a:cxn ang="0">
                    <a:pos x="482" y="593"/>
                  </a:cxn>
                  <a:cxn ang="0">
                    <a:pos x="535" y="553"/>
                  </a:cxn>
                  <a:cxn ang="0">
                    <a:pos x="582" y="493"/>
                  </a:cxn>
                  <a:cxn ang="0">
                    <a:pos x="619" y="485"/>
                  </a:cxn>
                  <a:cxn ang="0">
                    <a:pos x="623" y="529"/>
                  </a:cxn>
                  <a:cxn ang="0">
                    <a:pos x="672" y="487"/>
                  </a:cxn>
                  <a:cxn ang="0">
                    <a:pos x="706" y="504"/>
                  </a:cxn>
                  <a:cxn ang="0">
                    <a:pos x="762" y="546"/>
                  </a:cxn>
                  <a:cxn ang="0">
                    <a:pos x="808" y="589"/>
                  </a:cxn>
                  <a:cxn ang="0">
                    <a:pos x="836" y="610"/>
                  </a:cxn>
                  <a:cxn ang="0">
                    <a:pos x="860" y="640"/>
                  </a:cxn>
                  <a:cxn ang="0">
                    <a:pos x="872" y="696"/>
                  </a:cxn>
                  <a:cxn ang="0">
                    <a:pos x="879" y="751"/>
                  </a:cxn>
                  <a:cxn ang="0">
                    <a:pos x="860" y="745"/>
                  </a:cxn>
                  <a:cxn ang="0">
                    <a:pos x="830" y="751"/>
                  </a:cxn>
                  <a:cxn ang="0">
                    <a:pos x="834" y="721"/>
                  </a:cxn>
                  <a:cxn ang="0">
                    <a:pos x="851" y="755"/>
                  </a:cxn>
                  <a:cxn ang="0">
                    <a:pos x="866" y="715"/>
                  </a:cxn>
                  <a:cxn ang="0">
                    <a:pos x="857" y="696"/>
                  </a:cxn>
                  <a:cxn ang="0">
                    <a:pos x="843" y="696"/>
                  </a:cxn>
                  <a:cxn ang="0">
                    <a:pos x="823" y="696"/>
                  </a:cxn>
                  <a:cxn ang="0">
                    <a:pos x="842" y="657"/>
                  </a:cxn>
                  <a:cxn ang="0">
                    <a:pos x="830" y="638"/>
                  </a:cxn>
                  <a:cxn ang="0">
                    <a:pos x="277" y="399"/>
                  </a:cxn>
                  <a:cxn ang="0">
                    <a:pos x="469" y="329"/>
                  </a:cxn>
                  <a:cxn ang="0">
                    <a:pos x="717" y="538"/>
                  </a:cxn>
                  <a:cxn ang="0">
                    <a:pos x="668" y="529"/>
                  </a:cxn>
                  <a:cxn ang="0">
                    <a:pos x="454" y="231"/>
                  </a:cxn>
                  <a:cxn ang="0">
                    <a:pos x="390" y="308"/>
                  </a:cxn>
                  <a:cxn ang="0">
                    <a:pos x="563" y="519"/>
                  </a:cxn>
                  <a:cxn ang="0">
                    <a:pos x="550" y="568"/>
                  </a:cxn>
                  <a:cxn ang="0">
                    <a:pos x="548" y="582"/>
                  </a:cxn>
                  <a:cxn ang="0">
                    <a:pos x="518" y="606"/>
                  </a:cxn>
                  <a:cxn ang="0">
                    <a:pos x="454" y="614"/>
                  </a:cxn>
                  <a:cxn ang="0">
                    <a:pos x="377" y="666"/>
                  </a:cxn>
                  <a:cxn ang="0">
                    <a:pos x="4" y="734"/>
                  </a:cxn>
                  <a:cxn ang="0">
                    <a:pos x="36" y="727"/>
                  </a:cxn>
                  <a:cxn ang="0">
                    <a:pos x="102" y="725"/>
                  </a:cxn>
                  <a:cxn ang="0">
                    <a:pos x="179" y="706"/>
                  </a:cxn>
                  <a:cxn ang="0">
                    <a:pos x="245" y="685"/>
                  </a:cxn>
                  <a:cxn ang="0">
                    <a:pos x="288" y="678"/>
                  </a:cxn>
                  <a:cxn ang="0">
                    <a:pos x="431" y="521"/>
                  </a:cxn>
                </a:cxnLst>
                <a:rect l="0" t="0" r="r" b="b"/>
                <a:pathLst>
                  <a:path w="992" h="761">
                    <a:moveTo>
                      <a:pt x="894" y="727"/>
                    </a:moveTo>
                    <a:lnTo>
                      <a:pt x="894" y="727"/>
                    </a:lnTo>
                    <a:lnTo>
                      <a:pt x="894" y="725"/>
                    </a:lnTo>
                    <a:lnTo>
                      <a:pt x="894" y="725"/>
                    </a:lnTo>
                    <a:lnTo>
                      <a:pt x="894" y="721"/>
                    </a:lnTo>
                    <a:lnTo>
                      <a:pt x="896" y="721"/>
                    </a:lnTo>
                    <a:lnTo>
                      <a:pt x="894" y="717"/>
                    </a:lnTo>
                    <a:lnTo>
                      <a:pt x="892" y="717"/>
                    </a:lnTo>
                    <a:lnTo>
                      <a:pt x="892" y="713"/>
                    </a:lnTo>
                    <a:lnTo>
                      <a:pt x="890" y="710"/>
                    </a:lnTo>
                    <a:lnTo>
                      <a:pt x="887" y="708"/>
                    </a:lnTo>
                    <a:lnTo>
                      <a:pt x="885" y="706"/>
                    </a:lnTo>
                    <a:lnTo>
                      <a:pt x="885" y="702"/>
                    </a:lnTo>
                    <a:lnTo>
                      <a:pt x="881" y="700"/>
                    </a:lnTo>
                    <a:lnTo>
                      <a:pt x="879" y="696"/>
                    </a:lnTo>
                    <a:lnTo>
                      <a:pt x="875" y="696"/>
                    </a:lnTo>
                    <a:lnTo>
                      <a:pt x="875" y="696"/>
                    </a:lnTo>
                    <a:lnTo>
                      <a:pt x="875" y="693"/>
                    </a:lnTo>
                    <a:lnTo>
                      <a:pt x="875" y="691"/>
                    </a:lnTo>
                    <a:lnTo>
                      <a:pt x="874" y="691"/>
                    </a:lnTo>
                    <a:lnTo>
                      <a:pt x="874" y="687"/>
                    </a:lnTo>
                    <a:lnTo>
                      <a:pt x="875" y="687"/>
                    </a:lnTo>
                    <a:lnTo>
                      <a:pt x="875" y="685"/>
                    </a:lnTo>
                    <a:lnTo>
                      <a:pt x="875" y="683"/>
                    </a:lnTo>
                    <a:lnTo>
                      <a:pt x="874" y="683"/>
                    </a:lnTo>
                    <a:lnTo>
                      <a:pt x="872" y="683"/>
                    </a:lnTo>
                    <a:lnTo>
                      <a:pt x="872" y="680"/>
                    </a:lnTo>
                    <a:lnTo>
                      <a:pt x="875" y="678"/>
                    </a:lnTo>
                    <a:lnTo>
                      <a:pt x="874" y="666"/>
                    </a:lnTo>
                    <a:lnTo>
                      <a:pt x="875" y="651"/>
                    </a:lnTo>
                    <a:lnTo>
                      <a:pt x="875" y="640"/>
                    </a:lnTo>
                    <a:lnTo>
                      <a:pt x="875" y="636"/>
                    </a:lnTo>
                    <a:lnTo>
                      <a:pt x="874" y="632"/>
                    </a:lnTo>
                    <a:lnTo>
                      <a:pt x="875" y="632"/>
                    </a:lnTo>
                    <a:lnTo>
                      <a:pt x="875" y="627"/>
                    </a:lnTo>
                    <a:lnTo>
                      <a:pt x="874" y="623"/>
                    </a:lnTo>
                    <a:lnTo>
                      <a:pt x="874" y="617"/>
                    </a:lnTo>
                    <a:lnTo>
                      <a:pt x="868" y="614"/>
                    </a:lnTo>
                    <a:lnTo>
                      <a:pt x="868" y="606"/>
                    </a:lnTo>
                    <a:lnTo>
                      <a:pt x="868" y="602"/>
                    </a:lnTo>
                    <a:lnTo>
                      <a:pt x="864" y="593"/>
                    </a:lnTo>
                    <a:lnTo>
                      <a:pt x="866" y="589"/>
                    </a:lnTo>
                    <a:lnTo>
                      <a:pt x="868" y="585"/>
                    </a:lnTo>
                    <a:lnTo>
                      <a:pt x="868" y="582"/>
                    </a:lnTo>
                    <a:lnTo>
                      <a:pt x="866" y="578"/>
                    </a:lnTo>
                    <a:lnTo>
                      <a:pt x="862" y="574"/>
                    </a:lnTo>
                    <a:lnTo>
                      <a:pt x="857" y="576"/>
                    </a:lnTo>
                    <a:lnTo>
                      <a:pt x="851" y="578"/>
                    </a:lnTo>
                    <a:lnTo>
                      <a:pt x="851" y="578"/>
                    </a:lnTo>
                    <a:lnTo>
                      <a:pt x="843" y="580"/>
                    </a:lnTo>
                    <a:lnTo>
                      <a:pt x="840" y="585"/>
                    </a:lnTo>
                    <a:lnTo>
                      <a:pt x="834" y="593"/>
                    </a:lnTo>
                    <a:lnTo>
                      <a:pt x="830" y="593"/>
                    </a:lnTo>
                    <a:lnTo>
                      <a:pt x="823" y="597"/>
                    </a:lnTo>
                    <a:lnTo>
                      <a:pt x="817" y="599"/>
                    </a:lnTo>
                    <a:lnTo>
                      <a:pt x="815" y="599"/>
                    </a:lnTo>
                    <a:lnTo>
                      <a:pt x="815" y="593"/>
                    </a:lnTo>
                    <a:lnTo>
                      <a:pt x="819" y="589"/>
                    </a:lnTo>
                    <a:lnTo>
                      <a:pt x="817" y="585"/>
                    </a:lnTo>
                    <a:lnTo>
                      <a:pt x="811" y="563"/>
                    </a:lnTo>
                    <a:lnTo>
                      <a:pt x="808" y="553"/>
                    </a:lnTo>
                    <a:lnTo>
                      <a:pt x="806" y="550"/>
                    </a:lnTo>
                    <a:lnTo>
                      <a:pt x="810" y="542"/>
                    </a:lnTo>
                    <a:lnTo>
                      <a:pt x="802" y="538"/>
                    </a:lnTo>
                    <a:lnTo>
                      <a:pt x="793" y="542"/>
                    </a:lnTo>
                    <a:lnTo>
                      <a:pt x="791" y="542"/>
                    </a:lnTo>
                    <a:lnTo>
                      <a:pt x="778" y="542"/>
                    </a:lnTo>
                    <a:lnTo>
                      <a:pt x="992" y="148"/>
                    </a:lnTo>
                    <a:lnTo>
                      <a:pt x="992" y="146"/>
                    </a:lnTo>
                    <a:lnTo>
                      <a:pt x="988" y="146"/>
                    </a:lnTo>
                    <a:lnTo>
                      <a:pt x="985" y="146"/>
                    </a:lnTo>
                    <a:lnTo>
                      <a:pt x="983" y="143"/>
                    </a:lnTo>
                    <a:lnTo>
                      <a:pt x="981" y="137"/>
                    </a:lnTo>
                    <a:lnTo>
                      <a:pt x="979" y="133"/>
                    </a:lnTo>
                    <a:lnTo>
                      <a:pt x="977" y="131"/>
                    </a:lnTo>
                    <a:lnTo>
                      <a:pt x="975" y="128"/>
                    </a:lnTo>
                    <a:lnTo>
                      <a:pt x="973" y="122"/>
                    </a:lnTo>
                    <a:lnTo>
                      <a:pt x="971" y="120"/>
                    </a:lnTo>
                    <a:lnTo>
                      <a:pt x="964" y="120"/>
                    </a:lnTo>
                    <a:lnTo>
                      <a:pt x="964" y="122"/>
                    </a:lnTo>
                    <a:lnTo>
                      <a:pt x="960" y="122"/>
                    </a:lnTo>
                    <a:lnTo>
                      <a:pt x="954" y="122"/>
                    </a:lnTo>
                    <a:lnTo>
                      <a:pt x="953" y="120"/>
                    </a:lnTo>
                    <a:lnTo>
                      <a:pt x="951" y="122"/>
                    </a:lnTo>
                    <a:lnTo>
                      <a:pt x="949" y="120"/>
                    </a:lnTo>
                    <a:lnTo>
                      <a:pt x="947" y="122"/>
                    </a:lnTo>
                    <a:lnTo>
                      <a:pt x="945" y="120"/>
                    </a:lnTo>
                    <a:lnTo>
                      <a:pt x="945" y="120"/>
                    </a:lnTo>
                    <a:lnTo>
                      <a:pt x="947" y="120"/>
                    </a:lnTo>
                    <a:lnTo>
                      <a:pt x="947" y="118"/>
                    </a:lnTo>
                    <a:lnTo>
                      <a:pt x="943" y="116"/>
                    </a:lnTo>
                    <a:lnTo>
                      <a:pt x="943" y="116"/>
                    </a:lnTo>
                    <a:lnTo>
                      <a:pt x="939" y="116"/>
                    </a:lnTo>
                    <a:lnTo>
                      <a:pt x="939" y="116"/>
                    </a:lnTo>
                    <a:lnTo>
                      <a:pt x="943" y="113"/>
                    </a:lnTo>
                    <a:lnTo>
                      <a:pt x="939" y="113"/>
                    </a:lnTo>
                    <a:lnTo>
                      <a:pt x="939" y="113"/>
                    </a:lnTo>
                    <a:lnTo>
                      <a:pt x="936" y="113"/>
                    </a:lnTo>
                    <a:lnTo>
                      <a:pt x="936" y="109"/>
                    </a:lnTo>
                    <a:lnTo>
                      <a:pt x="934" y="107"/>
                    </a:lnTo>
                    <a:lnTo>
                      <a:pt x="928" y="103"/>
                    </a:lnTo>
                    <a:lnTo>
                      <a:pt x="926" y="103"/>
                    </a:lnTo>
                    <a:lnTo>
                      <a:pt x="926" y="103"/>
                    </a:lnTo>
                    <a:lnTo>
                      <a:pt x="924" y="103"/>
                    </a:lnTo>
                    <a:lnTo>
                      <a:pt x="922" y="103"/>
                    </a:lnTo>
                    <a:lnTo>
                      <a:pt x="922" y="103"/>
                    </a:lnTo>
                    <a:lnTo>
                      <a:pt x="922" y="101"/>
                    </a:lnTo>
                    <a:lnTo>
                      <a:pt x="919" y="101"/>
                    </a:lnTo>
                    <a:lnTo>
                      <a:pt x="917" y="103"/>
                    </a:lnTo>
                    <a:lnTo>
                      <a:pt x="915" y="103"/>
                    </a:lnTo>
                    <a:lnTo>
                      <a:pt x="915" y="99"/>
                    </a:lnTo>
                    <a:lnTo>
                      <a:pt x="917" y="99"/>
                    </a:lnTo>
                    <a:lnTo>
                      <a:pt x="915" y="97"/>
                    </a:lnTo>
                    <a:lnTo>
                      <a:pt x="911" y="96"/>
                    </a:lnTo>
                    <a:lnTo>
                      <a:pt x="909" y="97"/>
                    </a:lnTo>
                    <a:lnTo>
                      <a:pt x="909" y="96"/>
                    </a:lnTo>
                    <a:lnTo>
                      <a:pt x="909" y="94"/>
                    </a:lnTo>
                    <a:lnTo>
                      <a:pt x="909" y="92"/>
                    </a:lnTo>
                    <a:lnTo>
                      <a:pt x="906" y="88"/>
                    </a:lnTo>
                    <a:lnTo>
                      <a:pt x="906" y="86"/>
                    </a:lnTo>
                    <a:lnTo>
                      <a:pt x="906" y="86"/>
                    </a:lnTo>
                    <a:lnTo>
                      <a:pt x="902" y="84"/>
                    </a:lnTo>
                    <a:lnTo>
                      <a:pt x="902" y="86"/>
                    </a:lnTo>
                    <a:lnTo>
                      <a:pt x="894" y="94"/>
                    </a:lnTo>
                    <a:lnTo>
                      <a:pt x="885" y="97"/>
                    </a:lnTo>
                    <a:lnTo>
                      <a:pt x="892" y="92"/>
                    </a:lnTo>
                    <a:lnTo>
                      <a:pt x="896" y="86"/>
                    </a:lnTo>
                    <a:lnTo>
                      <a:pt x="902" y="82"/>
                    </a:lnTo>
                    <a:lnTo>
                      <a:pt x="902" y="79"/>
                    </a:lnTo>
                    <a:lnTo>
                      <a:pt x="900" y="77"/>
                    </a:lnTo>
                    <a:lnTo>
                      <a:pt x="894" y="73"/>
                    </a:lnTo>
                    <a:lnTo>
                      <a:pt x="889" y="73"/>
                    </a:lnTo>
                    <a:lnTo>
                      <a:pt x="885" y="73"/>
                    </a:lnTo>
                    <a:lnTo>
                      <a:pt x="881" y="73"/>
                    </a:lnTo>
                    <a:lnTo>
                      <a:pt x="881" y="77"/>
                    </a:lnTo>
                    <a:lnTo>
                      <a:pt x="875" y="77"/>
                    </a:lnTo>
                    <a:lnTo>
                      <a:pt x="872" y="82"/>
                    </a:lnTo>
                    <a:lnTo>
                      <a:pt x="866" y="84"/>
                    </a:lnTo>
                    <a:lnTo>
                      <a:pt x="870" y="82"/>
                    </a:lnTo>
                    <a:lnTo>
                      <a:pt x="870" y="77"/>
                    </a:lnTo>
                    <a:lnTo>
                      <a:pt x="870" y="73"/>
                    </a:lnTo>
                    <a:lnTo>
                      <a:pt x="870" y="69"/>
                    </a:lnTo>
                    <a:lnTo>
                      <a:pt x="864" y="65"/>
                    </a:lnTo>
                    <a:lnTo>
                      <a:pt x="864" y="64"/>
                    </a:lnTo>
                    <a:lnTo>
                      <a:pt x="868" y="62"/>
                    </a:lnTo>
                    <a:lnTo>
                      <a:pt x="870" y="62"/>
                    </a:lnTo>
                    <a:lnTo>
                      <a:pt x="870" y="60"/>
                    </a:lnTo>
                    <a:lnTo>
                      <a:pt x="860" y="56"/>
                    </a:lnTo>
                    <a:lnTo>
                      <a:pt x="860" y="52"/>
                    </a:lnTo>
                    <a:lnTo>
                      <a:pt x="862" y="52"/>
                    </a:lnTo>
                    <a:lnTo>
                      <a:pt x="868" y="48"/>
                    </a:lnTo>
                    <a:lnTo>
                      <a:pt x="870" y="47"/>
                    </a:lnTo>
                    <a:lnTo>
                      <a:pt x="868" y="43"/>
                    </a:lnTo>
                    <a:lnTo>
                      <a:pt x="866" y="39"/>
                    </a:lnTo>
                    <a:lnTo>
                      <a:pt x="864" y="39"/>
                    </a:lnTo>
                    <a:lnTo>
                      <a:pt x="862" y="39"/>
                    </a:lnTo>
                    <a:lnTo>
                      <a:pt x="860" y="37"/>
                    </a:lnTo>
                    <a:lnTo>
                      <a:pt x="857" y="37"/>
                    </a:lnTo>
                    <a:lnTo>
                      <a:pt x="855" y="37"/>
                    </a:lnTo>
                    <a:lnTo>
                      <a:pt x="851" y="35"/>
                    </a:lnTo>
                    <a:lnTo>
                      <a:pt x="849" y="33"/>
                    </a:lnTo>
                    <a:lnTo>
                      <a:pt x="845" y="35"/>
                    </a:lnTo>
                    <a:lnTo>
                      <a:pt x="842" y="35"/>
                    </a:lnTo>
                    <a:lnTo>
                      <a:pt x="840" y="39"/>
                    </a:lnTo>
                    <a:lnTo>
                      <a:pt x="840" y="39"/>
                    </a:lnTo>
                    <a:lnTo>
                      <a:pt x="838" y="37"/>
                    </a:lnTo>
                    <a:lnTo>
                      <a:pt x="838" y="33"/>
                    </a:lnTo>
                    <a:lnTo>
                      <a:pt x="840" y="33"/>
                    </a:lnTo>
                    <a:lnTo>
                      <a:pt x="840" y="30"/>
                    </a:lnTo>
                    <a:lnTo>
                      <a:pt x="842" y="26"/>
                    </a:lnTo>
                    <a:lnTo>
                      <a:pt x="843" y="26"/>
                    </a:lnTo>
                    <a:lnTo>
                      <a:pt x="843" y="22"/>
                    </a:lnTo>
                    <a:lnTo>
                      <a:pt x="845" y="18"/>
                    </a:lnTo>
                    <a:lnTo>
                      <a:pt x="843" y="18"/>
                    </a:lnTo>
                    <a:lnTo>
                      <a:pt x="842" y="18"/>
                    </a:lnTo>
                    <a:lnTo>
                      <a:pt x="838" y="22"/>
                    </a:lnTo>
                    <a:lnTo>
                      <a:pt x="836" y="24"/>
                    </a:lnTo>
                    <a:lnTo>
                      <a:pt x="836" y="24"/>
                    </a:lnTo>
                    <a:lnTo>
                      <a:pt x="832" y="22"/>
                    </a:lnTo>
                    <a:lnTo>
                      <a:pt x="830" y="24"/>
                    </a:lnTo>
                    <a:lnTo>
                      <a:pt x="830" y="26"/>
                    </a:lnTo>
                    <a:lnTo>
                      <a:pt x="830" y="30"/>
                    </a:lnTo>
                    <a:lnTo>
                      <a:pt x="826" y="32"/>
                    </a:lnTo>
                    <a:lnTo>
                      <a:pt x="826" y="32"/>
                    </a:lnTo>
                    <a:lnTo>
                      <a:pt x="826" y="32"/>
                    </a:lnTo>
                    <a:lnTo>
                      <a:pt x="823" y="35"/>
                    </a:lnTo>
                    <a:lnTo>
                      <a:pt x="823" y="39"/>
                    </a:lnTo>
                    <a:lnTo>
                      <a:pt x="823" y="35"/>
                    </a:lnTo>
                    <a:lnTo>
                      <a:pt x="821" y="32"/>
                    </a:lnTo>
                    <a:lnTo>
                      <a:pt x="823" y="28"/>
                    </a:lnTo>
                    <a:lnTo>
                      <a:pt x="823" y="28"/>
                    </a:lnTo>
                    <a:lnTo>
                      <a:pt x="819" y="30"/>
                    </a:lnTo>
                    <a:lnTo>
                      <a:pt x="819" y="33"/>
                    </a:lnTo>
                    <a:lnTo>
                      <a:pt x="815" y="33"/>
                    </a:lnTo>
                    <a:lnTo>
                      <a:pt x="817" y="28"/>
                    </a:lnTo>
                    <a:lnTo>
                      <a:pt x="815" y="24"/>
                    </a:lnTo>
                    <a:lnTo>
                      <a:pt x="811" y="24"/>
                    </a:lnTo>
                    <a:lnTo>
                      <a:pt x="813" y="22"/>
                    </a:lnTo>
                    <a:lnTo>
                      <a:pt x="817" y="18"/>
                    </a:lnTo>
                    <a:lnTo>
                      <a:pt x="821" y="18"/>
                    </a:lnTo>
                    <a:lnTo>
                      <a:pt x="823" y="22"/>
                    </a:lnTo>
                    <a:lnTo>
                      <a:pt x="830" y="18"/>
                    </a:lnTo>
                    <a:lnTo>
                      <a:pt x="832" y="18"/>
                    </a:lnTo>
                    <a:lnTo>
                      <a:pt x="836" y="15"/>
                    </a:lnTo>
                    <a:lnTo>
                      <a:pt x="836" y="15"/>
                    </a:lnTo>
                    <a:lnTo>
                      <a:pt x="838" y="13"/>
                    </a:lnTo>
                    <a:lnTo>
                      <a:pt x="836" y="9"/>
                    </a:lnTo>
                    <a:lnTo>
                      <a:pt x="832" y="9"/>
                    </a:lnTo>
                    <a:lnTo>
                      <a:pt x="830" y="9"/>
                    </a:lnTo>
                    <a:lnTo>
                      <a:pt x="830" y="5"/>
                    </a:lnTo>
                    <a:lnTo>
                      <a:pt x="830" y="3"/>
                    </a:lnTo>
                    <a:lnTo>
                      <a:pt x="830" y="3"/>
                    </a:lnTo>
                    <a:lnTo>
                      <a:pt x="830" y="1"/>
                    </a:lnTo>
                    <a:lnTo>
                      <a:pt x="830" y="1"/>
                    </a:lnTo>
                    <a:lnTo>
                      <a:pt x="830" y="0"/>
                    </a:lnTo>
                    <a:lnTo>
                      <a:pt x="830" y="0"/>
                    </a:lnTo>
                    <a:lnTo>
                      <a:pt x="823" y="3"/>
                    </a:lnTo>
                    <a:lnTo>
                      <a:pt x="823" y="3"/>
                    </a:lnTo>
                    <a:lnTo>
                      <a:pt x="817" y="5"/>
                    </a:lnTo>
                    <a:lnTo>
                      <a:pt x="813" y="7"/>
                    </a:lnTo>
                    <a:lnTo>
                      <a:pt x="806" y="15"/>
                    </a:lnTo>
                    <a:lnTo>
                      <a:pt x="802" y="15"/>
                    </a:lnTo>
                    <a:lnTo>
                      <a:pt x="793" y="15"/>
                    </a:lnTo>
                    <a:lnTo>
                      <a:pt x="787" y="13"/>
                    </a:lnTo>
                    <a:lnTo>
                      <a:pt x="785" y="9"/>
                    </a:lnTo>
                    <a:lnTo>
                      <a:pt x="785" y="13"/>
                    </a:lnTo>
                    <a:lnTo>
                      <a:pt x="781" y="13"/>
                    </a:lnTo>
                    <a:lnTo>
                      <a:pt x="778" y="9"/>
                    </a:lnTo>
                    <a:lnTo>
                      <a:pt x="774" y="9"/>
                    </a:lnTo>
                    <a:lnTo>
                      <a:pt x="774" y="15"/>
                    </a:lnTo>
                    <a:lnTo>
                      <a:pt x="772" y="15"/>
                    </a:lnTo>
                    <a:lnTo>
                      <a:pt x="772" y="9"/>
                    </a:lnTo>
                    <a:lnTo>
                      <a:pt x="772" y="9"/>
                    </a:lnTo>
                    <a:lnTo>
                      <a:pt x="774" y="7"/>
                    </a:lnTo>
                    <a:lnTo>
                      <a:pt x="772" y="5"/>
                    </a:lnTo>
                    <a:lnTo>
                      <a:pt x="768" y="7"/>
                    </a:lnTo>
                    <a:lnTo>
                      <a:pt x="762" y="9"/>
                    </a:lnTo>
                    <a:lnTo>
                      <a:pt x="757" y="15"/>
                    </a:lnTo>
                    <a:lnTo>
                      <a:pt x="755" y="18"/>
                    </a:lnTo>
                    <a:lnTo>
                      <a:pt x="755" y="22"/>
                    </a:lnTo>
                    <a:lnTo>
                      <a:pt x="761" y="22"/>
                    </a:lnTo>
                    <a:lnTo>
                      <a:pt x="759" y="22"/>
                    </a:lnTo>
                    <a:lnTo>
                      <a:pt x="753" y="22"/>
                    </a:lnTo>
                    <a:lnTo>
                      <a:pt x="747" y="28"/>
                    </a:lnTo>
                    <a:lnTo>
                      <a:pt x="744" y="35"/>
                    </a:lnTo>
                    <a:lnTo>
                      <a:pt x="744" y="43"/>
                    </a:lnTo>
                    <a:lnTo>
                      <a:pt x="742" y="43"/>
                    </a:lnTo>
                    <a:lnTo>
                      <a:pt x="742" y="39"/>
                    </a:lnTo>
                    <a:lnTo>
                      <a:pt x="742" y="35"/>
                    </a:lnTo>
                    <a:lnTo>
                      <a:pt x="747" y="26"/>
                    </a:lnTo>
                    <a:lnTo>
                      <a:pt x="747" y="24"/>
                    </a:lnTo>
                    <a:lnTo>
                      <a:pt x="744" y="24"/>
                    </a:lnTo>
                    <a:lnTo>
                      <a:pt x="736" y="28"/>
                    </a:lnTo>
                    <a:lnTo>
                      <a:pt x="732" y="28"/>
                    </a:lnTo>
                    <a:lnTo>
                      <a:pt x="730" y="26"/>
                    </a:lnTo>
                    <a:lnTo>
                      <a:pt x="727" y="22"/>
                    </a:lnTo>
                    <a:lnTo>
                      <a:pt x="723" y="22"/>
                    </a:lnTo>
                    <a:lnTo>
                      <a:pt x="719" y="22"/>
                    </a:lnTo>
                    <a:lnTo>
                      <a:pt x="719" y="22"/>
                    </a:lnTo>
                    <a:lnTo>
                      <a:pt x="727" y="26"/>
                    </a:lnTo>
                    <a:lnTo>
                      <a:pt x="729" y="28"/>
                    </a:lnTo>
                    <a:lnTo>
                      <a:pt x="727" y="30"/>
                    </a:lnTo>
                    <a:lnTo>
                      <a:pt x="723" y="28"/>
                    </a:lnTo>
                    <a:lnTo>
                      <a:pt x="714" y="26"/>
                    </a:lnTo>
                    <a:lnTo>
                      <a:pt x="708" y="30"/>
                    </a:lnTo>
                    <a:lnTo>
                      <a:pt x="697" y="39"/>
                    </a:lnTo>
                    <a:lnTo>
                      <a:pt x="687" y="43"/>
                    </a:lnTo>
                    <a:lnTo>
                      <a:pt x="680" y="48"/>
                    </a:lnTo>
                    <a:lnTo>
                      <a:pt x="672" y="56"/>
                    </a:lnTo>
                    <a:lnTo>
                      <a:pt x="665" y="65"/>
                    </a:lnTo>
                    <a:lnTo>
                      <a:pt x="655" y="67"/>
                    </a:lnTo>
                    <a:lnTo>
                      <a:pt x="653" y="67"/>
                    </a:lnTo>
                    <a:lnTo>
                      <a:pt x="648" y="71"/>
                    </a:lnTo>
                    <a:lnTo>
                      <a:pt x="644" y="71"/>
                    </a:lnTo>
                    <a:lnTo>
                      <a:pt x="636" y="73"/>
                    </a:lnTo>
                    <a:lnTo>
                      <a:pt x="631" y="73"/>
                    </a:lnTo>
                    <a:lnTo>
                      <a:pt x="631" y="73"/>
                    </a:lnTo>
                    <a:lnTo>
                      <a:pt x="625" y="73"/>
                    </a:lnTo>
                    <a:lnTo>
                      <a:pt x="619" y="69"/>
                    </a:lnTo>
                    <a:lnTo>
                      <a:pt x="616" y="67"/>
                    </a:lnTo>
                    <a:lnTo>
                      <a:pt x="610" y="65"/>
                    </a:lnTo>
                    <a:lnTo>
                      <a:pt x="606" y="65"/>
                    </a:lnTo>
                    <a:lnTo>
                      <a:pt x="604" y="69"/>
                    </a:lnTo>
                    <a:lnTo>
                      <a:pt x="597" y="77"/>
                    </a:lnTo>
                    <a:lnTo>
                      <a:pt x="595" y="82"/>
                    </a:lnTo>
                    <a:lnTo>
                      <a:pt x="591" y="84"/>
                    </a:lnTo>
                    <a:lnTo>
                      <a:pt x="589" y="88"/>
                    </a:lnTo>
                    <a:lnTo>
                      <a:pt x="586" y="88"/>
                    </a:lnTo>
                    <a:lnTo>
                      <a:pt x="586" y="86"/>
                    </a:lnTo>
                    <a:lnTo>
                      <a:pt x="582" y="88"/>
                    </a:lnTo>
                    <a:lnTo>
                      <a:pt x="586" y="96"/>
                    </a:lnTo>
                    <a:lnTo>
                      <a:pt x="589" y="113"/>
                    </a:lnTo>
                    <a:lnTo>
                      <a:pt x="595" y="126"/>
                    </a:lnTo>
                    <a:lnTo>
                      <a:pt x="597" y="137"/>
                    </a:lnTo>
                    <a:lnTo>
                      <a:pt x="595" y="146"/>
                    </a:lnTo>
                    <a:lnTo>
                      <a:pt x="591" y="154"/>
                    </a:lnTo>
                    <a:lnTo>
                      <a:pt x="587" y="160"/>
                    </a:lnTo>
                    <a:lnTo>
                      <a:pt x="587" y="162"/>
                    </a:lnTo>
                    <a:lnTo>
                      <a:pt x="595" y="167"/>
                    </a:lnTo>
                    <a:lnTo>
                      <a:pt x="599" y="171"/>
                    </a:lnTo>
                    <a:lnTo>
                      <a:pt x="599" y="167"/>
                    </a:lnTo>
                    <a:lnTo>
                      <a:pt x="601" y="167"/>
                    </a:lnTo>
                    <a:lnTo>
                      <a:pt x="604" y="167"/>
                    </a:lnTo>
                    <a:lnTo>
                      <a:pt x="606" y="167"/>
                    </a:lnTo>
                    <a:lnTo>
                      <a:pt x="604" y="167"/>
                    </a:lnTo>
                    <a:lnTo>
                      <a:pt x="604" y="171"/>
                    </a:lnTo>
                    <a:lnTo>
                      <a:pt x="612" y="178"/>
                    </a:lnTo>
                    <a:lnTo>
                      <a:pt x="610" y="180"/>
                    </a:lnTo>
                    <a:lnTo>
                      <a:pt x="606" y="178"/>
                    </a:lnTo>
                    <a:lnTo>
                      <a:pt x="606" y="182"/>
                    </a:lnTo>
                    <a:lnTo>
                      <a:pt x="606" y="192"/>
                    </a:lnTo>
                    <a:lnTo>
                      <a:pt x="606" y="197"/>
                    </a:lnTo>
                    <a:lnTo>
                      <a:pt x="606" y="197"/>
                    </a:lnTo>
                    <a:lnTo>
                      <a:pt x="610" y="195"/>
                    </a:lnTo>
                    <a:lnTo>
                      <a:pt x="614" y="195"/>
                    </a:lnTo>
                    <a:lnTo>
                      <a:pt x="616" y="195"/>
                    </a:lnTo>
                    <a:lnTo>
                      <a:pt x="619" y="197"/>
                    </a:lnTo>
                    <a:lnTo>
                      <a:pt x="623" y="197"/>
                    </a:lnTo>
                    <a:lnTo>
                      <a:pt x="629" y="197"/>
                    </a:lnTo>
                    <a:lnTo>
                      <a:pt x="634" y="201"/>
                    </a:lnTo>
                    <a:lnTo>
                      <a:pt x="629" y="203"/>
                    </a:lnTo>
                    <a:lnTo>
                      <a:pt x="631" y="207"/>
                    </a:lnTo>
                    <a:lnTo>
                      <a:pt x="629" y="210"/>
                    </a:lnTo>
                    <a:lnTo>
                      <a:pt x="623" y="212"/>
                    </a:lnTo>
                    <a:lnTo>
                      <a:pt x="623" y="210"/>
                    </a:lnTo>
                    <a:lnTo>
                      <a:pt x="619" y="207"/>
                    </a:lnTo>
                    <a:lnTo>
                      <a:pt x="616" y="210"/>
                    </a:lnTo>
                    <a:lnTo>
                      <a:pt x="612" y="207"/>
                    </a:lnTo>
                    <a:lnTo>
                      <a:pt x="610" y="205"/>
                    </a:lnTo>
                    <a:lnTo>
                      <a:pt x="610" y="201"/>
                    </a:lnTo>
                    <a:lnTo>
                      <a:pt x="606" y="201"/>
                    </a:lnTo>
                    <a:lnTo>
                      <a:pt x="604" y="201"/>
                    </a:lnTo>
                    <a:lnTo>
                      <a:pt x="599" y="197"/>
                    </a:lnTo>
                    <a:lnTo>
                      <a:pt x="601" y="192"/>
                    </a:lnTo>
                    <a:lnTo>
                      <a:pt x="604" y="180"/>
                    </a:lnTo>
                    <a:lnTo>
                      <a:pt x="604" y="177"/>
                    </a:lnTo>
                    <a:lnTo>
                      <a:pt x="602" y="177"/>
                    </a:lnTo>
                    <a:lnTo>
                      <a:pt x="599" y="178"/>
                    </a:lnTo>
                    <a:lnTo>
                      <a:pt x="599" y="192"/>
                    </a:lnTo>
                    <a:lnTo>
                      <a:pt x="597" y="197"/>
                    </a:lnTo>
                    <a:lnTo>
                      <a:pt x="593" y="201"/>
                    </a:lnTo>
                    <a:lnTo>
                      <a:pt x="593" y="203"/>
                    </a:lnTo>
                    <a:lnTo>
                      <a:pt x="595" y="201"/>
                    </a:lnTo>
                    <a:lnTo>
                      <a:pt x="599" y="201"/>
                    </a:lnTo>
                    <a:lnTo>
                      <a:pt x="601" y="201"/>
                    </a:lnTo>
                    <a:lnTo>
                      <a:pt x="604" y="201"/>
                    </a:lnTo>
                    <a:lnTo>
                      <a:pt x="606" y="207"/>
                    </a:lnTo>
                    <a:lnTo>
                      <a:pt x="606" y="212"/>
                    </a:lnTo>
                    <a:lnTo>
                      <a:pt x="602" y="218"/>
                    </a:lnTo>
                    <a:lnTo>
                      <a:pt x="597" y="220"/>
                    </a:lnTo>
                    <a:lnTo>
                      <a:pt x="602" y="212"/>
                    </a:lnTo>
                    <a:lnTo>
                      <a:pt x="602" y="210"/>
                    </a:lnTo>
                    <a:lnTo>
                      <a:pt x="599" y="210"/>
                    </a:lnTo>
                    <a:lnTo>
                      <a:pt x="597" y="210"/>
                    </a:lnTo>
                    <a:lnTo>
                      <a:pt x="595" y="210"/>
                    </a:lnTo>
                    <a:lnTo>
                      <a:pt x="589" y="214"/>
                    </a:lnTo>
                    <a:lnTo>
                      <a:pt x="589" y="218"/>
                    </a:lnTo>
                    <a:lnTo>
                      <a:pt x="586" y="220"/>
                    </a:lnTo>
                    <a:lnTo>
                      <a:pt x="582" y="222"/>
                    </a:lnTo>
                    <a:lnTo>
                      <a:pt x="582" y="218"/>
                    </a:lnTo>
                    <a:lnTo>
                      <a:pt x="582" y="216"/>
                    </a:lnTo>
                    <a:lnTo>
                      <a:pt x="576" y="216"/>
                    </a:lnTo>
                    <a:lnTo>
                      <a:pt x="574" y="216"/>
                    </a:lnTo>
                    <a:lnTo>
                      <a:pt x="572" y="210"/>
                    </a:lnTo>
                    <a:lnTo>
                      <a:pt x="570" y="210"/>
                    </a:lnTo>
                    <a:lnTo>
                      <a:pt x="569" y="212"/>
                    </a:lnTo>
                    <a:lnTo>
                      <a:pt x="565" y="210"/>
                    </a:lnTo>
                    <a:lnTo>
                      <a:pt x="565" y="210"/>
                    </a:lnTo>
                    <a:lnTo>
                      <a:pt x="561" y="207"/>
                    </a:lnTo>
                    <a:lnTo>
                      <a:pt x="561" y="210"/>
                    </a:lnTo>
                    <a:lnTo>
                      <a:pt x="557" y="207"/>
                    </a:lnTo>
                    <a:lnTo>
                      <a:pt x="557" y="203"/>
                    </a:lnTo>
                    <a:lnTo>
                      <a:pt x="555" y="201"/>
                    </a:lnTo>
                    <a:lnTo>
                      <a:pt x="555" y="197"/>
                    </a:lnTo>
                    <a:lnTo>
                      <a:pt x="561" y="197"/>
                    </a:lnTo>
                    <a:lnTo>
                      <a:pt x="563" y="194"/>
                    </a:lnTo>
                    <a:lnTo>
                      <a:pt x="565" y="192"/>
                    </a:lnTo>
                    <a:lnTo>
                      <a:pt x="569" y="190"/>
                    </a:lnTo>
                    <a:lnTo>
                      <a:pt x="569" y="188"/>
                    </a:lnTo>
                    <a:lnTo>
                      <a:pt x="563" y="182"/>
                    </a:lnTo>
                    <a:lnTo>
                      <a:pt x="561" y="180"/>
                    </a:lnTo>
                    <a:lnTo>
                      <a:pt x="555" y="180"/>
                    </a:lnTo>
                    <a:lnTo>
                      <a:pt x="552" y="184"/>
                    </a:lnTo>
                    <a:lnTo>
                      <a:pt x="548" y="184"/>
                    </a:lnTo>
                    <a:lnTo>
                      <a:pt x="544" y="180"/>
                    </a:lnTo>
                    <a:lnTo>
                      <a:pt x="540" y="182"/>
                    </a:lnTo>
                    <a:lnTo>
                      <a:pt x="531" y="186"/>
                    </a:lnTo>
                    <a:lnTo>
                      <a:pt x="531" y="188"/>
                    </a:lnTo>
                    <a:lnTo>
                      <a:pt x="531" y="190"/>
                    </a:lnTo>
                    <a:lnTo>
                      <a:pt x="535" y="194"/>
                    </a:lnTo>
                    <a:lnTo>
                      <a:pt x="535" y="195"/>
                    </a:lnTo>
                    <a:lnTo>
                      <a:pt x="531" y="195"/>
                    </a:lnTo>
                    <a:lnTo>
                      <a:pt x="527" y="195"/>
                    </a:lnTo>
                    <a:lnTo>
                      <a:pt x="527" y="194"/>
                    </a:lnTo>
                    <a:lnTo>
                      <a:pt x="523" y="192"/>
                    </a:lnTo>
                    <a:lnTo>
                      <a:pt x="518" y="190"/>
                    </a:lnTo>
                    <a:lnTo>
                      <a:pt x="510" y="192"/>
                    </a:lnTo>
                    <a:lnTo>
                      <a:pt x="506" y="194"/>
                    </a:lnTo>
                    <a:lnTo>
                      <a:pt x="506" y="195"/>
                    </a:lnTo>
                    <a:lnTo>
                      <a:pt x="503" y="195"/>
                    </a:lnTo>
                    <a:lnTo>
                      <a:pt x="503" y="195"/>
                    </a:lnTo>
                    <a:lnTo>
                      <a:pt x="501" y="195"/>
                    </a:lnTo>
                    <a:lnTo>
                      <a:pt x="493" y="197"/>
                    </a:lnTo>
                    <a:lnTo>
                      <a:pt x="493" y="197"/>
                    </a:lnTo>
                    <a:lnTo>
                      <a:pt x="491" y="201"/>
                    </a:lnTo>
                    <a:lnTo>
                      <a:pt x="486" y="201"/>
                    </a:lnTo>
                    <a:lnTo>
                      <a:pt x="482" y="205"/>
                    </a:lnTo>
                    <a:lnTo>
                      <a:pt x="482" y="205"/>
                    </a:lnTo>
                    <a:lnTo>
                      <a:pt x="482" y="203"/>
                    </a:lnTo>
                    <a:lnTo>
                      <a:pt x="482" y="201"/>
                    </a:lnTo>
                    <a:lnTo>
                      <a:pt x="478" y="203"/>
                    </a:lnTo>
                    <a:lnTo>
                      <a:pt x="474" y="207"/>
                    </a:lnTo>
                    <a:lnTo>
                      <a:pt x="474" y="210"/>
                    </a:lnTo>
                    <a:lnTo>
                      <a:pt x="482" y="216"/>
                    </a:lnTo>
                    <a:lnTo>
                      <a:pt x="486" y="222"/>
                    </a:lnTo>
                    <a:lnTo>
                      <a:pt x="491" y="226"/>
                    </a:lnTo>
                    <a:lnTo>
                      <a:pt x="493" y="231"/>
                    </a:lnTo>
                    <a:lnTo>
                      <a:pt x="497" y="231"/>
                    </a:lnTo>
                    <a:lnTo>
                      <a:pt x="501" y="235"/>
                    </a:lnTo>
                    <a:lnTo>
                      <a:pt x="503" y="237"/>
                    </a:lnTo>
                    <a:lnTo>
                      <a:pt x="508" y="241"/>
                    </a:lnTo>
                    <a:lnTo>
                      <a:pt x="506" y="241"/>
                    </a:lnTo>
                    <a:lnTo>
                      <a:pt x="503" y="241"/>
                    </a:lnTo>
                    <a:lnTo>
                      <a:pt x="501" y="237"/>
                    </a:lnTo>
                    <a:lnTo>
                      <a:pt x="497" y="235"/>
                    </a:lnTo>
                    <a:lnTo>
                      <a:pt x="493" y="231"/>
                    </a:lnTo>
                    <a:lnTo>
                      <a:pt x="491" y="231"/>
                    </a:lnTo>
                    <a:lnTo>
                      <a:pt x="488" y="235"/>
                    </a:lnTo>
                    <a:lnTo>
                      <a:pt x="486" y="235"/>
                    </a:lnTo>
                    <a:lnTo>
                      <a:pt x="482" y="231"/>
                    </a:lnTo>
                    <a:lnTo>
                      <a:pt x="486" y="227"/>
                    </a:lnTo>
                    <a:lnTo>
                      <a:pt x="486" y="227"/>
                    </a:lnTo>
                    <a:lnTo>
                      <a:pt x="482" y="227"/>
                    </a:lnTo>
                    <a:lnTo>
                      <a:pt x="482" y="231"/>
                    </a:lnTo>
                    <a:lnTo>
                      <a:pt x="482" y="241"/>
                    </a:lnTo>
                    <a:lnTo>
                      <a:pt x="482" y="241"/>
                    </a:lnTo>
                    <a:lnTo>
                      <a:pt x="482" y="244"/>
                    </a:lnTo>
                    <a:lnTo>
                      <a:pt x="478" y="248"/>
                    </a:lnTo>
                    <a:lnTo>
                      <a:pt x="474" y="252"/>
                    </a:lnTo>
                    <a:lnTo>
                      <a:pt x="474" y="258"/>
                    </a:lnTo>
                    <a:lnTo>
                      <a:pt x="474" y="261"/>
                    </a:lnTo>
                    <a:lnTo>
                      <a:pt x="482" y="269"/>
                    </a:lnTo>
                    <a:lnTo>
                      <a:pt x="488" y="271"/>
                    </a:lnTo>
                    <a:lnTo>
                      <a:pt x="491" y="276"/>
                    </a:lnTo>
                    <a:lnTo>
                      <a:pt x="493" y="276"/>
                    </a:lnTo>
                    <a:lnTo>
                      <a:pt x="497" y="273"/>
                    </a:lnTo>
                    <a:lnTo>
                      <a:pt x="503" y="271"/>
                    </a:lnTo>
                    <a:lnTo>
                      <a:pt x="508" y="273"/>
                    </a:lnTo>
                    <a:lnTo>
                      <a:pt x="516" y="275"/>
                    </a:lnTo>
                    <a:lnTo>
                      <a:pt x="520" y="276"/>
                    </a:lnTo>
                    <a:lnTo>
                      <a:pt x="522" y="282"/>
                    </a:lnTo>
                    <a:lnTo>
                      <a:pt x="523" y="282"/>
                    </a:lnTo>
                    <a:lnTo>
                      <a:pt x="525" y="280"/>
                    </a:lnTo>
                    <a:lnTo>
                      <a:pt x="525" y="275"/>
                    </a:lnTo>
                    <a:lnTo>
                      <a:pt x="525" y="275"/>
                    </a:lnTo>
                    <a:lnTo>
                      <a:pt x="527" y="275"/>
                    </a:lnTo>
                    <a:lnTo>
                      <a:pt x="527" y="276"/>
                    </a:lnTo>
                    <a:lnTo>
                      <a:pt x="525" y="282"/>
                    </a:lnTo>
                    <a:lnTo>
                      <a:pt x="525" y="286"/>
                    </a:lnTo>
                    <a:lnTo>
                      <a:pt x="527" y="286"/>
                    </a:lnTo>
                    <a:lnTo>
                      <a:pt x="531" y="282"/>
                    </a:lnTo>
                    <a:lnTo>
                      <a:pt x="533" y="280"/>
                    </a:lnTo>
                    <a:lnTo>
                      <a:pt x="538" y="278"/>
                    </a:lnTo>
                    <a:lnTo>
                      <a:pt x="546" y="273"/>
                    </a:lnTo>
                    <a:lnTo>
                      <a:pt x="552" y="273"/>
                    </a:lnTo>
                    <a:lnTo>
                      <a:pt x="555" y="269"/>
                    </a:lnTo>
                    <a:lnTo>
                      <a:pt x="555" y="269"/>
                    </a:lnTo>
                    <a:lnTo>
                      <a:pt x="555" y="271"/>
                    </a:lnTo>
                    <a:lnTo>
                      <a:pt x="557" y="271"/>
                    </a:lnTo>
                    <a:lnTo>
                      <a:pt x="565" y="267"/>
                    </a:lnTo>
                    <a:lnTo>
                      <a:pt x="569" y="267"/>
                    </a:lnTo>
                    <a:lnTo>
                      <a:pt x="570" y="265"/>
                    </a:lnTo>
                    <a:lnTo>
                      <a:pt x="570" y="269"/>
                    </a:lnTo>
                    <a:lnTo>
                      <a:pt x="565" y="271"/>
                    </a:lnTo>
                    <a:lnTo>
                      <a:pt x="565" y="273"/>
                    </a:lnTo>
                    <a:lnTo>
                      <a:pt x="567" y="275"/>
                    </a:lnTo>
                    <a:lnTo>
                      <a:pt x="565" y="280"/>
                    </a:lnTo>
                    <a:lnTo>
                      <a:pt x="561" y="282"/>
                    </a:lnTo>
                    <a:lnTo>
                      <a:pt x="557" y="280"/>
                    </a:lnTo>
                    <a:lnTo>
                      <a:pt x="555" y="280"/>
                    </a:lnTo>
                    <a:lnTo>
                      <a:pt x="550" y="284"/>
                    </a:lnTo>
                    <a:lnTo>
                      <a:pt x="552" y="284"/>
                    </a:lnTo>
                    <a:lnTo>
                      <a:pt x="555" y="286"/>
                    </a:lnTo>
                    <a:lnTo>
                      <a:pt x="555" y="286"/>
                    </a:lnTo>
                    <a:lnTo>
                      <a:pt x="555" y="291"/>
                    </a:lnTo>
                    <a:lnTo>
                      <a:pt x="552" y="299"/>
                    </a:lnTo>
                    <a:lnTo>
                      <a:pt x="550" y="303"/>
                    </a:lnTo>
                    <a:lnTo>
                      <a:pt x="548" y="307"/>
                    </a:lnTo>
                    <a:lnTo>
                      <a:pt x="548" y="308"/>
                    </a:lnTo>
                    <a:lnTo>
                      <a:pt x="548" y="310"/>
                    </a:lnTo>
                    <a:lnTo>
                      <a:pt x="548" y="314"/>
                    </a:lnTo>
                    <a:lnTo>
                      <a:pt x="548" y="316"/>
                    </a:lnTo>
                    <a:lnTo>
                      <a:pt x="544" y="322"/>
                    </a:lnTo>
                    <a:lnTo>
                      <a:pt x="540" y="324"/>
                    </a:lnTo>
                    <a:lnTo>
                      <a:pt x="537" y="324"/>
                    </a:lnTo>
                    <a:lnTo>
                      <a:pt x="535" y="325"/>
                    </a:lnTo>
                    <a:lnTo>
                      <a:pt x="531" y="329"/>
                    </a:lnTo>
                    <a:lnTo>
                      <a:pt x="527" y="329"/>
                    </a:lnTo>
                    <a:lnTo>
                      <a:pt x="525" y="329"/>
                    </a:lnTo>
                    <a:lnTo>
                      <a:pt x="520" y="325"/>
                    </a:lnTo>
                    <a:lnTo>
                      <a:pt x="518" y="325"/>
                    </a:lnTo>
                    <a:lnTo>
                      <a:pt x="516" y="325"/>
                    </a:lnTo>
                    <a:lnTo>
                      <a:pt x="512" y="322"/>
                    </a:lnTo>
                    <a:lnTo>
                      <a:pt x="512" y="322"/>
                    </a:lnTo>
                    <a:lnTo>
                      <a:pt x="508" y="325"/>
                    </a:lnTo>
                    <a:lnTo>
                      <a:pt x="503" y="329"/>
                    </a:lnTo>
                    <a:lnTo>
                      <a:pt x="503" y="333"/>
                    </a:lnTo>
                    <a:lnTo>
                      <a:pt x="493" y="335"/>
                    </a:lnTo>
                    <a:lnTo>
                      <a:pt x="491" y="337"/>
                    </a:lnTo>
                    <a:lnTo>
                      <a:pt x="488" y="337"/>
                    </a:lnTo>
                    <a:lnTo>
                      <a:pt x="484" y="337"/>
                    </a:lnTo>
                    <a:lnTo>
                      <a:pt x="478" y="337"/>
                    </a:lnTo>
                    <a:lnTo>
                      <a:pt x="474" y="340"/>
                    </a:lnTo>
                    <a:lnTo>
                      <a:pt x="469" y="340"/>
                    </a:lnTo>
                    <a:lnTo>
                      <a:pt x="469" y="342"/>
                    </a:lnTo>
                    <a:lnTo>
                      <a:pt x="469" y="346"/>
                    </a:lnTo>
                    <a:lnTo>
                      <a:pt x="465" y="354"/>
                    </a:lnTo>
                    <a:lnTo>
                      <a:pt x="463" y="356"/>
                    </a:lnTo>
                    <a:lnTo>
                      <a:pt x="463" y="354"/>
                    </a:lnTo>
                    <a:lnTo>
                      <a:pt x="458" y="350"/>
                    </a:lnTo>
                    <a:lnTo>
                      <a:pt x="452" y="348"/>
                    </a:lnTo>
                    <a:lnTo>
                      <a:pt x="450" y="350"/>
                    </a:lnTo>
                    <a:lnTo>
                      <a:pt x="450" y="354"/>
                    </a:lnTo>
                    <a:lnTo>
                      <a:pt x="454" y="356"/>
                    </a:lnTo>
                    <a:lnTo>
                      <a:pt x="452" y="356"/>
                    </a:lnTo>
                    <a:lnTo>
                      <a:pt x="450" y="356"/>
                    </a:lnTo>
                    <a:lnTo>
                      <a:pt x="448" y="356"/>
                    </a:lnTo>
                    <a:lnTo>
                      <a:pt x="444" y="350"/>
                    </a:lnTo>
                    <a:lnTo>
                      <a:pt x="444" y="350"/>
                    </a:lnTo>
                    <a:lnTo>
                      <a:pt x="439" y="356"/>
                    </a:lnTo>
                    <a:lnTo>
                      <a:pt x="437" y="359"/>
                    </a:lnTo>
                    <a:lnTo>
                      <a:pt x="435" y="361"/>
                    </a:lnTo>
                    <a:lnTo>
                      <a:pt x="433" y="361"/>
                    </a:lnTo>
                    <a:lnTo>
                      <a:pt x="424" y="369"/>
                    </a:lnTo>
                    <a:lnTo>
                      <a:pt x="424" y="374"/>
                    </a:lnTo>
                    <a:lnTo>
                      <a:pt x="420" y="376"/>
                    </a:lnTo>
                    <a:lnTo>
                      <a:pt x="418" y="376"/>
                    </a:lnTo>
                    <a:lnTo>
                      <a:pt x="414" y="376"/>
                    </a:lnTo>
                    <a:lnTo>
                      <a:pt x="412" y="376"/>
                    </a:lnTo>
                    <a:lnTo>
                      <a:pt x="418" y="380"/>
                    </a:lnTo>
                    <a:lnTo>
                      <a:pt x="414" y="384"/>
                    </a:lnTo>
                    <a:lnTo>
                      <a:pt x="414" y="384"/>
                    </a:lnTo>
                    <a:lnTo>
                      <a:pt x="412" y="380"/>
                    </a:lnTo>
                    <a:lnTo>
                      <a:pt x="410" y="380"/>
                    </a:lnTo>
                    <a:lnTo>
                      <a:pt x="409" y="384"/>
                    </a:lnTo>
                    <a:lnTo>
                      <a:pt x="403" y="389"/>
                    </a:lnTo>
                    <a:lnTo>
                      <a:pt x="403" y="391"/>
                    </a:lnTo>
                    <a:lnTo>
                      <a:pt x="407" y="395"/>
                    </a:lnTo>
                    <a:lnTo>
                      <a:pt x="409" y="401"/>
                    </a:lnTo>
                    <a:lnTo>
                      <a:pt x="407" y="405"/>
                    </a:lnTo>
                    <a:lnTo>
                      <a:pt x="405" y="406"/>
                    </a:lnTo>
                    <a:lnTo>
                      <a:pt x="407" y="410"/>
                    </a:lnTo>
                    <a:lnTo>
                      <a:pt x="409" y="410"/>
                    </a:lnTo>
                    <a:lnTo>
                      <a:pt x="410" y="406"/>
                    </a:lnTo>
                    <a:lnTo>
                      <a:pt x="412" y="408"/>
                    </a:lnTo>
                    <a:lnTo>
                      <a:pt x="412" y="414"/>
                    </a:lnTo>
                    <a:lnTo>
                      <a:pt x="410" y="414"/>
                    </a:lnTo>
                    <a:lnTo>
                      <a:pt x="409" y="418"/>
                    </a:lnTo>
                    <a:lnTo>
                      <a:pt x="410" y="420"/>
                    </a:lnTo>
                    <a:lnTo>
                      <a:pt x="412" y="418"/>
                    </a:lnTo>
                    <a:lnTo>
                      <a:pt x="414" y="418"/>
                    </a:lnTo>
                    <a:lnTo>
                      <a:pt x="414" y="418"/>
                    </a:lnTo>
                    <a:lnTo>
                      <a:pt x="418" y="418"/>
                    </a:lnTo>
                    <a:lnTo>
                      <a:pt x="418" y="420"/>
                    </a:lnTo>
                    <a:lnTo>
                      <a:pt x="420" y="420"/>
                    </a:lnTo>
                    <a:lnTo>
                      <a:pt x="424" y="423"/>
                    </a:lnTo>
                    <a:lnTo>
                      <a:pt x="427" y="423"/>
                    </a:lnTo>
                    <a:lnTo>
                      <a:pt x="431" y="420"/>
                    </a:lnTo>
                    <a:lnTo>
                      <a:pt x="433" y="410"/>
                    </a:lnTo>
                    <a:lnTo>
                      <a:pt x="435" y="410"/>
                    </a:lnTo>
                    <a:lnTo>
                      <a:pt x="442" y="410"/>
                    </a:lnTo>
                    <a:lnTo>
                      <a:pt x="444" y="408"/>
                    </a:lnTo>
                    <a:lnTo>
                      <a:pt x="442" y="410"/>
                    </a:lnTo>
                    <a:lnTo>
                      <a:pt x="439" y="410"/>
                    </a:lnTo>
                    <a:lnTo>
                      <a:pt x="433" y="418"/>
                    </a:lnTo>
                    <a:lnTo>
                      <a:pt x="431" y="420"/>
                    </a:lnTo>
                    <a:lnTo>
                      <a:pt x="429" y="423"/>
                    </a:lnTo>
                    <a:lnTo>
                      <a:pt x="433" y="427"/>
                    </a:lnTo>
                    <a:lnTo>
                      <a:pt x="433" y="429"/>
                    </a:lnTo>
                    <a:lnTo>
                      <a:pt x="427" y="431"/>
                    </a:lnTo>
                    <a:lnTo>
                      <a:pt x="426" y="429"/>
                    </a:lnTo>
                    <a:lnTo>
                      <a:pt x="426" y="427"/>
                    </a:lnTo>
                    <a:lnTo>
                      <a:pt x="424" y="425"/>
                    </a:lnTo>
                    <a:lnTo>
                      <a:pt x="424" y="425"/>
                    </a:lnTo>
                    <a:lnTo>
                      <a:pt x="420" y="423"/>
                    </a:lnTo>
                    <a:lnTo>
                      <a:pt x="414" y="423"/>
                    </a:lnTo>
                    <a:lnTo>
                      <a:pt x="414" y="420"/>
                    </a:lnTo>
                    <a:lnTo>
                      <a:pt x="410" y="423"/>
                    </a:lnTo>
                    <a:lnTo>
                      <a:pt x="407" y="423"/>
                    </a:lnTo>
                    <a:lnTo>
                      <a:pt x="407" y="425"/>
                    </a:lnTo>
                    <a:lnTo>
                      <a:pt x="403" y="427"/>
                    </a:lnTo>
                    <a:lnTo>
                      <a:pt x="399" y="425"/>
                    </a:lnTo>
                    <a:lnTo>
                      <a:pt x="399" y="429"/>
                    </a:lnTo>
                    <a:lnTo>
                      <a:pt x="401" y="431"/>
                    </a:lnTo>
                    <a:lnTo>
                      <a:pt x="403" y="433"/>
                    </a:lnTo>
                    <a:lnTo>
                      <a:pt x="401" y="435"/>
                    </a:lnTo>
                    <a:lnTo>
                      <a:pt x="399" y="440"/>
                    </a:lnTo>
                    <a:lnTo>
                      <a:pt x="401" y="444"/>
                    </a:lnTo>
                    <a:lnTo>
                      <a:pt x="403" y="444"/>
                    </a:lnTo>
                    <a:lnTo>
                      <a:pt x="403" y="448"/>
                    </a:lnTo>
                    <a:lnTo>
                      <a:pt x="405" y="453"/>
                    </a:lnTo>
                    <a:lnTo>
                      <a:pt x="405" y="453"/>
                    </a:lnTo>
                    <a:lnTo>
                      <a:pt x="409" y="457"/>
                    </a:lnTo>
                    <a:lnTo>
                      <a:pt x="409" y="459"/>
                    </a:lnTo>
                    <a:lnTo>
                      <a:pt x="403" y="459"/>
                    </a:lnTo>
                    <a:lnTo>
                      <a:pt x="403" y="461"/>
                    </a:lnTo>
                    <a:lnTo>
                      <a:pt x="414" y="467"/>
                    </a:lnTo>
                    <a:lnTo>
                      <a:pt x="418" y="467"/>
                    </a:lnTo>
                    <a:lnTo>
                      <a:pt x="424" y="465"/>
                    </a:lnTo>
                    <a:lnTo>
                      <a:pt x="427" y="463"/>
                    </a:lnTo>
                    <a:lnTo>
                      <a:pt x="429" y="465"/>
                    </a:lnTo>
                    <a:lnTo>
                      <a:pt x="431" y="465"/>
                    </a:lnTo>
                    <a:lnTo>
                      <a:pt x="437" y="457"/>
                    </a:lnTo>
                    <a:lnTo>
                      <a:pt x="437" y="453"/>
                    </a:lnTo>
                    <a:lnTo>
                      <a:pt x="435" y="453"/>
                    </a:lnTo>
                    <a:lnTo>
                      <a:pt x="435" y="450"/>
                    </a:lnTo>
                    <a:lnTo>
                      <a:pt x="441" y="448"/>
                    </a:lnTo>
                    <a:lnTo>
                      <a:pt x="444" y="444"/>
                    </a:lnTo>
                    <a:lnTo>
                      <a:pt x="454" y="438"/>
                    </a:lnTo>
                    <a:lnTo>
                      <a:pt x="458" y="440"/>
                    </a:lnTo>
                    <a:lnTo>
                      <a:pt x="452" y="440"/>
                    </a:lnTo>
                    <a:lnTo>
                      <a:pt x="444" y="448"/>
                    </a:lnTo>
                    <a:lnTo>
                      <a:pt x="441" y="450"/>
                    </a:lnTo>
                    <a:lnTo>
                      <a:pt x="441" y="453"/>
                    </a:lnTo>
                    <a:lnTo>
                      <a:pt x="444" y="453"/>
                    </a:lnTo>
                    <a:lnTo>
                      <a:pt x="444" y="457"/>
                    </a:lnTo>
                    <a:lnTo>
                      <a:pt x="441" y="463"/>
                    </a:lnTo>
                    <a:lnTo>
                      <a:pt x="437" y="465"/>
                    </a:lnTo>
                    <a:lnTo>
                      <a:pt x="437" y="469"/>
                    </a:lnTo>
                    <a:lnTo>
                      <a:pt x="437" y="474"/>
                    </a:lnTo>
                    <a:lnTo>
                      <a:pt x="437" y="478"/>
                    </a:lnTo>
                    <a:lnTo>
                      <a:pt x="437" y="478"/>
                    </a:lnTo>
                    <a:lnTo>
                      <a:pt x="437" y="482"/>
                    </a:lnTo>
                    <a:lnTo>
                      <a:pt x="437" y="485"/>
                    </a:lnTo>
                    <a:lnTo>
                      <a:pt x="431" y="487"/>
                    </a:lnTo>
                    <a:lnTo>
                      <a:pt x="429" y="489"/>
                    </a:lnTo>
                    <a:lnTo>
                      <a:pt x="427" y="493"/>
                    </a:lnTo>
                    <a:lnTo>
                      <a:pt x="426" y="491"/>
                    </a:lnTo>
                    <a:lnTo>
                      <a:pt x="424" y="493"/>
                    </a:lnTo>
                    <a:lnTo>
                      <a:pt x="426" y="497"/>
                    </a:lnTo>
                    <a:lnTo>
                      <a:pt x="426" y="501"/>
                    </a:lnTo>
                    <a:lnTo>
                      <a:pt x="427" y="501"/>
                    </a:lnTo>
                    <a:lnTo>
                      <a:pt x="431" y="501"/>
                    </a:lnTo>
                    <a:lnTo>
                      <a:pt x="435" y="501"/>
                    </a:lnTo>
                    <a:lnTo>
                      <a:pt x="435" y="502"/>
                    </a:lnTo>
                    <a:lnTo>
                      <a:pt x="433" y="504"/>
                    </a:lnTo>
                    <a:lnTo>
                      <a:pt x="427" y="504"/>
                    </a:lnTo>
                    <a:lnTo>
                      <a:pt x="427" y="504"/>
                    </a:lnTo>
                    <a:lnTo>
                      <a:pt x="427" y="508"/>
                    </a:lnTo>
                    <a:lnTo>
                      <a:pt x="427" y="508"/>
                    </a:lnTo>
                    <a:lnTo>
                      <a:pt x="427" y="512"/>
                    </a:lnTo>
                    <a:lnTo>
                      <a:pt x="426" y="514"/>
                    </a:lnTo>
                    <a:lnTo>
                      <a:pt x="424" y="514"/>
                    </a:lnTo>
                    <a:lnTo>
                      <a:pt x="420" y="518"/>
                    </a:lnTo>
                    <a:lnTo>
                      <a:pt x="418" y="518"/>
                    </a:lnTo>
                    <a:lnTo>
                      <a:pt x="414" y="518"/>
                    </a:lnTo>
                    <a:lnTo>
                      <a:pt x="418" y="518"/>
                    </a:lnTo>
                    <a:lnTo>
                      <a:pt x="424" y="518"/>
                    </a:lnTo>
                    <a:lnTo>
                      <a:pt x="424" y="519"/>
                    </a:lnTo>
                    <a:lnTo>
                      <a:pt x="427" y="518"/>
                    </a:lnTo>
                    <a:lnTo>
                      <a:pt x="435" y="512"/>
                    </a:lnTo>
                    <a:lnTo>
                      <a:pt x="437" y="512"/>
                    </a:lnTo>
                    <a:lnTo>
                      <a:pt x="441" y="512"/>
                    </a:lnTo>
                    <a:lnTo>
                      <a:pt x="442" y="508"/>
                    </a:lnTo>
                    <a:lnTo>
                      <a:pt x="448" y="508"/>
                    </a:lnTo>
                    <a:lnTo>
                      <a:pt x="448" y="508"/>
                    </a:lnTo>
                    <a:lnTo>
                      <a:pt x="444" y="512"/>
                    </a:lnTo>
                    <a:lnTo>
                      <a:pt x="444" y="512"/>
                    </a:lnTo>
                    <a:lnTo>
                      <a:pt x="448" y="514"/>
                    </a:lnTo>
                    <a:lnTo>
                      <a:pt x="448" y="518"/>
                    </a:lnTo>
                    <a:lnTo>
                      <a:pt x="448" y="519"/>
                    </a:lnTo>
                    <a:lnTo>
                      <a:pt x="450" y="521"/>
                    </a:lnTo>
                    <a:lnTo>
                      <a:pt x="454" y="518"/>
                    </a:lnTo>
                    <a:lnTo>
                      <a:pt x="456" y="518"/>
                    </a:lnTo>
                    <a:lnTo>
                      <a:pt x="456" y="518"/>
                    </a:lnTo>
                    <a:lnTo>
                      <a:pt x="456" y="519"/>
                    </a:lnTo>
                    <a:lnTo>
                      <a:pt x="458" y="523"/>
                    </a:lnTo>
                    <a:lnTo>
                      <a:pt x="459" y="529"/>
                    </a:lnTo>
                    <a:lnTo>
                      <a:pt x="458" y="533"/>
                    </a:lnTo>
                    <a:lnTo>
                      <a:pt x="459" y="538"/>
                    </a:lnTo>
                    <a:lnTo>
                      <a:pt x="461" y="538"/>
                    </a:lnTo>
                    <a:lnTo>
                      <a:pt x="463" y="534"/>
                    </a:lnTo>
                    <a:lnTo>
                      <a:pt x="463" y="529"/>
                    </a:lnTo>
                    <a:lnTo>
                      <a:pt x="467" y="525"/>
                    </a:lnTo>
                    <a:lnTo>
                      <a:pt x="467" y="521"/>
                    </a:lnTo>
                    <a:lnTo>
                      <a:pt x="473" y="518"/>
                    </a:lnTo>
                    <a:lnTo>
                      <a:pt x="473" y="518"/>
                    </a:lnTo>
                    <a:lnTo>
                      <a:pt x="474" y="514"/>
                    </a:lnTo>
                    <a:lnTo>
                      <a:pt x="482" y="514"/>
                    </a:lnTo>
                    <a:lnTo>
                      <a:pt x="476" y="518"/>
                    </a:lnTo>
                    <a:lnTo>
                      <a:pt x="473" y="523"/>
                    </a:lnTo>
                    <a:lnTo>
                      <a:pt x="473" y="525"/>
                    </a:lnTo>
                    <a:lnTo>
                      <a:pt x="474" y="529"/>
                    </a:lnTo>
                    <a:lnTo>
                      <a:pt x="478" y="529"/>
                    </a:lnTo>
                    <a:lnTo>
                      <a:pt x="484" y="529"/>
                    </a:lnTo>
                    <a:lnTo>
                      <a:pt x="491" y="527"/>
                    </a:lnTo>
                    <a:lnTo>
                      <a:pt x="493" y="525"/>
                    </a:lnTo>
                    <a:lnTo>
                      <a:pt x="497" y="523"/>
                    </a:lnTo>
                    <a:lnTo>
                      <a:pt x="503" y="521"/>
                    </a:lnTo>
                    <a:lnTo>
                      <a:pt x="506" y="521"/>
                    </a:lnTo>
                    <a:lnTo>
                      <a:pt x="503" y="521"/>
                    </a:lnTo>
                    <a:lnTo>
                      <a:pt x="497" y="527"/>
                    </a:lnTo>
                    <a:lnTo>
                      <a:pt x="497" y="529"/>
                    </a:lnTo>
                    <a:lnTo>
                      <a:pt x="497" y="529"/>
                    </a:lnTo>
                    <a:lnTo>
                      <a:pt x="486" y="538"/>
                    </a:lnTo>
                    <a:lnTo>
                      <a:pt x="482" y="542"/>
                    </a:lnTo>
                    <a:lnTo>
                      <a:pt x="478" y="546"/>
                    </a:lnTo>
                    <a:lnTo>
                      <a:pt x="478" y="550"/>
                    </a:lnTo>
                    <a:lnTo>
                      <a:pt x="478" y="553"/>
                    </a:lnTo>
                    <a:lnTo>
                      <a:pt x="482" y="555"/>
                    </a:lnTo>
                    <a:lnTo>
                      <a:pt x="476" y="553"/>
                    </a:lnTo>
                    <a:lnTo>
                      <a:pt x="474" y="555"/>
                    </a:lnTo>
                    <a:lnTo>
                      <a:pt x="473" y="559"/>
                    </a:lnTo>
                    <a:lnTo>
                      <a:pt x="469" y="563"/>
                    </a:lnTo>
                    <a:lnTo>
                      <a:pt x="465" y="568"/>
                    </a:lnTo>
                    <a:lnTo>
                      <a:pt x="463" y="572"/>
                    </a:lnTo>
                    <a:lnTo>
                      <a:pt x="465" y="574"/>
                    </a:lnTo>
                    <a:lnTo>
                      <a:pt x="465" y="576"/>
                    </a:lnTo>
                    <a:lnTo>
                      <a:pt x="465" y="578"/>
                    </a:lnTo>
                    <a:lnTo>
                      <a:pt x="463" y="578"/>
                    </a:lnTo>
                    <a:lnTo>
                      <a:pt x="461" y="576"/>
                    </a:lnTo>
                    <a:lnTo>
                      <a:pt x="459" y="574"/>
                    </a:lnTo>
                    <a:lnTo>
                      <a:pt x="456" y="578"/>
                    </a:lnTo>
                    <a:lnTo>
                      <a:pt x="450" y="582"/>
                    </a:lnTo>
                    <a:lnTo>
                      <a:pt x="452" y="583"/>
                    </a:lnTo>
                    <a:lnTo>
                      <a:pt x="450" y="587"/>
                    </a:lnTo>
                    <a:lnTo>
                      <a:pt x="448" y="585"/>
                    </a:lnTo>
                    <a:lnTo>
                      <a:pt x="448" y="583"/>
                    </a:lnTo>
                    <a:lnTo>
                      <a:pt x="444" y="585"/>
                    </a:lnTo>
                    <a:lnTo>
                      <a:pt x="439" y="593"/>
                    </a:lnTo>
                    <a:lnTo>
                      <a:pt x="435" y="597"/>
                    </a:lnTo>
                    <a:lnTo>
                      <a:pt x="437" y="599"/>
                    </a:lnTo>
                    <a:lnTo>
                      <a:pt x="435" y="599"/>
                    </a:lnTo>
                    <a:lnTo>
                      <a:pt x="431" y="599"/>
                    </a:lnTo>
                    <a:lnTo>
                      <a:pt x="431" y="593"/>
                    </a:lnTo>
                    <a:lnTo>
                      <a:pt x="426" y="599"/>
                    </a:lnTo>
                    <a:lnTo>
                      <a:pt x="424" y="599"/>
                    </a:lnTo>
                    <a:lnTo>
                      <a:pt x="418" y="602"/>
                    </a:lnTo>
                    <a:lnTo>
                      <a:pt x="418" y="606"/>
                    </a:lnTo>
                    <a:lnTo>
                      <a:pt x="414" y="606"/>
                    </a:lnTo>
                    <a:lnTo>
                      <a:pt x="410" y="606"/>
                    </a:lnTo>
                    <a:lnTo>
                      <a:pt x="405" y="610"/>
                    </a:lnTo>
                    <a:lnTo>
                      <a:pt x="397" y="614"/>
                    </a:lnTo>
                    <a:lnTo>
                      <a:pt x="390" y="617"/>
                    </a:lnTo>
                    <a:lnTo>
                      <a:pt x="390" y="623"/>
                    </a:lnTo>
                    <a:lnTo>
                      <a:pt x="390" y="623"/>
                    </a:lnTo>
                    <a:lnTo>
                      <a:pt x="390" y="627"/>
                    </a:lnTo>
                    <a:lnTo>
                      <a:pt x="390" y="632"/>
                    </a:lnTo>
                    <a:lnTo>
                      <a:pt x="390" y="632"/>
                    </a:lnTo>
                    <a:lnTo>
                      <a:pt x="388" y="627"/>
                    </a:lnTo>
                    <a:lnTo>
                      <a:pt x="386" y="627"/>
                    </a:lnTo>
                    <a:lnTo>
                      <a:pt x="384" y="631"/>
                    </a:lnTo>
                    <a:lnTo>
                      <a:pt x="384" y="632"/>
                    </a:lnTo>
                    <a:lnTo>
                      <a:pt x="382" y="632"/>
                    </a:lnTo>
                    <a:lnTo>
                      <a:pt x="380" y="632"/>
                    </a:lnTo>
                    <a:lnTo>
                      <a:pt x="380" y="627"/>
                    </a:lnTo>
                    <a:lnTo>
                      <a:pt x="382" y="627"/>
                    </a:lnTo>
                    <a:lnTo>
                      <a:pt x="380" y="623"/>
                    </a:lnTo>
                    <a:lnTo>
                      <a:pt x="377" y="623"/>
                    </a:lnTo>
                    <a:lnTo>
                      <a:pt x="375" y="623"/>
                    </a:lnTo>
                    <a:lnTo>
                      <a:pt x="371" y="623"/>
                    </a:lnTo>
                    <a:lnTo>
                      <a:pt x="365" y="623"/>
                    </a:lnTo>
                    <a:lnTo>
                      <a:pt x="363" y="627"/>
                    </a:lnTo>
                    <a:lnTo>
                      <a:pt x="360" y="631"/>
                    </a:lnTo>
                    <a:lnTo>
                      <a:pt x="356" y="632"/>
                    </a:lnTo>
                    <a:lnTo>
                      <a:pt x="350" y="636"/>
                    </a:lnTo>
                    <a:lnTo>
                      <a:pt x="346" y="638"/>
                    </a:lnTo>
                    <a:lnTo>
                      <a:pt x="346" y="640"/>
                    </a:lnTo>
                    <a:lnTo>
                      <a:pt x="345" y="642"/>
                    </a:lnTo>
                    <a:lnTo>
                      <a:pt x="345" y="642"/>
                    </a:lnTo>
                    <a:lnTo>
                      <a:pt x="341" y="644"/>
                    </a:lnTo>
                    <a:lnTo>
                      <a:pt x="335" y="646"/>
                    </a:lnTo>
                    <a:lnTo>
                      <a:pt x="335" y="647"/>
                    </a:lnTo>
                    <a:lnTo>
                      <a:pt x="335" y="647"/>
                    </a:lnTo>
                    <a:lnTo>
                      <a:pt x="331" y="647"/>
                    </a:lnTo>
                    <a:lnTo>
                      <a:pt x="328" y="647"/>
                    </a:lnTo>
                    <a:lnTo>
                      <a:pt x="328" y="651"/>
                    </a:lnTo>
                    <a:lnTo>
                      <a:pt x="326" y="655"/>
                    </a:lnTo>
                    <a:lnTo>
                      <a:pt x="328" y="657"/>
                    </a:lnTo>
                    <a:lnTo>
                      <a:pt x="330" y="657"/>
                    </a:lnTo>
                    <a:lnTo>
                      <a:pt x="331" y="653"/>
                    </a:lnTo>
                    <a:lnTo>
                      <a:pt x="331" y="651"/>
                    </a:lnTo>
                    <a:lnTo>
                      <a:pt x="331" y="649"/>
                    </a:lnTo>
                    <a:lnTo>
                      <a:pt x="335" y="651"/>
                    </a:lnTo>
                    <a:lnTo>
                      <a:pt x="331" y="655"/>
                    </a:lnTo>
                    <a:lnTo>
                      <a:pt x="335" y="655"/>
                    </a:lnTo>
                    <a:lnTo>
                      <a:pt x="335" y="655"/>
                    </a:lnTo>
                    <a:lnTo>
                      <a:pt x="341" y="649"/>
                    </a:lnTo>
                    <a:lnTo>
                      <a:pt x="341" y="647"/>
                    </a:lnTo>
                    <a:lnTo>
                      <a:pt x="345" y="651"/>
                    </a:lnTo>
                    <a:lnTo>
                      <a:pt x="341" y="653"/>
                    </a:lnTo>
                    <a:lnTo>
                      <a:pt x="345" y="655"/>
                    </a:lnTo>
                    <a:lnTo>
                      <a:pt x="345" y="655"/>
                    </a:lnTo>
                    <a:lnTo>
                      <a:pt x="348" y="651"/>
                    </a:lnTo>
                    <a:lnTo>
                      <a:pt x="348" y="653"/>
                    </a:lnTo>
                    <a:lnTo>
                      <a:pt x="350" y="653"/>
                    </a:lnTo>
                    <a:lnTo>
                      <a:pt x="350" y="651"/>
                    </a:lnTo>
                    <a:lnTo>
                      <a:pt x="352" y="649"/>
                    </a:lnTo>
                    <a:lnTo>
                      <a:pt x="356" y="649"/>
                    </a:lnTo>
                    <a:lnTo>
                      <a:pt x="360" y="647"/>
                    </a:lnTo>
                    <a:lnTo>
                      <a:pt x="362" y="644"/>
                    </a:lnTo>
                    <a:lnTo>
                      <a:pt x="362" y="640"/>
                    </a:lnTo>
                    <a:lnTo>
                      <a:pt x="365" y="638"/>
                    </a:lnTo>
                    <a:lnTo>
                      <a:pt x="365" y="636"/>
                    </a:lnTo>
                    <a:lnTo>
                      <a:pt x="369" y="636"/>
                    </a:lnTo>
                    <a:lnTo>
                      <a:pt x="373" y="636"/>
                    </a:lnTo>
                    <a:lnTo>
                      <a:pt x="371" y="638"/>
                    </a:lnTo>
                    <a:lnTo>
                      <a:pt x="369" y="640"/>
                    </a:lnTo>
                    <a:lnTo>
                      <a:pt x="365" y="642"/>
                    </a:lnTo>
                    <a:lnTo>
                      <a:pt x="365" y="646"/>
                    </a:lnTo>
                    <a:lnTo>
                      <a:pt x="369" y="647"/>
                    </a:lnTo>
                    <a:lnTo>
                      <a:pt x="373" y="644"/>
                    </a:lnTo>
                    <a:lnTo>
                      <a:pt x="373" y="640"/>
                    </a:lnTo>
                    <a:lnTo>
                      <a:pt x="377" y="640"/>
                    </a:lnTo>
                    <a:lnTo>
                      <a:pt x="377" y="642"/>
                    </a:lnTo>
                    <a:lnTo>
                      <a:pt x="378" y="638"/>
                    </a:lnTo>
                    <a:lnTo>
                      <a:pt x="380" y="638"/>
                    </a:lnTo>
                    <a:lnTo>
                      <a:pt x="380" y="642"/>
                    </a:lnTo>
                    <a:lnTo>
                      <a:pt x="378" y="644"/>
                    </a:lnTo>
                    <a:lnTo>
                      <a:pt x="380" y="644"/>
                    </a:lnTo>
                    <a:lnTo>
                      <a:pt x="384" y="640"/>
                    </a:lnTo>
                    <a:lnTo>
                      <a:pt x="386" y="640"/>
                    </a:lnTo>
                    <a:lnTo>
                      <a:pt x="390" y="638"/>
                    </a:lnTo>
                    <a:lnTo>
                      <a:pt x="394" y="638"/>
                    </a:lnTo>
                    <a:lnTo>
                      <a:pt x="395" y="632"/>
                    </a:lnTo>
                    <a:lnTo>
                      <a:pt x="397" y="632"/>
                    </a:lnTo>
                    <a:lnTo>
                      <a:pt x="401" y="632"/>
                    </a:lnTo>
                    <a:lnTo>
                      <a:pt x="401" y="636"/>
                    </a:lnTo>
                    <a:lnTo>
                      <a:pt x="397" y="638"/>
                    </a:lnTo>
                    <a:lnTo>
                      <a:pt x="395" y="642"/>
                    </a:lnTo>
                    <a:lnTo>
                      <a:pt x="395" y="644"/>
                    </a:lnTo>
                    <a:lnTo>
                      <a:pt x="397" y="644"/>
                    </a:lnTo>
                    <a:lnTo>
                      <a:pt x="403" y="638"/>
                    </a:lnTo>
                    <a:lnTo>
                      <a:pt x="403" y="632"/>
                    </a:lnTo>
                    <a:lnTo>
                      <a:pt x="403" y="632"/>
                    </a:lnTo>
                    <a:lnTo>
                      <a:pt x="407" y="632"/>
                    </a:lnTo>
                    <a:lnTo>
                      <a:pt x="409" y="632"/>
                    </a:lnTo>
                    <a:lnTo>
                      <a:pt x="410" y="632"/>
                    </a:lnTo>
                    <a:lnTo>
                      <a:pt x="414" y="632"/>
                    </a:lnTo>
                    <a:lnTo>
                      <a:pt x="418" y="631"/>
                    </a:lnTo>
                    <a:lnTo>
                      <a:pt x="418" y="631"/>
                    </a:lnTo>
                    <a:lnTo>
                      <a:pt x="420" y="631"/>
                    </a:lnTo>
                    <a:lnTo>
                      <a:pt x="424" y="627"/>
                    </a:lnTo>
                    <a:lnTo>
                      <a:pt x="424" y="623"/>
                    </a:lnTo>
                    <a:lnTo>
                      <a:pt x="424" y="623"/>
                    </a:lnTo>
                    <a:lnTo>
                      <a:pt x="424" y="627"/>
                    </a:lnTo>
                    <a:lnTo>
                      <a:pt x="424" y="632"/>
                    </a:lnTo>
                    <a:lnTo>
                      <a:pt x="426" y="631"/>
                    </a:lnTo>
                    <a:lnTo>
                      <a:pt x="429" y="627"/>
                    </a:lnTo>
                    <a:lnTo>
                      <a:pt x="427" y="627"/>
                    </a:lnTo>
                    <a:lnTo>
                      <a:pt x="429" y="623"/>
                    </a:lnTo>
                    <a:lnTo>
                      <a:pt x="429" y="623"/>
                    </a:lnTo>
                    <a:lnTo>
                      <a:pt x="424" y="623"/>
                    </a:lnTo>
                    <a:lnTo>
                      <a:pt x="424" y="621"/>
                    </a:lnTo>
                    <a:lnTo>
                      <a:pt x="427" y="619"/>
                    </a:lnTo>
                    <a:lnTo>
                      <a:pt x="433" y="617"/>
                    </a:lnTo>
                    <a:lnTo>
                      <a:pt x="441" y="615"/>
                    </a:lnTo>
                    <a:lnTo>
                      <a:pt x="442" y="615"/>
                    </a:lnTo>
                    <a:lnTo>
                      <a:pt x="442" y="612"/>
                    </a:lnTo>
                    <a:lnTo>
                      <a:pt x="441" y="612"/>
                    </a:lnTo>
                    <a:lnTo>
                      <a:pt x="442" y="610"/>
                    </a:lnTo>
                    <a:lnTo>
                      <a:pt x="444" y="610"/>
                    </a:lnTo>
                    <a:lnTo>
                      <a:pt x="448" y="608"/>
                    </a:lnTo>
                    <a:lnTo>
                      <a:pt x="448" y="608"/>
                    </a:lnTo>
                    <a:lnTo>
                      <a:pt x="450" y="612"/>
                    </a:lnTo>
                    <a:lnTo>
                      <a:pt x="452" y="612"/>
                    </a:lnTo>
                    <a:lnTo>
                      <a:pt x="452" y="610"/>
                    </a:lnTo>
                    <a:lnTo>
                      <a:pt x="452" y="608"/>
                    </a:lnTo>
                    <a:lnTo>
                      <a:pt x="456" y="606"/>
                    </a:lnTo>
                    <a:lnTo>
                      <a:pt x="456" y="602"/>
                    </a:lnTo>
                    <a:lnTo>
                      <a:pt x="456" y="602"/>
                    </a:lnTo>
                    <a:lnTo>
                      <a:pt x="458" y="602"/>
                    </a:lnTo>
                    <a:lnTo>
                      <a:pt x="458" y="606"/>
                    </a:lnTo>
                    <a:lnTo>
                      <a:pt x="459" y="606"/>
                    </a:lnTo>
                    <a:lnTo>
                      <a:pt x="465" y="606"/>
                    </a:lnTo>
                    <a:lnTo>
                      <a:pt x="467" y="602"/>
                    </a:lnTo>
                    <a:lnTo>
                      <a:pt x="469" y="602"/>
                    </a:lnTo>
                    <a:lnTo>
                      <a:pt x="469" y="599"/>
                    </a:lnTo>
                    <a:lnTo>
                      <a:pt x="473" y="599"/>
                    </a:lnTo>
                    <a:lnTo>
                      <a:pt x="473" y="599"/>
                    </a:lnTo>
                    <a:lnTo>
                      <a:pt x="476" y="599"/>
                    </a:lnTo>
                    <a:lnTo>
                      <a:pt x="482" y="593"/>
                    </a:lnTo>
                    <a:lnTo>
                      <a:pt x="482" y="591"/>
                    </a:lnTo>
                    <a:lnTo>
                      <a:pt x="478" y="591"/>
                    </a:lnTo>
                    <a:lnTo>
                      <a:pt x="476" y="591"/>
                    </a:lnTo>
                    <a:lnTo>
                      <a:pt x="476" y="591"/>
                    </a:lnTo>
                    <a:lnTo>
                      <a:pt x="482" y="587"/>
                    </a:lnTo>
                    <a:lnTo>
                      <a:pt x="484" y="585"/>
                    </a:lnTo>
                    <a:lnTo>
                      <a:pt x="488" y="582"/>
                    </a:lnTo>
                    <a:lnTo>
                      <a:pt x="490" y="583"/>
                    </a:lnTo>
                    <a:lnTo>
                      <a:pt x="490" y="583"/>
                    </a:lnTo>
                    <a:lnTo>
                      <a:pt x="493" y="580"/>
                    </a:lnTo>
                    <a:lnTo>
                      <a:pt x="497" y="578"/>
                    </a:lnTo>
                    <a:lnTo>
                      <a:pt x="497" y="576"/>
                    </a:lnTo>
                    <a:lnTo>
                      <a:pt x="501" y="574"/>
                    </a:lnTo>
                    <a:lnTo>
                      <a:pt x="503" y="572"/>
                    </a:lnTo>
                    <a:lnTo>
                      <a:pt x="503" y="572"/>
                    </a:lnTo>
                    <a:lnTo>
                      <a:pt x="506" y="574"/>
                    </a:lnTo>
                    <a:lnTo>
                      <a:pt x="506" y="576"/>
                    </a:lnTo>
                    <a:lnTo>
                      <a:pt x="506" y="572"/>
                    </a:lnTo>
                    <a:lnTo>
                      <a:pt x="510" y="572"/>
                    </a:lnTo>
                    <a:lnTo>
                      <a:pt x="512" y="572"/>
                    </a:lnTo>
                    <a:lnTo>
                      <a:pt x="512" y="568"/>
                    </a:lnTo>
                    <a:lnTo>
                      <a:pt x="516" y="568"/>
                    </a:lnTo>
                    <a:lnTo>
                      <a:pt x="516" y="568"/>
                    </a:lnTo>
                    <a:lnTo>
                      <a:pt x="518" y="568"/>
                    </a:lnTo>
                    <a:lnTo>
                      <a:pt x="523" y="568"/>
                    </a:lnTo>
                    <a:lnTo>
                      <a:pt x="523" y="566"/>
                    </a:lnTo>
                    <a:lnTo>
                      <a:pt x="525" y="566"/>
                    </a:lnTo>
                    <a:lnTo>
                      <a:pt x="527" y="568"/>
                    </a:lnTo>
                    <a:lnTo>
                      <a:pt x="527" y="568"/>
                    </a:lnTo>
                    <a:lnTo>
                      <a:pt x="527" y="566"/>
                    </a:lnTo>
                    <a:lnTo>
                      <a:pt x="531" y="568"/>
                    </a:lnTo>
                    <a:lnTo>
                      <a:pt x="531" y="566"/>
                    </a:lnTo>
                    <a:lnTo>
                      <a:pt x="533" y="561"/>
                    </a:lnTo>
                    <a:lnTo>
                      <a:pt x="531" y="561"/>
                    </a:lnTo>
                    <a:lnTo>
                      <a:pt x="531" y="563"/>
                    </a:lnTo>
                    <a:lnTo>
                      <a:pt x="531" y="559"/>
                    </a:lnTo>
                    <a:lnTo>
                      <a:pt x="535" y="557"/>
                    </a:lnTo>
                    <a:lnTo>
                      <a:pt x="537" y="557"/>
                    </a:lnTo>
                    <a:lnTo>
                      <a:pt x="538" y="557"/>
                    </a:lnTo>
                    <a:lnTo>
                      <a:pt x="538" y="557"/>
                    </a:lnTo>
                    <a:lnTo>
                      <a:pt x="537" y="555"/>
                    </a:lnTo>
                    <a:lnTo>
                      <a:pt x="535" y="553"/>
                    </a:lnTo>
                    <a:lnTo>
                      <a:pt x="537" y="551"/>
                    </a:lnTo>
                    <a:lnTo>
                      <a:pt x="540" y="553"/>
                    </a:lnTo>
                    <a:lnTo>
                      <a:pt x="544" y="550"/>
                    </a:lnTo>
                    <a:lnTo>
                      <a:pt x="550" y="550"/>
                    </a:lnTo>
                    <a:lnTo>
                      <a:pt x="552" y="546"/>
                    </a:lnTo>
                    <a:lnTo>
                      <a:pt x="555" y="546"/>
                    </a:lnTo>
                    <a:lnTo>
                      <a:pt x="561" y="542"/>
                    </a:lnTo>
                    <a:lnTo>
                      <a:pt x="561" y="536"/>
                    </a:lnTo>
                    <a:lnTo>
                      <a:pt x="557" y="536"/>
                    </a:lnTo>
                    <a:lnTo>
                      <a:pt x="555" y="536"/>
                    </a:lnTo>
                    <a:lnTo>
                      <a:pt x="555" y="529"/>
                    </a:lnTo>
                    <a:lnTo>
                      <a:pt x="552" y="529"/>
                    </a:lnTo>
                    <a:lnTo>
                      <a:pt x="550" y="529"/>
                    </a:lnTo>
                    <a:lnTo>
                      <a:pt x="550" y="527"/>
                    </a:lnTo>
                    <a:lnTo>
                      <a:pt x="550" y="523"/>
                    </a:lnTo>
                    <a:lnTo>
                      <a:pt x="555" y="521"/>
                    </a:lnTo>
                    <a:lnTo>
                      <a:pt x="555" y="519"/>
                    </a:lnTo>
                    <a:lnTo>
                      <a:pt x="557" y="518"/>
                    </a:lnTo>
                    <a:lnTo>
                      <a:pt x="557" y="518"/>
                    </a:lnTo>
                    <a:lnTo>
                      <a:pt x="557" y="518"/>
                    </a:lnTo>
                    <a:lnTo>
                      <a:pt x="561" y="514"/>
                    </a:lnTo>
                    <a:lnTo>
                      <a:pt x="563" y="514"/>
                    </a:lnTo>
                    <a:lnTo>
                      <a:pt x="569" y="512"/>
                    </a:lnTo>
                    <a:lnTo>
                      <a:pt x="570" y="514"/>
                    </a:lnTo>
                    <a:lnTo>
                      <a:pt x="576" y="512"/>
                    </a:lnTo>
                    <a:lnTo>
                      <a:pt x="576" y="514"/>
                    </a:lnTo>
                    <a:lnTo>
                      <a:pt x="576" y="518"/>
                    </a:lnTo>
                    <a:lnTo>
                      <a:pt x="576" y="518"/>
                    </a:lnTo>
                    <a:lnTo>
                      <a:pt x="582" y="512"/>
                    </a:lnTo>
                    <a:lnTo>
                      <a:pt x="582" y="512"/>
                    </a:lnTo>
                    <a:lnTo>
                      <a:pt x="580" y="512"/>
                    </a:lnTo>
                    <a:lnTo>
                      <a:pt x="580" y="508"/>
                    </a:lnTo>
                    <a:lnTo>
                      <a:pt x="582" y="508"/>
                    </a:lnTo>
                    <a:lnTo>
                      <a:pt x="586" y="508"/>
                    </a:lnTo>
                    <a:lnTo>
                      <a:pt x="589" y="508"/>
                    </a:lnTo>
                    <a:lnTo>
                      <a:pt x="591" y="502"/>
                    </a:lnTo>
                    <a:lnTo>
                      <a:pt x="589" y="499"/>
                    </a:lnTo>
                    <a:lnTo>
                      <a:pt x="586" y="495"/>
                    </a:lnTo>
                    <a:lnTo>
                      <a:pt x="582" y="495"/>
                    </a:lnTo>
                    <a:lnTo>
                      <a:pt x="582" y="497"/>
                    </a:lnTo>
                    <a:lnTo>
                      <a:pt x="582" y="495"/>
                    </a:lnTo>
                    <a:lnTo>
                      <a:pt x="582" y="493"/>
                    </a:lnTo>
                    <a:lnTo>
                      <a:pt x="587" y="493"/>
                    </a:lnTo>
                    <a:lnTo>
                      <a:pt x="589" y="495"/>
                    </a:lnTo>
                    <a:lnTo>
                      <a:pt x="595" y="495"/>
                    </a:lnTo>
                    <a:lnTo>
                      <a:pt x="599" y="491"/>
                    </a:lnTo>
                    <a:lnTo>
                      <a:pt x="599" y="489"/>
                    </a:lnTo>
                    <a:lnTo>
                      <a:pt x="606" y="484"/>
                    </a:lnTo>
                    <a:lnTo>
                      <a:pt x="612" y="480"/>
                    </a:lnTo>
                    <a:lnTo>
                      <a:pt x="616" y="480"/>
                    </a:lnTo>
                    <a:lnTo>
                      <a:pt x="619" y="478"/>
                    </a:lnTo>
                    <a:lnTo>
                      <a:pt x="619" y="478"/>
                    </a:lnTo>
                    <a:lnTo>
                      <a:pt x="625" y="472"/>
                    </a:lnTo>
                    <a:lnTo>
                      <a:pt x="631" y="470"/>
                    </a:lnTo>
                    <a:lnTo>
                      <a:pt x="640" y="463"/>
                    </a:lnTo>
                    <a:lnTo>
                      <a:pt x="644" y="463"/>
                    </a:lnTo>
                    <a:lnTo>
                      <a:pt x="651" y="455"/>
                    </a:lnTo>
                    <a:lnTo>
                      <a:pt x="650" y="459"/>
                    </a:lnTo>
                    <a:lnTo>
                      <a:pt x="650" y="465"/>
                    </a:lnTo>
                    <a:lnTo>
                      <a:pt x="651" y="465"/>
                    </a:lnTo>
                    <a:lnTo>
                      <a:pt x="653" y="467"/>
                    </a:lnTo>
                    <a:lnTo>
                      <a:pt x="655" y="467"/>
                    </a:lnTo>
                    <a:lnTo>
                      <a:pt x="661" y="461"/>
                    </a:lnTo>
                    <a:lnTo>
                      <a:pt x="665" y="461"/>
                    </a:lnTo>
                    <a:lnTo>
                      <a:pt x="670" y="457"/>
                    </a:lnTo>
                    <a:lnTo>
                      <a:pt x="672" y="455"/>
                    </a:lnTo>
                    <a:lnTo>
                      <a:pt x="670" y="459"/>
                    </a:lnTo>
                    <a:lnTo>
                      <a:pt x="665" y="463"/>
                    </a:lnTo>
                    <a:lnTo>
                      <a:pt x="661" y="463"/>
                    </a:lnTo>
                    <a:lnTo>
                      <a:pt x="653" y="472"/>
                    </a:lnTo>
                    <a:lnTo>
                      <a:pt x="653" y="474"/>
                    </a:lnTo>
                    <a:lnTo>
                      <a:pt x="655" y="480"/>
                    </a:lnTo>
                    <a:lnTo>
                      <a:pt x="659" y="484"/>
                    </a:lnTo>
                    <a:lnTo>
                      <a:pt x="655" y="482"/>
                    </a:lnTo>
                    <a:lnTo>
                      <a:pt x="651" y="482"/>
                    </a:lnTo>
                    <a:lnTo>
                      <a:pt x="650" y="482"/>
                    </a:lnTo>
                    <a:lnTo>
                      <a:pt x="646" y="482"/>
                    </a:lnTo>
                    <a:lnTo>
                      <a:pt x="644" y="480"/>
                    </a:lnTo>
                    <a:lnTo>
                      <a:pt x="644" y="474"/>
                    </a:lnTo>
                    <a:lnTo>
                      <a:pt x="634" y="478"/>
                    </a:lnTo>
                    <a:lnTo>
                      <a:pt x="634" y="478"/>
                    </a:lnTo>
                    <a:lnTo>
                      <a:pt x="629" y="482"/>
                    </a:lnTo>
                    <a:lnTo>
                      <a:pt x="623" y="482"/>
                    </a:lnTo>
                    <a:lnTo>
                      <a:pt x="619" y="485"/>
                    </a:lnTo>
                    <a:lnTo>
                      <a:pt x="619" y="489"/>
                    </a:lnTo>
                    <a:lnTo>
                      <a:pt x="619" y="491"/>
                    </a:lnTo>
                    <a:lnTo>
                      <a:pt x="616" y="497"/>
                    </a:lnTo>
                    <a:lnTo>
                      <a:pt x="612" y="501"/>
                    </a:lnTo>
                    <a:lnTo>
                      <a:pt x="610" y="504"/>
                    </a:lnTo>
                    <a:lnTo>
                      <a:pt x="601" y="514"/>
                    </a:lnTo>
                    <a:lnTo>
                      <a:pt x="597" y="518"/>
                    </a:lnTo>
                    <a:lnTo>
                      <a:pt x="599" y="519"/>
                    </a:lnTo>
                    <a:lnTo>
                      <a:pt x="602" y="525"/>
                    </a:lnTo>
                    <a:lnTo>
                      <a:pt x="604" y="521"/>
                    </a:lnTo>
                    <a:lnTo>
                      <a:pt x="606" y="521"/>
                    </a:lnTo>
                    <a:lnTo>
                      <a:pt x="610" y="519"/>
                    </a:lnTo>
                    <a:lnTo>
                      <a:pt x="610" y="519"/>
                    </a:lnTo>
                    <a:lnTo>
                      <a:pt x="610" y="523"/>
                    </a:lnTo>
                    <a:lnTo>
                      <a:pt x="606" y="527"/>
                    </a:lnTo>
                    <a:lnTo>
                      <a:pt x="602" y="529"/>
                    </a:lnTo>
                    <a:lnTo>
                      <a:pt x="601" y="529"/>
                    </a:lnTo>
                    <a:lnTo>
                      <a:pt x="597" y="529"/>
                    </a:lnTo>
                    <a:lnTo>
                      <a:pt x="593" y="529"/>
                    </a:lnTo>
                    <a:lnTo>
                      <a:pt x="591" y="529"/>
                    </a:lnTo>
                    <a:lnTo>
                      <a:pt x="591" y="534"/>
                    </a:lnTo>
                    <a:lnTo>
                      <a:pt x="589" y="534"/>
                    </a:lnTo>
                    <a:lnTo>
                      <a:pt x="586" y="534"/>
                    </a:lnTo>
                    <a:lnTo>
                      <a:pt x="586" y="538"/>
                    </a:lnTo>
                    <a:lnTo>
                      <a:pt x="591" y="544"/>
                    </a:lnTo>
                    <a:lnTo>
                      <a:pt x="593" y="542"/>
                    </a:lnTo>
                    <a:lnTo>
                      <a:pt x="595" y="542"/>
                    </a:lnTo>
                    <a:lnTo>
                      <a:pt x="597" y="542"/>
                    </a:lnTo>
                    <a:lnTo>
                      <a:pt x="599" y="538"/>
                    </a:lnTo>
                    <a:lnTo>
                      <a:pt x="601" y="538"/>
                    </a:lnTo>
                    <a:lnTo>
                      <a:pt x="601" y="542"/>
                    </a:lnTo>
                    <a:lnTo>
                      <a:pt x="602" y="542"/>
                    </a:lnTo>
                    <a:lnTo>
                      <a:pt x="604" y="538"/>
                    </a:lnTo>
                    <a:lnTo>
                      <a:pt x="606" y="538"/>
                    </a:lnTo>
                    <a:lnTo>
                      <a:pt x="610" y="534"/>
                    </a:lnTo>
                    <a:lnTo>
                      <a:pt x="610" y="529"/>
                    </a:lnTo>
                    <a:lnTo>
                      <a:pt x="612" y="529"/>
                    </a:lnTo>
                    <a:lnTo>
                      <a:pt x="612" y="529"/>
                    </a:lnTo>
                    <a:lnTo>
                      <a:pt x="610" y="533"/>
                    </a:lnTo>
                    <a:lnTo>
                      <a:pt x="612" y="534"/>
                    </a:lnTo>
                    <a:lnTo>
                      <a:pt x="619" y="534"/>
                    </a:lnTo>
                    <a:lnTo>
                      <a:pt x="623" y="529"/>
                    </a:lnTo>
                    <a:lnTo>
                      <a:pt x="627" y="529"/>
                    </a:lnTo>
                    <a:lnTo>
                      <a:pt x="629" y="529"/>
                    </a:lnTo>
                    <a:lnTo>
                      <a:pt x="631" y="529"/>
                    </a:lnTo>
                    <a:lnTo>
                      <a:pt x="631" y="523"/>
                    </a:lnTo>
                    <a:lnTo>
                      <a:pt x="634" y="519"/>
                    </a:lnTo>
                    <a:lnTo>
                      <a:pt x="636" y="519"/>
                    </a:lnTo>
                    <a:lnTo>
                      <a:pt x="634" y="525"/>
                    </a:lnTo>
                    <a:lnTo>
                      <a:pt x="634" y="529"/>
                    </a:lnTo>
                    <a:lnTo>
                      <a:pt x="634" y="527"/>
                    </a:lnTo>
                    <a:lnTo>
                      <a:pt x="640" y="521"/>
                    </a:lnTo>
                    <a:lnTo>
                      <a:pt x="644" y="514"/>
                    </a:lnTo>
                    <a:lnTo>
                      <a:pt x="644" y="514"/>
                    </a:lnTo>
                    <a:lnTo>
                      <a:pt x="644" y="518"/>
                    </a:lnTo>
                    <a:lnTo>
                      <a:pt x="644" y="521"/>
                    </a:lnTo>
                    <a:lnTo>
                      <a:pt x="644" y="521"/>
                    </a:lnTo>
                    <a:lnTo>
                      <a:pt x="646" y="518"/>
                    </a:lnTo>
                    <a:lnTo>
                      <a:pt x="648" y="519"/>
                    </a:lnTo>
                    <a:lnTo>
                      <a:pt x="648" y="521"/>
                    </a:lnTo>
                    <a:lnTo>
                      <a:pt x="651" y="523"/>
                    </a:lnTo>
                    <a:lnTo>
                      <a:pt x="653" y="525"/>
                    </a:lnTo>
                    <a:lnTo>
                      <a:pt x="655" y="521"/>
                    </a:lnTo>
                    <a:lnTo>
                      <a:pt x="659" y="518"/>
                    </a:lnTo>
                    <a:lnTo>
                      <a:pt x="661" y="518"/>
                    </a:lnTo>
                    <a:lnTo>
                      <a:pt x="665" y="514"/>
                    </a:lnTo>
                    <a:lnTo>
                      <a:pt x="665" y="514"/>
                    </a:lnTo>
                    <a:lnTo>
                      <a:pt x="665" y="508"/>
                    </a:lnTo>
                    <a:lnTo>
                      <a:pt x="670" y="508"/>
                    </a:lnTo>
                    <a:lnTo>
                      <a:pt x="672" y="504"/>
                    </a:lnTo>
                    <a:lnTo>
                      <a:pt x="672" y="502"/>
                    </a:lnTo>
                    <a:lnTo>
                      <a:pt x="668" y="502"/>
                    </a:lnTo>
                    <a:lnTo>
                      <a:pt x="668" y="501"/>
                    </a:lnTo>
                    <a:lnTo>
                      <a:pt x="665" y="501"/>
                    </a:lnTo>
                    <a:lnTo>
                      <a:pt x="665" y="497"/>
                    </a:lnTo>
                    <a:lnTo>
                      <a:pt x="668" y="497"/>
                    </a:lnTo>
                    <a:lnTo>
                      <a:pt x="670" y="499"/>
                    </a:lnTo>
                    <a:lnTo>
                      <a:pt x="672" y="497"/>
                    </a:lnTo>
                    <a:lnTo>
                      <a:pt x="672" y="493"/>
                    </a:lnTo>
                    <a:lnTo>
                      <a:pt x="668" y="495"/>
                    </a:lnTo>
                    <a:lnTo>
                      <a:pt x="665" y="491"/>
                    </a:lnTo>
                    <a:lnTo>
                      <a:pt x="665" y="487"/>
                    </a:lnTo>
                    <a:lnTo>
                      <a:pt x="668" y="487"/>
                    </a:lnTo>
                    <a:lnTo>
                      <a:pt x="672" y="487"/>
                    </a:lnTo>
                    <a:lnTo>
                      <a:pt x="674" y="487"/>
                    </a:lnTo>
                    <a:lnTo>
                      <a:pt x="674" y="485"/>
                    </a:lnTo>
                    <a:lnTo>
                      <a:pt x="672" y="482"/>
                    </a:lnTo>
                    <a:lnTo>
                      <a:pt x="678" y="478"/>
                    </a:lnTo>
                    <a:lnTo>
                      <a:pt x="682" y="482"/>
                    </a:lnTo>
                    <a:lnTo>
                      <a:pt x="685" y="480"/>
                    </a:lnTo>
                    <a:lnTo>
                      <a:pt x="689" y="480"/>
                    </a:lnTo>
                    <a:lnTo>
                      <a:pt x="683" y="485"/>
                    </a:lnTo>
                    <a:lnTo>
                      <a:pt x="683" y="489"/>
                    </a:lnTo>
                    <a:lnTo>
                      <a:pt x="683" y="495"/>
                    </a:lnTo>
                    <a:lnTo>
                      <a:pt x="685" y="495"/>
                    </a:lnTo>
                    <a:lnTo>
                      <a:pt x="689" y="487"/>
                    </a:lnTo>
                    <a:lnTo>
                      <a:pt x="689" y="485"/>
                    </a:lnTo>
                    <a:lnTo>
                      <a:pt x="693" y="485"/>
                    </a:lnTo>
                    <a:lnTo>
                      <a:pt x="693" y="487"/>
                    </a:lnTo>
                    <a:lnTo>
                      <a:pt x="689" y="491"/>
                    </a:lnTo>
                    <a:lnTo>
                      <a:pt x="689" y="493"/>
                    </a:lnTo>
                    <a:lnTo>
                      <a:pt x="693" y="489"/>
                    </a:lnTo>
                    <a:lnTo>
                      <a:pt x="695" y="487"/>
                    </a:lnTo>
                    <a:lnTo>
                      <a:pt x="697" y="489"/>
                    </a:lnTo>
                    <a:lnTo>
                      <a:pt x="702" y="487"/>
                    </a:lnTo>
                    <a:lnTo>
                      <a:pt x="702" y="487"/>
                    </a:lnTo>
                    <a:lnTo>
                      <a:pt x="706" y="484"/>
                    </a:lnTo>
                    <a:lnTo>
                      <a:pt x="712" y="484"/>
                    </a:lnTo>
                    <a:lnTo>
                      <a:pt x="714" y="484"/>
                    </a:lnTo>
                    <a:lnTo>
                      <a:pt x="714" y="485"/>
                    </a:lnTo>
                    <a:lnTo>
                      <a:pt x="710" y="485"/>
                    </a:lnTo>
                    <a:lnTo>
                      <a:pt x="706" y="491"/>
                    </a:lnTo>
                    <a:lnTo>
                      <a:pt x="702" y="491"/>
                    </a:lnTo>
                    <a:lnTo>
                      <a:pt x="700" y="493"/>
                    </a:lnTo>
                    <a:lnTo>
                      <a:pt x="702" y="495"/>
                    </a:lnTo>
                    <a:lnTo>
                      <a:pt x="710" y="497"/>
                    </a:lnTo>
                    <a:lnTo>
                      <a:pt x="712" y="499"/>
                    </a:lnTo>
                    <a:lnTo>
                      <a:pt x="712" y="501"/>
                    </a:lnTo>
                    <a:lnTo>
                      <a:pt x="708" y="497"/>
                    </a:lnTo>
                    <a:lnTo>
                      <a:pt x="702" y="497"/>
                    </a:lnTo>
                    <a:lnTo>
                      <a:pt x="698" y="499"/>
                    </a:lnTo>
                    <a:lnTo>
                      <a:pt x="698" y="502"/>
                    </a:lnTo>
                    <a:lnTo>
                      <a:pt x="702" y="502"/>
                    </a:lnTo>
                    <a:lnTo>
                      <a:pt x="704" y="501"/>
                    </a:lnTo>
                    <a:lnTo>
                      <a:pt x="708" y="502"/>
                    </a:lnTo>
                    <a:lnTo>
                      <a:pt x="706" y="504"/>
                    </a:lnTo>
                    <a:lnTo>
                      <a:pt x="702" y="504"/>
                    </a:lnTo>
                    <a:lnTo>
                      <a:pt x="702" y="508"/>
                    </a:lnTo>
                    <a:lnTo>
                      <a:pt x="708" y="508"/>
                    </a:lnTo>
                    <a:lnTo>
                      <a:pt x="710" y="512"/>
                    </a:lnTo>
                    <a:lnTo>
                      <a:pt x="706" y="512"/>
                    </a:lnTo>
                    <a:lnTo>
                      <a:pt x="704" y="512"/>
                    </a:lnTo>
                    <a:lnTo>
                      <a:pt x="704" y="514"/>
                    </a:lnTo>
                    <a:lnTo>
                      <a:pt x="708" y="514"/>
                    </a:lnTo>
                    <a:lnTo>
                      <a:pt x="712" y="512"/>
                    </a:lnTo>
                    <a:lnTo>
                      <a:pt x="714" y="518"/>
                    </a:lnTo>
                    <a:lnTo>
                      <a:pt x="719" y="518"/>
                    </a:lnTo>
                    <a:lnTo>
                      <a:pt x="723" y="514"/>
                    </a:lnTo>
                    <a:lnTo>
                      <a:pt x="723" y="518"/>
                    </a:lnTo>
                    <a:lnTo>
                      <a:pt x="723" y="519"/>
                    </a:lnTo>
                    <a:lnTo>
                      <a:pt x="723" y="519"/>
                    </a:lnTo>
                    <a:lnTo>
                      <a:pt x="723" y="523"/>
                    </a:lnTo>
                    <a:lnTo>
                      <a:pt x="723" y="523"/>
                    </a:lnTo>
                    <a:lnTo>
                      <a:pt x="725" y="525"/>
                    </a:lnTo>
                    <a:lnTo>
                      <a:pt x="727" y="527"/>
                    </a:lnTo>
                    <a:lnTo>
                      <a:pt x="730" y="523"/>
                    </a:lnTo>
                    <a:lnTo>
                      <a:pt x="729" y="521"/>
                    </a:lnTo>
                    <a:lnTo>
                      <a:pt x="730" y="519"/>
                    </a:lnTo>
                    <a:lnTo>
                      <a:pt x="734" y="519"/>
                    </a:lnTo>
                    <a:lnTo>
                      <a:pt x="732" y="523"/>
                    </a:lnTo>
                    <a:lnTo>
                      <a:pt x="732" y="525"/>
                    </a:lnTo>
                    <a:lnTo>
                      <a:pt x="727" y="529"/>
                    </a:lnTo>
                    <a:lnTo>
                      <a:pt x="730" y="534"/>
                    </a:lnTo>
                    <a:lnTo>
                      <a:pt x="729" y="534"/>
                    </a:lnTo>
                    <a:lnTo>
                      <a:pt x="727" y="534"/>
                    </a:lnTo>
                    <a:lnTo>
                      <a:pt x="725" y="534"/>
                    </a:lnTo>
                    <a:lnTo>
                      <a:pt x="727" y="538"/>
                    </a:lnTo>
                    <a:lnTo>
                      <a:pt x="736" y="538"/>
                    </a:lnTo>
                    <a:lnTo>
                      <a:pt x="738" y="538"/>
                    </a:lnTo>
                    <a:lnTo>
                      <a:pt x="742" y="538"/>
                    </a:lnTo>
                    <a:lnTo>
                      <a:pt x="744" y="538"/>
                    </a:lnTo>
                    <a:lnTo>
                      <a:pt x="747" y="538"/>
                    </a:lnTo>
                    <a:lnTo>
                      <a:pt x="753" y="538"/>
                    </a:lnTo>
                    <a:lnTo>
                      <a:pt x="755" y="538"/>
                    </a:lnTo>
                    <a:lnTo>
                      <a:pt x="755" y="542"/>
                    </a:lnTo>
                    <a:lnTo>
                      <a:pt x="757" y="542"/>
                    </a:lnTo>
                    <a:lnTo>
                      <a:pt x="759" y="544"/>
                    </a:lnTo>
                    <a:lnTo>
                      <a:pt x="762" y="546"/>
                    </a:lnTo>
                    <a:lnTo>
                      <a:pt x="762" y="548"/>
                    </a:lnTo>
                    <a:lnTo>
                      <a:pt x="766" y="548"/>
                    </a:lnTo>
                    <a:lnTo>
                      <a:pt x="772" y="546"/>
                    </a:lnTo>
                    <a:lnTo>
                      <a:pt x="772" y="544"/>
                    </a:lnTo>
                    <a:lnTo>
                      <a:pt x="774" y="544"/>
                    </a:lnTo>
                    <a:lnTo>
                      <a:pt x="774" y="548"/>
                    </a:lnTo>
                    <a:lnTo>
                      <a:pt x="772" y="550"/>
                    </a:lnTo>
                    <a:lnTo>
                      <a:pt x="768" y="551"/>
                    </a:lnTo>
                    <a:lnTo>
                      <a:pt x="768" y="553"/>
                    </a:lnTo>
                    <a:lnTo>
                      <a:pt x="772" y="553"/>
                    </a:lnTo>
                    <a:lnTo>
                      <a:pt x="774" y="557"/>
                    </a:lnTo>
                    <a:lnTo>
                      <a:pt x="776" y="561"/>
                    </a:lnTo>
                    <a:lnTo>
                      <a:pt x="781" y="563"/>
                    </a:lnTo>
                    <a:lnTo>
                      <a:pt x="789" y="561"/>
                    </a:lnTo>
                    <a:lnTo>
                      <a:pt x="793" y="559"/>
                    </a:lnTo>
                    <a:lnTo>
                      <a:pt x="793" y="561"/>
                    </a:lnTo>
                    <a:lnTo>
                      <a:pt x="796" y="557"/>
                    </a:lnTo>
                    <a:lnTo>
                      <a:pt x="798" y="555"/>
                    </a:lnTo>
                    <a:lnTo>
                      <a:pt x="802" y="555"/>
                    </a:lnTo>
                    <a:lnTo>
                      <a:pt x="802" y="557"/>
                    </a:lnTo>
                    <a:lnTo>
                      <a:pt x="798" y="559"/>
                    </a:lnTo>
                    <a:lnTo>
                      <a:pt x="796" y="566"/>
                    </a:lnTo>
                    <a:lnTo>
                      <a:pt x="793" y="568"/>
                    </a:lnTo>
                    <a:lnTo>
                      <a:pt x="793" y="568"/>
                    </a:lnTo>
                    <a:lnTo>
                      <a:pt x="789" y="568"/>
                    </a:lnTo>
                    <a:lnTo>
                      <a:pt x="787" y="568"/>
                    </a:lnTo>
                    <a:lnTo>
                      <a:pt x="789" y="572"/>
                    </a:lnTo>
                    <a:lnTo>
                      <a:pt x="791" y="576"/>
                    </a:lnTo>
                    <a:lnTo>
                      <a:pt x="793" y="578"/>
                    </a:lnTo>
                    <a:lnTo>
                      <a:pt x="796" y="576"/>
                    </a:lnTo>
                    <a:lnTo>
                      <a:pt x="798" y="578"/>
                    </a:lnTo>
                    <a:lnTo>
                      <a:pt x="798" y="580"/>
                    </a:lnTo>
                    <a:lnTo>
                      <a:pt x="793" y="580"/>
                    </a:lnTo>
                    <a:lnTo>
                      <a:pt x="793" y="582"/>
                    </a:lnTo>
                    <a:lnTo>
                      <a:pt x="798" y="587"/>
                    </a:lnTo>
                    <a:lnTo>
                      <a:pt x="802" y="587"/>
                    </a:lnTo>
                    <a:lnTo>
                      <a:pt x="806" y="587"/>
                    </a:lnTo>
                    <a:lnTo>
                      <a:pt x="808" y="583"/>
                    </a:lnTo>
                    <a:lnTo>
                      <a:pt x="811" y="574"/>
                    </a:lnTo>
                    <a:lnTo>
                      <a:pt x="810" y="582"/>
                    </a:lnTo>
                    <a:lnTo>
                      <a:pt x="810" y="585"/>
                    </a:lnTo>
                    <a:lnTo>
                      <a:pt x="808" y="589"/>
                    </a:lnTo>
                    <a:lnTo>
                      <a:pt x="806" y="589"/>
                    </a:lnTo>
                    <a:lnTo>
                      <a:pt x="806" y="593"/>
                    </a:lnTo>
                    <a:lnTo>
                      <a:pt x="806" y="593"/>
                    </a:lnTo>
                    <a:lnTo>
                      <a:pt x="808" y="597"/>
                    </a:lnTo>
                    <a:lnTo>
                      <a:pt x="806" y="599"/>
                    </a:lnTo>
                    <a:lnTo>
                      <a:pt x="806" y="606"/>
                    </a:lnTo>
                    <a:lnTo>
                      <a:pt x="808" y="608"/>
                    </a:lnTo>
                    <a:lnTo>
                      <a:pt x="810" y="608"/>
                    </a:lnTo>
                    <a:lnTo>
                      <a:pt x="810" y="612"/>
                    </a:lnTo>
                    <a:lnTo>
                      <a:pt x="811" y="615"/>
                    </a:lnTo>
                    <a:lnTo>
                      <a:pt x="817" y="621"/>
                    </a:lnTo>
                    <a:lnTo>
                      <a:pt x="819" y="623"/>
                    </a:lnTo>
                    <a:lnTo>
                      <a:pt x="819" y="623"/>
                    </a:lnTo>
                    <a:lnTo>
                      <a:pt x="821" y="623"/>
                    </a:lnTo>
                    <a:lnTo>
                      <a:pt x="823" y="627"/>
                    </a:lnTo>
                    <a:lnTo>
                      <a:pt x="826" y="623"/>
                    </a:lnTo>
                    <a:lnTo>
                      <a:pt x="823" y="623"/>
                    </a:lnTo>
                    <a:lnTo>
                      <a:pt x="826" y="621"/>
                    </a:lnTo>
                    <a:lnTo>
                      <a:pt x="826" y="623"/>
                    </a:lnTo>
                    <a:lnTo>
                      <a:pt x="830" y="623"/>
                    </a:lnTo>
                    <a:lnTo>
                      <a:pt x="830" y="621"/>
                    </a:lnTo>
                    <a:lnTo>
                      <a:pt x="826" y="615"/>
                    </a:lnTo>
                    <a:lnTo>
                      <a:pt x="826" y="615"/>
                    </a:lnTo>
                    <a:lnTo>
                      <a:pt x="823" y="615"/>
                    </a:lnTo>
                    <a:lnTo>
                      <a:pt x="823" y="615"/>
                    </a:lnTo>
                    <a:lnTo>
                      <a:pt x="826" y="612"/>
                    </a:lnTo>
                    <a:lnTo>
                      <a:pt x="826" y="610"/>
                    </a:lnTo>
                    <a:lnTo>
                      <a:pt x="823" y="606"/>
                    </a:lnTo>
                    <a:lnTo>
                      <a:pt x="823" y="606"/>
                    </a:lnTo>
                    <a:lnTo>
                      <a:pt x="823" y="602"/>
                    </a:lnTo>
                    <a:lnTo>
                      <a:pt x="823" y="602"/>
                    </a:lnTo>
                    <a:lnTo>
                      <a:pt x="823" y="599"/>
                    </a:lnTo>
                    <a:lnTo>
                      <a:pt x="826" y="599"/>
                    </a:lnTo>
                    <a:lnTo>
                      <a:pt x="826" y="602"/>
                    </a:lnTo>
                    <a:lnTo>
                      <a:pt x="826" y="606"/>
                    </a:lnTo>
                    <a:lnTo>
                      <a:pt x="830" y="602"/>
                    </a:lnTo>
                    <a:lnTo>
                      <a:pt x="830" y="602"/>
                    </a:lnTo>
                    <a:lnTo>
                      <a:pt x="832" y="606"/>
                    </a:lnTo>
                    <a:lnTo>
                      <a:pt x="830" y="608"/>
                    </a:lnTo>
                    <a:lnTo>
                      <a:pt x="830" y="612"/>
                    </a:lnTo>
                    <a:lnTo>
                      <a:pt x="832" y="612"/>
                    </a:lnTo>
                    <a:lnTo>
                      <a:pt x="836" y="610"/>
                    </a:lnTo>
                    <a:lnTo>
                      <a:pt x="838" y="608"/>
                    </a:lnTo>
                    <a:lnTo>
                      <a:pt x="836" y="612"/>
                    </a:lnTo>
                    <a:lnTo>
                      <a:pt x="834" y="614"/>
                    </a:lnTo>
                    <a:lnTo>
                      <a:pt x="834" y="617"/>
                    </a:lnTo>
                    <a:lnTo>
                      <a:pt x="836" y="621"/>
                    </a:lnTo>
                    <a:lnTo>
                      <a:pt x="834" y="623"/>
                    </a:lnTo>
                    <a:lnTo>
                      <a:pt x="834" y="627"/>
                    </a:lnTo>
                    <a:lnTo>
                      <a:pt x="840" y="627"/>
                    </a:lnTo>
                    <a:lnTo>
                      <a:pt x="840" y="627"/>
                    </a:lnTo>
                    <a:lnTo>
                      <a:pt x="842" y="623"/>
                    </a:lnTo>
                    <a:lnTo>
                      <a:pt x="842" y="627"/>
                    </a:lnTo>
                    <a:lnTo>
                      <a:pt x="842" y="627"/>
                    </a:lnTo>
                    <a:lnTo>
                      <a:pt x="842" y="632"/>
                    </a:lnTo>
                    <a:lnTo>
                      <a:pt x="845" y="632"/>
                    </a:lnTo>
                    <a:lnTo>
                      <a:pt x="847" y="627"/>
                    </a:lnTo>
                    <a:lnTo>
                      <a:pt x="849" y="623"/>
                    </a:lnTo>
                    <a:lnTo>
                      <a:pt x="849" y="619"/>
                    </a:lnTo>
                    <a:lnTo>
                      <a:pt x="851" y="610"/>
                    </a:lnTo>
                    <a:lnTo>
                      <a:pt x="851" y="602"/>
                    </a:lnTo>
                    <a:lnTo>
                      <a:pt x="851" y="597"/>
                    </a:lnTo>
                    <a:lnTo>
                      <a:pt x="851" y="589"/>
                    </a:lnTo>
                    <a:lnTo>
                      <a:pt x="851" y="587"/>
                    </a:lnTo>
                    <a:lnTo>
                      <a:pt x="851" y="587"/>
                    </a:lnTo>
                    <a:lnTo>
                      <a:pt x="851" y="587"/>
                    </a:lnTo>
                    <a:lnTo>
                      <a:pt x="855" y="593"/>
                    </a:lnTo>
                    <a:lnTo>
                      <a:pt x="855" y="593"/>
                    </a:lnTo>
                    <a:lnTo>
                      <a:pt x="857" y="587"/>
                    </a:lnTo>
                    <a:lnTo>
                      <a:pt x="860" y="585"/>
                    </a:lnTo>
                    <a:lnTo>
                      <a:pt x="860" y="591"/>
                    </a:lnTo>
                    <a:lnTo>
                      <a:pt x="857" y="597"/>
                    </a:lnTo>
                    <a:lnTo>
                      <a:pt x="860" y="602"/>
                    </a:lnTo>
                    <a:lnTo>
                      <a:pt x="855" y="608"/>
                    </a:lnTo>
                    <a:lnTo>
                      <a:pt x="855" y="614"/>
                    </a:lnTo>
                    <a:lnTo>
                      <a:pt x="855" y="615"/>
                    </a:lnTo>
                    <a:lnTo>
                      <a:pt x="855" y="617"/>
                    </a:lnTo>
                    <a:lnTo>
                      <a:pt x="855" y="623"/>
                    </a:lnTo>
                    <a:lnTo>
                      <a:pt x="855" y="627"/>
                    </a:lnTo>
                    <a:lnTo>
                      <a:pt x="855" y="631"/>
                    </a:lnTo>
                    <a:lnTo>
                      <a:pt x="857" y="632"/>
                    </a:lnTo>
                    <a:lnTo>
                      <a:pt x="860" y="636"/>
                    </a:lnTo>
                    <a:lnTo>
                      <a:pt x="860" y="636"/>
                    </a:lnTo>
                    <a:lnTo>
                      <a:pt x="860" y="640"/>
                    </a:lnTo>
                    <a:lnTo>
                      <a:pt x="862" y="644"/>
                    </a:lnTo>
                    <a:lnTo>
                      <a:pt x="864" y="642"/>
                    </a:lnTo>
                    <a:lnTo>
                      <a:pt x="866" y="644"/>
                    </a:lnTo>
                    <a:lnTo>
                      <a:pt x="870" y="642"/>
                    </a:lnTo>
                    <a:lnTo>
                      <a:pt x="875" y="642"/>
                    </a:lnTo>
                    <a:lnTo>
                      <a:pt x="875" y="642"/>
                    </a:lnTo>
                    <a:lnTo>
                      <a:pt x="870" y="646"/>
                    </a:lnTo>
                    <a:lnTo>
                      <a:pt x="868" y="647"/>
                    </a:lnTo>
                    <a:lnTo>
                      <a:pt x="868" y="647"/>
                    </a:lnTo>
                    <a:lnTo>
                      <a:pt x="870" y="651"/>
                    </a:lnTo>
                    <a:lnTo>
                      <a:pt x="868" y="651"/>
                    </a:lnTo>
                    <a:lnTo>
                      <a:pt x="866" y="651"/>
                    </a:lnTo>
                    <a:lnTo>
                      <a:pt x="866" y="655"/>
                    </a:lnTo>
                    <a:lnTo>
                      <a:pt x="868" y="657"/>
                    </a:lnTo>
                    <a:lnTo>
                      <a:pt x="868" y="663"/>
                    </a:lnTo>
                    <a:lnTo>
                      <a:pt x="866" y="663"/>
                    </a:lnTo>
                    <a:lnTo>
                      <a:pt x="864" y="661"/>
                    </a:lnTo>
                    <a:lnTo>
                      <a:pt x="862" y="657"/>
                    </a:lnTo>
                    <a:lnTo>
                      <a:pt x="862" y="657"/>
                    </a:lnTo>
                    <a:lnTo>
                      <a:pt x="862" y="663"/>
                    </a:lnTo>
                    <a:lnTo>
                      <a:pt x="860" y="663"/>
                    </a:lnTo>
                    <a:lnTo>
                      <a:pt x="860" y="666"/>
                    </a:lnTo>
                    <a:lnTo>
                      <a:pt x="862" y="668"/>
                    </a:lnTo>
                    <a:lnTo>
                      <a:pt x="860" y="670"/>
                    </a:lnTo>
                    <a:lnTo>
                      <a:pt x="860" y="670"/>
                    </a:lnTo>
                    <a:lnTo>
                      <a:pt x="857" y="674"/>
                    </a:lnTo>
                    <a:lnTo>
                      <a:pt x="857" y="676"/>
                    </a:lnTo>
                    <a:lnTo>
                      <a:pt x="860" y="676"/>
                    </a:lnTo>
                    <a:lnTo>
                      <a:pt x="860" y="676"/>
                    </a:lnTo>
                    <a:lnTo>
                      <a:pt x="862" y="680"/>
                    </a:lnTo>
                    <a:lnTo>
                      <a:pt x="864" y="681"/>
                    </a:lnTo>
                    <a:lnTo>
                      <a:pt x="866" y="681"/>
                    </a:lnTo>
                    <a:lnTo>
                      <a:pt x="870" y="683"/>
                    </a:lnTo>
                    <a:lnTo>
                      <a:pt x="870" y="683"/>
                    </a:lnTo>
                    <a:lnTo>
                      <a:pt x="866" y="683"/>
                    </a:lnTo>
                    <a:lnTo>
                      <a:pt x="864" y="685"/>
                    </a:lnTo>
                    <a:lnTo>
                      <a:pt x="866" y="687"/>
                    </a:lnTo>
                    <a:lnTo>
                      <a:pt x="868" y="687"/>
                    </a:lnTo>
                    <a:lnTo>
                      <a:pt x="870" y="691"/>
                    </a:lnTo>
                    <a:lnTo>
                      <a:pt x="874" y="693"/>
                    </a:lnTo>
                    <a:lnTo>
                      <a:pt x="875" y="693"/>
                    </a:lnTo>
                    <a:lnTo>
                      <a:pt x="872" y="696"/>
                    </a:lnTo>
                    <a:lnTo>
                      <a:pt x="870" y="696"/>
                    </a:lnTo>
                    <a:lnTo>
                      <a:pt x="868" y="696"/>
                    </a:lnTo>
                    <a:lnTo>
                      <a:pt x="868" y="702"/>
                    </a:lnTo>
                    <a:lnTo>
                      <a:pt x="872" y="708"/>
                    </a:lnTo>
                    <a:lnTo>
                      <a:pt x="874" y="710"/>
                    </a:lnTo>
                    <a:lnTo>
                      <a:pt x="879" y="710"/>
                    </a:lnTo>
                    <a:lnTo>
                      <a:pt x="881" y="710"/>
                    </a:lnTo>
                    <a:lnTo>
                      <a:pt x="875" y="712"/>
                    </a:lnTo>
                    <a:lnTo>
                      <a:pt x="872" y="712"/>
                    </a:lnTo>
                    <a:lnTo>
                      <a:pt x="870" y="712"/>
                    </a:lnTo>
                    <a:lnTo>
                      <a:pt x="868" y="717"/>
                    </a:lnTo>
                    <a:lnTo>
                      <a:pt x="862" y="721"/>
                    </a:lnTo>
                    <a:lnTo>
                      <a:pt x="857" y="725"/>
                    </a:lnTo>
                    <a:lnTo>
                      <a:pt x="857" y="730"/>
                    </a:lnTo>
                    <a:lnTo>
                      <a:pt x="860" y="732"/>
                    </a:lnTo>
                    <a:lnTo>
                      <a:pt x="862" y="730"/>
                    </a:lnTo>
                    <a:lnTo>
                      <a:pt x="866" y="725"/>
                    </a:lnTo>
                    <a:lnTo>
                      <a:pt x="866" y="725"/>
                    </a:lnTo>
                    <a:lnTo>
                      <a:pt x="868" y="721"/>
                    </a:lnTo>
                    <a:lnTo>
                      <a:pt x="874" y="717"/>
                    </a:lnTo>
                    <a:lnTo>
                      <a:pt x="874" y="721"/>
                    </a:lnTo>
                    <a:lnTo>
                      <a:pt x="875" y="717"/>
                    </a:lnTo>
                    <a:lnTo>
                      <a:pt x="881" y="717"/>
                    </a:lnTo>
                    <a:lnTo>
                      <a:pt x="879" y="721"/>
                    </a:lnTo>
                    <a:lnTo>
                      <a:pt x="879" y="725"/>
                    </a:lnTo>
                    <a:lnTo>
                      <a:pt x="881" y="725"/>
                    </a:lnTo>
                    <a:lnTo>
                      <a:pt x="881" y="725"/>
                    </a:lnTo>
                    <a:lnTo>
                      <a:pt x="879" y="730"/>
                    </a:lnTo>
                    <a:lnTo>
                      <a:pt x="879" y="730"/>
                    </a:lnTo>
                    <a:lnTo>
                      <a:pt x="881" y="734"/>
                    </a:lnTo>
                    <a:lnTo>
                      <a:pt x="875" y="738"/>
                    </a:lnTo>
                    <a:lnTo>
                      <a:pt x="875" y="742"/>
                    </a:lnTo>
                    <a:lnTo>
                      <a:pt x="875" y="742"/>
                    </a:lnTo>
                    <a:lnTo>
                      <a:pt x="879" y="745"/>
                    </a:lnTo>
                    <a:lnTo>
                      <a:pt x="875" y="745"/>
                    </a:lnTo>
                    <a:lnTo>
                      <a:pt x="872" y="745"/>
                    </a:lnTo>
                    <a:lnTo>
                      <a:pt x="870" y="747"/>
                    </a:lnTo>
                    <a:lnTo>
                      <a:pt x="870" y="749"/>
                    </a:lnTo>
                    <a:lnTo>
                      <a:pt x="872" y="749"/>
                    </a:lnTo>
                    <a:lnTo>
                      <a:pt x="874" y="749"/>
                    </a:lnTo>
                    <a:lnTo>
                      <a:pt x="875" y="749"/>
                    </a:lnTo>
                    <a:lnTo>
                      <a:pt x="879" y="751"/>
                    </a:lnTo>
                    <a:lnTo>
                      <a:pt x="875" y="751"/>
                    </a:lnTo>
                    <a:lnTo>
                      <a:pt x="874" y="751"/>
                    </a:lnTo>
                    <a:lnTo>
                      <a:pt x="870" y="751"/>
                    </a:lnTo>
                    <a:lnTo>
                      <a:pt x="868" y="755"/>
                    </a:lnTo>
                    <a:lnTo>
                      <a:pt x="868" y="757"/>
                    </a:lnTo>
                    <a:lnTo>
                      <a:pt x="870" y="761"/>
                    </a:lnTo>
                    <a:lnTo>
                      <a:pt x="872" y="761"/>
                    </a:lnTo>
                    <a:lnTo>
                      <a:pt x="874" y="757"/>
                    </a:lnTo>
                    <a:lnTo>
                      <a:pt x="875" y="757"/>
                    </a:lnTo>
                    <a:lnTo>
                      <a:pt x="879" y="757"/>
                    </a:lnTo>
                    <a:lnTo>
                      <a:pt x="881" y="751"/>
                    </a:lnTo>
                    <a:lnTo>
                      <a:pt x="887" y="745"/>
                    </a:lnTo>
                    <a:lnTo>
                      <a:pt x="887" y="738"/>
                    </a:lnTo>
                    <a:lnTo>
                      <a:pt x="892" y="730"/>
                    </a:lnTo>
                    <a:lnTo>
                      <a:pt x="894" y="727"/>
                    </a:lnTo>
                    <a:lnTo>
                      <a:pt x="894" y="727"/>
                    </a:lnTo>
                    <a:lnTo>
                      <a:pt x="894" y="727"/>
                    </a:lnTo>
                    <a:lnTo>
                      <a:pt x="894" y="727"/>
                    </a:lnTo>
                    <a:lnTo>
                      <a:pt x="894" y="727"/>
                    </a:lnTo>
                    <a:close/>
                    <a:moveTo>
                      <a:pt x="840" y="749"/>
                    </a:moveTo>
                    <a:lnTo>
                      <a:pt x="838" y="747"/>
                    </a:lnTo>
                    <a:lnTo>
                      <a:pt x="838" y="745"/>
                    </a:lnTo>
                    <a:lnTo>
                      <a:pt x="840" y="747"/>
                    </a:lnTo>
                    <a:lnTo>
                      <a:pt x="840" y="749"/>
                    </a:lnTo>
                    <a:lnTo>
                      <a:pt x="840" y="749"/>
                    </a:lnTo>
                    <a:lnTo>
                      <a:pt x="840" y="749"/>
                    </a:lnTo>
                    <a:lnTo>
                      <a:pt x="840" y="749"/>
                    </a:lnTo>
                    <a:close/>
                    <a:moveTo>
                      <a:pt x="860" y="755"/>
                    </a:moveTo>
                    <a:lnTo>
                      <a:pt x="862" y="751"/>
                    </a:lnTo>
                    <a:lnTo>
                      <a:pt x="864" y="755"/>
                    </a:lnTo>
                    <a:lnTo>
                      <a:pt x="862" y="757"/>
                    </a:lnTo>
                    <a:lnTo>
                      <a:pt x="860" y="755"/>
                    </a:lnTo>
                    <a:lnTo>
                      <a:pt x="860" y="755"/>
                    </a:lnTo>
                    <a:lnTo>
                      <a:pt x="860" y="755"/>
                    </a:lnTo>
                    <a:lnTo>
                      <a:pt x="860" y="755"/>
                    </a:lnTo>
                    <a:close/>
                    <a:moveTo>
                      <a:pt x="860" y="745"/>
                    </a:moveTo>
                    <a:lnTo>
                      <a:pt x="864" y="742"/>
                    </a:lnTo>
                    <a:lnTo>
                      <a:pt x="866" y="749"/>
                    </a:lnTo>
                    <a:lnTo>
                      <a:pt x="862" y="751"/>
                    </a:lnTo>
                    <a:lnTo>
                      <a:pt x="860" y="751"/>
                    </a:lnTo>
                    <a:lnTo>
                      <a:pt x="860" y="747"/>
                    </a:lnTo>
                    <a:lnTo>
                      <a:pt x="860" y="745"/>
                    </a:lnTo>
                    <a:lnTo>
                      <a:pt x="860" y="745"/>
                    </a:lnTo>
                    <a:lnTo>
                      <a:pt x="860" y="745"/>
                    </a:lnTo>
                    <a:lnTo>
                      <a:pt x="860" y="745"/>
                    </a:lnTo>
                    <a:close/>
                    <a:moveTo>
                      <a:pt x="860" y="736"/>
                    </a:moveTo>
                    <a:lnTo>
                      <a:pt x="862" y="742"/>
                    </a:lnTo>
                    <a:lnTo>
                      <a:pt x="860" y="742"/>
                    </a:lnTo>
                    <a:lnTo>
                      <a:pt x="860" y="740"/>
                    </a:lnTo>
                    <a:lnTo>
                      <a:pt x="860" y="738"/>
                    </a:lnTo>
                    <a:lnTo>
                      <a:pt x="860" y="736"/>
                    </a:lnTo>
                    <a:lnTo>
                      <a:pt x="860" y="736"/>
                    </a:lnTo>
                    <a:lnTo>
                      <a:pt x="860" y="736"/>
                    </a:lnTo>
                    <a:lnTo>
                      <a:pt x="860" y="736"/>
                    </a:lnTo>
                    <a:close/>
                    <a:moveTo>
                      <a:pt x="862" y="736"/>
                    </a:moveTo>
                    <a:lnTo>
                      <a:pt x="866" y="732"/>
                    </a:lnTo>
                    <a:lnTo>
                      <a:pt x="866" y="730"/>
                    </a:lnTo>
                    <a:lnTo>
                      <a:pt x="868" y="725"/>
                    </a:lnTo>
                    <a:lnTo>
                      <a:pt x="872" y="725"/>
                    </a:lnTo>
                    <a:lnTo>
                      <a:pt x="872" y="725"/>
                    </a:lnTo>
                    <a:lnTo>
                      <a:pt x="875" y="721"/>
                    </a:lnTo>
                    <a:lnTo>
                      <a:pt x="875" y="727"/>
                    </a:lnTo>
                    <a:lnTo>
                      <a:pt x="875" y="730"/>
                    </a:lnTo>
                    <a:lnTo>
                      <a:pt x="875" y="734"/>
                    </a:lnTo>
                    <a:lnTo>
                      <a:pt x="874" y="742"/>
                    </a:lnTo>
                    <a:lnTo>
                      <a:pt x="866" y="745"/>
                    </a:lnTo>
                    <a:lnTo>
                      <a:pt x="864" y="742"/>
                    </a:lnTo>
                    <a:lnTo>
                      <a:pt x="868" y="740"/>
                    </a:lnTo>
                    <a:lnTo>
                      <a:pt x="872" y="736"/>
                    </a:lnTo>
                    <a:lnTo>
                      <a:pt x="872" y="734"/>
                    </a:lnTo>
                    <a:lnTo>
                      <a:pt x="864" y="738"/>
                    </a:lnTo>
                    <a:lnTo>
                      <a:pt x="862" y="736"/>
                    </a:lnTo>
                    <a:lnTo>
                      <a:pt x="862" y="736"/>
                    </a:lnTo>
                    <a:lnTo>
                      <a:pt x="862" y="736"/>
                    </a:lnTo>
                    <a:lnTo>
                      <a:pt x="862" y="736"/>
                    </a:lnTo>
                    <a:close/>
                    <a:moveTo>
                      <a:pt x="830" y="749"/>
                    </a:moveTo>
                    <a:lnTo>
                      <a:pt x="832" y="747"/>
                    </a:lnTo>
                    <a:lnTo>
                      <a:pt x="834" y="749"/>
                    </a:lnTo>
                    <a:lnTo>
                      <a:pt x="834" y="751"/>
                    </a:lnTo>
                    <a:lnTo>
                      <a:pt x="836" y="755"/>
                    </a:lnTo>
                    <a:lnTo>
                      <a:pt x="834" y="761"/>
                    </a:lnTo>
                    <a:lnTo>
                      <a:pt x="832" y="761"/>
                    </a:lnTo>
                    <a:lnTo>
                      <a:pt x="832" y="755"/>
                    </a:lnTo>
                    <a:lnTo>
                      <a:pt x="830" y="751"/>
                    </a:lnTo>
                    <a:lnTo>
                      <a:pt x="830" y="749"/>
                    </a:lnTo>
                    <a:lnTo>
                      <a:pt x="830" y="749"/>
                    </a:lnTo>
                    <a:lnTo>
                      <a:pt x="830" y="749"/>
                    </a:lnTo>
                    <a:lnTo>
                      <a:pt x="830" y="749"/>
                    </a:lnTo>
                    <a:close/>
                    <a:moveTo>
                      <a:pt x="830" y="742"/>
                    </a:moveTo>
                    <a:lnTo>
                      <a:pt x="832" y="742"/>
                    </a:lnTo>
                    <a:lnTo>
                      <a:pt x="834" y="742"/>
                    </a:lnTo>
                    <a:lnTo>
                      <a:pt x="836" y="745"/>
                    </a:lnTo>
                    <a:lnTo>
                      <a:pt x="832" y="747"/>
                    </a:lnTo>
                    <a:lnTo>
                      <a:pt x="830" y="742"/>
                    </a:lnTo>
                    <a:lnTo>
                      <a:pt x="830" y="742"/>
                    </a:lnTo>
                    <a:lnTo>
                      <a:pt x="830" y="742"/>
                    </a:lnTo>
                    <a:lnTo>
                      <a:pt x="830" y="742"/>
                    </a:lnTo>
                    <a:close/>
                    <a:moveTo>
                      <a:pt x="830" y="740"/>
                    </a:moveTo>
                    <a:lnTo>
                      <a:pt x="832" y="736"/>
                    </a:lnTo>
                    <a:lnTo>
                      <a:pt x="832" y="740"/>
                    </a:lnTo>
                    <a:lnTo>
                      <a:pt x="830" y="740"/>
                    </a:lnTo>
                    <a:lnTo>
                      <a:pt x="830" y="740"/>
                    </a:lnTo>
                    <a:lnTo>
                      <a:pt x="830" y="740"/>
                    </a:lnTo>
                    <a:lnTo>
                      <a:pt x="830" y="740"/>
                    </a:lnTo>
                    <a:close/>
                    <a:moveTo>
                      <a:pt x="826" y="732"/>
                    </a:moveTo>
                    <a:lnTo>
                      <a:pt x="830" y="734"/>
                    </a:lnTo>
                    <a:lnTo>
                      <a:pt x="826" y="738"/>
                    </a:lnTo>
                    <a:lnTo>
                      <a:pt x="826" y="732"/>
                    </a:lnTo>
                    <a:lnTo>
                      <a:pt x="826" y="732"/>
                    </a:lnTo>
                    <a:lnTo>
                      <a:pt x="826" y="732"/>
                    </a:lnTo>
                    <a:lnTo>
                      <a:pt x="826" y="732"/>
                    </a:lnTo>
                    <a:close/>
                    <a:moveTo>
                      <a:pt x="826" y="717"/>
                    </a:moveTo>
                    <a:lnTo>
                      <a:pt x="823" y="713"/>
                    </a:lnTo>
                    <a:lnTo>
                      <a:pt x="826" y="715"/>
                    </a:lnTo>
                    <a:lnTo>
                      <a:pt x="826" y="717"/>
                    </a:lnTo>
                    <a:lnTo>
                      <a:pt x="826" y="717"/>
                    </a:lnTo>
                    <a:lnTo>
                      <a:pt x="826" y="717"/>
                    </a:lnTo>
                    <a:lnTo>
                      <a:pt x="826" y="717"/>
                    </a:lnTo>
                    <a:close/>
                    <a:moveTo>
                      <a:pt x="834" y="721"/>
                    </a:moveTo>
                    <a:lnTo>
                      <a:pt x="836" y="717"/>
                    </a:lnTo>
                    <a:lnTo>
                      <a:pt x="838" y="721"/>
                    </a:lnTo>
                    <a:lnTo>
                      <a:pt x="836" y="721"/>
                    </a:lnTo>
                    <a:lnTo>
                      <a:pt x="834" y="721"/>
                    </a:lnTo>
                    <a:lnTo>
                      <a:pt x="834" y="721"/>
                    </a:lnTo>
                    <a:lnTo>
                      <a:pt x="834" y="721"/>
                    </a:lnTo>
                    <a:lnTo>
                      <a:pt x="834" y="721"/>
                    </a:lnTo>
                    <a:close/>
                    <a:moveTo>
                      <a:pt x="836" y="715"/>
                    </a:moveTo>
                    <a:lnTo>
                      <a:pt x="838" y="712"/>
                    </a:lnTo>
                    <a:lnTo>
                      <a:pt x="842" y="710"/>
                    </a:lnTo>
                    <a:lnTo>
                      <a:pt x="843" y="712"/>
                    </a:lnTo>
                    <a:lnTo>
                      <a:pt x="842" y="713"/>
                    </a:lnTo>
                    <a:lnTo>
                      <a:pt x="840" y="713"/>
                    </a:lnTo>
                    <a:lnTo>
                      <a:pt x="838" y="715"/>
                    </a:lnTo>
                    <a:lnTo>
                      <a:pt x="836" y="715"/>
                    </a:lnTo>
                    <a:lnTo>
                      <a:pt x="836" y="715"/>
                    </a:lnTo>
                    <a:lnTo>
                      <a:pt x="836" y="715"/>
                    </a:lnTo>
                    <a:lnTo>
                      <a:pt x="836" y="715"/>
                    </a:lnTo>
                    <a:close/>
                    <a:moveTo>
                      <a:pt x="843" y="717"/>
                    </a:moveTo>
                    <a:lnTo>
                      <a:pt x="845" y="713"/>
                    </a:lnTo>
                    <a:lnTo>
                      <a:pt x="845" y="710"/>
                    </a:lnTo>
                    <a:lnTo>
                      <a:pt x="842" y="706"/>
                    </a:lnTo>
                    <a:lnTo>
                      <a:pt x="845" y="704"/>
                    </a:lnTo>
                    <a:lnTo>
                      <a:pt x="847" y="704"/>
                    </a:lnTo>
                    <a:lnTo>
                      <a:pt x="851" y="708"/>
                    </a:lnTo>
                    <a:lnTo>
                      <a:pt x="847" y="712"/>
                    </a:lnTo>
                    <a:lnTo>
                      <a:pt x="847" y="715"/>
                    </a:lnTo>
                    <a:lnTo>
                      <a:pt x="849" y="717"/>
                    </a:lnTo>
                    <a:lnTo>
                      <a:pt x="851" y="717"/>
                    </a:lnTo>
                    <a:lnTo>
                      <a:pt x="855" y="717"/>
                    </a:lnTo>
                    <a:lnTo>
                      <a:pt x="855" y="725"/>
                    </a:lnTo>
                    <a:lnTo>
                      <a:pt x="851" y="725"/>
                    </a:lnTo>
                    <a:lnTo>
                      <a:pt x="855" y="727"/>
                    </a:lnTo>
                    <a:lnTo>
                      <a:pt x="855" y="730"/>
                    </a:lnTo>
                    <a:lnTo>
                      <a:pt x="851" y="730"/>
                    </a:lnTo>
                    <a:lnTo>
                      <a:pt x="851" y="730"/>
                    </a:lnTo>
                    <a:lnTo>
                      <a:pt x="849" y="732"/>
                    </a:lnTo>
                    <a:lnTo>
                      <a:pt x="855" y="736"/>
                    </a:lnTo>
                    <a:lnTo>
                      <a:pt x="855" y="740"/>
                    </a:lnTo>
                    <a:lnTo>
                      <a:pt x="851" y="742"/>
                    </a:lnTo>
                    <a:lnTo>
                      <a:pt x="851" y="742"/>
                    </a:lnTo>
                    <a:lnTo>
                      <a:pt x="855" y="742"/>
                    </a:lnTo>
                    <a:lnTo>
                      <a:pt x="855" y="742"/>
                    </a:lnTo>
                    <a:lnTo>
                      <a:pt x="855" y="745"/>
                    </a:lnTo>
                    <a:lnTo>
                      <a:pt x="851" y="749"/>
                    </a:lnTo>
                    <a:lnTo>
                      <a:pt x="851" y="749"/>
                    </a:lnTo>
                    <a:lnTo>
                      <a:pt x="849" y="751"/>
                    </a:lnTo>
                    <a:lnTo>
                      <a:pt x="851" y="751"/>
                    </a:lnTo>
                    <a:lnTo>
                      <a:pt x="851" y="755"/>
                    </a:lnTo>
                    <a:lnTo>
                      <a:pt x="851" y="755"/>
                    </a:lnTo>
                    <a:lnTo>
                      <a:pt x="851" y="757"/>
                    </a:lnTo>
                    <a:lnTo>
                      <a:pt x="849" y="761"/>
                    </a:lnTo>
                    <a:lnTo>
                      <a:pt x="847" y="761"/>
                    </a:lnTo>
                    <a:lnTo>
                      <a:pt x="845" y="757"/>
                    </a:lnTo>
                    <a:lnTo>
                      <a:pt x="845" y="755"/>
                    </a:lnTo>
                    <a:lnTo>
                      <a:pt x="842" y="751"/>
                    </a:lnTo>
                    <a:lnTo>
                      <a:pt x="842" y="749"/>
                    </a:lnTo>
                    <a:lnTo>
                      <a:pt x="845" y="747"/>
                    </a:lnTo>
                    <a:lnTo>
                      <a:pt x="843" y="745"/>
                    </a:lnTo>
                    <a:lnTo>
                      <a:pt x="843" y="742"/>
                    </a:lnTo>
                    <a:lnTo>
                      <a:pt x="847" y="742"/>
                    </a:lnTo>
                    <a:lnTo>
                      <a:pt x="845" y="740"/>
                    </a:lnTo>
                    <a:lnTo>
                      <a:pt x="842" y="740"/>
                    </a:lnTo>
                    <a:lnTo>
                      <a:pt x="842" y="742"/>
                    </a:lnTo>
                    <a:lnTo>
                      <a:pt x="840" y="740"/>
                    </a:lnTo>
                    <a:lnTo>
                      <a:pt x="836" y="740"/>
                    </a:lnTo>
                    <a:lnTo>
                      <a:pt x="836" y="738"/>
                    </a:lnTo>
                    <a:lnTo>
                      <a:pt x="838" y="736"/>
                    </a:lnTo>
                    <a:lnTo>
                      <a:pt x="840" y="736"/>
                    </a:lnTo>
                    <a:lnTo>
                      <a:pt x="840" y="734"/>
                    </a:lnTo>
                    <a:lnTo>
                      <a:pt x="840" y="732"/>
                    </a:lnTo>
                    <a:lnTo>
                      <a:pt x="843" y="730"/>
                    </a:lnTo>
                    <a:lnTo>
                      <a:pt x="843" y="727"/>
                    </a:lnTo>
                    <a:lnTo>
                      <a:pt x="842" y="727"/>
                    </a:lnTo>
                    <a:lnTo>
                      <a:pt x="840" y="727"/>
                    </a:lnTo>
                    <a:lnTo>
                      <a:pt x="838" y="725"/>
                    </a:lnTo>
                    <a:lnTo>
                      <a:pt x="840" y="725"/>
                    </a:lnTo>
                    <a:lnTo>
                      <a:pt x="843" y="725"/>
                    </a:lnTo>
                    <a:lnTo>
                      <a:pt x="845" y="721"/>
                    </a:lnTo>
                    <a:lnTo>
                      <a:pt x="843" y="717"/>
                    </a:lnTo>
                    <a:lnTo>
                      <a:pt x="843" y="717"/>
                    </a:lnTo>
                    <a:lnTo>
                      <a:pt x="843" y="717"/>
                    </a:lnTo>
                    <a:lnTo>
                      <a:pt x="843" y="717"/>
                    </a:lnTo>
                    <a:close/>
                    <a:moveTo>
                      <a:pt x="866" y="715"/>
                    </a:moveTo>
                    <a:lnTo>
                      <a:pt x="864" y="712"/>
                    </a:lnTo>
                    <a:lnTo>
                      <a:pt x="866" y="710"/>
                    </a:lnTo>
                    <a:lnTo>
                      <a:pt x="866" y="706"/>
                    </a:lnTo>
                    <a:lnTo>
                      <a:pt x="868" y="708"/>
                    </a:lnTo>
                    <a:lnTo>
                      <a:pt x="868" y="712"/>
                    </a:lnTo>
                    <a:lnTo>
                      <a:pt x="866" y="715"/>
                    </a:lnTo>
                    <a:lnTo>
                      <a:pt x="866" y="715"/>
                    </a:lnTo>
                    <a:lnTo>
                      <a:pt x="866" y="715"/>
                    </a:lnTo>
                    <a:lnTo>
                      <a:pt x="866" y="715"/>
                    </a:lnTo>
                    <a:close/>
                    <a:moveTo>
                      <a:pt x="860" y="717"/>
                    </a:moveTo>
                    <a:lnTo>
                      <a:pt x="860" y="713"/>
                    </a:lnTo>
                    <a:lnTo>
                      <a:pt x="862" y="713"/>
                    </a:lnTo>
                    <a:lnTo>
                      <a:pt x="862" y="717"/>
                    </a:lnTo>
                    <a:lnTo>
                      <a:pt x="860" y="717"/>
                    </a:lnTo>
                    <a:lnTo>
                      <a:pt x="860" y="717"/>
                    </a:lnTo>
                    <a:lnTo>
                      <a:pt x="860" y="717"/>
                    </a:lnTo>
                    <a:lnTo>
                      <a:pt x="860" y="717"/>
                    </a:lnTo>
                    <a:lnTo>
                      <a:pt x="860" y="717"/>
                    </a:lnTo>
                    <a:close/>
                    <a:moveTo>
                      <a:pt x="855" y="715"/>
                    </a:moveTo>
                    <a:lnTo>
                      <a:pt x="857" y="712"/>
                    </a:lnTo>
                    <a:lnTo>
                      <a:pt x="862" y="708"/>
                    </a:lnTo>
                    <a:lnTo>
                      <a:pt x="862" y="710"/>
                    </a:lnTo>
                    <a:lnTo>
                      <a:pt x="860" y="712"/>
                    </a:lnTo>
                    <a:lnTo>
                      <a:pt x="860" y="715"/>
                    </a:lnTo>
                    <a:lnTo>
                      <a:pt x="855" y="715"/>
                    </a:lnTo>
                    <a:lnTo>
                      <a:pt x="855" y="715"/>
                    </a:lnTo>
                    <a:lnTo>
                      <a:pt x="855" y="715"/>
                    </a:lnTo>
                    <a:lnTo>
                      <a:pt x="855" y="715"/>
                    </a:lnTo>
                    <a:close/>
                    <a:moveTo>
                      <a:pt x="851" y="706"/>
                    </a:moveTo>
                    <a:lnTo>
                      <a:pt x="855" y="702"/>
                    </a:lnTo>
                    <a:lnTo>
                      <a:pt x="860" y="702"/>
                    </a:lnTo>
                    <a:lnTo>
                      <a:pt x="860" y="704"/>
                    </a:lnTo>
                    <a:lnTo>
                      <a:pt x="857" y="710"/>
                    </a:lnTo>
                    <a:lnTo>
                      <a:pt x="855" y="708"/>
                    </a:lnTo>
                    <a:lnTo>
                      <a:pt x="851" y="706"/>
                    </a:lnTo>
                    <a:lnTo>
                      <a:pt x="851" y="706"/>
                    </a:lnTo>
                    <a:lnTo>
                      <a:pt x="851" y="706"/>
                    </a:lnTo>
                    <a:lnTo>
                      <a:pt x="851" y="706"/>
                    </a:lnTo>
                    <a:close/>
                    <a:moveTo>
                      <a:pt x="857" y="696"/>
                    </a:moveTo>
                    <a:lnTo>
                      <a:pt x="860" y="691"/>
                    </a:lnTo>
                    <a:lnTo>
                      <a:pt x="864" y="691"/>
                    </a:lnTo>
                    <a:lnTo>
                      <a:pt x="866" y="696"/>
                    </a:lnTo>
                    <a:lnTo>
                      <a:pt x="862" y="700"/>
                    </a:lnTo>
                    <a:lnTo>
                      <a:pt x="860" y="700"/>
                    </a:lnTo>
                    <a:lnTo>
                      <a:pt x="857" y="700"/>
                    </a:lnTo>
                    <a:lnTo>
                      <a:pt x="857" y="696"/>
                    </a:lnTo>
                    <a:lnTo>
                      <a:pt x="857" y="696"/>
                    </a:lnTo>
                    <a:lnTo>
                      <a:pt x="857" y="696"/>
                    </a:lnTo>
                    <a:lnTo>
                      <a:pt x="857" y="696"/>
                    </a:lnTo>
                    <a:close/>
                    <a:moveTo>
                      <a:pt x="845" y="700"/>
                    </a:moveTo>
                    <a:lnTo>
                      <a:pt x="845" y="696"/>
                    </a:lnTo>
                    <a:lnTo>
                      <a:pt x="849" y="687"/>
                    </a:lnTo>
                    <a:lnTo>
                      <a:pt x="851" y="685"/>
                    </a:lnTo>
                    <a:lnTo>
                      <a:pt x="847" y="685"/>
                    </a:lnTo>
                    <a:lnTo>
                      <a:pt x="847" y="681"/>
                    </a:lnTo>
                    <a:lnTo>
                      <a:pt x="845" y="680"/>
                    </a:lnTo>
                    <a:lnTo>
                      <a:pt x="847" y="676"/>
                    </a:lnTo>
                    <a:lnTo>
                      <a:pt x="851" y="676"/>
                    </a:lnTo>
                    <a:lnTo>
                      <a:pt x="855" y="681"/>
                    </a:lnTo>
                    <a:lnTo>
                      <a:pt x="857" y="681"/>
                    </a:lnTo>
                    <a:lnTo>
                      <a:pt x="860" y="685"/>
                    </a:lnTo>
                    <a:lnTo>
                      <a:pt x="860" y="687"/>
                    </a:lnTo>
                    <a:lnTo>
                      <a:pt x="857" y="693"/>
                    </a:lnTo>
                    <a:lnTo>
                      <a:pt x="855" y="693"/>
                    </a:lnTo>
                    <a:lnTo>
                      <a:pt x="855" y="687"/>
                    </a:lnTo>
                    <a:lnTo>
                      <a:pt x="855" y="691"/>
                    </a:lnTo>
                    <a:lnTo>
                      <a:pt x="855" y="693"/>
                    </a:lnTo>
                    <a:lnTo>
                      <a:pt x="851" y="696"/>
                    </a:lnTo>
                    <a:lnTo>
                      <a:pt x="855" y="700"/>
                    </a:lnTo>
                    <a:lnTo>
                      <a:pt x="851" y="700"/>
                    </a:lnTo>
                    <a:lnTo>
                      <a:pt x="851" y="700"/>
                    </a:lnTo>
                    <a:lnTo>
                      <a:pt x="849" y="702"/>
                    </a:lnTo>
                    <a:lnTo>
                      <a:pt x="845" y="700"/>
                    </a:lnTo>
                    <a:lnTo>
                      <a:pt x="845" y="700"/>
                    </a:lnTo>
                    <a:lnTo>
                      <a:pt x="845" y="700"/>
                    </a:lnTo>
                    <a:lnTo>
                      <a:pt x="845" y="700"/>
                    </a:lnTo>
                    <a:close/>
                    <a:moveTo>
                      <a:pt x="836" y="696"/>
                    </a:moveTo>
                    <a:lnTo>
                      <a:pt x="832" y="693"/>
                    </a:lnTo>
                    <a:lnTo>
                      <a:pt x="836" y="691"/>
                    </a:lnTo>
                    <a:lnTo>
                      <a:pt x="834" y="687"/>
                    </a:lnTo>
                    <a:lnTo>
                      <a:pt x="834" y="685"/>
                    </a:lnTo>
                    <a:lnTo>
                      <a:pt x="836" y="683"/>
                    </a:lnTo>
                    <a:lnTo>
                      <a:pt x="840" y="683"/>
                    </a:lnTo>
                    <a:lnTo>
                      <a:pt x="840" y="680"/>
                    </a:lnTo>
                    <a:lnTo>
                      <a:pt x="840" y="680"/>
                    </a:lnTo>
                    <a:lnTo>
                      <a:pt x="843" y="685"/>
                    </a:lnTo>
                    <a:lnTo>
                      <a:pt x="842" y="687"/>
                    </a:lnTo>
                    <a:lnTo>
                      <a:pt x="843" y="691"/>
                    </a:lnTo>
                    <a:lnTo>
                      <a:pt x="845" y="687"/>
                    </a:lnTo>
                    <a:lnTo>
                      <a:pt x="845" y="691"/>
                    </a:lnTo>
                    <a:lnTo>
                      <a:pt x="843" y="696"/>
                    </a:lnTo>
                    <a:lnTo>
                      <a:pt x="838" y="702"/>
                    </a:lnTo>
                    <a:lnTo>
                      <a:pt x="838" y="706"/>
                    </a:lnTo>
                    <a:lnTo>
                      <a:pt x="836" y="708"/>
                    </a:lnTo>
                    <a:lnTo>
                      <a:pt x="832" y="710"/>
                    </a:lnTo>
                    <a:lnTo>
                      <a:pt x="832" y="706"/>
                    </a:lnTo>
                    <a:lnTo>
                      <a:pt x="832" y="704"/>
                    </a:lnTo>
                    <a:lnTo>
                      <a:pt x="830" y="712"/>
                    </a:lnTo>
                    <a:lnTo>
                      <a:pt x="830" y="710"/>
                    </a:lnTo>
                    <a:lnTo>
                      <a:pt x="830" y="706"/>
                    </a:lnTo>
                    <a:lnTo>
                      <a:pt x="830" y="702"/>
                    </a:lnTo>
                    <a:lnTo>
                      <a:pt x="830" y="700"/>
                    </a:lnTo>
                    <a:lnTo>
                      <a:pt x="832" y="700"/>
                    </a:lnTo>
                    <a:lnTo>
                      <a:pt x="834" y="700"/>
                    </a:lnTo>
                    <a:lnTo>
                      <a:pt x="836" y="700"/>
                    </a:lnTo>
                    <a:lnTo>
                      <a:pt x="836" y="696"/>
                    </a:lnTo>
                    <a:lnTo>
                      <a:pt x="836" y="696"/>
                    </a:lnTo>
                    <a:lnTo>
                      <a:pt x="836" y="696"/>
                    </a:lnTo>
                    <a:lnTo>
                      <a:pt x="836" y="696"/>
                    </a:lnTo>
                    <a:close/>
                    <a:moveTo>
                      <a:pt x="834" y="663"/>
                    </a:moveTo>
                    <a:lnTo>
                      <a:pt x="836" y="663"/>
                    </a:lnTo>
                    <a:lnTo>
                      <a:pt x="836" y="666"/>
                    </a:lnTo>
                    <a:lnTo>
                      <a:pt x="834" y="663"/>
                    </a:lnTo>
                    <a:lnTo>
                      <a:pt x="834" y="663"/>
                    </a:lnTo>
                    <a:lnTo>
                      <a:pt x="834" y="663"/>
                    </a:lnTo>
                    <a:lnTo>
                      <a:pt x="834" y="663"/>
                    </a:lnTo>
                    <a:close/>
                    <a:moveTo>
                      <a:pt x="826" y="666"/>
                    </a:moveTo>
                    <a:lnTo>
                      <a:pt x="826" y="663"/>
                    </a:lnTo>
                    <a:lnTo>
                      <a:pt x="830" y="663"/>
                    </a:lnTo>
                    <a:lnTo>
                      <a:pt x="830" y="663"/>
                    </a:lnTo>
                    <a:lnTo>
                      <a:pt x="832" y="666"/>
                    </a:lnTo>
                    <a:lnTo>
                      <a:pt x="832" y="674"/>
                    </a:lnTo>
                    <a:lnTo>
                      <a:pt x="832" y="680"/>
                    </a:lnTo>
                    <a:lnTo>
                      <a:pt x="830" y="681"/>
                    </a:lnTo>
                    <a:lnTo>
                      <a:pt x="830" y="687"/>
                    </a:lnTo>
                    <a:lnTo>
                      <a:pt x="826" y="691"/>
                    </a:lnTo>
                    <a:lnTo>
                      <a:pt x="826" y="696"/>
                    </a:lnTo>
                    <a:lnTo>
                      <a:pt x="826" y="700"/>
                    </a:lnTo>
                    <a:lnTo>
                      <a:pt x="826" y="702"/>
                    </a:lnTo>
                    <a:lnTo>
                      <a:pt x="823" y="702"/>
                    </a:lnTo>
                    <a:lnTo>
                      <a:pt x="823" y="700"/>
                    </a:lnTo>
                    <a:lnTo>
                      <a:pt x="823" y="696"/>
                    </a:lnTo>
                    <a:lnTo>
                      <a:pt x="823" y="696"/>
                    </a:lnTo>
                    <a:lnTo>
                      <a:pt x="821" y="691"/>
                    </a:lnTo>
                    <a:lnTo>
                      <a:pt x="823" y="687"/>
                    </a:lnTo>
                    <a:lnTo>
                      <a:pt x="823" y="687"/>
                    </a:lnTo>
                    <a:lnTo>
                      <a:pt x="826" y="687"/>
                    </a:lnTo>
                    <a:lnTo>
                      <a:pt x="826" y="685"/>
                    </a:lnTo>
                    <a:lnTo>
                      <a:pt x="823" y="687"/>
                    </a:lnTo>
                    <a:lnTo>
                      <a:pt x="823" y="687"/>
                    </a:lnTo>
                    <a:lnTo>
                      <a:pt x="823" y="683"/>
                    </a:lnTo>
                    <a:lnTo>
                      <a:pt x="823" y="683"/>
                    </a:lnTo>
                    <a:lnTo>
                      <a:pt x="823" y="681"/>
                    </a:lnTo>
                    <a:lnTo>
                      <a:pt x="821" y="680"/>
                    </a:lnTo>
                    <a:lnTo>
                      <a:pt x="821" y="678"/>
                    </a:lnTo>
                    <a:lnTo>
                      <a:pt x="823" y="678"/>
                    </a:lnTo>
                    <a:lnTo>
                      <a:pt x="826" y="676"/>
                    </a:lnTo>
                    <a:lnTo>
                      <a:pt x="826" y="672"/>
                    </a:lnTo>
                    <a:lnTo>
                      <a:pt x="826" y="668"/>
                    </a:lnTo>
                    <a:lnTo>
                      <a:pt x="826" y="666"/>
                    </a:lnTo>
                    <a:lnTo>
                      <a:pt x="826" y="666"/>
                    </a:lnTo>
                    <a:lnTo>
                      <a:pt x="826" y="666"/>
                    </a:lnTo>
                    <a:lnTo>
                      <a:pt x="826" y="666"/>
                    </a:lnTo>
                    <a:lnTo>
                      <a:pt x="826" y="666"/>
                    </a:lnTo>
                    <a:close/>
                    <a:moveTo>
                      <a:pt x="819" y="666"/>
                    </a:moveTo>
                    <a:lnTo>
                      <a:pt x="821" y="663"/>
                    </a:lnTo>
                    <a:lnTo>
                      <a:pt x="823" y="666"/>
                    </a:lnTo>
                    <a:lnTo>
                      <a:pt x="821" y="668"/>
                    </a:lnTo>
                    <a:lnTo>
                      <a:pt x="821" y="672"/>
                    </a:lnTo>
                    <a:lnTo>
                      <a:pt x="817" y="674"/>
                    </a:lnTo>
                    <a:lnTo>
                      <a:pt x="817" y="672"/>
                    </a:lnTo>
                    <a:lnTo>
                      <a:pt x="819" y="668"/>
                    </a:lnTo>
                    <a:lnTo>
                      <a:pt x="817" y="668"/>
                    </a:lnTo>
                    <a:lnTo>
                      <a:pt x="819" y="666"/>
                    </a:lnTo>
                    <a:lnTo>
                      <a:pt x="819" y="666"/>
                    </a:lnTo>
                    <a:lnTo>
                      <a:pt x="819" y="666"/>
                    </a:lnTo>
                    <a:lnTo>
                      <a:pt x="819" y="666"/>
                    </a:lnTo>
                    <a:close/>
                    <a:moveTo>
                      <a:pt x="836" y="674"/>
                    </a:moveTo>
                    <a:lnTo>
                      <a:pt x="838" y="670"/>
                    </a:lnTo>
                    <a:lnTo>
                      <a:pt x="838" y="666"/>
                    </a:lnTo>
                    <a:lnTo>
                      <a:pt x="840" y="663"/>
                    </a:lnTo>
                    <a:lnTo>
                      <a:pt x="845" y="663"/>
                    </a:lnTo>
                    <a:lnTo>
                      <a:pt x="843" y="663"/>
                    </a:lnTo>
                    <a:lnTo>
                      <a:pt x="845" y="661"/>
                    </a:lnTo>
                    <a:lnTo>
                      <a:pt x="842" y="657"/>
                    </a:lnTo>
                    <a:lnTo>
                      <a:pt x="843" y="651"/>
                    </a:lnTo>
                    <a:lnTo>
                      <a:pt x="847" y="646"/>
                    </a:lnTo>
                    <a:lnTo>
                      <a:pt x="847" y="636"/>
                    </a:lnTo>
                    <a:lnTo>
                      <a:pt x="849" y="631"/>
                    </a:lnTo>
                    <a:lnTo>
                      <a:pt x="851" y="632"/>
                    </a:lnTo>
                    <a:lnTo>
                      <a:pt x="851" y="636"/>
                    </a:lnTo>
                    <a:lnTo>
                      <a:pt x="855" y="638"/>
                    </a:lnTo>
                    <a:lnTo>
                      <a:pt x="857" y="642"/>
                    </a:lnTo>
                    <a:lnTo>
                      <a:pt x="860" y="655"/>
                    </a:lnTo>
                    <a:lnTo>
                      <a:pt x="855" y="661"/>
                    </a:lnTo>
                    <a:lnTo>
                      <a:pt x="855" y="661"/>
                    </a:lnTo>
                    <a:lnTo>
                      <a:pt x="855" y="651"/>
                    </a:lnTo>
                    <a:lnTo>
                      <a:pt x="855" y="644"/>
                    </a:lnTo>
                    <a:lnTo>
                      <a:pt x="855" y="647"/>
                    </a:lnTo>
                    <a:lnTo>
                      <a:pt x="851" y="661"/>
                    </a:lnTo>
                    <a:lnTo>
                      <a:pt x="851" y="663"/>
                    </a:lnTo>
                    <a:lnTo>
                      <a:pt x="851" y="666"/>
                    </a:lnTo>
                    <a:lnTo>
                      <a:pt x="851" y="666"/>
                    </a:lnTo>
                    <a:lnTo>
                      <a:pt x="847" y="666"/>
                    </a:lnTo>
                    <a:lnTo>
                      <a:pt x="845" y="670"/>
                    </a:lnTo>
                    <a:lnTo>
                      <a:pt x="840" y="674"/>
                    </a:lnTo>
                    <a:lnTo>
                      <a:pt x="838" y="676"/>
                    </a:lnTo>
                    <a:lnTo>
                      <a:pt x="836" y="674"/>
                    </a:lnTo>
                    <a:lnTo>
                      <a:pt x="836" y="674"/>
                    </a:lnTo>
                    <a:lnTo>
                      <a:pt x="836" y="674"/>
                    </a:lnTo>
                    <a:lnTo>
                      <a:pt x="836" y="674"/>
                    </a:lnTo>
                    <a:close/>
                    <a:moveTo>
                      <a:pt x="826" y="632"/>
                    </a:moveTo>
                    <a:lnTo>
                      <a:pt x="830" y="631"/>
                    </a:lnTo>
                    <a:lnTo>
                      <a:pt x="834" y="632"/>
                    </a:lnTo>
                    <a:lnTo>
                      <a:pt x="834" y="636"/>
                    </a:lnTo>
                    <a:lnTo>
                      <a:pt x="832" y="638"/>
                    </a:lnTo>
                    <a:lnTo>
                      <a:pt x="834" y="640"/>
                    </a:lnTo>
                    <a:lnTo>
                      <a:pt x="836" y="638"/>
                    </a:lnTo>
                    <a:lnTo>
                      <a:pt x="840" y="636"/>
                    </a:lnTo>
                    <a:lnTo>
                      <a:pt x="843" y="640"/>
                    </a:lnTo>
                    <a:lnTo>
                      <a:pt x="843" y="642"/>
                    </a:lnTo>
                    <a:lnTo>
                      <a:pt x="840" y="644"/>
                    </a:lnTo>
                    <a:lnTo>
                      <a:pt x="840" y="646"/>
                    </a:lnTo>
                    <a:lnTo>
                      <a:pt x="838" y="647"/>
                    </a:lnTo>
                    <a:lnTo>
                      <a:pt x="836" y="647"/>
                    </a:lnTo>
                    <a:lnTo>
                      <a:pt x="832" y="644"/>
                    </a:lnTo>
                    <a:lnTo>
                      <a:pt x="830" y="638"/>
                    </a:lnTo>
                    <a:lnTo>
                      <a:pt x="830" y="640"/>
                    </a:lnTo>
                    <a:lnTo>
                      <a:pt x="832" y="647"/>
                    </a:lnTo>
                    <a:lnTo>
                      <a:pt x="832" y="651"/>
                    </a:lnTo>
                    <a:lnTo>
                      <a:pt x="838" y="651"/>
                    </a:lnTo>
                    <a:lnTo>
                      <a:pt x="840" y="655"/>
                    </a:lnTo>
                    <a:lnTo>
                      <a:pt x="838" y="657"/>
                    </a:lnTo>
                    <a:lnTo>
                      <a:pt x="836" y="663"/>
                    </a:lnTo>
                    <a:lnTo>
                      <a:pt x="834" y="663"/>
                    </a:lnTo>
                    <a:lnTo>
                      <a:pt x="830" y="657"/>
                    </a:lnTo>
                    <a:lnTo>
                      <a:pt x="830" y="655"/>
                    </a:lnTo>
                    <a:lnTo>
                      <a:pt x="826" y="646"/>
                    </a:lnTo>
                    <a:lnTo>
                      <a:pt x="826" y="649"/>
                    </a:lnTo>
                    <a:lnTo>
                      <a:pt x="826" y="655"/>
                    </a:lnTo>
                    <a:lnTo>
                      <a:pt x="826" y="657"/>
                    </a:lnTo>
                    <a:lnTo>
                      <a:pt x="826" y="663"/>
                    </a:lnTo>
                    <a:lnTo>
                      <a:pt x="823" y="663"/>
                    </a:lnTo>
                    <a:lnTo>
                      <a:pt x="821" y="657"/>
                    </a:lnTo>
                    <a:lnTo>
                      <a:pt x="823" y="655"/>
                    </a:lnTo>
                    <a:lnTo>
                      <a:pt x="819" y="653"/>
                    </a:lnTo>
                    <a:lnTo>
                      <a:pt x="821" y="649"/>
                    </a:lnTo>
                    <a:lnTo>
                      <a:pt x="819" y="644"/>
                    </a:lnTo>
                    <a:lnTo>
                      <a:pt x="821" y="640"/>
                    </a:lnTo>
                    <a:lnTo>
                      <a:pt x="823" y="642"/>
                    </a:lnTo>
                    <a:lnTo>
                      <a:pt x="823" y="640"/>
                    </a:lnTo>
                    <a:lnTo>
                      <a:pt x="821" y="638"/>
                    </a:lnTo>
                    <a:lnTo>
                      <a:pt x="821" y="636"/>
                    </a:lnTo>
                    <a:lnTo>
                      <a:pt x="823" y="631"/>
                    </a:lnTo>
                    <a:lnTo>
                      <a:pt x="823" y="636"/>
                    </a:lnTo>
                    <a:lnTo>
                      <a:pt x="826" y="632"/>
                    </a:lnTo>
                    <a:lnTo>
                      <a:pt x="826" y="632"/>
                    </a:lnTo>
                    <a:lnTo>
                      <a:pt x="826" y="632"/>
                    </a:lnTo>
                    <a:lnTo>
                      <a:pt x="826" y="632"/>
                    </a:lnTo>
                    <a:lnTo>
                      <a:pt x="826" y="632"/>
                    </a:lnTo>
                    <a:close/>
                    <a:moveTo>
                      <a:pt x="826" y="627"/>
                    </a:moveTo>
                    <a:lnTo>
                      <a:pt x="830" y="623"/>
                    </a:lnTo>
                    <a:lnTo>
                      <a:pt x="832" y="627"/>
                    </a:lnTo>
                    <a:lnTo>
                      <a:pt x="830" y="627"/>
                    </a:lnTo>
                    <a:lnTo>
                      <a:pt x="826" y="627"/>
                    </a:lnTo>
                    <a:lnTo>
                      <a:pt x="826" y="627"/>
                    </a:lnTo>
                    <a:lnTo>
                      <a:pt x="826" y="627"/>
                    </a:lnTo>
                    <a:lnTo>
                      <a:pt x="826" y="627"/>
                    </a:lnTo>
                    <a:close/>
                    <a:moveTo>
                      <a:pt x="277" y="399"/>
                    </a:moveTo>
                    <a:lnTo>
                      <a:pt x="275" y="397"/>
                    </a:lnTo>
                    <a:lnTo>
                      <a:pt x="277" y="395"/>
                    </a:lnTo>
                    <a:lnTo>
                      <a:pt x="277" y="397"/>
                    </a:lnTo>
                    <a:lnTo>
                      <a:pt x="277" y="399"/>
                    </a:lnTo>
                    <a:lnTo>
                      <a:pt x="277" y="399"/>
                    </a:lnTo>
                    <a:lnTo>
                      <a:pt x="277" y="399"/>
                    </a:lnTo>
                    <a:lnTo>
                      <a:pt x="277" y="399"/>
                    </a:lnTo>
                    <a:close/>
                    <a:moveTo>
                      <a:pt x="277" y="401"/>
                    </a:moveTo>
                    <a:lnTo>
                      <a:pt x="277" y="403"/>
                    </a:lnTo>
                    <a:lnTo>
                      <a:pt x="277" y="406"/>
                    </a:lnTo>
                    <a:lnTo>
                      <a:pt x="282" y="410"/>
                    </a:lnTo>
                    <a:lnTo>
                      <a:pt x="282" y="414"/>
                    </a:lnTo>
                    <a:lnTo>
                      <a:pt x="275" y="408"/>
                    </a:lnTo>
                    <a:lnTo>
                      <a:pt x="275" y="405"/>
                    </a:lnTo>
                    <a:lnTo>
                      <a:pt x="273" y="403"/>
                    </a:lnTo>
                    <a:lnTo>
                      <a:pt x="273" y="403"/>
                    </a:lnTo>
                    <a:lnTo>
                      <a:pt x="277" y="401"/>
                    </a:lnTo>
                    <a:lnTo>
                      <a:pt x="277" y="401"/>
                    </a:lnTo>
                    <a:lnTo>
                      <a:pt x="277" y="401"/>
                    </a:lnTo>
                    <a:lnTo>
                      <a:pt x="277" y="401"/>
                    </a:lnTo>
                    <a:close/>
                    <a:moveTo>
                      <a:pt x="467" y="339"/>
                    </a:moveTo>
                    <a:lnTo>
                      <a:pt x="465" y="342"/>
                    </a:lnTo>
                    <a:lnTo>
                      <a:pt x="465" y="350"/>
                    </a:lnTo>
                    <a:lnTo>
                      <a:pt x="461" y="350"/>
                    </a:lnTo>
                    <a:lnTo>
                      <a:pt x="461" y="346"/>
                    </a:lnTo>
                    <a:lnTo>
                      <a:pt x="459" y="344"/>
                    </a:lnTo>
                    <a:lnTo>
                      <a:pt x="454" y="346"/>
                    </a:lnTo>
                    <a:lnTo>
                      <a:pt x="450" y="344"/>
                    </a:lnTo>
                    <a:lnTo>
                      <a:pt x="450" y="342"/>
                    </a:lnTo>
                    <a:lnTo>
                      <a:pt x="461" y="331"/>
                    </a:lnTo>
                    <a:lnTo>
                      <a:pt x="465" y="329"/>
                    </a:lnTo>
                    <a:lnTo>
                      <a:pt x="467" y="329"/>
                    </a:lnTo>
                    <a:lnTo>
                      <a:pt x="467" y="339"/>
                    </a:lnTo>
                    <a:lnTo>
                      <a:pt x="467" y="339"/>
                    </a:lnTo>
                    <a:lnTo>
                      <a:pt x="467" y="339"/>
                    </a:lnTo>
                    <a:lnTo>
                      <a:pt x="467" y="339"/>
                    </a:lnTo>
                    <a:close/>
                    <a:moveTo>
                      <a:pt x="469" y="339"/>
                    </a:moveTo>
                    <a:lnTo>
                      <a:pt x="469" y="339"/>
                    </a:lnTo>
                    <a:lnTo>
                      <a:pt x="473" y="335"/>
                    </a:lnTo>
                    <a:lnTo>
                      <a:pt x="473" y="333"/>
                    </a:lnTo>
                    <a:lnTo>
                      <a:pt x="469" y="331"/>
                    </a:lnTo>
                    <a:lnTo>
                      <a:pt x="469" y="329"/>
                    </a:lnTo>
                    <a:lnTo>
                      <a:pt x="467" y="325"/>
                    </a:lnTo>
                    <a:lnTo>
                      <a:pt x="469" y="325"/>
                    </a:lnTo>
                    <a:lnTo>
                      <a:pt x="476" y="324"/>
                    </a:lnTo>
                    <a:lnTo>
                      <a:pt x="484" y="329"/>
                    </a:lnTo>
                    <a:lnTo>
                      <a:pt x="484" y="329"/>
                    </a:lnTo>
                    <a:lnTo>
                      <a:pt x="482" y="331"/>
                    </a:lnTo>
                    <a:lnTo>
                      <a:pt x="473" y="339"/>
                    </a:lnTo>
                    <a:lnTo>
                      <a:pt x="469" y="339"/>
                    </a:lnTo>
                    <a:lnTo>
                      <a:pt x="469" y="339"/>
                    </a:lnTo>
                    <a:lnTo>
                      <a:pt x="469" y="339"/>
                    </a:lnTo>
                    <a:lnTo>
                      <a:pt x="469" y="339"/>
                    </a:lnTo>
                    <a:close/>
                    <a:moveTo>
                      <a:pt x="506" y="314"/>
                    </a:moveTo>
                    <a:lnTo>
                      <a:pt x="506" y="314"/>
                    </a:lnTo>
                    <a:lnTo>
                      <a:pt x="512" y="312"/>
                    </a:lnTo>
                    <a:lnTo>
                      <a:pt x="514" y="316"/>
                    </a:lnTo>
                    <a:lnTo>
                      <a:pt x="512" y="320"/>
                    </a:lnTo>
                    <a:lnTo>
                      <a:pt x="510" y="320"/>
                    </a:lnTo>
                    <a:lnTo>
                      <a:pt x="506" y="314"/>
                    </a:lnTo>
                    <a:lnTo>
                      <a:pt x="506" y="314"/>
                    </a:lnTo>
                    <a:lnTo>
                      <a:pt x="506" y="314"/>
                    </a:lnTo>
                    <a:lnTo>
                      <a:pt x="506" y="314"/>
                    </a:lnTo>
                    <a:close/>
                    <a:moveTo>
                      <a:pt x="693" y="493"/>
                    </a:moveTo>
                    <a:lnTo>
                      <a:pt x="695" y="491"/>
                    </a:lnTo>
                    <a:lnTo>
                      <a:pt x="697" y="493"/>
                    </a:lnTo>
                    <a:lnTo>
                      <a:pt x="695" y="495"/>
                    </a:lnTo>
                    <a:lnTo>
                      <a:pt x="693" y="493"/>
                    </a:lnTo>
                    <a:lnTo>
                      <a:pt x="693" y="493"/>
                    </a:lnTo>
                    <a:lnTo>
                      <a:pt x="693" y="493"/>
                    </a:lnTo>
                    <a:lnTo>
                      <a:pt x="693" y="493"/>
                    </a:lnTo>
                    <a:close/>
                    <a:moveTo>
                      <a:pt x="676" y="550"/>
                    </a:moveTo>
                    <a:lnTo>
                      <a:pt x="680" y="546"/>
                    </a:lnTo>
                    <a:lnTo>
                      <a:pt x="682" y="548"/>
                    </a:lnTo>
                    <a:lnTo>
                      <a:pt x="676" y="550"/>
                    </a:lnTo>
                    <a:lnTo>
                      <a:pt x="676" y="550"/>
                    </a:lnTo>
                    <a:lnTo>
                      <a:pt x="676" y="550"/>
                    </a:lnTo>
                    <a:lnTo>
                      <a:pt x="676" y="550"/>
                    </a:lnTo>
                    <a:close/>
                    <a:moveTo>
                      <a:pt x="717" y="538"/>
                    </a:moveTo>
                    <a:lnTo>
                      <a:pt x="719" y="538"/>
                    </a:lnTo>
                    <a:lnTo>
                      <a:pt x="723" y="538"/>
                    </a:lnTo>
                    <a:lnTo>
                      <a:pt x="719" y="542"/>
                    </a:lnTo>
                    <a:lnTo>
                      <a:pt x="717" y="542"/>
                    </a:lnTo>
                    <a:lnTo>
                      <a:pt x="717" y="538"/>
                    </a:lnTo>
                    <a:lnTo>
                      <a:pt x="717" y="538"/>
                    </a:lnTo>
                    <a:lnTo>
                      <a:pt x="717" y="538"/>
                    </a:lnTo>
                    <a:lnTo>
                      <a:pt x="717" y="538"/>
                    </a:lnTo>
                    <a:close/>
                    <a:moveTo>
                      <a:pt x="687" y="502"/>
                    </a:moveTo>
                    <a:lnTo>
                      <a:pt x="687" y="499"/>
                    </a:lnTo>
                    <a:lnTo>
                      <a:pt x="689" y="499"/>
                    </a:lnTo>
                    <a:lnTo>
                      <a:pt x="689" y="502"/>
                    </a:lnTo>
                    <a:lnTo>
                      <a:pt x="687" y="502"/>
                    </a:lnTo>
                    <a:lnTo>
                      <a:pt x="687" y="502"/>
                    </a:lnTo>
                    <a:lnTo>
                      <a:pt x="687" y="502"/>
                    </a:lnTo>
                    <a:lnTo>
                      <a:pt x="687" y="502"/>
                    </a:lnTo>
                    <a:close/>
                    <a:moveTo>
                      <a:pt x="693" y="518"/>
                    </a:moveTo>
                    <a:lnTo>
                      <a:pt x="693" y="512"/>
                    </a:lnTo>
                    <a:lnTo>
                      <a:pt x="693" y="508"/>
                    </a:lnTo>
                    <a:lnTo>
                      <a:pt x="695" y="508"/>
                    </a:lnTo>
                    <a:lnTo>
                      <a:pt x="695" y="512"/>
                    </a:lnTo>
                    <a:lnTo>
                      <a:pt x="698" y="512"/>
                    </a:lnTo>
                    <a:lnTo>
                      <a:pt x="698" y="518"/>
                    </a:lnTo>
                    <a:lnTo>
                      <a:pt x="697" y="518"/>
                    </a:lnTo>
                    <a:lnTo>
                      <a:pt x="693" y="518"/>
                    </a:lnTo>
                    <a:lnTo>
                      <a:pt x="693" y="518"/>
                    </a:lnTo>
                    <a:lnTo>
                      <a:pt x="693" y="518"/>
                    </a:lnTo>
                    <a:lnTo>
                      <a:pt x="693" y="518"/>
                    </a:lnTo>
                    <a:close/>
                    <a:moveTo>
                      <a:pt x="661" y="529"/>
                    </a:moveTo>
                    <a:lnTo>
                      <a:pt x="665" y="529"/>
                    </a:lnTo>
                    <a:lnTo>
                      <a:pt x="665" y="529"/>
                    </a:lnTo>
                    <a:lnTo>
                      <a:pt x="665" y="527"/>
                    </a:lnTo>
                    <a:lnTo>
                      <a:pt x="672" y="521"/>
                    </a:lnTo>
                    <a:lnTo>
                      <a:pt x="676" y="521"/>
                    </a:lnTo>
                    <a:lnTo>
                      <a:pt x="680" y="518"/>
                    </a:lnTo>
                    <a:lnTo>
                      <a:pt x="682" y="518"/>
                    </a:lnTo>
                    <a:lnTo>
                      <a:pt x="685" y="512"/>
                    </a:lnTo>
                    <a:lnTo>
                      <a:pt x="687" y="514"/>
                    </a:lnTo>
                    <a:lnTo>
                      <a:pt x="685" y="518"/>
                    </a:lnTo>
                    <a:lnTo>
                      <a:pt x="687" y="518"/>
                    </a:lnTo>
                    <a:lnTo>
                      <a:pt x="685" y="519"/>
                    </a:lnTo>
                    <a:lnTo>
                      <a:pt x="682" y="519"/>
                    </a:lnTo>
                    <a:lnTo>
                      <a:pt x="676" y="527"/>
                    </a:lnTo>
                    <a:lnTo>
                      <a:pt x="672" y="529"/>
                    </a:lnTo>
                    <a:lnTo>
                      <a:pt x="672" y="529"/>
                    </a:lnTo>
                    <a:lnTo>
                      <a:pt x="670" y="533"/>
                    </a:lnTo>
                    <a:lnTo>
                      <a:pt x="668" y="529"/>
                    </a:lnTo>
                    <a:lnTo>
                      <a:pt x="665" y="533"/>
                    </a:lnTo>
                    <a:lnTo>
                      <a:pt x="661" y="533"/>
                    </a:lnTo>
                    <a:lnTo>
                      <a:pt x="661" y="529"/>
                    </a:lnTo>
                    <a:lnTo>
                      <a:pt x="661" y="529"/>
                    </a:lnTo>
                    <a:lnTo>
                      <a:pt x="661" y="529"/>
                    </a:lnTo>
                    <a:lnTo>
                      <a:pt x="661" y="529"/>
                    </a:lnTo>
                    <a:close/>
                    <a:moveTo>
                      <a:pt x="661" y="523"/>
                    </a:moveTo>
                    <a:lnTo>
                      <a:pt x="665" y="519"/>
                    </a:lnTo>
                    <a:lnTo>
                      <a:pt x="665" y="523"/>
                    </a:lnTo>
                    <a:lnTo>
                      <a:pt x="661" y="525"/>
                    </a:lnTo>
                    <a:lnTo>
                      <a:pt x="661" y="525"/>
                    </a:lnTo>
                    <a:lnTo>
                      <a:pt x="661" y="523"/>
                    </a:lnTo>
                    <a:lnTo>
                      <a:pt x="661" y="523"/>
                    </a:lnTo>
                    <a:lnTo>
                      <a:pt x="661" y="523"/>
                    </a:lnTo>
                    <a:lnTo>
                      <a:pt x="661" y="523"/>
                    </a:lnTo>
                    <a:close/>
                    <a:moveTo>
                      <a:pt x="670" y="514"/>
                    </a:moveTo>
                    <a:lnTo>
                      <a:pt x="676" y="508"/>
                    </a:lnTo>
                    <a:lnTo>
                      <a:pt x="676" y="508"/>
                    </a:lnTo>
                    <a:lnTo>
                      <a:pt x="678" y="504"/>
                    </a:lnTo>
                    <a:lnTo>
                      <a:pt x="680" y="504"/>
                    </a:lnTo>
                    <a:lnTo>
                      <a:pt x="682" y="508"/>
                    </a:lnTo>
                    <a:lnTo>
                      <a:pt x="678" y="508"/>
                    </a:lnTo>
                    <a:lnTo>
                      <a:pt x="678" y="512"/>
                    </a:lnTo>
                    <a:lnTo>
                      <a:pt x="674" y="514"/>
                    </a:lnTo>
                    <a:lnTo>
                      <a:pt x="672" y="518"/>
                    </a:lnTo>
                    <a:lnTo>
                      <a:pt x="670" y="518"/>
                    </a:lnTo>
                    <a:lnTo>
                      <a:pt x="670" y="514"/>
                    </a:lnTo>
                    <a:lnTo>
                      <a:pt x="670" y="514"/>
                    </a:lnTo>
                    <a:lnTo>
                      <a:pt x="670" y="514"/>
                    </a:lnTo>
                    <a:lnTo>
                      <a:pt x="670" y="514"/>
                    </a:lnTo>
                    <a:close/>
                    <a:moveTo>
                      <a:pt x="676" y="491"/>
                    </a:moveTo>
                    <a:lnTo>
                      <a:pt x="678" y="487"/>
                    </a:lnTo>
                    <a:lnTo>
                      <a:pt x="680" y="489"/>
                    </a:lnTo>
                    <a:lnTo>
                      <a:pt x="680" y="491"/>
                    </a:lnTo>
                    <a:lnTo>
                      <a:pt x="680" y="493"/>
                    </a:lnTo>
                    <a:lnTo>
                      <a:pt x="680" y="495"/>
                    </a:lnTo>
                    <a:lnTo>
                      <a:pt x="676" y="491"/>
                    </a:lnTo>
                    <a:lnTo>
                      <a:pt x="676" y="491"/>
                    </a:lnTo>
                    <a:lnTo>
                      <a:pt x="676" y="491"/>
                    </a:lnTo>
                    <a:lnTo>
                      <a:pt x="676" y="491"/>
                    </a:lnTo>
                    <a:close/>
                    <a:moveTo>
                      <a:pt x="454" y="231"/>
                    </a:moveTo>
                    <a:lnTo>
                      <a:pt x="454" y="231"/>
                    </a:lnTo>
                    <a:lnTo>
                      <a:pt x="456" y="231"/>
                    </a:lnTo>
                    <a:lnTo>
                      <a:pt x="459" y="231"/>
                    </a:lnTo>
                    <a:lnTo>
                      <a:pt x="456" y="235"/>
                    </a:lnTo>
                    <a:lnTo>
                      <a:pt x="454" y="231"/>
                    </a:lnTo>
                    <a:lnTo>
                      <a:pt x="454" y="231"/>
                    </a:lnTo>
                    <a:lnTo>
                      <a:pt x="454" y="231"/>
                    </a:lnTo>
                    <a:lnTo>
                      <a:pt x="454" y="231"/>
                    </a:lnTo>
                    <a:close/>
                    <a:moveTo>
                      <a:pt x="382" y="310"/>
                    </a:moveTo>
                    <a:lnTo>
                      <a:pt x="386" y="305"/>
                    </a:lnTo>
                    <a:lnTo>
                      <a:pt x="384" y="301"/>
                    </a:lnTo>
                    <a:lnTo>
                      <a:pt x="380" y="299"/>
                    </a:lnTo>
                    <a:lnTo>
                      <a:pt x="382" y="295"/>
                    </a:lnTo>
                    <a:lnTo>
                      <a:pt x="380" y="290"/>
                    </a:lnTo>
                    <a:lnTo>
                      <a:pt x="377" y="286"/>
                    </a:lnTo>
                    <a:lnTo>
                      <a:pt x="369" y="286"/>
                    </a:lnTo>
                    <a:lnTo>
                      <a:pt x="369" y="286"/>
                    </a:lnTo>
                    <a:lnTo>
                      <a:pt x="365" y="290"/>
                    </a:lnTo>
                    <a:lnTo>
                      <a:pt x="362" y="284"/>
                    </a:lnTo>
                    <a:lnTo>
                      <a:pt x="362" y="278"/>
                    </a:lnTo>
                    <a:lnTo>
                      <a:pt x="369" y="271"/>
                    </a:lnTo>
                    <a:lnTo>
                      <a:pt x="373" y="265"/>
                    </a:lnTo>
                    <a:lnTo>
                      <a:pt x="375" y="265"/>
                    </a:lnTo>
                    <a:lnTo>
                      <a:pt x="375" y="271"/>
                    </a:lnTo>
                    <a:lnTo>
                      <a:pt x="373" y="273"/>
                    </a:lnTo>
                    <a:lnTo>
                      <a:pt x="378" y="275"/>
                    </a:lnTo>
                    <a:lnTo>
                      <a:pt x="378" y="278"/>
                    </a:lnTo>
                    <a:lnTo>
                      <a:pt x="382" y="278"/>
                    </a:lnTo>
                    <a:lnTo>
                      <a:pt x="384" y="276"/>
                    </a:lnTo>
                    <a:lnTo>
                      <a:pt x="390" y="276"/>
                    </a:lnTo>
                    <a:lnTo>
                      <a:pt x="394" y="280"/>
                    </a:lnTo>
                    <a:lnTo>
                      <a:pt x="394" y="284"/>
                    </a:lnTo>
                    <a:lnTo>
                      <a:pt x="394" y="286"/>
                    </a:lnTo>
                    <a:lnTo>
                      <a:pt x="394" y="290"/>
                    </a:lnTo>
                    <a:lnTo>
                      <a:pt x="397" y="291"/>
                    </a:lnTo>
                    <a:lnTo>
                      <a:pt x="397" y="295"/>
                    </a:lnTo>
                    <a:lnTo>
                      <a:pt x="405" y="303"/>
                    </a:lnTo>
                    <a:lnTo>
                      <a:pt x="405" y="305"/>
                    </a:lnTo>
                    <a:lnTo>
                      <a:pt x="403" y="308"/>
                    </a:lnTo>
                    <a:lnTo>
                      <a:pt x="397" y="305"/>
                    </a:lnTo>
                    <a:lnTo>
                      <a:pt x="395" y="305"/>
                    </a:lnTo>
                    <a:lnTo>
                      <a:pt x="394" y="307"/>
                    </a:lnTo>
                    <a:lnTo>
                      <a:pt x="390" y="308"/>
                    </a:lnTo>
                    <a:lnTo>
                      <a:pt x="386" y="312"/>
                    </a:lnTo>
                    <a:lnTo>
                      <a:pt x="382" y="310"/>
                    </a:lnTo>
                    <a:lnTo>
                      <a:pt x="382" y="310"/>
                    </a:lnTo>
                    <a:lnTo>
                      <a:pt x="382" y="310"/>
                    </a:lnTo>
                    <a:lnTo>
                      <a:pt x="382" y="310"/>
                    </a:lnTo>
                    <a:close/>
                    <a:moveTo>
                      <a:pt x="356" y="437"/>
                    </a:moveTo>
                    <a:lnTo>
                      <a:pt x="363" y="437"/>
                    </a:lnTo>
                    <a:lnTo>
                      <a:pt x="365" y="438"/>
                    </a:lnTo>
                    <a:lnTo>
                      <a:pt x="369" y="438"/>
                    </a:lnTo>
                    <a:lnTo>
                      <a:pt x="373" y="438"/>
                    </a:lnTo>
                    <a:lnTo>
                      <a:pt x="377" y="435"/>
                    </a:lnTo>
                    <a:lnTo>
                      <a:pt x="382" y="435"/>
                    </a:lnTo>
                    <a:lnTo>
                      <a:pt x="382" y="437"/>
                    </a:lnTo>
                    <a:lnTo>
                      <a:pt x="386" y="440"/>
                    </a:lnTo>
                    <a:lnTo>
                      <a:pt x="388" y="444"/>
                    </a:lnTo>
                    <a:lnTo>
                      <a:pt x="384" y="448"/>
                    </a:lnTo>
                    <a:lnTo>
                      <a:pt x="382" y="453"/>
                    </a:lnTo>
                    <a:lnTo>
                      <a:pt x="377" y="453"/>
                    </a:lnTo>
                    <a:lnTo>
                      <a:pt x="373" y="450"/>
                    </a:lnTo>
                    <a:lnTo>
                      <a:pt x="369" y="453"/>
                    </a:lnTo>
                    <a:lnTo>
                      <a:pt x="365" y="450"/>
                    </a:lnTo>
                    <a:lnTo>
                      <a:pt x="363" y="450"/>
                    </a:lnTo>
                    <a:lnTo>
                      <a:pt x="360" y="444"/>
                    </a:lnTo>
                    <a:lnTo>
                      <a:pt x="356" y="437"/>
                    </a:lnTo>
                    <a:lnTo>
                      <a:pt x="356" y="437"/>
                    </a:lnTo>
                    <a:lnTo>
                      <a:pt x="356" y="437"/>
                    </a:lnTo>
                    <a:lnTo>
                      <a:pt x="356" y="437"/>
                    </a:lnTo>
                    <a:close/>
                    <a:moveTo>
                      <a:pt x="602" y="493"/>
                    </a:moveTo>
                    <a:lnTo>
                      <a:pt x="606" y="487"/>
                    </a:lnTo>
                    <a:lnTo>
                      <a:pt x="610" y="487"/>
                    </a:lnTo>
                    <a:lnTo>
                      <a:pt x="610" y="491"/>
                    </a:lnTo>
                    <a:lnTo>
                      <a:pt x="606" y="493"/>
                    </a:lnTo>
                    <a:lnTo>
                      <a:pt x="602" y="493"/>
                    </a:lnTo>
                    <a:lnTo>
                      <a:pt x="602" y="493"/>
                    </a:lnTo>
                    <a:lnTo>
                      <a:pt x="602" y="493"/>
                    </a:lnTo>
                    <a:lnTo>
                      <a:pt x="602" y="493"/>
                    </a:lnTo>
                    <a:close/>
                    <a:moveTo>
                      <a:pt x="563" y="519"/>
                    </a:moveTo>
                    <a:lnTo>
                      <a:pt x="567" y="519"/>
                    </a:lnTo>
                    <a:lnTo>
                      <a:pt x="569" y="519"/>
                    </a:lnTo>
                    <a:lnTo>
                      <a:pt x="567" y="521"/>
                    </a:lnTo>
                    <a:lnTo>
                      <a:pt x="563" y="519"/>
                    </a:lnTo>
                    <a:lnTo>
                      <a:pt x="563" y="519"/>
                    </a:lnTo>
                    <a:lnTo>
                      <a:pt x="563" y="519"/>
                    </a:lnTo>
                    <a:lnTo>
                      <a:pt x="563" y="519"/>
                    </a:lnTo>
                    <a:close/>
                    <a:moveTo>
                      <a:pt x="563" y="551"/>
                    </a:moveTo>
                    <a:lnTo>
                      <a:pt x="565" y="551"/>
                    </a:lnTo>
                    <a:lnTo>
                      <a:pt x="569" y="551"/>
                    </a:lnTo>
                    <a:lnTo>
                      <a:pt x="567" y="553"/>
                    </a:lnTo>
                    <a:lnTo>
                      <a:pt x="565" y="557"/>
                    </a:lnTo>
                    <a:lnTo>
                      <a:pt x="563" y="555"/>
                    </a:lnTo>
                    <a:lnTo>
                      <a:pt x="563" y="551"/>
                    </a:lnTo>
                    <a:lnTo>
                      <a:pt x="563" y="551"/>
                    </a:lnTo>
                    <a:lnTo>
                      <a:pt x="563" y="551"/>
                    </a:lnTo>
                    <a:lnTo>
                      <a:pt x="563" y="551"/>
                    </a:lnTo>
                    <a:close/>
                    <a:moveTo>
                      <a:pt x="550" y="568"/>
                    </a:moveTo>
                    <a:lnTo>
                      <a:pt x="548" y="568"/>
                    </a:lnTo>
                    <a:lnTo>
                      <a:pt x="550" y="566"/>
                    </a:lnTo>
                    <a:lnTo>
                      <a:pt x="552" y="568"/>
                    </a:lnTo>
                    <a:lnTo>
                      <a:pt x="552" y="566"/>
                    </a:lnTo>
                    <a:lnTo>
                      <a:pt x="555" y="568"/>
                    </a:lnTo>
                    <a:lnTo>
                      <a:pt x="557" y="563"/>
                    </a:lnTo>
                    <a:lnTo>
                      <a:pt x="555" y="563"/>
                    </a:lnTo>
                    <a:lnTo>
                      <a:pt x="557" y="559"/>
                    </a:lnTo>
                    <a:lnTo>
                      <a:pt x="561" y="559"/>
                    </a:lnTo>
                    <a:lnTo>
                      <a:pt x="563" y="559"/>
                    </a:lnTo>
                    <a:lnTo>
                      <a:pt x="563" y="563"/>
                    </a:lnTo>
                    <a:lnTo>
                      <a:pt x="563" y="563"/>
                    </a:lnTo>
                    <a:lnTo>
                      <a:pt x="565" y="561"/>
                    </a:lnTo>
                    <a:lnTo>
                      <a:pt x="567" y="561"/>
                    </a:lnTo>
                    <a:lnTo>
                      <a:pt x="569" y="563"/>
                    </a:lnTo>
                    <a:lnTo>
                      <a:pt x="567" y="563"/>
                    </a:lnTo>
                    <a:lnTo>
                      <a:pt x="565" y="568"/>
                    </a:lnTo>
                    <a:lnTo>
                      <a:pt x="569" y="568"/>
                    </a:lnTo>
                    <a:lnTo>
                      <a:pt x="569" y="572"/>
                    </a:lnTo>
                    <a:lnTo>
                      <a:pt x="567" y="572"/>
                    </a:lnTo>
                    <a:lnTo>
                      <a:pt x="565" y="568"/>
                    </a:lnTo>
                    <a:lnTo>
                      <a:pt x="561" y="572"/>
                    </a:lnTo>
                    <a:lnTo>
                      <a:pt x="561" y="572"/>
                    </a:lnTo>
                    <a:lnTo>
                      <a:pt x="557" y="572"/>
                    </a:lnTo>
                    <a:lnTo>
                      <a:pt x="555" y="572"/>
                    </a:lnTo>
                    <a:lnTo>
                      <a:pt x="552" y="572"/>
                    </a:lnTo>
                    <a:lnTo>
                      <a:pt x="550" y="568"/>
                    </a:lnTo>
                    <a:lnTo>
                      <a:pt x="550" y="568"/>
                    </a:lnTo>
                    <a:lnTo>
                      <a:pt x="550" y="568"/>
                    </a:lnTo>
                    <a:lnTo>
                      <a:pt x="550" y="568"/>
                    </a:lnTo>
                    <a:close/>
                    <a:moveTo>
                      <a:pt x="510" y="608"/>
                    </a:moveTo>
                    <a:lnTo>
                      <a:pt x="508" y="610"/>
                    </a:lnTo>
                    <a:lnTo>
                      <a:pt x="506" y="610"/>
                    </a:lnTo>
                    <a:lnTo>
                      <a:pt x="506" y="610"/>
                    </a:lnTo>
                    <a:lnTo>
                      <a:pt x="506" y="606"/>
                    </a:lnTo>
                    <a:lnTo>
                      <a:pt x="506" y="602"/>
                    </a:lnTo>
                    <a:lnTo>
                      <a:pt x="506" y="599"/>
                    </a:lnTo>
                    <a:lnTo>
                      <a:pt x="506" y="593"/>
                    </a:lnTo>
                    <a:lnTo>
                      <a:pt x="506" y="593"/>
                    </a:lnTo>
                    <a:lnTo>
                      <a:pt x="506" y="591"/>
                    </a:lnTo>
                    <a:lnTo>
                      <a:pt x="512" y="587"/>
                    </a:lnTo>
                    <a:lnTo>
                      <a:pt x="520" y="583"/>
                    </a:lnTo>
                    <a:lnTo>
                      <a:pt x="525" y="583"/>
                    </a:lnTo>
                    <a:lnTo>
                      <a:pt x="525" y="583"/>
                    </a:lnTo>
                    <a:lnTo>
                      <a:pt x="527" y="591"/>
                    </a:lnTo>
                    <a:lnTo>
                      <a:pt x="527" y="591"/>
                    </a:lnTo>
                    <a:lnTo>
                      <a:pt x="531" y="587"/>
                    </a:lnTo>
                    <a:lnTo>
                      <a:pt x="527" y="583"/>
                    </a:lnTo>
                    <a:lnTo>
                      <a:pt x="531" y="583"/>
                    </a:lnTo>
                    <a:lnTo>
                      <a:pt x="531" y="585"/>
                    </a:lnTo>
                    <a:lnTo>
                      <a:pt x="533" y="582"/>
                    </a:lnTo>
                    <a:lnTo>
                      <a:pt x="531" y="580"/>
                    </a:lnTo>
                    <a:lnTo>
                      <a:pt x="531" y="578"/>
                    </a:lnTo>
                    <a:lnTo>
                      <a:pt x="533" y="574"/>
                    </a:lnTo>
                    <a:lnTo>
                      <a:pt x="535" y="574"/>
                    </a:lnTo>
                    <a:lnTo>
                      <a:pt x="537" y="576"/>
                    </a:lnTo>
                    <a:lnTo>
                      <a:pt x="537" y="580"/>
                    </a:lnTo>
                    <a:lnTo>
                      <a:pt x="537" y="582"/>
                    </a:lnTo>
                    <a:lnTo>
                      <a:pt x="537" y="583"/>
                    </a:lnTo>
                    <a:lnTo>
                      <a:pt x="538" y="583"/>
                    </a:lnTo>
                    <a:lnTo>
                      <a:pt x="540" y="580"/>
                    </a:lnTo>
                    <a:lnTo>
                      <a:pt x="542" y="580"/>
                    </a:lnTo>
                    <a:lnTo>
                      <a:pt x="544" y="582"/>
                    </a:lnTo>
                    <a:lnTo>
                      <a:pt x="544" y="578"/>
                    </a:lnTo>
                    <a:lnTo>
                      <a:pt x="542" y="574"/>
                    </a:lnTo>
                    <a:lnTo>
                      <a:pt x="544" y="574"/>
                    </a:lnTo>
                    <a:lnTo>
                      <a:pt x="548" y="576"/>
                    </a:lnTo>
                    <a:lnTo>
                      <a:pt x="548" y="578"/>
                    </a:lnTo>
                    <a:lnTo>
                      <a:pt x="546" y="580"/>
                    </a:lnTo>
                    <a:lnTo>
                      <a:pt x="546" y="582"/>
                    </a:lnTo>
                    <a:lnTo>
                      <a:pt x="548" y="582"/>
                    </a:lnTo>
                    <a:lnTo>
                      <a:pt x="552" y="578"/>
                    </a:lnTo>
                    <a:lnTo>
                      <a:pt x="555" y="578"/>
                    </a:lnTo>
                    <a:lnTo>
                      <a:pt x="557" y="578"/>
                    </a:lnTo>
                    <a:lnTo>
                      <a:pt x="557" y="582"/>
                    </a:lnTo>
                    <a:lnTo>
                      <a:pt x="555" y="583"/>
                    </a:lnTo>
                    <a:lnTo>
                      <a:pt x="552" y="583"/>
                    </a:lnTo>
                    <a:lnTo>
                      <a:pt x="552" y="585"/>
                    </a:lnTo>
                    <a:lnTo>
                      <a:pt x="555" y="587"/>
                    </a:lnTo>
                    <a:lnTo>
                      <a:pt x="555" y="589"/>
                    </a:lnTo>
                    <a:lnTo>
                      <a:pt x="552" y="593"/>
                    </a:lnTo>
                    <a:lnTo>
                      <a:pt x="550" y="593"/>
                    </a:lnTo>
                    <a:lnTo>
                      <a:pt x="550" y="591"/>
                    </a:lnTo>
                    <a:lnTo>
                      <a:pt x="546" y="591"/>
                    </a:lnTo>
                    <a:lnTo>
                      <a:pt x="544" y="591"/>
                    </a:lnTo>
                    <a:lnTo>
                      <a:pt x="542" y="591"/>
                    </a:lnTo>
                    <a:lnTo>
                      <a:pt x="540" y="593"/>
                    </a:lnTo>
                    <a:lnTo>
                      <a:pt x="544" y="593"/>
                    </a:lnTo>
                    <a:lnTo>
                      <a:pt x="546" y="599"/>
                    </a:lnTo>
                    <a:lnTo>
                      <a:pt x="542" y="599"/>
                    </a:lnTo>
                    <a:lnTo>
                      <a:pt x="540" y="599"/>
                    </a:lnTo>
                    <a:lnTo>
                      <a:pt x="537" y="597"/>
                    </a:lnTo>
                    <a:lnTo>
                      <a:pt x="533" y="597"/>
                    </a:lnTo>
                    <a:lnTo>
                      <a:pt x="531" y="599"/>
                    </a:lnTo>
                    <a:lnTo>
                      <a:pt x="533" y="599"/>
                    </a:lnTo>
                    <a:lnTo>
                      <a:pt x="535" y="602"/>
                    </a:lnTo>
                    <a:lnTo>
                      <a:pt x="533" y="602"/>
                    </a:lnTo>
                    <a:lnTo>
                      <a:pt x="531" y="602"/>
                    </a:lnTo>
                    <a:lnTo>
                      <a:pt x="527" y="602"/>
                    </a:lnTo>
                    <a:lnTo>
                      <a:pt x="525" y="602"/>
                    </a:lnTo>
                    <a:lnTo>
                      <a:pt x="523" y="606"/>
                    </a:lnTo>
                    <a:lnTo>
                      <a:pt x="522" y="606"/>
                    </a:lnTo>
                    <a:lnTo>
                      <a:pt x="520" y="608"/>
                    </a:lnTo>
                    <a:lnTo>
                      <a:pt x="522" y="610"/>
                    </a:lnTo>
                    <a:lnTo>
                      <a:pt x="516" y="612"/>
                    </a:lnTo>
                    <a:lnTo>
                      <a:pt x="516" y="615"/>
                    </a:lnTo>
                    <a:lnTo>
                      <a:pt x="514" y="615"/>
                    </a:lnTo>
                    <a:lnTo>
                      <a:pt x="512" y="619"/>
                    </a:lnTo>
                    <a:lnTo>
                      <a:pt x="508" y="617"/>
                    </a:lnTo>
                    <a:lnTo>
                      <a:pt x="508" y="615"/>
                    </a:lnTo>
                    <a:lnTo>
                      <a:pt x="516" y="610"/>
                    </a:lnTo>
                    <a:lnTo>
                      <a:pt x="516" y="608"/>
                    </a:lnTo>
                    <a:lnTo>
                      <a:pt x="518" y="606"/>
                    </a:lnTo>
                    <a:lnTo>
                      <a:pt x="516" y="606"/>
                    </a:lnTo>
                    <a:lnTo>
                      <a:pt x="514" y="608"/>
                    </a:lnTo>
                    <a:lnTo>
                      <a:pt x="512" y="606"/>
                    </a:lnTo>
                    <a:lnTo>
                      <a:pt x="514" y="606"/>
                    </a:lnTo>
                    <a:lnTo>
                      <a:pt x="508" y="606"/>
                    </a:lnTo>
                    <a:lnTo>
                      <a:pt x="506" y="606"/>
                    </a:lnTo>
                    <a:lnTo>
                      <a:pt x="508" y="606"/>
                    </a:lnTo>
                    <a:lnTo>
                      <a:pt x="510" y="608"/>
                    </a:lnTo>
                    <a:lnTo>
                      <a:pt x="510" y="608"/>
                    </a:lnTo>
                    <a:lnTo>
                      <a:pt x="510" y="608"/>
                    </a:lnTo>
                    <a:lnTo>
                      <a:pt x="510" y="608"/>
                    </a:lnTo>
                    <a:close/>
                    <a:moveTo>
                      <a:pt x="503" y="623"/>
                    </a:moveTo>
                    <a:lnTo>
                      <a:pt x="506" y="623"/>
                    </a:lnTo>
                    <a:lnTo>
                      <a:pt x="503" y="623"/>
                    </a:lnTo>
                    <a:lnTo>
                      <a:pt x="503" y="623"/>
                    </a:lnTo>
                    <a:lnTo>
                      <a:pt x="503" y="623"/>
                    </a:lnTo>
                    <a:lnTo>
                      <a:pt x="503" y="623"/>
                    </a:lnTo>
                    <a:lnTo>
                      <a:pt x="503" y="623"/>
                    </a:lnTo>
                    <a:close/>
                    <a:moveTo>
                      <a:pt x="493" y="627"/>
                    </a:moveTo>
                    <a:lnTo>
                      <a:pt x="493" y="623"/>
                    </a:lnTo>
                    <a:lnTo>
                      <a:pt x="503" y="619"/>
                    </a:lnTo>
                    <a:lnTo>
                      <a:pt x="497" y="627"/>
                    </a:lnTo>
                    <a:lnTo>
                      <a:pt x="493" y="627"/>
                    </a:lnTo>
                    <a:lnTo>
                      <a:pt x="493" y="627"/>
                    </a:lnTo>
                    <a:lnTo>
                      <a:pt x="493" y="627"/>
                    </a:lnTo>
                    <a:lnTo>
                      <a:pt x="493" y="627"/>
                    </a:lnTo>
                    <a:close/>
                    <a:moveTo>
                      <a:pt x="469" y="647"/>
                    </a:moveTo>
                    <a:lnTo>
                      <a:pt x="467" y="647"/>
                    </a:lnTo>
                    <a:lnTo>
                      <a:pt x="467" y="646"/>
                    </a:lnTo>
                    <a:lnTo>
                      <a:pt x="469" y="644"/>
                    </a:lnTo>
                    <a:lnTo>
                      <a:pt x="469" y="647"/>
                    </a:lnTo>
                    <a:lnTo>
                      <a:pt x="469" y="647"/>
                    </a:lnTo>
                    <a:lnTo>
                      <a:pt x="469" y="647"/>
                    </a:lnTo>
                    <a:lnTo>
                      <a:pt x="469" y="647"/>
                    </a:lnTo>
                    <a:lnTo>
                      <a:pt x="469" y="647"/>
                    </a:lnTo>
                    <a:close/>
                    <a:moveTo>
                      <a:pt x="454" y="614"/>
                    </a:moveTo>
                    <a:lnTo>
                      <a:pt x="458" y="614"/>
                    </a:lnTo>
                    <a:lnTo>
                      <a:pt x="459" y="615"/>
                    </a:lnTo>
                    <a:lnTo>
                      <a:pt x="458" y="617"/>
                    </a:lnTo>
                    <a:lnTo>
                      <a:pt x="454" y="614"/>
                    </a:lnTo>
                    <a:lnTo>
                      <a:pt x="454" y="614"/>
                    </a:lnTo>
                    <a:lnTo>
                      <a:pt x="454" y="614"/>
                    </a:lnTo>
                    <a:lnTo>
                      <a:pt x="454" y="614"/>
                    </a:lnTo>
                    <a:close/>
                    <a:moveTo>
                      <a:pt x="382" y="647"/>
                    </a:moveTo>
                    <a:lnTo>
                      <a:pt x="382" y="647"/>
                    </a:lnTo>
                    <a:lnTo>
                      <a:pt x="384" y="646"/>
                    </a:lnTo>
                    <a:lnTo>
                      <a:pt x="384" y="647"/>
                    </a:lnTo>
                    <a:lnTo>
                      <a:pt x="382" y="647"/>
                    </a:lnTo>
                    <a:lnTo>
                      <a:pt x="382" y="647"/>
                    </a:lnTo>
                    <a:lnTo>
                      <a:pt x="382" y="647"/>
                    </a:lnTo>
                    <a:lnTo>
                      <a:pt x="382" y="647"/>
                    </a:lnTo>
                    <a:close/>
                    <a:moveTo>
                      <a:pt x="378" y="649"/>
                    </a:moveTo>
                    <a:lnTo>
                      <a:pt x="380" y="649"/>
                    </a:lnTo>
                    <a:lnTo>
                      <a:pt x="378" y="651"/>
                    </a:lnTo>
                    <a:lnTo>
                      <a:pt x="378" y="649"/>
                    </a:lnTo>
                    <a:lnTo>
                      <a:pt x="378" y="649"/>
                    </a:lnTo>
                    <a:lnTo>
                      <a:pt x="378" y="649"/>
                    </a:lnTo>
                    <a:lnTo>
                      <a:pt x="378" y="649"/>
                    </a:lnTo>
                    <a:close/>
                    <a:moveTo>
                      <a:pt x="394" y="663"/>
                    </a:moveTo>
                    <a:lnTo>
                      <a:pt x="394" y="666"/>
                    </a:lnTo>
                    <a:lnTo>
                      <a:pt x="394" y="666"/>
                    </a:lnTo>
                    <a:lnTo>
                      <a:pt x="394" y="663"/>
                    </a:lnTo>
                    <a:lnTo>
                      <a:pt x="394" y="663"/>
                    </a:lnTo>
                    <a:lnTo>
                      <a:pt x="394" y="663"/>
                    </a:lnTo>
                    <a:lnTo>
                      <a:pt x="394" y="663"/>
                    </a:lnTo>
                    <a:lnTo>
                      <a:pt x="394" y="663"/>
                    </a:lnTo>
                    <a:close/>
                    <a:moveTo>
                      <a:pt x="390" y="663"/>
                    </a:moveTo>
                    <a:lnTo>
                      <a:pt x="394" y="657"/>
                    </a:lnTo>
                    <a:lnTo>
                      <a:pt x="394" y="661"/>
                    </a:lnTo>
                    <a:lnTo>
                      <a:pt x="394" y="661"/>
                    </a:lnTo>
                    <a:lnTo>
                      <a:pt x="390" y="663"/>
                    </a:lnTo>
                    <a:lnTo>
                      <a:pt x="390" y="663"/>
                    </a:lnTo>
                    <a:lnTo>
                      <a:pt x="390" y="663"/>
                    </a:lnTo>
                    <a:lnTo>
                      <a:pt x="390" y="663"/>
                    </a:lnTo>
                    <a:close/>
                    <a:moveTo>
                      <a:pt x="377" y="666"/>
                    </a:moveTo>
                    <a:lnTo>
                      <a:pt x="378" y="661"/>
                    </a:lnTo>
                    <a:lnTo>
                      <a:pt x="382" y="657"/>
                    </a:lnTo>
                    <a:lnTo>
                      <a:pt x="382" y="657"/>
                    </a:lnTo>
                    <a:lnTo>
                      <a:pt x="388" y="655"/>
                    </a:lnTo>
                    <a:lnTo>
                      <a:pt x="384" y="657"/>
                    </a:lnTo>
                    <a:lnTo>
                      <a:pt x="384" y="661"/>
                    </a:lnTo>
                    <a:lnTo>
                      <a:pt x="378" y="663"/>
                    </a:lnTo>
                    <a:lnTo>
                      <a:pt x="377" y="666"/>
                    </a:lnTo>
                    <a:lnTo>
                      <a:pt x="377" y="666"/>
                    </a:lnTo>
                    <a:lnTo>
                      <a:pt x="377" y="666"/>
                    </a:lnTo>
                    <a:lnTo>
                      <a:pt x="377" y="666"/>
                    </a:lnTo>
                    <a:close/>
                    <a:moveTo>
                      <a:pt x="371" y="655"/>
                    </a:moveTo>
                    <a:lnTo>
                      <a:pt x="369" y="651"/>
                    </a:lnTo>
                    <a:lnTo>
                      <a:pt x="371" y="649"/>
                    </a:lnTo>
                    <a:lnTo>
                      <a:pt x="373" y="647"/>
                    </a:lnTo>
                    <a:lnTo>
                      <a:pt x="375" y="649"/>
                    </a:lnTo>
                    <a:lnTo>
                      <a:pt x="375" y="653"/>
                    </a:lnTo>
                    <a:lnTo>
                      <a:pt x="373" y="655"/>
                    </a:lnTo>
                    <a:lnTo>
                      <a:pt x="371" y="655"/>
                    </a:lnTo>
                    <a:lnTo>
                      <a:pt x="371" y="655"/>
                    </a:lnTo>
                    <a:lnTo>
                      <a:pt x="371" y="655"/>
                    </a:lnTo>
                    <a:lnTo>
                      <a:pt x="371" y="655"/>
                    </a:lnTo>
                    <a:close/>
                    <a:moveTo>
                      <a:pt x="354" y="653"/>
                    </a:moveTo>
                    <a:lnTo>
                      <a:pt x="356" y="651"/>
                    </a:lnTo>
                    <a:lnTo>
                      <a:pt x="356" y="655"/>
                    </a:lnTo>
                    <a:lnTo>
                      <a:pt x="354" y="657"/>
                    </a:lnTo>
                    <a:lnTo>
                      <a:pt x="354" y="653"/>
                    </a:lnTo>
                    <a:lnTo>
                      <a:pt x="354" y="653"/>
                    </a:lnTo>
                    <a:lnTo>
                      <a:pt x="354" y="653"/>
                    </a:lnTo>
                    <a:lnTo>
                      <a:pt x="354" y="653"/>
                    </a:lnTo>
                    <a:close/>
                    <a:moveTo>
                      <a:pt x="341" y="663"/>
                    </a:moveTo>
                    <a:lnTo>
                      <a:pt x="341" y="657"/>
                    </a:lnTo>
                    <a:lnTo>
                      <a:pt x="345" y="657"/>
                    </a:lnTo>
                    <a:lnTo>
                      <a:pt x="345" y="657"/>
                    </a:lnTo>
                    <a:lnTo>
                      <a:pt x="341" y="663"/>
                    </a:lnTo>
                    <a:lnTo>
                      <a:pt x="341" y="663"/>
                    </a:lnTo>
                    <a:lnTo>
                      <a:pt x="341" y="663"/>
                    </a:lnTo>
                    <a:lnTo>
                      <a:pt x="341" y="663"/>
                    </a:lnTo>
                    <a:close/>
                    <a:moveTo>
                      <a:pt x="328" y="670"/>
                    </a:moveTo>
                    <a:lnTo>
                      <a:pt x="331" y="674"/>
                    </a:lnTo>
                    <a:lnTo>
                      <a:pt x="330" y="674"/>
                    </a:lnTo>
                    <a:lnTo>
                      <a:pt x="326" y="672"/>
                    </a:lnTo>
                    <a:lnTo>
                      <a:pt x="328" y="670"/>
                    </a:lnTo>
                    <a:lnTo>
                      <a:pt x="328" y="670"/>
                    </a:lnTo>
                    <a:lnTo>
                      <a:pt x="328" y="670"/>
                    </a:lnTo>
                    <a:lnTo>
                      <a:pt x="328" y="670"/>
                    </a:lnTo>
                    <a:close/>
                    <a:moveTo>
                      <a:pt x="4" y="734"/>
                    </a:moveTo>
                    <a:lnTo>
                      <a:pt x="0" y="738"/>
                    </a:lnTo>
                    <a:lnTo>
                      <a:pt x="4" y="736"/>
                    </a:lnTo>
                    <a:lnTo>
                      <a:pt x="4" y="734"/>
                    </a:lnTo>
                    <a:lnTo>
                      <a:pt x="4" y="734"/>
                    </a:lnTo>
                    <a:lnTo>
                      <a:pt x="4" y="734"/>
                    </a:lnTo>
                    <a:lnTo>
                      <a:pt x="4" y="734"/>
                    </a:lnTo>
                    <a:close/>
                    <a:moveTo>
                      <a:pt x="6" y="725"/>
                    </a:moveTo>
                    <a:lnTo>
                      <a:pt x="4" y="727"/>
                    </a:lnTo>
                    <a:lnTo>
                      <a:pt x="6" y="730"/>
                    </a:lnTo>
                    <a:lnTo>
                      <a:pt x="8" y="727"/>
                    </a:lnTo>
                    <a:lnTo>
                      <a:pt x="6" y="725"/>
                    </a:lnTo>
                    <a:lnTo>
                      <a:pt x="6" y="725"/>
                    </a:lnTo>
                    <a:lnTo>
                      <a:pt x="6" y="725"/>
                    </a:lnTo>
                    <a:lnTo>
                      <a:pt x="6" y="725"/>
                    </a:lnTo>
                    <a:close/>
                    <a:moveTo>
                      <a:pt x="11" y="717"/>
                    </a:moveTo>
                    <a:lnTo>
                      <a:pt x="11" y="721"/>
                    </a:lnTo>
                    <a:lnTo>
                      <a:pt x="11" y="715"/>
                    </a:lnTo>
                    <a:lnTo>
                      <a:pt x="11" y="717"/>
                    </a:lnTo>
                    <a:lnTo>
                      <a:pt x="11" y="717"/>
                    </a:lnTo>
                    <a:lnTo>
                      <a:pt x="11" y="717"/>
                    </a:lnTo>
                    <a:lnTo>
                      <a:pt x="11" y="717"/>
                    </a:lnTo>
                    <a:close/>
                    <a:moveTo>
                      <a:pt x="32" y="721"/>
                    </a:moveTo>
                    <a:lnTo>
                      <a:pt x="28" y="715"/>
                    </a:lnTo>
                    <a:lnTo>
                      <a:pt x="26" y="715"/>
                    </a:lnTo>
                    <a:lnTo>
                      <a:pt x="23" y="717"/>
                    </a:lnTo>
                    <a:lnTo>
                      <a:pt x="25" y="717"/>
                    </a:lnTo>
                    <a:lnTo>
                      <a:pt x="28" y="721"/>
                    </a:lnTo>
                    <a:lnTo>
                      <a:pt x="25" y="721"/>
                    </a:lnTo>
                    <a:lnTo>
                      <a:pt x="26" y="725"/>
                    </a:lnTo>
                    <a:lnTo>
                      <a:pt x="28" y="725"/>
                    </a:lnTo>
                    <a:lnTo>
                      <a:pt x="32" y="721"/>
                    </a:lnTo>
                    <a:lnTo>
                      <a:pt x="32" y="721"/>
                    </a:lnTo>
                    <a:lnTo>
                      <a:pt x="32" y="721"/>
                    </a:lnTo>
                    <a:lnTo>
                      <a:pt x="32" y="721"/>
                    </a:lnTo>
                    <a:lnTo>
                      <a:pt x="32" y="721"/>
                    </a:lnTo>
                    <a:close/>
                    <a:moveTo>
                      <a:pt x="36" y="727"/>
                    </a:moveTo>
                    <a:lnTo>
                      <a:pt x="36" y="730"/>
                    </a:lnTo>
                    <a:lnTo>
                      <a:pt x="42" y="725"/>
                    </a:lnTo>
                    <a:lnTo>
                      <a:pt x="42" y="721"/>
                    </a:lnTo>
                    <a:lnTo>
                      <a:pt x="45" y="717"/>
                    </a:lnTo>
                    <a:lnTo>
                      <a:pt x="42" y="717"/>
                    </a:lnTo>
                    <a:lnTo>
                      <a:pt x="40" y="721"/>
                    </a:lnTo>
                    <a:lnTo>
                      <a:pt x="40" y="725"/>
                    </a:lnTo>
                    <a:lnTo>
                      <a:pt x="36" y="727"/>
                    </a:lnTo>
                    <a:lnTo>
                      <a:pt x="36" y="727"/>
                    </a:lnTo>
                    <a:lnTo>
                      <a:pt x="36" y="727"/>
                    </a:lnTo>
                    <a:lnTo>
                      <a:pt x="36" y="727"/>
                    </a:lnTo>
                    <a:close/>
                    <a:moveTo>
                      <a:pt x="55" y="725"/>
                    </a:moveTo>
                    <a:lnTo>
                      <a:pt x="53" y="721"/>
                    </a:lnTo>
                    <a:lnTo>
                      <a:pt x="51" y="717"/>
                    </a:lnTo>
                    <a:lnTo>
                      <a:pt x="51" y="725"/>
                    </a:lnTo>
                    <a:lnTo>
                      <a:pt x="47" y="725"/>
                    </a:lnTo>
                    <a:lnTo>
                      <a:pt x="45" y="730"/>
                    </a:lnTo>
                    <a:lnTo>
                      <a:pt x="49" y="730"/>
                    </a:lnTo>
                    <a:lnTo>
                      <a:pt x="55" y="725"/>
                    </a:lnTo>
                    <a:lnTo>
                      <a:pt x="55" y="725"/>
                    </a:lnTo>
                    <a:lnTo>
                      <a:pt x="55" y="725"/>
                    </a:lnTo>
                    <a:lnTo>
                      <a:pt x="55" y="725"/>
                    </a:lnTo>
                    <a:close/>
                    <a:moveTo>
                      <a:pt x="98" y="725"/>
                    </a:moveTo>
                    <a:lnTo>
                      <a:pt x="98" y="721"/>
                    </a:lnTo>
                    <a:lnTo>
                      <a:pt x="102" y="717"/>
                    </a:lnTo>
                    <a:lnTo>
                      <a:pt x="100" y="715"/>
                    </a:lnTo>
                    <a:lnTo>
                      <a:pt x="98" y="713"/>
                    </a:lnTo>
                    <a:lnTo>
                      <a:pt x="94" y="715"/>
                    </a:lnTo>
                    <a:lnTo>
                      <a:pt x="94" y="717"/>
                    </a:lnTo>
                    <a:lnTo>
                      <a:pt x="94" y="721"/>
                    </a:lnTo>
                    <a:lnTo>
                      <a:pt x="90" y="717"/>
                    </a:lnTo>
                    <a:lnTo>
                      <a:pt x="89" y="721"/>
                    </a:lnTo>
                    <a:lnTo>
                      <a:pt x="87" y="721"/>
                    </a:lnTo>
                    <a:lnTo>
                      <a:pt x="83" y="721"/>
                    </a:lnTo>
                    <a:lnTo>
                      <a:pt x="81" y="721"/>
                    </a:lnTo>
                    <a:lnTo>
                      <a:pt x="85" y="725"/>
                    </a:lnTo>
                    <a:lnTo>
                      <a:pt x="87" y="725"/>
                    </a:lnTo>
                    <a:lnTo>
                      <a:pt x="90" y="725"/>
                    </a:lnTo>
                    <a:lnTo>
                      <a:pt x="94" y="721"/>
                    </a:lnTo>
                    <a:lnTo>
                      <a:pt x="98" y="725"/>
                    </a:lnTo>
                    <a:lnTo>
                      <a:pt x="98" y="725"/>
                    </a:lnTo>
                    <a:lnTo>
                      <a:pt x="98" y="725"/>
                    </a:lnTo>
                    <a:lnTo>
                      <a:pt x="98" y="725"/>
                    </a:lnTo>
                    <a:close/>
                    <a:moveTo>
                      <a:pt x="106" y="725"/>
                    </a:moveTo>
                    <a:lnTo>
                      <a:pt x="115" y="725"/>
                    </a:lnTo>
                    <a:lnTo>
                      <a:pt x="115" y="725"/>
                    </a:lnTo>
                    <a:lnTo>
                      <a:pt x="119" y="727"/>
                    </a:lnTo>
                    <a:lnTo>
                      <a:pt x="115" y="730"/>
                    </a:lnTo>
                    <a:lnTo>
                      <a:pt x="106" y="727"/>
                    </a:lnTo>
                    <a:lnTo>
                      <a:pt x="104" y="727"/>
                    </a:lnTo>
                    <a:lnTo>
                      <a:pt x="102" y="725"/>
                    </a:lnTo>
                    <a:lnTo>
                      <a:pt x="102" y="725"/>
                    </a:lnTo>
                    <a:lnTo>
                      <a:pt x="106" y="725"/>
                    </a:lnTo>
                    <a:lnTo>
                      <a:pt x="106" y="725"/>
                    </a:lnTo>
                    <a:lnTo>
                      <a:pt x="106" y="725"/>
                    </a:lnTo>
                    <a:lnTo>
                      <a:pt x="106" y="725"/>
                    </a:lnTo>
                    <a:close/>
                    <a:moveTo>
                      <a:pt x="136" y="721"/>
                    </a:moveTo>
                    <a:lnTo>
                      <a:pt x="132" y="717"/>
                    </a:lnTo>
                    <a:lnTo>
                      <a:pt x="126" y="717"/>
                    </a:lnTo>
                    <a:lnTo>
                      <a:pt x="126" y="721"/>
                    </a:lnTo>
                    <a:lnTo>
                      <a:pt x="132" y="721"/>
                    </a:lnTo>
                    <a:lnTo>
                      <a:pt x="136" y="721"/>
                    </a:lnTo>
                    <a:lnTo>
                      <a:pt x="136" y="721"/>
                    </a:lnTo>
                    <a:lnTo>
                      <a:pt x="136" y="721"/>
                    </a:lnTo>
                    <a:lnTo>
                      <a:pt x="136" y="721"/>
                    </a:lnTo>
                    <a:close/>
                    <a:moveTo>
                      <a:pt x="154" y="717"/>
                    </a:moveTo>
                    <a:lnTo>
                      <a:pt x="154" y="713"/>
                    </a:lnTo>
                    <a:lnTo>
                      <a:pt x="153" y="717"/>
                    </a:lnTo>
                    <a:lnTo>
                      <a:pt x="154" y="717"/>
                    </a:lnTo>
                    <a:lnTo>
                      <a:pt x="154" y="717"/>
                    </a:lnTo>
                    <a:lnTo>
                      <a:pt x="154" y="717"/>
                    </a:lnTo>
                    <a:lnTo>
                      <a:pt x="154" y="717"/>
                    </a:lnTo>
                    <a:close/>
                    <a:moveTo>
                      <a:pt x="170" y="713"/>
                    </a:moveTo>
                    <a:lnTo>
                      <a:pt x="166" y="710"/>
                    </a:lnTo>
                    <a:lnTo>
                      <a:pt x="164" y="712"/>
                    </a:lnTo>
                    <a:lnTo>
                      <a:pt x="162" y="715"/>
                    </a:lnTo>
                    <a:lnTo>
                      <a:pt x="168" y="712"/>
                    </a:lnTo>
                    <a:lnTo>
                      <a:pt x="170" y="713"/>
                    </a:lnTo>
                    <a:lnTo>
                      <a:pt x="170" y="713"/>
                    </a:lnTo>
                    <a:lnTo>
                      <a:pt x="170" y="713"/>
                    </a:lnTo>
                    <a:lnTo>
                      <a:pt x="170" y="713"/>
                    </a:lnTo>
                    <a:close/>
                    <a:moveTo>
                      <a:pt x="177" y="712"/>
                    </a:moveTo>
                    <a:lnTo>
                      <a:pt x="177" y="710"/>
                    </a:lnTo>
                    <a:lnTo>
                      <a:pt x="173" y="712"/>
                    </a:lnTo>
                    <a:lnTo>
                      <a:pt x="177" y="713"/>
                    </a:lnTo>
                    <a:lnTo>
                      <a:pt x="177" y="712"/>
                    </a:lnTo>
                    <a:lnTo>
                      <a:pt x="177" y="712"/>
                    </a:lnTo>
                    <a:lnTo>
                      <a:pt x="177" y="712"/>
                    </a:lnTo>
                    <a:lnTo>
                      <a:pt x="177" y="712"/>
                    </a:lnTo>
                    <a:close/>
                    <a:moveTo>
                      <a:pt x="179" y="706"/>
                    </a:moveTo>
                    <a:lnTo>
                      <a:pt x="179" y="704"/>
                    </a:lnTo>
                    <a:lnTo>
                      <a:pt x="177" y="706"/>
                    </a:lnTo>
                    <a:lnTo>
                      <a:pt x="179" y="706"/>
                    </a:lnTo>
                    <a:lnTo>
                      <a:pt x="179" y="706"/>
                    </a:lnTo>
                    <a:lnTo>
                      <a:pt x="179" y="706"/>
                    </a:lnTo>
                    <a:lnTo>
                      <a:pt x="179" y="706"/>
                    </a:lnTo>
                    <a:close/>
                    <a:moveTo>
                      <a:pt x="183" y="708"/>
                    </a:moveTo>
                    <a:lnTo>
                      <a:pt x="183" y="712"/>
                    </a:lnTo>
                    <a:lnTo>
                      <a:pt x="186" y="710"/>
                    </a:lnTo>
                    <a:lnTo>
                      <a:pt x="185" y="706"/>
                    </a:lnTo>
                    <a:lnTo>
                      <a:pt x="183" y="708"/>
                    </a:lnTo>
                    <a:lnTo>
                      <a:pt x="183" y="708"/>
                    </a:lnTo>
                    <a:lnTo>
                      <a:pt x="183" y="708"/>
                    </a:lnTo>
                    <a:lnTo>
                      <a:pt x="183" y="708"/>
                    </a:lnTo>
                    <a:close/>
                    <a:moveTo>
                      <a:pt x="224" y="687"/>
                    </a:moveTo>
                    <a:lnTo>
                      <a:pt x="226" y="691"/>
                    </a:lnTo>
                    <a:lnTo>
                      <a:pt x="228" y="693"/>
                    </a:lnTo>
                    <a:lnTo>
                      <a:pt x="224" y="696"/>
                    </a:lnTo>
                    <a:lnTo>
                      <a:pt x="222" y="700"/>
                    </a:lnTo>
                    <a:lnTo>
                      <a:pt x="217" y="700"/>
                    </a:lnTo>
                    <a:lnTo>
                      <a:pt x="211" y="706"/>
                    </a:lnTo>
                    <a:lnTo>
                      <a:pt x="207" y="706"/>
                    </a:lnTo>
                    <a:lnTo>
                      <a:pt x="203" y="712"/>
                    </a:lnTo>
                    <a:lnTo>
                      <a:pt x="194" y="712"/>
                    </a:lnTo>
                    <a:lnTo>
                      <a:pt x="198" y="708"/>
                    </a:lnTo>
                    <a:lnTo>
                      <a:pt x="202" y="708"/>
                    </a:lnTo>
                    <a:lnTo>
                      <a:pt x="203" y="704"/>
                    </a:lnTo>
                    <a:lnTo>
                      <a:pt x="207" y="702"/>
                    </a:lnTo>
                    <a:lnTo>
                      <a:pt x="207" y="700"/>
                    </a:lnTo>
                    <a:lnTo>
                      <a:pt x="209" y="696"/>
                    </a:lnTo>
                    <a:lnTo>
                      <a:pt x="213" y="696"/>
                    </a:lnTo>
                    <a:lnTo>
                      <a:pt x="215" y="691"/>
                    </a:lnTo>
                    <a:lnTo>
                      <a:pt x="215" y="691"/>
                    </a:lnTo>
                    <a:lnTo>
                      <a:pt x="218" y="691"/>
                    </a:lnTo>
                    <a:lnTo>
                      <a:pt x="218" y="691"/>
                    </a:lnTo>
                    <a:lnTo>
                      <a:pt x="224" y="687"/>
                    </a:lnTo>
                    <a:lnTo>
                      <a:pt x="224" y="687"/>
                    </a:lnTo>
                    <a:lnTo>
                      <a:pt x="224" y="687"/>
                    </a:lnTo>
                    <a:lnTo>
                      <a:pt x="224" y="687"/>
                    </a:lnTo>
                    <a:close/>
                    <a:moveTo>
                      <a:pt x="252" y="676"/>
                    </a:moveTo>
                    <a:lnTo>
                      <a:pt x="252" y="676"/>
                    </a:lnTo>
                    <a:lnTo>
                      <a:pt x="249" y="680"/>
                    </a:lnTo>
                    <a:lnTo>
                      <a:pt x="249" y="683"/>
                    </a:lnTo>
                    <a:lnTo>
                      <a:pt x="250" y="685"/>
                    </a:lnTo>
                    <a:lnTo>
                      <a:pt x="249" y="687"/>
                    </a:lnTo>
                    <a:lnTo>
                      <a:pt x="245" y="685"/>
                    </a:lnTo>
                    <a:lnTo>
                      <a:pt x="241" y="687"/>
                    </a:lnTo>
                    <a:lnTo>
                      <a:pt x="243" y="691"/>
                    </a:lnTo>
                    <a:lnTo>
                      <a:pt x="241" y="691"/>
                    </a:lnTo>
                    <a:lnTo>
                      <a:pt x="237" y="693"/>
                    </a:lnTo>
                    <a:lnTo>
                      <a:pt x="235" y="693"/>
                    </a:lnTo>
                    <a:lnTo>
                      <a:pt x="232" y="696"/>
                    </a:lnTo>
                    <a:lnTo>
                      <a:pt x="228" y="696"/>
                    </a:lnTo>
                    <a:lnTo>
                      <a:pt x="226" y="696"/>
                    </a:lnTo>
                    <a:lnTo>
                      <a:pt x="228" y="700"/>
                    </a:lnTo>
                    <a:lnTo>
                      <a:pt x="234" y="700"/>
                    </a:lnTo>
                    <a:lnTo>
                      <a:pt x="239" y="700"/>
                    </a:lnTo>
                    <a:lnTo>
                      <a:pt x="243" y="693"/>
                    </a:lnTo>
                    <a:lnTo>
                      <a:pt x="243" y="696"/>
                    </a:lnTo>
                    <a:lnTo>
                      <a:pt x="245" y="696"/>
                    </a:lnTo>
                    <a:lnTo>
                      <a:pt x="247" y="693"/>
                    </a:lnTo>
                    <a:lnTo>
                      <a:pt x="247" y="691"/>
                    </a:lnTo>
                    <a:lnTo>
                      <a:pt x="250" y="691"/>
                    </a:lnTo>
                    <a:lnTo>
                      <a:pt x="250" y="693"/>
                    </a:lnTo>
                    <a:lnTo>
                      <a:pt x="252" y="693"/>
                    </a:lnTo>
                    <a:lnTo>
                      <a:pt x="256" y="691"/>
                    </a:lnTo>
                    <a:lnTo>
                      <a:pt x="262" y="687"/>
                    </a:lnTo>
                    <a:lnTo>
                      <a:pt x="262" y="687"/>
                    </a:lnTo>
                    <a:lnTo>
                      <a:pt x="256" y="685"/>
                    </a:lnTo>
                    <a:lnTo>
                      <a:pt x="262" y="683"/>
                    </a:lnTo>
                    <a:lnTo>
                      <a:pt x="258" y="680"/>
                    </a:lnTo>
                    <a:lnTo>
                      <a:pt x="256" y="678"/>
                    </a:lnTo>
                    <a:lnTo>
                      <a:pt x="252" y="676"/>
                    </a:lnTo>
                    <a:lnTo>
                      <a:pt x="252" y="676"/>
                    </a:lnTo>
                    <a:lnTo>
                      <a:pt x="252" y="676"/>
                    </a:lnTo>
                    <a:lnTo>
                      <a:pt x="252" y="676"/>
                    </a:lnTo>
                    <a:close/>
                    <a:moveTo>
                      <a:pt x="266" y="681"/>
                    </a:moveTo>
                    <a:lnTo>
                      <a:pt x="266" y="680"/>
                    </a:lnTo>
                    <a:lnTo>
                      <a:pt x="262" y="678"/>
                    </a:lnTo>
                    <a:lnTo>
                      <a:pt x="262" y="680"/>
                    </a:lnTo>
                    <a:lnTo>
                      <a:pt x="266" y="681"/>
                    </a:lnTo>
                    <a:lnTo>
                      <a:pt x="266" y="681"/>
                    </a:lnTo>
                    <a:lnTo>
                      <a:pt x="266" y="681"/>
                    </a:lnTo>
                    <a:lnTo>
                      <a:pt x="266" y="681"/>
                    </a:lnTo>
                    <a:close/>
                    <a:moveTo>
                      <a:pt x="286" y="678"/>
                    </a:moveTo>
                    <a:lnTo>
                      <a:pt x="282" y="676"/>
                    </a:lnTo>
                    <a:lnTo>
                      <a:pt x="286" y="676"/>
                    </a:lnTo>
                    <a:lnTo>
                      <a:pt x="288" y="678"/>
                    </a:lnTo>
                    <a:lnTo>
                      <a:pt x="286" y="680"/>
                    </a:lnTo>
                    <a:lnTo>
                      <a:pt x="286" y="678"/>
                    </a:lnTo>
                    <a:lnTo>
                      <a:pt x="286" y="678"/>
                    </a:lnTo>
                    <a:lnTo>
                      <a:pt x="286" y="678"/>
                    </a:lnTo>
                    <a:lnTo>
                      <a:pt x="286" y="678"/>
                    </a:lnTo>
                    <a:close/>
                    <a:moveTo>
                      <a:pt x="277" y="680"/>
                    </a:moveTo>
                    <a:lnTo>
                      <a:pt x="281" y="678"/>
                    </a:lnTo>
                    <a:lnTo>
                      <a:pt x="282" y="680"/>
                    </a:lnTo>
                    <a:lnTo>
                      <a:pt x="277" y="680"/>
                    </a:lnTo>
                    <a:lnTo>
                      <a:pt x="277" y="680"/>
                    </a:lnTo>
                    <a:lnTo>
                      <a:pt x="277" y="680"/>
                    </a:lnTo>
                    <a:lnTo>
                      <a:pt x="277" y="680"/>
                    </a:lnTo>
                    <a:close/>
                    <a:moveTo>
                      <a:pt x="277" y="676"/>
                    </a:moveTo>
                    <a:lnTo>
                      <a:pt x="277" y="672"/>
                    </a:lnTo>
                    <a:lnTo>
                      <a:pt x="277" y="670"/>
                    </a:lnTo>
                    <a:lnTo>
                      <a:pt x="277" y="670"/>
                    </a:lnTo>
                    <a:lnTo>
                      <a:pt x="281" y="674"/>
                    </a:lnTo>
                    <a:lnTo>
                      <a:pt x="277" y="676"/>
                    </a:lnTo>
                    <a:lnTo>
                      <a:pt x="277" y="676"/>
                    </a:lnTo>
                    <a:lnTo>
                      <a:pt x="277" y="676"/>
                    </a:lnTo>
                    <a:lnTo>
                      <a:pt x="277" y="676"/>
                    </a:lnTo>
                    <a:close/>
                    <a:moveTo>
                      <a:pt x="269" y="672"/>
                    </a:moveTo>
                    <a:lnTo>
                      <a:pt x="266" y="674"/>
                    </a:lnTo>
                    <a:lnTo>
                      <a:pt x="266" y="676"/>
                    </a:lnTo>
                    <a:lnTo>
                      <a:pt x="269" y="680"/>
                    </a:lnTo>
                    <a:lnTo>
                      <a:pt x="273" y="678"/>
                    </a:lnTo>
                    <a:lnTo>
                      <a:pt x="273" y="676"/>
                    </a:lnTo>
                    <a:lnTo>
                      <a:pt x="271" y="674"/>
                    </a:lnTo>
                    <a:lnTo>
                      <a:pt x="269" y="672"/>
                    </a:lnTo>
                    <a:lnTo>
                      <a:pt x="269" y="672"/>
                    </a:lnTo>
                    <a:lnTo>
                      <a:pt x="269" y="672"/>
                    </a:lnTo>
                    <a:lnTo>
                      <a:pt x="269" y="672"/>
                    </a:lnTo>
                    <a:close/>
                    <a:moveTo>
                      <a:pt x="441" y="521"/>
                    </a:moveTo>
                    <a:lnTo>
                      <a:pt x="441" y="519"/>
                    </a:lnTo>
                    <a:lnTo>
                      <a:pt x="442" y="518"/>
                    </a:lnTo>
                    <a:lnTo>
                      <a:pt x="442" y="521"/>
                    </a:lnTo>
                    <a:lnTo>
                      <a:pt x="441" y="521"/>
                    </a:lnTo>
                    <a:lnTo>
                      <a:pt x="441" y="521"/>
                    </a:lnTo>
                    <a:lnTo>
                      <a:pt x="441" y="521"/>
                    </a:lnTo>
                    <a:lnTo>
                      <a:pt x="441" y="521"/>
                    </a:lnTo>
                    <a:close/>
                    <a:moveTo>
                      <a:pt x="433" y="523"/>
                    </a:moveTo>
                    <a:lnTo>
                      <a:pt x="431" y="521"/>
                    </a:lnTo>
                    <a:lnTo>
                      <a:pt x="431" y="518"/>
                    </a:lnTo>
                    <a:lnTo>
                      <a:pt x="435" y="518"/>
                    </a:lnTo>
                    <a:lnTo>
                      <a:pt x="439" y="514"/>
                    </a:lnTo>
                    <a:lnTo>
                      <a:pt x="439" y="518"/>
                    </a:lnTo>
                    <a:lnTo>
                      <a:pt x="435" y="521"/>
                    </a:lnTo>
                    <a:lnTo>
                      <a:pt x="433" y="523"/>
                    </a:lnTo>
                    <a:lnTo>
                      <a:pt x="433" y="523"/>
                    </a:lnTo>
                    <a:lnTo>
                      <a:pt x="433" y="523"/>
                    </a:lnTo>
                    <a:lnTo>
                      <a:pt x="433" y="523"/>
                    </a:lnTo>
                    <a:close/>
                    <a:moveTo>
                      <a:pt x="292" y="663"/>
                    </a:moveTo>
                    <a:lnTo>
                      <a:pt x="292" y="661"/>
                    </a:lnTo>
                    <a:lnTo>
                      <a:pt x="294" y="657"/>
                    </a:lnTo>
                    <a:lnTo>
                      <a:pt x="296" y="661"/>
                    </a:lnTo>
                    <a:lnTo>
                      <a:pt x="299" y="657"/>
                    </a:lnTo>
                    <a:lnTo>
                      <a:pt x="301" y="657"/>
                    </a:lnTo>
                    <a:lnTo>
                      <a:pt x="303" y="649"/>
                    </a:lnTo>
                    <a:lnTo>
                      <a:pt x="305" y="649"/>
                    </a:lnTo>
                    <a:lnTo>
                      <a:pt x="307" y="653"/>
                    </a:lnTo>
                    <a:lnTo>
                      <a:pt x="311" y="651"/>
                    </a:lnTo>
                    <a:lnTo>
                      <a:pt x="313" y="651"/>
                    </a:lnTo>
                    <a:lnTo>
                      <a:pt x="316" y="651"/>
                    </a:lnTo>
                    <a:lnTo>
                      <a:pt x="316" y="649"/>
                    </a:lnTo>
                    <a:lnTo>
                      <a:pt x="322" y="649"/>
                    </a:lnTo>
                    <a:lnTo>
                      <a:pt x="324" y="653"/>
                    </a:lnTo>
                    <a:lnTo>
                      <a:pt x="322" y="657"/>
                    </a:lnTo>
                    <a:lnTo>
                      <a:pt x="328" y="661"/>
                    </a:lnTo>
                    <a:lnTo>
                      <a:pt x="328" y="663"/>
                    </a:lnTo>
                    <a:lnTo>
                      <a:pt x="324" y="663"/>
                    </a:lnTo>
                    <a:lnTo>
                      <a:pt x="320" y="663"/>
                    </a:lnTo>
                    <a:lnTo>
                      <a:pt x="314" y="666"/>
                    </a:lnTo>
                    <a:lnTo>
                      <a:pt x="311" y="663"/>
                    </a:lnTo>
                    <a:lnTo>
                      <a:pt x="305" y="663"/>
                    </a:lnTo>
                    <a:lnTo>
                      <a:pt x="301" y="666"/>
                    </a:lnTo>
                    <a:lnTo>
                      <a:pt x="299" y="666"/>
                    </a:lnTo>
                    <a:lnTo>
                      <a:pt x="296" y="668"/>
                    </a:lnTo>
                    <a:lnTo>
                      <a:pt x="292" y="666"/>
                    </a:lnTo>
                    <a:lnTo>
                      <a:pt x="292" y="663"/>
                    </a:lnTo>
                    <a:lnTo>
                      <a:pt x="292" y="663"/>
                    </a:lnTo>
                    <a:lnTo>
                      <a:pt x="292" y="663"/>
                    </a:lnTo>
                    <a:close/>
                  </a:path>
                </a:pathLst>
              </a:custGeom>
              <a:solidFill>
                <a:srgbClr val="0098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8" name="Freeform 40"/>
              <p:cNvSpPr>
                <a:spLocks noEditPoints="1"/>
              </p:cNvSpPr>
              <p:nvPr/>
            </p:nvSpPr>
            <p:spPr bwMode="auto">
              <a:xfrm>
                <a:off x="592" y="1997"/>
                <a:ext cx="1044" cy="620"/>
              </a:xfrm>
              <a:custGeom>
                <a:avLst/>
                <a:gdLst/>
                <a:ahLst/>
                <a:cxnLst>
                  <a:cxn ang="0">
                    <a:pos x="608" y="63"/>
                  </a:cxn>
                  <a:cxn ang="0">
                    <a:pos x="732" y="119"/>
                  </a:cxn>
                  <a:cxn ang="0">
                    <a:pos x="873" y="189"/>
                  </a:cxn>
                  <a:cxn ang="0">
                    <a:pos x="982" y="155"/>
                  </a:cxn>
                  <a:cxn ang="0">
                    <a:pos x="1031" y="127"/>
                  </a:cxn>
                  <a:cxn ang="0">
                    <a:pos x="1037" y="185"/>
                  </a:cxn>
                  <a:cxn ang="0">
                    <a:pos x="1005" y="194"/>
                  </a:cxn>
                  <a:cxn ang="0">
                    <a:pos x="975" y="209"/>
                  </a:cxn>
                  <a:cxn ang="0">
                    <a:pos x="969" y="245"/>
                  </a:cxn>
                  <a:cxn ang="0">
                    <a:pos x="946" y="264"/>
                  </a:cxn>
                  <a:cxn ang="0">
                    <a:pos x="894" y="285"/>
                  </a:cxn>
                  <a:cxn ang="0">
                    <a:pos x="875" y="319"/>
                  </a:cxn>
                  <a:cxn ang="0">
                    <a:pos x="869" y="324"/>
                  </a:cxn>
                  <a:cxn ang="0">
                    <a:pos x="852" y="347"/>
                  </a:cxn>
                  <a:cxn ang="0">
                    <a:pos x="849" y="311"/>
                  </a:cxn>
                  <a:cxn ang="0">
                    <a:pos x="845" y="338"/>
                  </a:cxn>
                  <a:cxn ang="0">
                    <a:pos x="845" y="351"/>
                  </a:cxn>
                  <a:cxn ang="0">
                    <a:pos x="834" y="362"/>
                  </a:cxn>
                  <a:cxn ang="0">
                    <a:pos x="839" y="387"/>
                  </a:cxn>
                  <a:cxn ang="0">
                    <a:pos x="849" y="396"/>
                  </a:cxn>
                  <a:cxn ang="0">
                    <a:pos x="832" y="409"/>
                  </a:cxn>
                  <a:cxn ang="0">
                    <a:pos x="802" y="436"/>
                  </a:cxn>
                  <a:cxn ang="0">
                    <a:pos x="756" y="462"/>
                  </a:cxn>
                  <a:cxn ang="0">
                    <a:pos x="732" y="511"/>
                  </a:cxn>
                  <a:cxn ang="0">
                    <a:pos x="745" y="594"/>
                  </a:cxn>
                  <a:cxn ang="0">
                    <a:pos x="715" y="603"/>
                  </a:cxn>
                  <a:cxn ang="0">
                    <a:pos x="702" y="577"/>
                  </a:cxn>
                  <a:cxn ang="0">
                    <a:pos x="698" y="535"/>
                  </a:cxn>
                  <a:cxn ang="0">
                    <a:pos x="668" y="522"/>
                  </a:cxn>
                  <a:cxn ang="0">
                    <a:pos x="651" y="511"/>
                  </a:cxn>
                  <a:cxn ang="0">
                    <a:pos x="617" y="507"/>
                  </a:cxn>
                  <a:cxn ang="0">
                    <a:pos x="576" y="518"/>
                  </a:cxn>
                  <a:cxn ang="0">
                    <a:pos x="579" y="535"/>
                  </a:cxn>
                  <a:cxn ang="0">
                    <a:pos x="549" y="532"/>
                  </a:cxn>
                  <a:cxn ang="0">
                    <a:pos x="521" y="522"/>
                  </a:cxn>
                  <a:cxn ang="0">
                    <a:pos x="482" y="524"/>
                  </a:cxn>
                  <a:cxn ang="0">
                    <a:pos x="448" y="545"/>
                  </a:cxn>
                  <a:cxn ang="0">
                    <a:pos x="431" y="599"/>
                  </a:cxn>
                  <a:cxn ang="0">
                    <a:pos x="397" y="569"/>
                  </a:cxn>
                  <a:cxn ang="0">
                    <a:pos x="376" y="522"/>
                  </a:cxn>
                  <a:cxn ang="0">
                    <a:pos x="342" y="522"/>
                  </a:cxn>
                  <a:cxn ang="0">
                    <a:pos x="316" y="522"/>
                  </a:cxn>
                  <a:cxn ang="0">
                    <a:pos x="305" y="500"/>
                  </a:cxn>
                  <a:cxn ang="0">
                    <a:pos x="280" y="468"/>
                  </a:cxn>
                  <a:cxn ang="0">
                    <a:pos x="73" y="409"/>
                  </a:cxn>
                  <a:cxn ang="0">
                    <a:pos x="39" y="381"/>
                  </a:cxn>
                  <a:cxn ang="0">
                    <a:pos x="24" y="332"/>
                  </a:cxn>
                  <a:cxn ang="0">
                    <a:pos x="24" y="307"/>
                  </a:cxn>
                  <a:cxn ang="0">
                    <a:pos x="17" y="307"/>
                  </a:cxn>
                  <a:cxn ang="0">
                    <a:pos x="3" y="243"/>
                  </a:cxn>
                  <a:cxn ang="0">
                    <a:pos x="11" y="179"/>
                  </a:cxn>
                  <a:cxn ang="0">
                    <a:pos x="45" y="87"/>
                  </a:cxn>
                  <a:cxn ang="0">
                    <a:pos x="49" y="76"/>
                  </a:cxn>
                  <a:cxn ang="0">
                    <a:pos x="52" y="36"/>
                  </a:cxn>
                  <a:cxn ang="0">
                    <a:pos x="77" y="38"/>
                  </a:cxn>
                  <a:cxn ang="0">
                    <a:pos x="79" y="55"/>
                  </a:cxn>
                  <a:cxn ang="0">
                    <a:pos x="98" y="12"/>
                  </a:cxn>
                  <a:cxn ang="0">
                    <a:pos x="956" y="264"/>
                  </a:cxn>
                  <a:cxn ang="0">
                    <a:pos x="931" y="274"/>
                  </a:cxn>
                  <a:cxn ang="0">
                    <a:pos x="899" y="279"/>
                  </a:cxn>
                  <a:cxn ang="0">
                    <a:pos x="446" y="554"/>
                  </a:cxn>
                  <a:cxn ang="0">
                    <a:pos x="433" y="588"/>
                  </a:cxn>
                </a:cxnLst>
                <a:rect l="0" t="0" r="r" b="b"/>
                <a:pathLst>
                  <a:path w="1044" h="620">
                    <a:moveTo>
                      <a:pt x="92" y="0"/>
                    </a:moveTo>
                    <a:lnTo>
                      <a:pt x="570" y="48"/>
                    </a:lnTo>
                    <a:lnTo>
                      <a:pt x="574" y="49"/>
                    </a:lnTo>
                    <a:lnTo>
                      <a:pt x="576" y="49"/>
                    </a:lnTo>
                    <a:lnTo>
                      <a:pt x="583" y="51"/>
                    </a:lnTo>
                    <a:lnTo>
                      <a:pt x="583" y="53"/>
                    </a:lnTo>
                    <a:lnTo>
                      <a:pt x="583" y="57"/>
                    </a:lnTo>
                    <a:lnTo>
                      <a:pt x="585" y="57"/>
                    </a:lnTo>
                    <a:lnTo>
                      <a:pt x="589" y="59"/>
                    </a:lnTo>
                    <a:lnTo>
                      <a:pt x="589" y="59"/>
                    </a:lnTo>
                    <a:lnTo>
                      <a:pt x="593" y="61"/>
                    </a:lnTo>
                    <a:lnTo>
                      <a:pt x="594" y="63"/>
                    </a:lnTo>
                    <a:lnTo>
                      <a:pt x="594" y="63"/>
                    </a:lnTo>
                    <a:lnTo>
                      <a:pt x="600" y="61"/>
                    </a:lnTo>
                    <a:lnTo>
                      <a:pt x="604" y="63"/>
                    </a:lnTo>
                    <a:lnTo>
                      <a:pt x="608" y="63"/>
                    </a:lnTo>
                    <a:lnTo>
                      <a:pt x="610" y="66"/>
                    </a:lnTo>
                    <a:lnTo>
                      <a:pt x="611" y="66"/>
                    </a:lnTo>
                    <a:lnTo>
                      <a:pt x="613" y="70"/>
                    </a:lnTo>
                    <a:lnTo>
                      <a:pt x="621" y="70"/>
                    </a:lnTo>
                    <a:lnTo>
                      <a:pt x="625" y="72"/>
                    </a:lnTo>
                    <a:lnTo>
                      <a:pt x="628" y="76"/>
                    </a:lnTo>
                    <a:lnTo>
                      <a:pt x="628" y="76"/>
                    </a:lnTo>
                    <a:lnTo>
                      <a:pt x="634" y="76"/>
                    </a:lnTo>
                    <a:lnTo>
                      <a:pt x="638" y="76"/>
                    </a:lnTo>
                    <a:lnTo>
                      <a:pt x="640" y="76"/>
                    </a:lnTo>
                    <a:lnTo>
                      <a:pt x="642" y="80"/>
                    </a:lnTo>
                    <a:lnTo>
                      <a:pt x="651" y="80"/>
                    </a:lnTo>
                    <a:lnTo>
                      <a:pt x="653" y="81"/>
                    </a:lnTo>
                    <a:lnTo>
                      <a:pt x="657" y="83"/>
                    </a:lnTo>
                    <a:lnTo>
                      <a:pt x="658" y="85"/>
                    </a:lnTo>
                    <a:lnTo>
                      <a:pt x="732" y="119"/>
                    </a:lnTo>
                    <a:lnTo>
                      <a:pt x="738" y="125"/>
                    </a:lnTo>
                    <a:lnTo>
                      <a:pt x="749" y="134"/>
                    </a:lnTo>
                    <a:lnTo>
                      <a:pt x="762" y="191"/>
                    </a:lnTo>
                    <a:lnTo>
                      <a:pt x="760" y="215"/>
                    </a:lnTo>
                    <a:lnTo>
                      <a:pt x="756" y="219"/>
                    </a:lnTo>
                    <a:lnTo>
                      <a:pt x="756" y="225"/>
                    </a:lnTo>
                    <a:lnTo>
                      <a:pt x="753" y="228"/>
                    </a:lnTo>
                    <a:lnTo>
                      <a:pt x="745" y="232"/>
                    </a:lnTo>
                    <a:lnTo>
                      <a:pt x="741" y="236"/>
                    </a:lnTo>
                    <a:lnTo>
                      <a:pt x="745" y="243"/>
                    </a:lnTo>
                    <a:lnTo>
                      <a:pt x="809" y="225"/>
                    </a:lnTo>
                    <a:lnTo>
                      <a:pt x="815" y="221"/>
                    </a:lnTo>
                    <a:lnTo>
                      <a:pt x="818" y="213"/>
                    </a:lnTo>
                    <a:lnTo>
                      <a:pt x="852" y="202"/>
                    </a:lnTo>
                    <a:lnTo>
                      <a:pt x="869" y="191"/>
                    </a:lnTo>
                    <a:lnTo>
                      <a:pt x="873" y="189"/>
                    </a:lnTo>
                    <a:lnTo>
                      <a:pt x="877" y="189"/>
                    </a:lnTo>
                    <a:lnTo>
                      <a:pt x="884" y="181"/>
                    </a:lnTo>
                    <a:lnTo>
                      <a:pt x="888" y="176"/>
                    </a:lnTo>
                    <a:lnTo>
                      <a:pt x="894" y="176"/>
                    </a:lnTo>
                    <a:lnTo>
                      <a:pt x="898" y="172"/>
                    </a:lnTo>
                    <a:lnTo>
                      <a:pt x="903" y="170"/>
                    </a:lnTo>
                    <a:lnTo>
                      <a:pt x="956" y="172"/>
                    </a:lnTo>
                    <a:lnTo>
                      <a:pt x="962" y="168"/>
                    </a:lnTo>
                    <a:lnTo>
                      <a:pt x="962" y="168"/>
                    </a:lnTo>
                    <a:lnTo>
                      <a:pt x="963" y="166"/>
                    </a:lnTo>
                    <a:lnTo>
                      <a:pt x="965" y="166"/>
                    </a:lnTo>
                    <a:lnTo>
                      <a:pt x="969" y="166"/>
                    </a:lnTo>
                    <a:lnTo>
                      <a:pt x="973" y="164"/>
                    </a:lnTo>
                    <a:lnTo>
                      <a:pt x="973" y="164"/>
                    </a:lnTo>
                    <a:lnTo>
                      <a:pt x="977" y="155"/>
                    </a:lnTo>
                    <a:lnTo>
                      <a:pt x="982" y="155"/>
                    </a:lnTo>
                    <a:lnTo>
                      <a:pt x="986" y="149"/>
                    </a:lnTo>
                    <a:lnTo>
                      <a:pt x="986" y="145"/>
                    </a:lnTo>
                    <a:lnTo>
                      <a:pt x="988" y="142"/>
                    </a:lnTo>
                    <a:lnTo>
                      <a:pt x="992" y="138"/>
                    </a:lnTo>
                    <a:lnTo>
                      <a:pt x="992" y="136"/>
                    </a:lnTo>
                    <a:lnTo>
                      <a:pt x="995" y="130"/>
                    </a:lnTo>
                    <a:lnTo>
                      <a:pt x="1003" y="125"/>
                    </a:lnTo>
                    <a:lnTo>
                      <a:pt x="1005" y="121"/>
                    </a:lnTo>
                    <a:lnTo>
                      <a:pt x="1007" y="119"/>
                    </a:lnTo>
                    <a:lnTo>
                      <a:pt x="1007" y="119"/>
                    </a:lnTo>
                    <a:lnTo>
                      <a:pt x="1010" y="119"/>
                    </a:lnTo>
                    <a:lnTo>
                      <a:pt x="1012" y="121"/>
                    </a:lnTo>
                    <a:lnTo>
                      <a:pt x="1016" y="121"/>
                    </a:lnTo>
                    <a:lnTo>
                      <a:pt x="1022" y="121"/>
                    </a:lnTo>
                    <a:lnTo>
                      <a:pt x="1024" y="121"/>
                    </a:lnTo>
                    <a:lnTo>
                      <a:pt x="1031" y="127"/>
                    </a:lnTo>
                    <a:lnTo>
                      <a:pt x="1031" y="132"/>
                    </a:lnTo>
                    <a:lnTo>
                      <a:pt x="1027" y="157"/>
                    </a:lnTo>
                    <a:lnTo>
                      <a:pt x="1026" y="159"/>
                    </a:lnTo>
                    <a:lnTo>
                      <a:pt x="1027" y="159"/>
                    </a:lnTo>
                    <a:lnTo>
                      <a:pt x="1029" y="164"/>
                    </a:lnTo>
                    <a:lnTo>
                      <a:pt x="1031" y="164"/>
                    </a:lnTo>
                    <a:lnTo>
                      <a:pt x="1031" y="166"/>
                    </a:lnTo>
                    <a:lnTo>
                      <a:pt x="1029" y="168"/>
                    </a:lnTo>
                    <a:lnTo>
                      <a:pt x="1031" y="170"/>
                    </a:lnTo>
                    <a:lnTo>
                      <a:pt x="1029" y="172"/>
                    </a:lnTo>
                    <a:lnTo>
                      <a:pt x="1029" y="174"/>
                    </a:lnTo>
                    <a:lnTo>
                      <a:pt x="1031" y="174"/>
                    </a:lnTo>
                    <a:lnTo>
                      <a:pt x="1031" y="174"/>
                    </a:lnTo>
                    <a:lnTo>
                      <a:pt x="1035" y="176"/>
                    </a:lnTo>
                    <a:lnTo>
                      <a:pt x="1035" y="181"/>
                    </a:lnTo>
                    <a:lnTo>
                      <a:pt x="1037" y="185"/>
                    </a:lnTo>
                    <a:lnTo>
                      <a:pt x="1039" y="181"/>
                    </a:lnTo>
                    <a:lnTo>
                      <a:pt x="1044" y="185"/>
                    </a:lnTo>
                    <a:lnTo>
                      <a:pt x="1041" y="189"/>
                    </a:lnTo>
                    <a:lnTo>
                      <a:pt x="1037" y="189"/>
                    </a:lnTo>
                    <a:lnTo>
                      <a:pt x="1035" y="185"/>
                    </a:lnTo>
                    <a:lnTo>
                      <a:pt x="1031" y="189"/>
                    </a:lnTo>
                    <a:lnTo>
                      <a:pt x="1029" y="189"/>
                    </a:lnTo>
                    <a:lnTo>
                      <a:pt x="1026" y="189"/>
                    </a:lnTo>
                    <a:lnTo>
                      <a:pt x="1024" y="191"/>
                    </a:lnTo>
                    <a:lnTo>
                      <a:pt x="1020" y="189"/>
                    </a:lnTo>
                    <a:lnTo>
                      <a:pt x="1018" y="194"/>
                    </a:lnTo>
                    <a:lnTo>
                      <a:pt x="1014" y="194"/>
                    </a:lnTo>
                    <a:lnTo>
                      <a:pt x="1014" y="189"/>
                    </a:lnTo>
                    <a:lnTo>
                      <a:pt x="1010" y="189"/>
                    </a:lnTo>
                    <a:lnTo>
                      <a:pt x="1007" y="193"/>
                    </a:lnTo>
                    <a:lnTo>
                      <a:pt x="1005" y="194"/>
                    </a:lnTo>
                    <a:lnTo>
                      <a:pt x="1003" y="191"/>
                    </a:lnTo>
                    <a:lnTo>
                      <a:pt x="1005" y="189"/>
                    </a:lnTo>
                    <a:lnTo>
                      <a:pt x="999" y="193"/>
                    </a:lnTo>
                    <a:lnTo>
                      <a:pt x="995" y="198"/>
                    </a:lnTo>
                    <a:lnTo>
                      <a:pt x="994" y="200"/>
                    </a:lnTo>
                    <a:lnTo>
                      <a:pt x="992" y="198"/>
                    </a:lnTo>
                    <a:lnTo>
                      <a:pt x="990" y="204"/>
                    </a:lnTo>
                    <a:lnTo>
                      <a:pt x="988" y="204"/>
                    </a:lnTo>
                    <a:lnTo>
                      <a:pt x="986" y="198"/>
                    </a:lnTo>
                    <a:lnTo>
                      <a:pt x="986" y="204"/>
                    </a:lnTo>
                    <a:lnTo>
                      <a:pt x="982" y="206"/>
                    </a:lnTo>
                    <a:lnTo>
                      <a:pt x="982" y="204"/>
                    </a:lnTo>
                    <a:lnTo>
                      <a:pt x="982" y="202"/>
                    </a:lnTo>
                    <a:lnTo>
                      <a:pt x="980" y="206"/>
                    </a:lnTo>
                    <a:lnTo>
                      <a:pt x="977" y="206"/>
                    </a:lnTo>
                    <a:lnTo>
                      <a:pt x="975" y="209"/>
                    </a:lnTo>
                    <a:lnTo>
                      <a:pt x="967" y="215"/>
                    </a:lnTo>
                    <a:lnTo>
                      <a:pt x="965" y="221"/>
                    </a:lnTo>
                    <a:lnTo>
                      <a:pt x="963" y="225"/>
                    </a:lnTo>
                    <a:lnTo>
                      <a:pt x="962" y="228"/>
                    </a:lnTo>
                    <a:lnTo>
                      <a:pt x="962" y="228"/>
                    </a:lnTo>
                    <a:lnTo>
                      <a:pt x="962" y="232"/>
                    </a:lnTo>
                    <a:lnTo>
                      <a:pt x="962" y="232"/>
                    </a:lnTo>
                    <a:lnTo>
                      <a:pt x="962" y="234"/>
                    </a:lnTo>
                    <a:lnTo>
                      <a:pt x="956" y="240"/>
                    </a:lnTo>
                    <a:lnTo>
                      <a:pt x="956" y="243"/>
                    </a:lnTo>
                    <a:lnTo>
                      <a:pt x="962" y="243"/>
                    </a:lnTo>
                    <a:lnTo>
                      <a:pt x="962" y="249"/>
                    </a:lnTo>
                    <a:lnTo>
                      <a:pt x="963" y="253"/>
                    </a:lnTo>
                    <a:lnTo>
                      <a:pt x="969" y="253"/>
                    </a:lnTo>
                    <a:lnTo>
                      <a:pt x="971" y="249"/>
                    </a:lnTo>
                    <a:lnTo>
                      <a:pt x="969" y="245"/>
                    </a:lnTo>
                    <a:lnTo>
                      <a:pt x="971" y="245"/>
                    </a:lnTo>
                    <a:lnTo>
                      <a:pt x="973" y="251"/>
                    </a:lnTo>
                    <a:lnTo>
                      <a:pt x="971" y="255"/>
                    </a:lnTo>
                    <a:lnTo>
                      <a:pt x="962" y="260"/>
                    </a:lnTo>
                    <a:lnTo>
                      <a:pt x="962" y="258"/>
                    </a:lnTo>
                    <a:lnTo>
                      <a:pt x="962" y="257"/>
                    </a:lnTo>
                    <a:lnTo>
                      <a:pt x="958" y="253"/>
                    </a:lnTo>
                    <a:lnTo>
                      <a:pt x="956" y="260"/>
                    </a:lnTo>
                    <a:lnTo>
                      <a:pt x="952" y="264"/>
                    </a:lnTo>
                    <a:lnTo>
                      <a:pt x="950" y="262"/>
                    </a:lnTo>
                    <a:lnTo>
                      <a:pt x="950" y="260"/>
                    </a:lnTo>
                    <a:lnTo>
                      <a:pt x="950" y="257"/>
                    </a:lnTo>
                    <a:lnTo>
                      <a:pt x="946" y="253"/>
                    </a:lnTo>
                    <a:lnTo>
                      <a:pt x="946" y="257"/>
                    </a:lnTo>
                    <a:lnTo>
                      <a:pt x="946" y="262"/>
                    </a:lnTo>
                    <a:lnTo>
                      <a:pt x="946" y="264"/>
                    </a:lnTo>
                    <a:lnTo>
                      <a:pt x="945" y="264"/>
                    </a:lnTo>
                    <a:lnTo>
                      <a:pt x="937" y="264"/>
                    </a:lnTo>
                    <a:lnTo>
                      <a:pt x="931" y="264"/>
                    </a:lnTo>
                    <a:lnTo>
                      <a:pt x="928" y="264"/>
                    </a:lnTo>
                    <a:lnTo>
                      <a:pt x="922" y="264"/>
                    </a:lnTo>
                    <a:lnTo>
                      <a:pt x="918" y="264"/>
                    </a:lnTo>
                    <a:lnTo>
                      <a:pt x="918" y="264"/>
                    </a:lnTo>
                    <a:lnTo>
                      <a:pt x="913" y="270"/>
                    </a:lnTo>
                    <a:lnTo>
                      <a:pt x="909" y="270"/>
                    </a:lnTo>
                    <a:lnTo>
                      <a:pt x="903" y="270"/>
                    </a:lnTo>
                    <a:lnTo>
                      <a:pt x="898" y="274"/>
                    </a:lnTo>
                    <a:lnTo>
                      <a:pt x="898" y="274"/>
                    </a:lnTo>
                    <a:lnTo>
                      <a:pt x="898" y="277"/>
                    </a:lnTo>
                    <a:lnTo>
                      <a:pt x="892" y="279"/>
                    </a:lnTo>
                    <a:lnTo>
                      <a:pt x="894" y="283"/>
                    </a:lnTo>
                    <a:lnTo>
                      <a:pt x="894" y="285"/>
                    </a:lnTo>
                    <a:lnTo>
                      <a:pt x="894" y="287"/>
                    </a:lnTo>
                    <a:lnTo>
                      <a:pt x="894" y="290"/>
                    </a:lnTo>
                    <a:lnTo>
                      <a:pt x="894" y="290"/>
                    </a:lnTo>
                    <a:lnTo>
                      <a:pt x="892" y="294"/>
                    </a:lnTo>
                    <a:lnTo>
                      <a:pt x="894" y="294"/>
                    </a:lnTo>
                    <a:lnTo>
                      <a:pt x="892" y="298"/>
                    </a:lnTo>
                    <a:lnTo>
                      <a:pt x="890" y="304"/>
                    </a:lnTo>
                    <a:lnTo>
                      <a:pt x="888" y="304"/>
                    </a:lnTo>
                    <a:lnTo>
                      <a:pt x="886" y="304"/>
                    </a:lnTo>
                    <a:lnTo>
                      <a:pt x="884" y="309"/>
                    </a:lnTo>
                    <a:lnTo>
                      <a:pt x="882" y="311"/>
                    </a:lnTo>
                    <a:lnTo>
                      <a:pt x="882" y="313"/>
                    </a:lnTo>
                    <a:lnTo>
                      <a:pt x="879" y="313"/>
                    </a:lnTo>
                    <a:lnTo>
                      <a:pt x="879" y="315"/>
                    </a:lnTo>
                    <a:lnTo>
                      <a:pt x="875" y="319"/>
                    </a:lnTo>
                    <a:lnTo>
                      <a:pt x="875" y="319"/>
                    </a:lnTo>
                    <a:lnTo>
                      <a:pt x="873" y="321"/>
                    </a:lnTo>
                    <a:lnTo>
                      <a:pt x="875" y="315"/>
                    </a:lnTo>
                    <a:lnTo>
                      <a:pt x="873" y="313"/>
                    </a:lnTo>
                    <a:lnTo>
                      <a:pt x="869" y="313"/>
                    </a:lnTo>
                    <a:lnTo>
                      <a:pt x="867" y="309"/>
                    </a:lnTo>
                    <a:lnTo>
                      <a:pt x="866" y="307"/>
                    </a:lnTo>
                    <a:lnTo>
                      <a:pt x="867" y="304"/>
                    </a:lnTo>
                    <a:lnTo>
                      <a:pt x="873" y="298"/>
                    </a:lnTo>
                    <a:lnTo>
                      <a:pt x="869" y="298"/>
                    </a:lnTo>
                    <a:lnTo>
                      <a:pt x="866" y="304"/>
                    </a:lnTo>
                    <a:lnTo>
                      <a:pt x="864" y="307"/>
                    </a:lnTo>
                    <a:lnTo>
                      <a:pt x="864" y="309"/>
                    </a:lnTo>
                    <a:lnTo>
                      <a:pt x="866" y="311"/>
                    </a:lnTo>
                    <a:lnTo>
                      <a:pt x="866" y="317"/>
                    </a:lnTo>
                    <a:lnTo>
                      <a:pt x="867" y="319"/>
                    </a:lnTo>
                    <a:lnTo>
                      <a:pt x="869" y="324"/>
                    </a:lnTo>
                    <a:lnTo>
                      <a:pt x="869" y="328"/>
                    </a:lnTo>
                    <a:lnTo>
                      <a:pt x="867" y="338"/>
                    </a:lnTo>
                    <a:lnTo>
                      <a:pt x="862" y="339"/>
                    </a:lnTo>
                    <a:lnTo>
                      <a:pt x="860" y="347"/>
                    </a:lnTo>
                    <a:lnTo>
                      <a:pt x="858" y="351"/>
                    </a:lnTo>
                    <a:lnTo>
                      <a:pt x="858" y="353"/>
                    </a:lnTo>
                    <a:lnTo>
                      <a:pt x="856" y="355"/>
                    </a:lnTo>
                    <a:lnTo>
                      <a:pt x="856" y="353"/>
                    </a:lnTo>
                    <a:lnTo>
                      <a:pt x="856" y="351"/>
                    </a:lnTo>
                    <a:lnTo>
                      <a:pt x="852" y="358"/>
                    </a:lnTo>
                    <a:lnTo>
                      <a:pt x="850" y="358"/>
                    </a:lnTo>
                    <a:lnTo>
                      <a:pt x="850" y="362"/>
                    </a:lnTo>
                    <a:lnTo>
                      <a:pt x="850" y="358"/>
                    </a:lnTo>
                    <a:lnTo>
                      <a:pt x="850" y="355"/>
                    </a:lnTo>
                    <a:lnTo>
                      <a:pt x="852" y="351"/>
                    </a:lnTo>
                    <a:lnTo>
                      <a:pt x="852" y="347"/>
                    </a:lnTo>
                    <a:lnTo>
                      <a:pt x="854" y="345"/>
                    </a:lnTo>
                    <a:lnTo>
                      <a:pt x="854" y="343"/>
                    </a:lnTo>
                    <a:lnTo>
                      <a:pt x="858" y="341"/>
                    </a:lnTo>
                    <a:lnTo>
                      <a:pt x="852" y="341"/>
                    </a:lnTo>
                    <a:lnTo>
                      <a:pt x="850" y="339"/>
                    </a:lnTo>
                    <a:lnTo>
                      <a:pt x="852" y="338"/>
                    </a:lnTo>
                    <a:lnTo>
                      <a:pt x="852" y="338"/>
                    </a:lnTo>
                    <a:lnTo>
                      <a:pt x="850" y="338"/>
                    </a:lnTo>
                    <a:lnTo>
                      <a:pt x="850" y="334"/>
                    </a:lnTo>
                    <a:lnTo>
                      <a:pt x="849" y="338"/>
                    </a:lnTo>
                    <a:lnTo>
                      <a:pt x="845" y="332"/>
                    </a:lnTo>
                    <a:lnTo>
                      <a:pt x="845" y="328"/>
                    </a:lnTo>
                    <a:lnTo>
                      <a:pt x="849" y="324"/>
                    </a:lnTo>
                    <a:lnTo>
                      <a:pt x="849" y="321"/>
                    </a:lnTo>
                    <a:lnTo>
                      <a:pt x="849" y="315"/>
                    </a:lnTo>
                    <a:lnTo>
                      <a:pt x="849" y="311"/>
                    </a:lnTo>
                    <a:lnTo>
                      <a:pt x="852" y="309"/>
                    </a:lnTo>
                    <a:lnTo>
                      <a:pt x="850" y="307"/>
                    </a:lnTo>
                    <a:lnTo>
                      <a:pt x="852" y="304"/>
                    </a:lnTo>
                    <a:lnTo>
                      <a:pt x="850" y="304"/>
                    </a:lnTo>
                    <a:lnTo>
                      <a:pt x="850" y="304"/>
                    </a:lnTo>
                    <a:lnTo>
                      <a:pt x="850" y="307"/>
                    </a:lnTo>
                    <a:lnTo>
                      <a:pt x="845" y="311"/>
                    </a:lnTo>
                    <a:lnTo>
                      <a:pt x="845" y="313"/>
                    </a:lnTo>
                    <a:lnTo>
                      <a:pt x="843" y="313"/>
                    </a:lnTo>
                    <a:lnTo>
                      <a:pt x="845" y="315"/>
                    </a:lnTo>
                    <a:lnTo>
                      <a:pt x="845" y="317"/>
                    </a:lnTo>
                    <a:lnTo>
                      <a:pt x="845" y="323"/>
                    </a:lnTo>
                    <a:lnTo>
                      <a:pt x="845" y="324"/>
                    </a:lnTo>
                    <a:lnTo>
                      <a:pt x="845" y="328"/>
                    </a:lnTo>
                    <a:lnTo>
                      <a:pt x="845" y="332"/>
                    </a:lnTo>
                    <a:lnTo>
                      <a:pt x="845" y="338"/>
                    </a:lnTo>
                    <a:lnTo>
                      <a:pt x="843" y="338"/>
                    </a:lnTo>
                    <a:lnTo>
                      <a:pt x="839" y="332"/>
                    </a:lnTo>
                    <a:lnTo>
                      <a:pt x="834" y="332"/>
                    </a:lnTo>
                    <a:lnTo>
                      <a:pt x="832" y="328"/>
                    </a:lnTo>
                    <a:lnTo>
                      <a:pt x="830" y="328"/>
                    </a:lnTo>
                    <a:lnTo>
                      <a:pt x="830" y="328"/>
                    </a:lnTo>
                    <a:lnTo>
                      <a:pt x="832" y="323"/>
                    </a:lnTo>
                    <a:lnTo>
                      <a:pt x="828" y="324"/>
                    </a:lnTo>
                    <a:lnTo>
                      <a:pt x="828" y="328"/>
                    </a:lnTo>
                    <a:lnTo>
                      <a:pt x="832" y="332"/>
                    </a:lnTo>
                    <a:lnTo>
                      <a:pt x="834" y="334"/>
                    </a:lnTo>
                    <a:lnTo>
                      <a:pt x="837" y="338"/>
                    </a:lnTo>
                    <a:lnTo>
                      <a:pt x="843" y="341"/>
                    </a:lnTo>
                    <a:lnTo>
                      <a:pt x="845" y="343"/>
                    </a:lnTo>
                    <a:lnTo>
                      <a:pt x="845" y="345"/>
                    </a:lnTo>
                    <a:lnTo>
                      <a:pt x="845" y="351"/>
                    </a:lnTo>
                    <a:lnTo>
                      <a:pt x="841" y="349"/>
                    </a:lnTo>
                    <a:lnTo>
                      <a:pt x="841" y="347"/>
                    </a:lnTo>
                    <a:lnTo>
                      <a:pt x="839" y="345"/>
                    </a:lnTo>
                    <a:lnTo>
                      <a:pt x="841" y="351"/>
                    </a:lnTo>
                    <a:lnTo>
                      <a:pt x="845" y="353"/>
                    </a:lnTo>
                    <a:lnTo>
                      <a:pt x="845" y="356"/>
                    </a:lnTo>
                    <a:lnTo>
                      <a:pt x="845" y="356"/>
                    </a:lnTo>
                    <a:lnTo>
                      <a:pt x="845" y="358"/>
                    </a:lnTo>
                    <a:lnTo>
                      <a:pt x="839" y="358"/>
                    </a:lnTo>
                    <a:lnTo>
                      <a:pt x="845" y="362"/>
                    </a:lnTo>
                    <a:lnTo>
                      <a:pt x="843" y="362"/>
                    </a:lnTo>
                    <a:lnTo>
                      <a:pt x="841" y="362"/>
                    </a:lnTo>
                    <a:lnTo>
                      <a:pt x="839" y="358"/>
                    </a:lnTo>
                    <a:lnTo>
                      <a:pt x="834" y="358"/>
                    </a:lnTo>
                    <a:lnTo>
                      <a:pt x="832" y="358"/>
                    </a:lnTo>
                    <a:lnTo>
                      <a:pt x="834" y="362"/>
                    </a:lnTo>
                    <a:lnTo>
                      <a:pt x="837" y="362"/>
                    </a:lnTo>
                    <a:lnTo>
                      <a:pt x="839" y="362"/>
                    </a:lnTo>
                    <a:lnTo>
                      <a:pt x="841" y="366"/>
                    </a:lnTo>
                    <a:lnTo>
                      <a:pt x="845" y="366"/>
                    </a:lnTo>
                    <a:lnTo>
                      <a:pt x="845" y="366"/>
                    </a:lnTo>
                    <a:lnTo>
                      <a:pt x="849" y="368"/>
                    </a:lnTo>
                    <a:lnTo>
                      <a:pt x="849" y="371"/>
                    </a:lnTo>
                    <a:lnTo>
                      <a:pt x="849" y="375"/>
                    </a:lnTo>
                    <a:lnTo>
                      <a:pt x="845" y="373"/>
                    </a:lnTo>
                    <a:lnTo>
                      <a:pt x="845" y="375"/>
                    </a:lnTo>
                    <a:lnTo>
                      <a:pt x="845" y="377"/>
                    </a:lnTo>
                    <a:lnTo>
                      <a:pt x="849" y="381"/>
                    </a:lnTo>
                    <a:lnTo>
                      <a:pt x="845" y="383"/>
                    </a:lnTo>
                    <a:lnTo>
                      <a:pt x="845" y="383"/>
                    </a:lnTo>
                    <a:lnTo>
                      <a:pt x="843" y="383"/>
                    </a:lnTo>
                    <a:lnTo>
                      <a:pt x="839" y="387"/>
                    </a:lnTo>
                    <a:lnTo>
                      <a:pt x="835" y="387"/>
                    </a:lnTo>
                    <a:lnTo>
                      <a:pt x="834" y="387"/>
                    </a:lnTo>
                    <a:lnTo>
                      <a:pt x="832" y="383"/>
                    </a:lnTo>
                    <a:lnTo>
                      <a:pt x="830" y="383"/>
                    </a:lnTo>
                    <a:lnTo>
                      <a:pt x="830" y="388"/>
                    </a:lnTo>
                    <a:lnTo>
                      <a:pt x="830" y="392"/>
                    </a:lnTo>
                    <a:lnTo>
                      <a:pt x="834" y="388"/>
                    </a:lnTo>
                    <a:lnTo>
                      <a:pt x="841" y="388"/>
                    </a:lnTo>
                    <a:lnTo>
                      <a:pt x="843" y="388"/>
                    </a:lnTo>
                    <a:lnTo>
                      <a:pt x="843" y="394"/>
                    </a:lnTo>
                    <a:lnTo>
                      <a:pt x="845" y="396"/>
                    </a:lnTo>
                    <a:lnTo>
                      <a:pt x="845" y="392"/>
                    </a:lnTo>
                    <a:lnTo>
                      <a:pt x="849" y="388"/>
                    </a:lnTo>
                    <a:lnTo>
                      <a:pt x="849" y="388"/>
                    </a:lnTo>
                    <a:lnTo>
                      <a:pt x="849" y="392"/>
                    </a:lnTo>
                    <a:lnTo>
                      <a:pt x="849" y="396"/>
                    </a:lnTo>
                    <a:lnTo>
                      <a:pt x="849" y="396"/>
                    </a:lnTo>
                    <a:lnTo>
                      <a:pt x="845" y="400"/>
                    </a:lnTo>
                    <a:lnTo>
                      <a:pt x="843" y="404"/>
                    </a:lnTo>
                    <a:lnTo>
                      <a:pt x="841" y="404"/>
                    </a:lnTo>
                    <a:lnTo>
                      <a:pt x="839" y="402"/>
                    </a:lnTo>
                    <a:lnTo>
                      <a:pt x="835" y="404"/>
                    </a:lnTo>
                    <a:lnTo>
                      <a:pt x="834" y="398"/>
                    </a:lnTo>
                    <a:lnTo>
                      <a:pt x="834" y="402"/>
                    </a:lnTo>
                    <a:lnTo>
                      <a:pt x="832" y="402"/>
                    </a:lnTo>
                    <a:lnTo>
                      <a:pt x="828" y="402"/>
                    </a:lnTo>
                    <a:lnTo>
                      <a:pt x="826" y="402"/>
                    </a:lnTo>
                    <a:lnTo>
                      <a:pt x="828" y="404"/>
                    </a:lnTo>
                    <a:lnTo>
                      <a:pt x="832" y="404"/>
                    </a:lnTo>
                    <a:lnTo>
                      <a:pt x="834" y="405"/>
                    </a:lnTo>
                    <a:lnTo>
                      <a:pt x="832" y="407"/>
                    </a:lnTo>
                    <a:lnTo>
                      <a:pt x="832" y="409"/>
                    </a:lnTo>
                    <a:lnTo>
                      <a:pt x="828" y="411"/>
                    </a:lnTo>
                    <a:lnTo>
                      <a:pt x="824" y="411"/>
                    </a:lnTo>
                    <a:lnTo>
                      <a:pt x="826" y="413"/>
                    </a:lnTo>
                    <a:lnTo>
                      <a:pt x="832" y="413"/>
                    </a:lnTo>
                    <a:lnTo>
                      <a:pt x="835" y="411"/>
                    </a:lnTo>
                    <a:lnTo>
                      <a:pt x="835" y="411"/>
                    </a:lnTo>
                    <a:lnTo>
                      <a:pt x="837" y="413"/>
                    </a:lnTo>
                    <a:lnTo>
                      <a:pt x="834" y="417"/>
                    </a:lnTo>
                    <a:lnTo>
                      <a:pt x="830" y="417"/>
                    </a:lnTo>
                    <a:lnTo>
                      <a:pt x="830" y="413"/>
                    </a:lnTo>
                    <a:lnTo>
                      <a:pt x="828" y="413"/>
                    </a:lnTo>
                    <a:lnTo>
                      <a:pt x="826" y="417"/>
                    </a:lnTo>
                    <a:lnTo>
                      <a:pt x="824" y="417"/>
                    </a:lnTo>
                    <a:lnTo>
                      <a:pt x="815" y="420"/>
                    </a:lnTo>
                    <a:lnTo>
                      <a:pt x="803" y="428"/>
                    </a:lnTo>
                    <a:lnTo>
                      <a:pt x="802" y="436"/>
                    </a:lnTo>
                    <a:lnTo>
                      <a:pt x="800" y="436"/>
                    </a:lnTo>
                    <a:lnTo>
                      <a:pt x="798" y="434"/>
                    </a:lnTo>
                    <a:lnTo>
                      <a:pt x="794" y="436"/>
                    </a:lnTo>
                    <a:lnTo>
                      <a:pt x="790" y="437"/>
                    </a:lnTo>
                    <a:lnTo>
                      <a:pt x="783" y="447"/>
                    </a:lnTo>
                    <a:lnTo>
                      <a:pt x="783" y="451"/>
                    </a:lnTo>
                    <a:lnTo>
                      <a:pt x="779" y="451"/>
                    </a:lnTo>
                    <a:lnTo>
                      <a:pt x="777" y="451"/>
                    </a:lnTo>
                    <a:lnTo>
                      <a:pt x="777" y="452"/>
                    </a:lnTo>
                    <a:lnTo>
                      <a:pt x="773" y="456"/>
                    </a:lnTo>
                    <a:lnTo>
                      <a:pt x="771" y="456"/>
                    </a:lnTo>
                    <a:lnTo>
                      <a:pt x="770" y="456"/>
                    </a:lnTo>
                    <a:lnTo>
                      <a:pt x="770" y="458"/>
                    </a:lnTo>
                    <a:lnTo>
                      <a:pt x="766" y="458"/>
                    </a:lnTo>
                    <a:lnTo>
                      <a:pt x="762" y="462"/>
                    </a:lnTo>
                    <a:lnTo>
                      <a:pt x="756" y="462"/>
                    </a:lnTo>
                    <a:lnTo>
                      <a:pt x="756" y="464"/>
                    </a:lnTo>
                    <a:lnTo>
                      <a:pt x="753" y="464"/>
                    </a:lnTo>
                    <a:lnTo>
                      <a:pt x="753" y="466"/>
                    </a:lnTo>
                    <a:lnTo>
                      <a:pt x="747" y="466"/>
                    </a:lnTo>
                    <a:lnTo>
                      <a:pt x="747" y="468"/>
                    </a:lnTo>
                    <a:lnTo>
                      <a:pt x="747" y="468"/>
                    </a:lnTo>
                    <a:lnTo>
                      <a:pt x="747" y="471"/>
                    </a:lnTo>
                    <a:lnTo>
                      <a:pt x="745" y="475"/>
                    </a:lnTo>
                    <a:lnTo>
                      <a:pt x="745" y="475"/>
                    </a:lnTo>
                    <a:lnTo>
                      <a:pt x="741" y="477"/>
                    </a:lnTo>
                    <a:lnTo>
                      <a:pt x="738" y="477"/>
                    </a:lnTo>
                    <a:lnTo>
                      <a:pt x="736" y="483"/>
                    </a:lnTo>
                    <a:lnTo>
                      <a:pt x="732" y="488"/>
                    </a:lnTo>
                    <a:lnTo>
                      <a:pt x="732" y="494"/>
                    </a:lnTo>
                    <a:lnTo>
                      <a:pt x="732" y="505"/>
                    </a:lnTo>
                    <a:lnTo>
                      <a:pt x="732" y="511"/>
                    </a:lnTo>
                    <a:lnTo>
                      <a:pt x="732" y="518"/>
                    </a:lnTo>
                    <a:lnTo>
                      <a:pt x="732" y="524"/>
                    </a:lnTo>
                    <a:lnTo>
                      <a:pt x="736" y="532"/>
                    </a:lnTo>
                    <a:lnTo>
                      <a:pt x="736" y="535"/>
                    </a:lnTo>
                    <a:lnTo>
                      <a:pt x="738" y="545"/>
                    </a:lnTo>
                    <a:lnTo>
                      <a:pt x="741" y="547"/>
                    </a:lnTo>
                    <a:lnTo>
                      <a:pt x="741" y="550"/>
                    </a:lnTo>
                    <a:lnTo>
                      <a:pt x="741" y="556"/>
                    </a:lnTo>
                    <a:lnTo>
                      <a:pt x="738" y="560"/>
                    </a:lnTo>
                    <a:lnTo>
                      <a:pt x="741" y="564"/>
                    </a:lnTo>
                    <a:lnTo>
                      <a:pt x="741" y="575"/>
                    </a:lnTo>
                    <a:lnTo>
                      <a:pt x="745" y="577"/>
                    </a:lnTo>
                    <a:lnTo>
                      <a:pt x="747" y="582"/>
                    </a:lnTo>
                    <a:lnTo>
                      <a:pt x="745" y="584"/>
                    </a:lnTo>
                    <a:lnTo>
                      <a:pt x="745" y="586"/>
                    </a:lnTo>
                    <a:lnTo>
                      <a:pt x="745" y="594"/>
                    </a:lnTo>
                    <a:lnTo>
                      <a:pt x="745" y="594"/>
                    </a:lnTo>
                    <a:lnTo>
                      <a:pt x="745" y="599"/>
                    </a:lnTo>
                    <a:lnTo>
                      <a:pt x="741" y="603"/>
                    </a:lnTo>
                    <a:lnTo>
                      <a:pt x="741" y="609"/>
                    </a:lnTo>
                    <a:lnTo>
                      <a:pt x="738" y="613"/>
                    </a:lnTo>
                    <a:lnTo>
                      <a:pt x="736" y="616"/>
                    </a:lnTo>
                    <a:lnTo>
                      <a:pt x="736" y="618"/>
                    </a:lnTo>
                    <a:lnTo>
                      <a:pt x="732" y="620"/>
                    </a:lnTo>
                    <a:lnTo>
                      <a:pt x="728" y="618"/>
                    </a:lnTo>
                    <a:lnTo>
                      <a:pt x="726" y="616"/>
                    </a:lnTo>
                    <a:lnTo>
                      <a:pt x="722" y="614"/>
                    </a:lnTo>
                    <a:lnTo>
                      <a:pt x="724" y="614"/>
                    </a:lnTo>
                    <a:lnTo>
                      <a:pt x="721" y="611"/>
                    </a:lnTo>
                    <a:lnTo>
                      <a:pt x="721" y="607"/>
                    </a:lnTo>
                    <a:lnTo>
                      <a:pt x="721" y="603"/>
                    </a:lnTo>
                    <a:lnTo>
                      <a:pt x="715" y="603"/>
                    </a:lnTo>
                    <a:lnTo>
                      <a:pt x="713" y="603"/>
                    </a:lnTo>
                    <a:lnTo>
                      <a:pt x="713" y="599"/>
                    </a:lnTo>
                    <a:lnTo>
                      <a:pt x="713" y="594"/>
                    </a:lnTo>
                    <a:lnTo>
                      <a:pt x="707" y="590"/>
                    </a:lnTo>
                    <a:lnTo>
                      <a:pt x="707" y="590"/>
                    </a:lnTo>
                    <a:lnTo>
                      <a:pt x="711" y="588"/>
                    </a:lnTo>
                    <a:lnTo>
                      <a:pt x="711" y="584"/>
                    </a:lnTo>
                    <a:lnTo>
                      <a:pt x="713" y="581"/>
                    </a:lnTo>
                    <a:lnTo>
                      <a:pt x="711" y="582"/>
                    </a:lnTo>
                    <a:lnTo>
                      <a:pt x="707" y="581"/>
                    </a:lnTo>
                    <a:lnTo>
                      <a:pt x="707" y="582"/>
                    </a:lnTo>
                    <a:lnTo>
                      <a:pt x="707" y="584"/>
                    </a:lnTo>
                    <a:lnTo>
                      <a:pt x="707" y="581"/>
                    </a:lnTo>
                    <a:lnTo>
                      <a:pt x="706" y="581"/>
                    </a:lnTo>
                    <a:lnTo>
                      <a:pt x="706" y="579"/>
                    </a:lnTo>
                    <a:lnTo>
                      <a:pt x="702" y="577"/>
                    </a:lnTo>
                    <a:lnTo>
                      <a:pt x="702" y="573"/>
                    </a:lnTo>
                    <a:lnTo>
                      <a:pt x="702" y="569"/>
                    </a:lnTo>
                    <a:lnTo>
                      <a:pt x="706" y="566"/>
                    </a:lnTo>
                    <a:lnTo>
                      <a:pt x="706" y="560"/>
                    </a:lnTo>
                    <a:lnTo>
                      <a:pt x="704" y="560"/>
                    </a:lnTo>
                    <a:lnTo>
                      <a:pt x="702" y="560"/>
                    </a:lnTo>
                    <a:lnTo>
                      <a:pt x="702" y="564"/>
                    </a:lnTo>
                    <a:lnTo>
                      <a:pt x="700" y="566"/>
                    </a:lnTo>
                    <a:lnTo>
                      <a:pt x="700" y="566"/>
                    </a:lnTo>
                    <a:lnTo>
                      <a:pt x="696" y="564"/>
                    </a:lnTo>
                    <a:lnTo>
                      <a:pt x="696" y="560"/>
                    </a:lnTo>
                    <a:lnTo>
                      <a:pt x="700" y="552"/>
                    </a:lnTo>
                    <a:lnTo>
                      <a:pt x="704" y="545"/>
                    </a:lnTo>
                    <a:lnTo>
                      <a:pt x="704" y="539"/>
                    </a:lnTo>
                    <a:lnTo>
                      <a:pt x="702" y="535"/>
                    </a:lnTo>
                    <a:lnTo>
                      <a:pt x="698" y="535"/>
                    </a:lnTo>
                    <a:lnTo>
                      <a:pt x="696" y="532"/>
                    </a:lnTo>
                    <a:lnTo>
                      <a:pt x="696" y="532"/>
                    </a:lnTo>
                    <a:lnTo>
                      <a:pt x="694" y="532"/>
                    </a:lnTo>
                    <a:lnTo>
                      <a:pt x="692" y="530"/>
                    </a:lnTo>
                    <a:lnTo>
                      <a:pt x="692" y="526"/>
                    </a:lnTo>
                    <a:lnTo>
                      <a:pt x="690" y="526"/>
                    </a:lnTo>
                    <a:lnTo>
                      <a:pt x="689" y="522"/>
                    </a:lnTo>
                    <a:lnTo>
                      <a:pt x="687" y="517"/>
                    </a:lnTo>
                    <a:lnTo>
                      <a:pt x="683" y="515"/>
                    </a:lnTo>
                    <a:lnTo>
                      <a:pt x="681" y="515"/>
                    </a:lnTo>
                    <a:lnTo>
                      <a:pt x="677" y="515"/>
                    </a:lnTo>
                    <a:lnTo>
                      <a:pt x="674" y="517"/>
                    </a:lnTo>
                    <a:lnTo>
                      <a:pt x="674" y="517"/>
                    </a:lnTo>
                    <a:lnTo>
                      <a:pt x="674" y="518"/>
                    </a:lnTo>
                    <a:lnTo>
                      <a:pt x="672" y="517"/>
                    </a:lnTo>
                    <a:lnTo>
                      <a:pt x="668" y="522"/>
                    </a:lnTo>
                    <a:lnTo>
                      <a:pt x="664" y="522"/>
                    </a:lnTo>
                    <a:lnTo>
                      <a:pt x="658" y="524"/>
                    </a:lnTo>
                    <a:lnTo>
                      <a:pt x="657" y="522"/>
                    </a:lnTo>
                    <a:lnTo>
                      <a:pt x="657" y="520"/>
                    </a:lnTo>
                    <a:lnTo>
                      <a:pt x="658" y="522"/>
                    </a:lnTo>
                    <a:lnTo>
                      <a:pt x="658" y="520"/>
                    </a:lnTo>
                    <a:lnTo>
                      <a:pt x="658" y="518"/>
                    </a:lnTo>
                    <a:lnTo>
                      <a:pt x="657" y="517"/>
                    </a:lnTo>
                    <a:lnTo>
                      <a:pt x="653" y="515"/>
                    </a:lnTo>
                    <a:lnTo>
                      <a:pt x="653" y="515"/>
                    </a:lnTo>
                    <a:lnTo>
                      <a:pt x="657" y="515"/>
                    </a:lnTo>
                    <a:lnTo>
                      <a:pt x="657" y="515"/>
                    </a:lnTo>
                    <a:lnTo>
                      <a:pt x="653" y="511"/>
                    </a:lnTo>
                    <a:lnTo>
                      <a:pt x="653" y="511"/>
                    </a:lnTo>
                    <a:lnTo>
                      <a:pt x="651" y="507"/>
                    </a:lnTo>
                    <a:lnTo>
                      <a:pt x="651" y="511"/>
                    </a:lnTo>
                    <a:lnTo>
                      <a:pt x="653" y="515"/>
                    </a:lnTo>
                    <a:lnTo>
                      <a:pt x="649" y="511"/>
                    </a:lnTo>
                    <a:lnTo>
                      <a:pt x="645" y="507"/>
                    </a:lnTo>
                    <a:lnTo>
                      <a:pt x="642" y="507"/>
                    </a:lnTo>
                    <a:lnTo>
                      <a:pt x="636" y="507"/>
                    </a:lnTo>
                    <a:lnTo>
                      <a:pt x="636" y="507"/>
                    </a:lnTo>
                    <a:lnTo>
                      <a:pt x="642" y="507"/>
                    </a:lnTo>
                    <a:lnTo>
                      <a:pt x="643" y="505"/>
                    </a:lnTo>
                    <a:lnTo>
                      <a:pt x="643" y="505"/>
                    </a:lnTo>
                    <a:lnTo>
                      <a:pt x="638" y="505"/>
                    </a:lnTo>
                    <a:lnTo>
                      <a:pt x="634" y="507"/>
                    </a:lnTo>
                    <a:lnTo>
                      <a:pt x="632" y="507"/>
                    </a:lnTo>
                    <a:lnTo>
                      <a:pt x="628" y="507"/>
                    </a:lnTo>
                    <a:lnTo>
                      <a:pt x="626" y="505"/>
                    </a:lnTo>
                    <a:lnTo>
                      <a:pt x="623" y="507"/>
                    </a:lnTo>
                    <a:lnTo>
                      <a:pt x="617" y="507"/>
                    </a:lnTo>
                    <a:lnTo>
                      <a:pt x="615" y="507"/>
                    </a:lnTo>
                    <a:lnTo>
                      <a:pt x="611" y="505"/>
                    </a:lnTo>
                    <a:lnTo>
                      <a:pt x="610" y="501"/>
                    </a:lnTo>
                    <a:lnTo>
                      <a:pt x="611" y="501"/>
                    </a:lnTo>
                    <a:lnTo>
                      <a:pt x="608" y="501"/>
                    </a:lnTo>
                    <a:lnTo>
                      <a:pt x="608" y="505"/>
                    </a:lnTo>
                    <a:lnTo>
                      <a:pt x="608" y="505"/>
                    </a:lnTo>
                    <a:lnTo>
                      <a:pt x="604" y="505"/>
                    </a:lnTo>
                    <a:lnTo>
                      <a:pt x="602" y="505"/>
                    </a:lnTo>
                    <a:lnTo>
                      <a:pt x="594" y="505"/>
                    </a:lnTo>
                    <a:lnTo>
                      <a:pt x="585" y="507"/>
                    </a:lnTo>
                    <a:lnTo>
                      <a:pt x="583" y="511"/>
                    </a:lnTo>
                    <a:lnTo>
                      <a:pt x="576" y="515"/>
                    </a:lnTo>
                    <a:lnTo>
                      <a:pt x="574" y="517"/>
                    </a:lnTo>
                    <a:lnTo>
                      <a:pt x="574" y="520"/>
                    </a:lnTo>
                    <a:lnTo>
                      <a:pt x="576" y="518"/>
                    </a:lnTo>
                    <a:lnTo>
                      <a:pt x="579" y="517"/>
                    </a:lnTo>
                    <a:lnTo>
                      <a:pt x="579" y="517"/>
                    </a:lnTo>
                    <a:lnTo>
                      <a:pt x="579" y="518"/>
                    </a:lnTo>
                    <a:lnTo>
                      <a:pt x="583" y="520"/>
                    </a:lnTo>
                    <a:lnTo>
                      <a:pt x="583" y="520"/>
                    </a:lnTo>
                    <a:lnTo>
                      <a:pt x="576" y="524"/>
                    </a:lnTo>
                    <a:lnTo>
                      <a:pt x="576" y="526"/>
                    </a:lnTo>
                    <a:lnTo>
                      <a:pt x="579" y="530"/>
                    </a:lnTo>
                    <a:lnTo>
                      <a:pt x="583" y="532"/>
                    </a:lnTo>
                    <a:lnTo>
                      <a:pt x="589" y="535"/>
                    </a:lnTo>
                    <a:lnTo>
                      <a:pt x="587" y="535"/>
                    </a:lnTo>
                    <a:lnTo>
                      <a:pt x="585" y="535"/>
                    </a:lnTo>
                    <a:lnTo>
                      <a:pt x="583" y="539"/>
                    </a:lnTo>
                    <a:lnTo>
                      <a:pt x="583" y="535"/>
                    </a:lnTo>
                    <a:lnTo>
                      <a:pt x="583" y="535"/>
                    </a:lnTo>
                    <a:lnTo>
                      <a:pt x="579" y="535"/>
                    </a:lnTo>
                    <a:lnTo>
                      <a:pt x="579" y="532"/>
                    </a:lnTo>
                    <a:lnTo>
                      <a:pt x="574" y="532"/>
                    </a:lnTo>
                    <a:lnTo>
                      <a:pt x="574" y="526"/>
                    </a:lnTo>
                    <a:lnTo>
                      <a:pt x="570" y="526"/>
                    </a:lnTo>
                    <a:lnTo>
                      <a:pt x="570" y="530"/>
                    </a:lnTo>
                    <a:lnTo>
                      <a:pt x="570" y="535"/>
                    </a:lnTo>
                    <a:lnTo>
                      <a:pt x="568" y="535"/>
                    </a:lnTo>
                    <a:lnTo>
                      <a:pt x="566" y="535"/>
                    </a:lnTo>
                    <a:lnTo>
                      <a:pt x="564" y="532"/>
                    </a:lnTo>
                    <a:lnTo>
                      <a:pt x="561" y="535"/>
                    </a:lnTo>
                    <a:lnTo>
                      <a:pt x="559" y="535"/>
                    </a:lnTo>
                    <a:lnTo>
                      <a:pt x="553" y="535"/>
                    </a:lnTo>
                    <a:lnTo>
                      <a:pt x="551" y="532"/>
                    </a:lnTo>
                    <a:lnTo>
                      <a:pt x="549" y="532"/>
                    </a:lnTo>
                    <a:lnTo>
                      <a:pt x="546" y="532"/>
                    </a:lnTo>
                    <a:lnTo>
                      <a:pt x="549" y="532"/>
                    </a:lnTo>
                    <a:lnTo>
                      <a:pt x="549" y="530"/>
                    </a:lnTo>
                    <a:lnTo>
                      <a:pt x="549" y="526"/>
                    </a:lnTo>
                    <a:lnTo>
                      <a:pt x="546" y="526"/>
                    </a:lnTo>
                    <a:lnTo>
                      <a:pt x="546" y="526"/>
                    </a:lnTo>
                    <a:lnTo>
                      <a:pt x="546" y="522"/>
                    </a:lnTo>
                    <a:lnTo>
                      <a:pt x="544" y="522"/>
                    </a:lnTo>
                    <a:lnTo>
                      <a:pt x="542" y="522"/>
                    </a:lnTo>
                    <a:lnTo>
                      <a:pt x="540" y="522"/>
                    </a:lnTo>
                    <a:lnTo>
                      <a:pt x="540" y="520"/>
                    </a:lnTo>
                    <a:lnTo>
                      <a:pt x="538" y="518"/>
                    </a:lnTo>
                    <a:lnTo>
                      <a:pt x="534" y="520"/>
                    </a:lnTo>
                    <a:lnTo>
                      <a:pt x="534" y="522"/>
                    </a:lnTo>
                    <a:lnTo>
                      <a:pt x="534" y="524"/>
                    </a:lnTo>
                    <a:lnTo>
                      <a:pt x="530" y="526"/>
                    </a:lnTo>
                    <a:lnTo>
                      <a:pt x="521" y="524"/>
                    </a:lnTo>
                    <a:lnTo>
                      <a:pt x="521" y="522"/>
                    </a:lnTo>
                    <a:lnTo>
                      <a:pt x="512" y="520"/>
                    </a:lnTo>
                    <a:lnTo>
                      <a:pt x="506" y="520"/>
                    </a:lnTo>
                    <a:lnTo>
                      <a:pt x="500" y="522"/>
                    </a:lnTo>
                    <a:lnTo>
                      <a:pt x="497" y="522"/>
                    </a:lnTo>
                    <a:lnTo>
                      <a:pt x="495" y="524"/>
                    </a:lnTo>
                    <a:lnTo>
                      <a:pt x="491" y="526"/>
                    </a:lnTo>
                    <a:lnTo>
                      <a:pt x="487" y="526"/>
                    </a:lnTo>
                    <a:lnTo>
                      <a:pt x="489" y="526"/>
                    </a:lnTo>
                    <a:lnTo>
                      <a:pt x="487" y="522"/>
                    </a:lnTo>
                    <a:lnTo>
                      <a:pt x="489" y="518"/>
                    </a:lnTo>
                    <a:lnTo>
                      <a:pt x="489" y="515"/>
                    </a:lnTo>
                    <a:lnTo>
                      <a:pt x="487" y="517"/>
                    </a:lnTo>
                    <a:lnTo>
                      <a:pt x="483" y="520"/>
                    </a:lnTo>
                    <a:lnTo>
                      <a:pt x="482" y="520"/>
                    </a:lnTo>
                    <a:lnTo>
                      <a:pt x="480" y="518"/>
                    </a:lnTo>
                    <a:lnTo>
                      <a:pt x="482" y="524"/>
                    </a:lnTo>
                    <a:lnTo>
                      <a:pt x="482" y="526"/>
                    </a:lnTo>
                    <a:lnTo>
                      <a:pt x="483" y="532"/>
                    </a:lnTo>
                    <a:lnTo>
                      <a:pt x="482" y="532"/>
                    </a:lnTo>
                    <a:lnTo>
                      <a:pt x="478" y="532"/>
                    </a:lnTo>
                    <a:lnTo>
                      <a:pt x="472" y="539"/>
                    </a:lnTo>
                    <a:lnTo>
                      <a:pt x="465" y="541"/>
                    </a:lnTo>
                    <a:lnTo>
                      <a:pt x="463" y="541"/>
                    </a:lnTo>
                    <a:lnTo>
                      <a:pt x="459" y="545"/>
                    </a:lnTo>
                    <a:lnTo>
                      <a:pt x="457" y="545"/>
                    </a:lnTo>
                    <a:lnTo>
                      <a:pt x="459" y="541"/>
                    </a:lnTo>
                    <a:lnTo>
                      <a:pt x="457" y="539"/>
                    </a:lnTo>
                    <a:lnTo>
                      <a:pt x="455" y="541"/>
                    </a:lnTo>
                    <a:lnTo>
                      <a:pt x="453" y="539"/>
                    </a:lnTo>
                    <a:lnTo>
                      <a:pt x="450" y="541"/>
                    </a:lnTo>
                    <a:lnTo>
                      <a:pt x="451" y="543"/>
                    </a:lnTo>
                    <a:lnTo>
                      <a:pt x="448" y="545"/>
                    </a:lnTo>
                    <a:lnTo>
                      <a:pt x="446" y="543"/>
                    </a:lnTo>
                    <a:lnTo>
                      <a:pt x="446" y="549"/>
                    </a:lnTo>
                    <a:lnTo>
                      <a:pt x="442" y="550"/>
                    </a:lnTo>
                    <a:lnTo>
                      <a:pt x="442" y="549"/>
                    </a:lnTo>
                    <a:lnTo>
                      <a:pt x="438" y="554"/>
                    </a:lnTo>
                    <a:lnTo>
                      <a:pt x="442" y="556"/>
                    </a:lnTo>
                    <a:lnTo>
                      <a:pt x="436" y="560"/>
                    </a:lnTo>
                    <a:lnTo>
                      <a:pt x="433" y="560"/>
                    </a:lnTo>
                    <a:lnTo>
                      <a:pt x="436" y="566"/>
                    </a:lnTo>
                    <a:lnTo>
                      <a:pt x="433" y="569"/>
                    </a:lnTo>
                    <a:lnTo>
                      <a:pt x="431" y="575"/>
                    </a:lnTo>
                    <a:lnTo>
                      <a:pt x="429" y="581"/>
                    </a:lnTo>
                    <a:lnTo>
                      <a:pt x="431" y="584"/>
                    </a:lnTo>
                    <a:lnTo>
                      <a:pt x="431" y="590"/>
                    </a:lnTo>
                    <a:lnTo>
                      <a:pt x="431" y="594"/>
                    </a:lnTo>
                    <a:lnTo>
                      <a:pt x="431" y="599"/>
                    </a:lnTo>
                    <a:lnTo>
                      <a:pt x="427" y="603"/>
                    </a:lnTo>
                    <a:lnTo>
                      <a:pt x="427" y="601"/>
                    </a:lnTo>
                    <a:lnTo>
                      <a:pt x="425" y="599"/>
                    </a:lnTo>
                    <a:lnTo>
                      <a:pt x="421" y="599"/>
                    </a:lnTo>
                    <a:lnTo>
                      <a:pt x="418" y="599"/>
                    </a:lnTo>
                    <a:lnTo>
                      <a:pt x="412" y="594"/>
                    </a:lnTo>
                    <a:lnTo>
                      <a:pt x="408" y="594"/>
                    </a:lnTo>
                    <a:lnTo>
                      <a:pt x="408" y="590"/>
                    </a:lnTo>
                    <a:lnTo>
                      <a:pt x="404" y="590"/>
                    </a:lnTo>
                    <a:lnTo>
                      <a:pt x="402" y="590"/>
                    </a:lnTo>
                    <a:lnTo>
                      <a:pt x="402" y="590"/>
                    </a:lnTo>
                    <a:lnTo>
                      <a:pt x="401" y="588"/>
                    </a:lnTo>
                    <a:lnTo>
                      <a:pt x="401" y="584"/>
                    </a:lnTo>
                    <a:lnTo>
                      <a:pt x="397" y="573"/>
                    </a:lnTo>
                    <a:lnTo>
                      <a:pt x="397" y="571"/>
                    </a:lnTo>
                    <a:lnTo>
                      <a:pt x="397" y="569"/>
                    </a:lnTo>
                    <a:lnTo>
                      <a:pt x="397" y="569"/>
                    </a:lnTo>
                    <a:lnTo>
                      <a:pt x="397" y="566"/>
                    </a:lnTo>
                    <a:lnTo>
                      <a:pt x="393" y="560"/>
                    </a:lnTo>
                    <a:lnTo>
                      <a:pt x="391" y="556"/>
                    </a:lnTo>
                    <a:lnTo>
                      <a:pt x="391" y="554"/>
                    </a:lnTo>
                    <a:lnTo>
                      <a:pt x="387" y="552"/>
                    </a:lnTo>
                    <a:lnTo>
                      <a:pt x="387" y="550"/>
                    </a:lnTo>
                    <a:lnTo>
                      <a:pt x="387" y="549"/>
                    </a:lnTo>
                    <a:lnTo>
                      <a:pt x="384" y="541"/>
                    </a:lnTo>
                    <a:lnTo>
                      <a:pt x="384" y="539"/>
                    </a:lnTo>
                    <a:lnTo>
                      <a:pt x="382" y="539"/>
                    </a:lnTo>
                    <a:lnTo>
                      <a:pt x="382" y="535"/>
                    </a:lnTo>
                    <a:lnTo>
                      <a:pt x="382" y="532"/>
                    </a:lnTo>
                    <a:lnTo>
                      <a:pt x="380" y="532"/>
                    </a:lnTo>
                    <a:lnTo>
                      <a:pt x="378" y="526"/>
                    </a:lnTo>
                    <a:lnTo>
                      <a:pt x="376" y="522"/>
                    </a:lnTo>
                    <a:lnTo>
                      <a:pt x="372" y="518"/>
                    </a:lnTo>
                    <a:lnTo>
                      <a:pt x="370" y="517"/>
                    </a:lnTo>
                    <a:lnTo>
                      <a:pt x="367" y="515"/>
                    </a:lnTo>
                    <a:lnTo>
                      <a:pt x="365" y="515"/>
                    </a:lnTo>
                    <a:lnTo>
                      <a:pt x="363" y="515"/>
                    </a:lnTo>
                    <a:lnTo>
                      <a:pt x="363" y="515"/>
                    </a:lnTo>
                    <a:lnTo>
                      <a:pt x="359" y="515"/>
                    </a:lnTo>
                    <a:lnTo>
                      <a:pt x="357" y="515"/>
                    </a:lnTo>
                    <a:lnTo>
                      <a:pt x="354" y="515"/>
                    </a:lnTo>
                    <a:lnTo>
                      <a:pt x="352" y="515"/>
                    </a:lnTo>
                    <a:lnTo>
                      <a:pt x="352" y="515"/>
                    </a:lnTo>
                    <a:lnTo>
                      <a:pt x="350" y="515"/>
                    </a:lnTo>
                    <a:lnTo>
                      <a:pt x="350" y="515"/>
                    </a:lnTo>
                    <a:lnTo>
                      <a:pt x="346" y="515"/>
                    </a:lnTo>
                    <a:lnTo>
                      <a:pt x="344" y="517"/>
                    </a:lnTo>
                    <a:lnTo>
                      <a:pt x="342" y="522"/>
                    </a:lnTo>
                    <a:lnTo>
                      <a:pt x="340" y="524"/>
                    </a:lnTo>
                    <a:lnTo>
                      <a:pt x="340" y="526"/>
                    </a:lnTo>
                    <a:lnTo>
                      <a:pt x="340" y="526"/>
                    </a:lnTo>
                    <a:lnTo>
                      <a:pt x="338" y="526"/>
                    </a:lnTo>
                    <a:lnTo>
                      <a:pt x="335" y="530"/>
                    </a:lnTo>
                    <a:lnTo>
                      <a:pt x="335" y="532"/>
                    </a:lnTo>
                    <a:lnTo>
                      <a:pt x="333" y="532"/>
                    </a:lnTo>
                    <a:lnTo>
                      <a:pt x="333" y="532"/>
                    </a:lnTo>
                    <a:lnTo>
                      <a:pt x="333" y="530"/>
                    </a:lnTo>
                    <a:lnTo>
                      <a:pt x="327" y="526"/>
                    </a:lnTo>
                    <a:lnTo>
                      <a:pt x="325" y="526"/>
                    </a:lnTo>
                    <a:lnTo>
                      <a:pt x="323" y="526"/>
                    </a:lnTo>
                    <a:lnTo>
                      <a:pt x="320" y="524"/>
                    </a:lnTo>
                    <a:lnTo>
                      <a:pt x="318" y="524"/>
                    </a:lnTo>
                    <a:lnTo>
                      <a:pt x="316" y="522"/>
                    </a:lnTo>
                    <a:lnTo>
                      <a:pt x="316" y="522"/>
                    </a:lnTo>
                    <a:lnTo>
                      <a:pt x="316" y="520"/>
                    </a:lnTo>
                    <a:lnTo>
                      <a:pt x="314" y="518"/>
                    </a:lnTo>
                    <a:lnTo>
                      <a:pt x="312" y="520"/>
                    </a:lnTo>
                    <a:lnTo>
                      <a:pt x="310" y="518"/>
                    </a:lnTo>
                    <a:lnTo>
                      <a:pt x="310" y="518"/>
                    </a:lnTo>
                    <a:lnTo>
                      <a:pt x="310" y="517"/>
                    </a:lnTo>
                    <a:lnTo>
                      <a:pt x="308" y="515"/>
                    </a:lnTo>
                    <a:lnTo>
                      <a:pt x="308" y="511"/>
                    </a:lnTo>
                    <a:lnTo>
                      <a:pt x="305" y="507"/>
                    </a:lnTo>
                    <a:lnTo>
                      <a:pt x="305" y="505"/>
                    </a:lnTo>
                    <a:lnTo>
                      <a:pt x="305" y="505"/>
                    </a:lnTo>
                    <a:lnTo>
                      <a:pt x="308" y="505"/>
                    </a:lnTo>
                    <a:lnTo>
                      <a:pt x="308" y="501"/>
                    </a:lnTo>
                    <a:lnTo>
                      <a:pt x="305" y="501"/>
                    </a:lnTo>
                    <a:lnTo>
                      <a:pt x="305" y="500"/>
                    </a:lnTo>
                    <a:lnTo>
                      <a:pt x="305" y="500"/>
                    </a:lnTo>
                    <a:lnTo>
                      <a:pt x="303" y="498"/>
                    </a:lnTo>
                    <a:lnTo>
                      <a:pt x="303" y="492"/>
                    </a:lnTo>
                    <a:lnTo>
                      <a:pt x="301" y="490"/>
                    </a:lnTo>
                    <a:lnTo>
                      <a:pt x="297" y="488"/>
                    </a:lnTo>
                    <a:lnTo>
                      <a:pt x="295" y="488"/>
                    </a:lnTo>
                    <a:lnTo>
                      <a:pt x="297" y="486"/>
                    </a:lnTo>
                    <a:lnTo>
                      <a:pt x="297" y="485"/>
                    </a:lnTo>
                    <a:lnTo>
                      <a:pt x="293" y="483"/>
                    </a:lnTo>
                    <a:lnTo>
                      <a:pt x="290" y="481"/>
                    </a:lnTo>
                    <a:lnTo>
                      <a:pt x="291" y="481"/>
                    </a:lnTo>
                    <a:lnTo>
                      <a:pt x="290" y="477"/>
                    </a:lnTo>
                    <a:lnTo>
                      <a:pt x="288" y="477"/>
                    </a:lnTo>
                    <a:lnTo>
                      <a:pt x="288" y="477"/>
                    </a:lnTo>
                    <a:lnTo>
                      <a:pt x="286" y="471"/>
                    </a:lnTo>
                    <a:lnTo>
                      <a:pt x="284" y="469"/>
                    </a:lnTo>
                    <a:lnTo>
                      <a:pt x="280" y="468"/>
                    </a:lnTo>
                    <a:lnTo>
                      <a:pt x="250" y="466"/>
                    </a:lnTo>
                    <a:lnTo>
                      <a:pt x="250" y="471"/>
                    </a:lnTo>
                    <a:lnTo>
                      <a:pt x="197" y="471"/>
                    </a:lnTo>
                    <a:lnTo>
                      <a:pt x="133" y="443"/>
                    </a:lnTo>
                    <a:lnTo>
                      <a:pt x="133" y="441"/>
                    </a:lnTo>
                    <a:lnTo>
                      <a:pt x="133" y="437"/>
                    </a:lnTo>
                    <a:lnTo>
                      <a:pt x="88" y="441"/>
                    </a:lnTo>
                    <a:lnTo>
                      <a:pt x="88" y="437"/>
                    </a:lnTo>
                    <a:lnTo>
                      <a:pt x="88" y="432"/>
                    </a:lnTo>
                    <a:lnTo>
                      <a:pt x="88" y="426"/>
                    </a:lnTo>
                    <a:lnTo>
                      <a:pt x="83" y="417"/>
                    </a:lnTo>
                    <a:lnTo>
                      <a:pt x="79" y="413"/>
                    </a:lnTo>
                    <a:lnTo>
                      <a:pt x="77" y="413"/>
                    </a:lnTo>
                    <a:lnTo>
                      <a:pt x="75" y="413"/>
                    </a:lnTo>
                    <a:lnTo>
                      <a:pt x="73" y="413"/>
                    </a:lnTo>
                    <a:lnTo>
                      <a:pt x="73" y="409"/>
                    </a:lnTo>
                    <a:lnTo>
                      <a:pt x="73" y="407"/>
                    </a:lnTo>
                    <a:lnTo>
                      <a:pt x="67" y="407"/>
                    </a:lnTo>
                    <a:lnTo>
                      <a:pt x="64" y="407"/>
                    </a:lnTo>
                    <a:lnTo>
                      <a:pt x="60" y="404"/>
                    </a:lnTo>
                    <a:lnTo>
                      <a:pt x="60" y="400"/>
                    </a:lnTo>
                    <a:lnTo>
                      <a:pt x="58" y="398"/>
                    </a:lnTo>
                    <a:lnTo>
                      <a:pt x="52" y="398"/>
                    </a:lnTo>
                    <a:lnTo>
                      <a:pt x="51" y="396"/>
                    </a:lnTo>
                    <a:lnTo>
                      <a:pt x="47" y="394"/>
                    </a:lnTo>
                    <a:lnTo>
                      <a:pt x="43" y="394"/>
                    </a:lnTo>
                    <a:lnTo>
                      <a:pt x="39" y="394"/>
                    </a:lnTo>
                    <a:lnTo>
                      <a:pt x="35" y="392"/>
                    </a:lnTo>
                    <a:lnTo>
                      <a:pt x="35" y="388"/>
                    </a:lnTo>
                    <a:lnTo>
                      <a:pt x="35" y="388"/>
                    </a:lnTo>
                    <a:lnTo>
                      <a:pt x="35" y="387"/>
                    </a:lnTo>
                    <a:lnTo>
                      <a:pt x="39" y="381"/>
                    </a:lnTo>
                    <a:lnTo>
                      <a:pt x="35" y="377"/>
                    </a:lnTo>
                    <a:lnTo>
                      <a:pt x="34" y="373"/>
                    </a:lnTo>
                    <a:lnTo>
                      <a:pt x="34" y="373"/>
                    </a:lnTo>
                    <a:lnTo>
                      <a:pt x="35" y="371"/>
                    </a:lnTo>
                    <a:lnTo>
                      <a:pt x="34" y="370"/>
                    </a:lnTo>
                    <a:lnTo>
                      <a:pt x="30" y="366"/>
                    </a:lnTo>
                    <a:lnTo>
                      <a:pt x="26" y="358"/>
                    </a:lnTo>
                    <a:lnTo>
                      <a:pt x="24" y="353"/>
                    </a:lnTo>
                    <a:lnTo>
                      <a:pt x="22" y="349"/>
                    </a:lnTo>
                    <a:lnTo>
                      <a:pt x="22" y="347"/>
                    </a:lnTo>
                    <a:lnTo>
                      <a:pt x="22" y="343"/>
                    </a:lnTo>
                    <a:lnTo>
                      <a:pt x="20" y="339"/>
                    </a:lnTo>
                    <a:lnTo>
                      <a:pt x="20" y="338"/>
                    </a:lnTo>
                    <a:lnTo>
                      <a:pt x="22" y="338"/>
                    </a:lnTo>
                    <a:lnTo>
                      <a:pt x="24" y="338"/>
                    </a:lnTo>
                    <a:lnTo>
                      <a:pt x="24" y="332"/>
                    </a:lnTo>
                    <a:lnTo>
                      <a:pt x="22" y="332"/>
                    </a:lnTo>
                    <a:lnTo>
                      <a:pt x="20" y="328"/>
                    </a:lnTo>
                    <a:lnTo>
                      <a:pt x="19" y="324"/>
                    </a:lnTo>
                    <a:lnTo>
                      <a:pt x="17" y="324"/>
                    </a:lnTo>
                    <a:lnTo>
                      <a:pt x="17" y="323"/>
                    </a:lnTo>
                    <a:lnTo>
                      <a:pt x="19" y="319"/>
                    </a:lnTo>
                    <a:lnTo>
                      <a:pt x="17" y="317"/>
                    </a:lnTo>
                    <a:lnTo>
                      <a:pt x="19" y="315"/>
                    </a:lnTo>
                    <a:lnTo>
                      <a:pt x="19" y="313"/>
                    </a:lnTo>
                    <a:lnTo>
                      <a:pt x="20" y="311"/>
                    </a:lnTo>
                    <a:lnTo>
                      <a:pt x="22" y="311"/>
                    </a:lnTo>
                    <a:lnTo>
                      <a:pt x="24" y="315"/>
                    </a:lnTo>
                    <a:lnTo>
                      <a:pt x="26" y="317"/>
                    </a:lnTo>
                    <a:lnTo>
                      <a:pt x="26" y="315"/>
                    </a:lnTo>
                    <a:lnTo>
                      <a:pt x="24" y="313"/>
                    </a:lnTo>
                    <a:lnTo>
                      <a:pt x="24" y="307"/>
                    </a:lnTo>
                    <a:lnTo>
                      <a:pt x="22" y="307"/>
                    </a:lnTo>
                    <a:lnTo>
                      <a:pt x="22" y="304"/>
                    </a:lnTo>
                    <a:lnTo>
                      <a:pt x="24" y="304"/>
                    </a:lnTo>
                    <a:lnTo>
                      <a:pt x="26" y="304"/>
                    </a:lnTo>
                    <a:lnTo>
                      <a:pt x="30" y="304"/>
                    </a:lnTo>
                    <a:lnTo>
                      <a:pt x="30" y="304"/>
                    </a:lnTo>
                    <a:lnTo>
                      <a:pt x="28" y="304"/>
                    </a:lnTo>
                    <a:lnTo>
                      <a:pt x="26" y="300"/>
                    </a:lnTo>
                    <a:lnTo>
                      <a:pt x="24" y="300"/>
                    </a:lnTo>
                    <a:lnTo>
                      <a:pt x="22" y="298"/>
                    </a:lnTo>
                    <a:lnTo>
                      <a:pt x="22" y="300"/>
                    </a:lnTo>
                    <a:lnTo>
                      <a:pt x="19" y="298"/>
                    </a:lnTo>
                    <a:lnTo>
                      <a:pt x="19" y="304"/>
                    </a:lnTo>
                    <a:lnTo>
                      <a:pt x="19" y="307"/>
                    </a:lnTo>
                    <a:lnTo>
                      <a:pt x="19" y="307"/>
                    </a:lnTo>
                    <a:lnTo>
                      <a:pt x="17" y="307"/>
                    </a:lnTo>
                    <a:lnTo>
                      <a:pt x="17" y="304"/>
                    </a:lnTo>
                    <a:lnTo>
                      <a:pt x="11" y="300"/>
                    </a:lnTo>
                    <a:lnTo>
                      <a:pt x="11" y="298"/>
                    </a:lnTo>
                    <a:lnTo>
                      <a:pt x="11" y="294"/>
                    </a:lnTo>
                    <a:lnTo>
                      <a:pt x="11" y="292"/>
                    </a:lnTo>
                    <a:lnTo>
                      <a:pt x="5" y="281"/>
                    </a:lnTo>
                    <a:lnTo>
                      <a:pt x="3" y="277"/>
                    </a:lnTo>
                    <a:lnTo>
                      <a:pt x="5" y="275"/>
                    </a:lnTo>
                    <a:lnTo>
                      <a:pt x="5" y="274"/>
                    </a:lnTo>
                    <a:lnTo>
                      <a:pt x="5" y="270"/>
                    </a:lnTo>
                    <a:lnTo>
                      <a:pt x="3" y="268"/>
                    </a:lnTo>
                    <a:lnTo>
                      <a:pt x="3" y="264"/>
                    </a:lnTo>
                    <a:lnTo>
                      <a:pt x="5" y="262"/>
                    </a:lnTo>
                    <a:lnTo>
                      <a:pt x="5" y="257"/>
                    </a:lnTo>
                    <a:lnTo>
                      <a:pt x="5" y="249"/>
                    </a:lnTo>
                    <a:lnTo>
                      <a:pt x="3" y="243"/>
                    </a:lnTo>
                    <a:lnTo>
                      <a:pt x="0" y="240"/>
                    </a:lnTo>
                    <a:lnTo>
                      <a:pt x="0" y="234"/>
                    </a:lnTo>
                    <a:lnTo>
                      <a:pt x="2" y="230"/>
                    </a:lnTo>
                    <a:lnTo>
                      <a:pt x="9" y="226"/>
                    </a:lnTo>
                    <a:lnTo>
                      <a:pt x="9" y="221"/>
                    </a:lnTo>
                    <a:lnTo>
                      <a:pt x="9" y="221"/>
                    </a:lnTo>
                    <a:lnTo>
                      <a:pt x="9" y="219"/>
                    </a:lnTo>
                    <a:lnTo>
                      <a:pt x="9" y="215"/>
                    </a:lnTo>
                    <a:lnTo>
                      <a:pt x="11" y="213"/>
                    </a:lnTo>
                    <a:lnTo>
                      <a:pt x="11" y="206"/>
                    </a:lnTo>
                    <a:lnTo>
                      <a:pt x="11" y="200"/>
                    </a:lnTo>
                    <a:lnTo>
                      <a:pt x="11" y="196"/>
                    </a:lnTo>
                    <a:lnTo>
                      <a:pt x="13" y="194"/>
                    </a:lnTo>
                    <a:lnTo>
                      <a:pt x="9" y="191"/>
                    </a:lnTo>
                    <a:lnTo>
                      <a:pt x="9" y="185"/>
                    </a:lnTo>
                    <a:lnTo>
                      <a:pt x="11" y="179"/>
                    </a:lnTo>
                    <a:lnTo>
                      <a:pt x="11" y="172"/>
                    </a:lnTo>
                    <a:lnTo>
                      <a:pt x="13" y="168"/>
                    </a:lnTo>
                    <a:lnTo>
                      <a:pt x="17" y="164"/>
                    </a:lnTo>
                    <a:lnTo>
                      <a:pt x="19" y="159"/>
                    </a:lnTo>
                    <a:lnTo>
                      <a:pt x="20" y="157"/>
                    </a:lnTo>
                    <a:lnTo>
                      <a:pt x="22" y="151"/>
                    </a:lnTo>
                    <a:lnTo>
                      <a:pt x="26" y="147"/>
                    </a:lnTo>
                    <a:lnTo>
                      <a:pt x="30" y="142"/>
                    </a:lnTo>
                    <a:lnTo>
                      <a:pt x="30" y="132"/>
                    </a:lnTo>
                    <a:lnTo>
                      <a:pt x="35" y="125"/>
                    </a:lnTo>
                    <a:lnTo>
                      <a:pt x="35" y="115"/>
                    </a:lnTo>
                    <a:lnTo>
                      <a:pt x="39" y="104"/>
                    </a:lnTo>
                    <a:lnTo>
                      <a:pt x="41" y="100"/>
                    </a:lnTo>
                    <a:lnTo>
                      <a:pt x="45" y="96"/>
                    </a:lnTo>
                    <a:lnTo>
                      <a:pt x="45" y="93"/>
                    </a:lnTo>
                    <a:lnTo>
                      <a:pt x="45" y="87"/>
                    </a:lnTo>
                    <a:lnTo>
                      <a:pt x="49" y="85"/>
                    </a:lnTo>
                    <a:lnTo>
                      <a:pt x="49" y="81"/>
                    </a:lnTo>
                    <a:lnTo>
                      <a:pt x="49" y="81"/>
                    </a:lnTo>
                    <a:lnTo>
                      <a:pt x="52" y="81"/>
                    </a:lnTo>
                    <a:lnTo>
                      <a:pt x="58" y="83"/>
                    </a:lnTo>
                    <a:lnTo>
                      <a:pt x="60" y="85"/>
                    </a:lnTo>
                    <a:lnTo>
                      <a:pt x="64" y="83"/>
                    </a:lnTo>
                    <a:lnTo>
                      <a:pt x="66" y="87"/>
                    </a:lnTo>
                    <a:lnTo>
                      <a:pt x="67" y="91"/>
                    </a:lnTo>
                    <a:lnTo>
                      <a:pt x="67" y="85"/>
                    </a:lnTo>
                    <a:lnTo>
                      <a:pt x="64" y="83"/>
                    </a:lnTo>
                    <a:lnTo>
                      <a:pt x="60" y="83"/>
                    </a:lnTo>
                    <a:lnTo>
                      <a:pt x="60" y="80"/>
                    </a:lnTo>
                    <a:lnTo>
                      <a:pt x="54" y="80"/>
                    </a:lnTo>
                    <a:lnTo>
                      <a:pt x="49" y="78"/>
                    </a:lnTo>
                    <a:lnTo>
                      <a:pt x="49" y="76"/>
                    </a:lnTo>
                    <a:lnTo>
                      <a:pt x="49" y="76"/>
                    </a:lnTo>
                    <a:lnTo>
                      <a:pt x="51" y="76"/>
                    </a:lnTo>
                    <a:lnTo>
                      <a:pt x="52" y="72"/>
                    </a:lnTo>
                    <a:lnTo>
                      <a:pt x="52" y="70"/>
                    </a:lnTo>
                    <a:lnTo>
                      <a:pt x="54" y="66"/>
                    </a:lnTo>
                    <a:lnTo>
                      <a:pt x="51" y="66"/>
                    </a:lnTo>
                    <a:lnTo>
                      <a:pt x="49" y="63"/>
                    </a:lnTo>
                    <a:lnTo>
                      <a:pt x="51" y="61"/>
                    </a:lnTo>
                    <a:lnTo>
                      <a:pt x="52" y="61"/>
                    </a:lnTo>
                    <a:lnTo>
                      <a:pt x="54" y="59"/>
                    </a:lnTo>
                    <a:lnTo>
                      <a:pt x="54" y="57"/>
                    </a:lnTo>
                    <a:lnTo>
                      <a:pt x="51" y="57"/>
                    </a:lnTo>
                    <a:lnTo>
                      <a:pt x="51" y="55"/>
                    </a:lnTo>
                    <a:lnTo>
                      <a:pt x="52" y="49"/>
                    </a:lnTo>
                    <a:lnTo>
                      <a:pt x="51" y="44"/>
                    </a:lnTo>
                    <a:lnTo>
                      <a:pt x="52" y="36"/>
                    </a:lnTo>
                    <a:lnTo>
                      <a:pt x="51" y="29"/>
                    </a:lnTo>
                    <a:lnTo>
                      <a:pt x="51" y="25"/>
                    </a:lnTo>
                    <a:lnTo>
                      <a:pt x="54" y="17"/>
                    </a:lnTo>
                    <a:lnTo>
                      <a:pt x="54" y="14"/>
                    </a:lnTo>
                    <a:lnTo>
                      <a:pt x="56" y="14"/>
                    </a:lnTo>
                    <a:lnTo>
                      <a:pt x="64" y="21"/>
                    </a:lnTo>
                    <a:lnTo>
                      <a:pt x="67" y="25"/>
                    </a:lnTo>
                    <a:lnTo>
                      <a:pt x="77" y="25"/>
                    </a:lnTo>
                    <a:lnTo>
                      <a:pt x="79" y="27"/>
                    </a:lnTo>
                    <a:lnTo>
                      <a:pt x="81" y="31"/>
                    </a:lnTo>
                    <a:lnTo>
                      <a:pt x="83" y="29"/>
                    </a:lnTo>
                    <a:lnTo>
                      <a:pt x="84" y="29"/>
                    </a:lnTo>
                    <a:lnTo>
                      <a:pt x="84" y="32"/>
                    </a:lnTo>
                    <a:lnTo>
                      <a:pt x="84" y="32"/>
                    </a:lnTo>
                    <a:lnTo>
                      <a:pt x="81" y="36"/>
                    </a:lnTo>
                    <a:lnTo>
                      <a:pt x="77" y="38"/>
                    </a:lnTo>
                    <a:lnTo>
                      <a:pt x="77" y="42"/>
                    </a:lnTo>
                    <a:lnTo>
                      <a:pt x="81" y="42"/>
                    </a:lnTo>
                    <a:lnTo>
                      <a:pt x="83" y="36"/>
                    </a:lnTo>
                    <a:lnTo>
                      <a:pt x="84" y="36"/>
                    </a:lnTo>
                    <a:lnTo>
                      <a:pt x="88" y="32"/>
                    </a:lnTo>
                    <a:lnTo>
                      <a:pt x="88" y="36"/>
                    </a:lnTo>
                    <a:lnTo>
                      <a:pt x="84" y="38"/>
                    </a:lnTo>
                    <a:lnTo>
                      <a:pt x="83" y="44"/>
                    </a:lnTo>
                    <a:lnTo>
                      <a:pt x="83" y="48"/>
                    </a:lnTo>
                    <a:lnTo>
                      <a:pt x="83" y="49"/>
                    </a:lnTo>
                    <a:lnTo>
                      <a:pt x="81" y="48"/>
                    </a:lnTo>
                    <a:lnTo>
                      <a:pt x="79" y="49"/>
                    </a:lnTo>
                    <a:lnTo>
                      <a:pt x="77" y="48"/>
                    </a:lnTo>
                    <a:lnTo>
                      <a:pt x="75" y="51"/>
                    </a:lnTo>
                    <a:lnTo>
                      <a:pt x="77" y="53"/>
                    </a:lnTo>
                    <a:lnTo>
                      <a:pt x="79" y="55"/>
                    </a:lnTo>
                    <a:lnTo>
                      <a:pt x="84" y="51"/>
                    </a:lnTo>
                    <a:lnTo>
                      <a:pt x="84" y="48"/>
                    </a:lnTo>
                    <a:lnTo>
                      <a:pt x="84" y="46"/>
                    </a:lnTo>
                    <a:lnTo>
                      <a:pt x="84" y="42"/>
                    </a:lnTo>
                    <a:lnTo>
                      <a:pt x="88" y="42"/>
                    </a:lnTo>
                    <a:lnTo>
                      <a:pt x="88" y="36"/>
                    </a:lnTo>
                    <a:lnTo>
                      <a:pt x="92" y="32"/>
                    </a:lnTo>
                    <a:lnTo>
                      <a:pt x="98" y="31"/>
                    </a:lnTo>
                    <a:lnTo>
                      <a:pt x="94" y="29"/>
                    </a:lnTo>
                    <a:lnTo>
                      <a:pt x="94" y="25"/>
                    </a:lnTo>
                    <a:lnTo>
                      <a:pt x="92" y="25"/>
                    </a:lnTo>
                    <a:lnTo>
                      <a:pt x="94" y="21"/>
                    </a:lnTo>
                    <a:lnTo>
                      <a:pt x="98" y="19"/>
                    </a:lnTo>
                    <a:lnTo>
                      <a:pt x="92" y="17"/>
                    </a:lnTo>
                    <a:lnTo>
                      <a:pt x="92" y="14"/>
                    </a:lnTo>
                    <a:lnTo>
                      <a:pt x="98" y="12"/>
                    </a:lnTo>
                    <a:lnTo>
                      <a:pt x="98" y="12"/>
                    </a:lnTo>
                    <a:lnTo>
                      <a:pt x="92" y="8"/>
                    </a:lnTo>
                    <a:lnTo>
                      <a:pt x="92" y="0"/>
                    </a:lnTo>
                    <a:lnTo>
                      <a:pt x="92" y="0"/>
                    </a:lnTo>
                    <a:lnTo>
                      <a:pt x="92" y="0"/>
                    </a:lnTo>
                    <a:lnTo>
                      <a:pt x="92" y="0"/>
                    </a:lnTo>
                    <a:close/>
                    <a:moveTo>
                      <a:pt x="956" y="264"/>
                    </a:moveTo>
                    <a:lnTo>
                      <a:pt x="956" y="264"/>
                    </a:lnTo>
                    <a:lnTo>
                      <a:pt x="962" y="264"/>
                    </a:lnTo>
                    <a:lnTo>
                      <a:pt x="962" y="264"/>
                    </a:lnTo>
                    <a:lnTo>
                      <a:pt x="963" y="264"/>
                    </a:lnTo>
                    <a:lnTo>
                      <a:pt x="962" y="262"/>
                    </a:lnTo>
                    <a:lnTo>
                      <a:pt x="958" y="262"/>
                    </a:lnTo>
                    <a:lnTo>
                      <a:pt x="958" y="262"/>
                    </a:lnTo>
                    <a:lnTo>
                      <a:pt x="956" y="264"/>
                    </a:lnTo>
                    <a:lnTo>
                      <a:pt x="956" y="264"/>
                    </a:lnTo>
                    <a:lnTo>
                      <a:pt x="956" y="264"/>
                    </a:lnTo>
                    <a:lnTo>
                      <a:pt x="956" y="264"/>
                    </a:lnTo>
                    <a:close/>
                    <a:moveTo>
                      <a:pt x="899" y="279"/>
                    </a:moveTo>
                    <a:lnTo>
                      <a:pt x="898" y="279"/>
                    </a:lnTo>
                    <a:lnTo>
                      <a:pt x="903" y="279"/>
                    </a:lnTo>
                    <a:lnTo>
                      <a:pt x="903" y="277"/>
                    </a:lnTo>
                    <a:lnTo>
                      <a:pt x="907" y="277"/>
                    </a:lnTo>
                    <a:lnTo>
                      <a:pt x="911" y="277"/>
                    </a:lnTo>
                    <a:lnTo>
                      <a:pt x="916" y="275"/>
                    </a:lnTo>
                    <a:lnTo>
                      <a:pt x="918" y="275"/>
                    </a:lnTo>
                    <a:lnTo>
                      <a:pt x="924" y="275"/>
                    </a:lnTo>
                    <a:lnTo>
                      <a:pt x="928" y="274"/>
                    </a:lnTo>
                    <a:lnTo>
                      <a:pt x="928" y="274"/>
                    </a:lnTo>
                    <a:lnTo>
                      <a:pt x="933" y="274"/>
                    </a:lnTo>
                    <a:lnTo>
                      <a:pt x="935" y="270"/>
                    </a:lnTo>
                    <a:lnTo>
                      <a:pt x="931" y="274"/>
                    </a:lnTo>
                    <a:lnTo>
                      <a:pt x="931" y="270"/>
                    </a:lnTo>
                    <a:lnTo>
                      <a:pt x="928" y="274"/>
                    </a:lnTo>
                    <a:lnTo>
                      <a:pt x="928" y="270"/>
                    </a:lnTo>
                    <a:lnTo>
                      <a:pt x="928" y="270"/>
                    </a:lnTo>
                    <a:lnTo>
                      <a:pt x="928" y="270"/>
                    </a:lnTo>
                    <a:lnTo>
                      <a:pt x="924" y="270"/>
                    </a:lnTo>
                    <a:lnTo>
                      <a:pt x="918" y="270"/>
                    </a:lnTo>
                    <a:lnTo>
                      <a:pt x="913" y="274"/>
                    </a:lnTo>
                    <a:lnTo>
                      <a:pt x="909" y="274"/>
                    </a:lnTo>
                    <a:lnTo>
                      <a:pt x="903" y="274"/>
                    </a:lnTo>
                    <a:lnTo>
                      <a:pt x="899" y="274"/>
                    </a:lnTo>
                    <a:lnTo>
                      <a:pt x="898" y="277"/>
                    </a:lnTo>
                    <a:lnTo>
                      <a:pt x="898" y="279"/>
                    </a:lnTo>
                    <a:lnTo>
                      <a:pt x="899" y="279"/>
                    </a:lnTo>
                    <a:lnTo>
                      <a:pt x="899" y="279"/>
                    </a:lnTo>
                    <a:lnTo>
                      <a:pt x="899" y="279"/>
                    </a:lnTo>
                    <a:lnTo>
                      <a:pt x="899" y="279"/>
                    </a:lnTo>
                    <a:close/>
                    <a:moveTo>
                      <a:pt x="92" y="19"/>
                    </a:moveTo>
                    <a:lnTo>
                      <a:pt x="88" y="21"/>
                    </a:lnTo>
                    <a:lnTo>
                      <a:pt x="88" y="27"/>
                    </a:lnTo>
                    <a:lnTo>
                      <a:pt x="88" y="32"/>
                    </a:lnTo>
                    <a:lnTo>
                      <a:pt x="92" y="32"/>
                    </a:lnTo>
                    <a:lnTo>
                      <a:pt x="88" y="25"/>
                    </a:lnTo>
                    <a:lnTo>
                      <a:pt x="88" y="21"/>
                    </a:lnTo>
                    <a:lnTo>
                      <a:pt x="92" y="21"/>
                    </a:lnTo>
                    <a:lnTo>
                      <a:pt x="92" y="19"/>
                    </a:lnTo>
                    <a:lnTo>
                      <a:pt x="92" y="19"/>
                    </a:lnTo>
                    <a:lnTo>
                      <a:pt x="92" y="19"/>
                    </a:lnTo>
                    <a:lnTo>
                      <a:pt x="92" y="19"/>
                    </a:lnTo>
                    <a:close/>
                    <a:moveTo>
                      <a:pt x="442" y="560"/>
                    </a:moveTo>
                    <a:lnTo>
                      <a:pt x="442" y="556"/>
                    </a:lnTo>
                    <a:lnTo>
                      <a:pt x="446" y="554"/>
                    </a:lnTo>
                    <a:lnTo>
                      <a:pt x="448" y="550"/>
                    </a:lnTo>
                    <a:lnTo>
                      <a:pt x="446" y="552"/>
                    </a:lnTo>
                    <a:lnTo>
                      <a:pt x="442" y="560"/>
                    </a:lnTo>
                    <a:lnTo>
                      <a:pt x="442" y="560"/>
                    </a:lnTo>
                    <a:lnTo>
                      <a:pt x="442" y="560"/>
                    </a:lnTo>
                    <a:lnTo>
                      <a:pt x="442" y="560"/>
                    </a:lnTo>
                    <a:close/>
                    <a:moveTo>
                      <a:pt x="436" y="569"/>
                    </a:moveTo>
                    <a:lnTo>
                      <a:pt x="438" y="569"/>
                    </a:lnTo>
                    <a:lnTo>
                      <a:pt x="440" y="564"/>
                    </a:lnTo>
                    <a:lnTo>
                      <a:pt x="440" y="560"/>
                    </a:lnTo>
                    <a:lnTo>
                      <a:pt x="436" y="569"/>
                    </a:lnTo>
                    <a:lnTo>
                      <a:pt x="436" y="569"/>
                    </a:lnTo>
                    <a:lnTo>
                      <a:pt x="436" y="569"/>
                    </a:lnTo>
                    <a:lnTo>
                      <a:pt x="436" y="569"/>
                    </a:lnTo>
                    <a:close/>
                    <a:moveTo>
                      <a:pt x="433" y="594"/>
                    </a:moveTo>
                    <a:lnTo>
                      <a:pt x="433" y="588"/>
                    </a:lnTo>
                    <a:lnTo>
                      <a:pt x="433" y="581"/>
                    </a:lnTo>
                    <a:lnTo>
                      <a:pt x="436" y="571"/>
                    </a:lnTo>
                    <a:lnTo>
                      <a:pt x="433" y="579"/>
                    </a:lnTo>
                    <a:lnTo>
                      <a:pt x="433" y="588"/>
                    </a:lnTo>
                    <a:lnTo>
                      <a:pt x="433" y="588"/>
                    </a:lnTo>
                    <a:lnTo>
                      <a:pt x="433" y="594"/>
                    </a:lnTo>
                    <a:lnTo>
                      <a:pt x="433" y="594"/>
                    </a:lnTo>
                    <a:lnTo>
                      <a:pt x="433" y="594"/>
                    </a:lnTo>
                    <a:lnTo>
                      <a:pt x="433" y="594"/>
                    </a:lnTo>
                    <a:close/>
                  </a:path>
                </a:pathLst>
              </a:custGeom>
              <a:solidFill>
                <a:srgbClr val="0098C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9" name="Freeform 41"/>
              <p:cNvSpPr>
                <a:spLocks/>
              </p:cNvSpPr>
              <p:nvPr/>
            </p:nvSpPr>
            <p:spPr bwMode="auto">
              <a:xfrm>
                <a:off x="1098" y="2764"/>
                <a:ext cx="73" cy="79"/>
              </a:xfrm>
              <a:custGeom>
                <a:avLst/>
                <a:gdLst/>
                <a:ahLst/>
                <a:cxnLst>
                  <a:cxn ang="0">
                    <a:pos x="38" y="79"/>
                  </a:cxn>
                  <a:cxn ang="0">
                    <a:pos x="40" y="74"/>
                  </a:cxn>
                  <a:cxn ang="0">
                    <a:pos x="49" y="70"/>
                  </a:cxn>
                  <a:cxn ang="0">
                    <a:pos x="53" y="66"/>
                  </a:cxn>
                  <a:cxn ang="0">
                    <a:pos x="55" y="58"/>
                  </a:cxn>
                  <a:cxn ang="0">
                    <a:pos x="64" y="49"/>
                  </a:cxn>
                  <a:cxn ang="0">
                    <a:pos x="70" y="45"/>
                  </a:cxn>
                  <a:cxn ang="0">
                    <a:pos x="73" y="41"/>
                  </a:cxn>
                  <a:cxn ang="0">
                    <a:pos x="73" y="38"/>
                  </a:cxn>
                  <a:cxn ang="0">
                    <a:pos x="68" y="41"/>
                  </a:cxn>
                  <a:cxn ang="0">
                    <a:pos x="64" y="38"/>
                  </a:cxn>
                  <a:cxn ang="0">
                    <a:pos x="60" y="36"/>
                  </a:cxn>
                  <a:cxn ang="0">
                    <a:pos x="56" y="36"/>
                  </a:cxn>
                  <a:cxn ang="0">
                    <a:pos x="56" y="0"/>
                  </a:cxn>
                  <a:cxn ang="0">
                    <a:pos x="24" y="11"/>
                  </a:cxn>
                  <a:cxn ang="0">
                    <a:pos x="21" y="13"/>
                  </a:cxn>
                  <a:cxn ang="0">
                    <a:pos x="24" y="19"/>
                  </a:cxn>
                  <a:cxn ang="0">
                    <a:pos x="28" y="21"/>
                  </a:cxn>
                  <a:cxn ang="0">
                    <a:pos x="30" y="25"/>
                  </a:cxn>
                  <a:cxn ang="0">
                    <a:pos x="36" y="28"/>
                  </a:cxn>
                  <a:cxn ang="0">
                    <a:pos x="38" y="30"/>
                  </a:cxn>
                  <a:cxn ang="0">
                    <a:pos x="11" y="34"/>
                  </a:cxn>
                  <a:cxn ang="0">
                    <a:pos x="2" y="55"/>
                  </a:cxn>
                  <a:cxn ang="0">
                    <a:pos x="2" y="58"/>
                  </a:cxn>
                  <a:cxn ang="0">
                    <a:pos x="4" y="58"/>
                  </a:cxn>
                  <a:cxn ang="0">
                    <a:pos x="2" y="62"/>
                  </a:cxn>
                  <a:cxn ang="0">
                    <a:pos x="0" y="64"/>
                  </a:cxn>
                  <a:cxn ang="0">
                    <a:pos x="6" y="70"/>
                  </a:cxn>
                  <a:cxn ang="0">
                    <a:pos x="9" y="75"/>
                  </a:cxn>
                  <a:cxn ang="0">
                    <a:pos x="24" y="79"/>
                  </a:cxn>
                  <a:cxn ang="0">
                    <a:pos x="36" y="79"/>
                  </a:cxn>
                  <a:cxn ang="0">
                    <a:pos x="36" y="79"/>
                  </a:cxn>
                </a:cxnLst>
                <a:rect l="0" t="0" r="r" b="b"/>
                <a:pathLst>
                  <a:path w="73" h="79">
                    <a:moveTo>
                      <a:pt x="36" y="79"/>
                    </a:moveTo>
                    <a:lnTo>
                      <a:pt x="38" y="79"/>
                    </a:lnTo>
                    <a:lnTo>
                      <a:pt x="38" y="77"/>
                    </a:lnTo>
                    <a:lnTo>
                      <a:pt x="40" y="74"/>
                    </a:lnTo>
                    <a:lnTo>
                      <a:pt x="45" y="70"/>
                    </a:lnTo>
                    <a:lnTo>
                      <a:pt x="49" y="70"/>
                    </a:lnTo>
                    <a:lnTo>
                      <a:pt x="49" y="70"/>
                    </a:lnTo>
                    <a:lnTo>
                      <a:pt x="53" y="66"/>
                    </a:lnTo>
                    <a:lnTo>
                      <a:pt x="56" y="60"/>
                    </a:lnTo>
                    <a:lnTo>
                      <a:pt x="55" y="58"/>
                    </a:lnTo>
                    <a:lnTo>
                      <a:pt x="58" y="55"/>
                    </a:lnTo>
                    <a:lnTo>
                      <a:pt x="64" y="49"/>
                    </a:lnTo>
                    <a:lnTo>
                      <a:pt x="64" y="49"/>
                    </a:lnTo>
                    <a:lnTo>
                      <a:pt x="70" y="45"/>
                    </a:lnTo>
                    <a:lnTo>
                      <a:pt x="72" y="43"/>
                    </a:lnTo>
                    <a:lnTo>
                      <a:pt x="73" y="41"/>
                    </a:lnTo>
                    <a:lnTo>
                      <a:pt x="73" y="40"/>
                    </a:lnTo>
                    <a:lnTo>
                      <a:pt x="73" y="38"/>
                    </a:lnTo>
                    <a:lnTo>
                      <a:pt x="70" y="38"/>
                    </a:lnTo>
                    <a:lnTo>
                      <a:pt x="68" y="41"/>
                    </a:lnTo>
                    <a:lnTo>
                      <a:pt x="68" y="38"/>
                    </a:lnTo>
                    <a:lnTo>
                      <a:pt x="64" y="38"/>
                    </a:lnTo>
                    <a:lnTo>
                      <a:pt x="62" y="36"/>
                    </a:lnTo>
                    <a:lnTo>
                      <a:pt x="60" y="36"/>
                    </a:lnTo>
                    <a:lnTo>
                      <a:pt x="60" y="36"/>
                    </a:lnTo>
                    <a:lnTo>
                      <a:pt x="56" y="36"/>
                    </a:lnTo>
                    <a:lnTo>
                      <a:pt x="56" y="0"/>
                    </a:lnTo>
                    <a:lnTo>
                      <a:pt x="56" y="0"/>
                    </a:lnTo>
                    <a:lnTo>
                      <a:pt x="24" y="0"/>
                    </a:lnTo>
                    <a:lnTo>
                      <a:pt x="24" y="11"/>
                    </a:lnTo>
                    <a:lnTo>
                      <a:pt x="17" y="11"/>
                    </a:lnTo>
                    <a:lnTo>
                      <a:pt x="21" y="13"/>
                    </a:lnTo>
                    <a:lnTo>
                      <a:pt x="21" y="15"/>
                    </a:lnTo>
                    <a:lnTo>
                      <a:pt x="24" y="19"/>
                    </a:lnTo>
                    <a:lnTo>
                      <a:pt x="28" y="21"/>
                    </a:lnTo>
                    <a:lnTo>
                      <a:pt x="28" y="21"/>
                    </a:lnTo>
                    <a:lnTo>
                      <a:pt x="30" y="25"/>
                    </a:lnTo>
                    <a:lnTo>
                      <a:pt x="30" y="25"/>
                    </a:lnTo>
                    <a:lnTo>
                      <a:pt x="32" y="28"/>
                    </a:lnTo>
                    <a:lnTo>
                      <a:pt x="36" y="28"/>
                    </a:lnTo>
                    <a:lnTo>
                      <a:pt x="38" y="28"/>
                    </a:lnTo>
                    <a:lnTo>
                      <a:pt x="38" y="30"/>
                    </a:lnTo>
                    <a:lnTo>
                      <a:pt x="36" y="34"/>
                    </a:lnTo>
                    <a:lnTo>
                      <a:pt x="11" y="34"/>
                    </a:lnTo>
                    <a:lnTo>
                      <a:pt x="2" y="53"/>
                    </a:lnTo>
                    <a:lnTo>
                      <a:pt x="2" y="55"/>
                    </a:lnTo>
                    <a:lnTo>
                      <a:pt x="2" y="55"/>
                    </a:lnTo>
                    <a:lnTo>
                      <a:pt x="2" y="58"/>
                    </a:lnTo>
                    <a:lnTo>
                      <a:pt x="4" y="58"/>
                    </a:lnTo>
                    <a:lnTo>
                      <a:pt x="4" y="58"/>
                    </a:lnTo>
                    <a:lnTo>
                      <a:pt x="4" y="60"/>
                    </a:lnTo>
                    <a:lnTo>
                      <a:pt x="2" y="62"/>
                    </a:lnTo>
                    <a:lnTo>
                      <a:pt x="0" y="64"/>
                    </a:lnTo>
                    <a:lnTo>
                      <a:pt x="0" y="64"/>
                    </a:lnTo>
                    <a:lnTo>
                      <a:pt x="4" y="68"/>
                    </a:lnTo>
                    <a:lnTo>
                      <a:pt x="6" y="70"/>
                    </a:lnTo>
                    <a:lnTo>
                      <a:pt x="9" y="70"/>
                    </a:lnTo>
                    <a:lnTo>
                      <a:pt x="9" y="75"/>
                    </a:lnTo>
                    <a:lnTo>
                      <a:pt x="21" y="79"/>
                    </a:lnTo>
                    <a:lnTo>
                      <a:pt x="24" y="79"/>
                    </a:lnTo>
                    <a:lnTo>
                      <a:pt x="28" y="79"/>
                    </a:lnTo>
                    <a:lnTo>
                      <a:pt x="36" y="79"/>
                    </a:lnTo>
                    <a:lnTo>
                      <a:pt x="36" y="79"/>
                    </a:lnTo>
                    <a:lnTo>
                      <a:pt x="36" y="79"/>
                    </a:lnTo>
                    <a:close/>
                  </a:path>
                </a:pathLst>
              </a:custGeom>
              <a:solidFill>
                <a:srgbClr val="B70C3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0" name="Freeform 42"/>
              <p:cNvSpPr>
                <a:spLocks noEditPoints="1"/>
              </p:cNvSpPr>
              <p:nvPr/>
            </p:nvSpPr>
            <p:spPr bwMode="auto">
              <a:xfrm>
                <a:off x="682" y="2436"/>
                <a:ext cx="527" cy="392"/>
              </a:xfrm>
              <a:custGeom>
                <a:avLst/>
                <a:gdLst/>
                <a:ahLst/>
                <a:cxnLst>
                  <a:cxn ang="0">
                    <a:pos x="198" y="38"/>
                  </a:cxn>
                  <a:cxn ang="0">
                    <a:pos x="213" y="53"/>
                  </a:cxn>
                  <a:cxn ang="0">
                    <a:pos x="218" y="78"/>
                  </a:cxn>
                  <a:cxn ang="0">
                    <a:pos x="233" y="87"/>
                  </a:cxn>
                  <a:cxn ang="0">
                    <a:pos x="250" y="87"/>
                  </a:cxn>
                  <a:cxn ang="0">
                    <a:pos x="273" y="76"/>
                  </a:cxn>
                  <a:cxn ang="0">
                    <a:pos x="292" y="100"/>
                  </a:cxn>
                  <a:cxn ang="0">
                    <a:pos x="307" y="132"/>
                  </a:cxn>
                  <a:cxn ang="0">
                    <a:pos x="328" y="160"/>
                  </a:cxn>
                  <a:cxn ang="0">
                    <a:pos x="341" y="166"/>
                  </a:cxn>
                  <a:cxn ang="0">
                    <a:pos x="331" y="185"/>
                  </a:cxn>
                  <a:cxn ang="0">
                    <a:pos x="324" y="232"/>
                  </a:cxn>
                  <a:cxn ang="0">
                    <a:pos x="329" y="262"/>
                  </a:cxn>
                  <a:cxn ang="0">
                    <a:pos x="360" y="307"/>
                  </a:cxn>
                  <a:cxn ang="0">
                    <a:pos x="399" y="315"/>
                  </a:cxn>
                  <a:cxn ang="0">
                    <a:pos x="431" y="319"/>
                  </a:cxn>
                  <a:cxn ang="0">
                    <a:pos x="448" y="292"/>
                  </a:cxn>
                  <a:cxn ang="0">
                    <a:pos x="497" y="255"/>
                  </a:cxn>
                  <a:cxn ang="0">
                    <a:pos x="520" y="273"/>
                  </a:cxn>
                  <a:cxn ang="0">
                    <a:pos x="506" y="302"/>
                  </a:cxn>
                  <a:cxn ang="0">
                    <a:pos x="499" y="309"/>
                  </a:cxn>
                  <a:cxn ang="0">
                    <a:pos x="478" y="328"/>
                  </a:cxn>
                  <a:cxn ang="0">
                    <a:pos x="437" y="343"/>
                  </a:cxn>
                  <a:cxn ang="0">
                    <a:pos x="425" y="362"/>
                  </a:cxn>
                  <a:cxn ang="0">
                    <a:pos x="410" y="388"/>
                  </a:cxn>
                  <a:cxn ang="0">
                    <a:pos x="375" y="358"/>
                  </a:cxn>
                  <a:cxn ang="0">
                    <a:pos x="375" y="358"/>
                  </a:cxn>
                  <a:cxn ang="0">
                    <a:pos x="367" y="362"/>
                  </a:cxn>
                  <a:cxn ang="0">
                    <a:pos x="307" y="360"/>
                  </a:cxn>
                  <a:cxn ang="0">
                    <a:pos x="267" y="343"/>
                  </a:cxn>
                  <a:cxn ang="0">
                    <a:pos x="220" y="322"/>
                  </a:cxn>
                  <a:cxn ang="0">
                    <a:pos x="188" y="300"/>
                  </a:cxn>
                  <a:cxn ang="0">
                    <a:pos x="181" y="273"/>
                  </a:cxn>
                  <a:cxn ang="0">
                    <a:pos x="179" y="234"/>
                  </a:cxn>
                  <a:cxn ang="0">
                    <a:pos x="141" y="187"/>
                  </a:cxn>
                  <a:cxn ang="0">
                    <a:pos x="120" y="162"/>
                  </a:cxn>
                  <a:cxn ang="0">
                    <a:pos x="124" y="145"/>
                  </a:cxn>
                  <a:cxn ang="0">
                    <a:pos x="102" y="117"/>
                  </a:cxn>
                  <a:cxn ang="0">
                    <a:pos x="83" y="98"/>
                  </a:cxn>
                  <a:cxn ang="0">
                    <a:pos x="70" y="66"/>
                  </a:cxn>
                  <a:cxn ang="0">
                    <a:pos x="58" y="32"/>
                  </a:cxn>
                  <a:cxn ang="0">
                    <a:pos x="38" y="38"/>
                  </a:cxn>
                  <a:cxn ang="0">
                    <a:pos x="53" y="87"/>
                  </a:cxn>
                  <a:cxn ang="0">
                    <a:pos x="70" y="115"/>
                  </a:cxn>
                  <a:cxn ang="0">
                    <a:pos x="81" y="136"/>
                  </a:cxn>
                  <a:cxn ang="0">
                    <a:pos x="90" y="170"/>
                  </a:cxn>
                  <a:cxn ang="0">
                    <a:pos x="100" y="191"/>
                  </a:cxn>
                  <a:cxn ang="0">
                    <a:pos x="105" y="221"/>
                  </a:cxn>
                  <a:cxn ang="0">
                    <a:pos x="77" y="187"/>
                  </a:cxn>
                  <a:cxn ang="0">
                    <a:pos x="64" y="147"/>
                  </a:cxn>
                  <a:cxn ang="0">
                    <a:pos x="45" y="132"/>
                  </a:cxn>
                  <a:cxn ang="0">
                    <a:pos x="28" y="111"/>
                  </a:cxn>
                  <a:cxn ang="0">
                    <a:pos x="40" y="102"/>
                  </a:cxn>
                  <a:cxn ang="0">
                    <a:pos x="19" y="70"/>
                  </a:cxn>
                  <a:cxn ang="0">
                    <a:pos x="11" y="36"/>
                  </a:cxn>
                  <a:cxn ang="0">
                    <a:pos x="0" y="4"/>
                  </a:cxn>
                  <a:cxn ang="0">
                    <a:pos x="98" y="187"/>
                  </a:cxn>
                  <a:cxn ang="0">
                    <a:pos x="333" y="179"/>
                  </a:cxn>
                  <a:cxn ang="0">
                    <a:pos x="333" y="187"/>
                  </a:cxn>
                </a:cxnLst>
                <a:rect l="0" t="0" r="r" b="b"/>
                <a:pathLst>
                  <a:path w="527" h="392">
                    <a:moveTo>
                      <a:pt x="0" y="4"/>
                    </a:moveTo>
                    <a:lnTo>
                      <a:pt x="43" y="0"/>
                    </a:lnTo>
                    <a:lnTo>
                      <a:pt x="45" y="4"/>
                    </a:lnTo>
                    <a:lnTo>
                      <a:pt x="43" y="4"/>
                    </a:lnTo>
                    <a:lnTo>
                      <a:pt x="107" y="32"/>
                    </a:lnTo>
                    <a:lnTo>
                      <a:pt x="160" y="34"/>
                    </a:lnTo>
                    <a:lnTo>
                      <a:pt x="160" y="29"/>
                    </a:lnTo>
                    <a:lnTo>
                      <a:pt x="188" y="29"/>
                    </a:lnTo>
                    <a:lnTo>
                      <a:pt x="194" y="32"/>
                    </a:lnTo>
                    <a:lnTo>
                      <a:pt x="196" y="34"/>
                    </a:lnTo>
                    <a:lnTo>
                      <a:pt x="198" y="38"/>
                    </a:lnTo>
                    <a:lnTo>
                      <a:pt x="198" y="38"/>
                    </a:lnTo>
                    <a:lnTo>
                      <a:pt x="200" y="38"/>
                    </a:lnTo>
                    <a:lnTo>
                      <a:pt x="201" y="42"/>
                    </a:lnTo>
                    <a:lnTo>
                      <a:pt x="200" y="44"/>
                    </a:lnTo>
                    <a:lnTo>
                      <a:pt x="203" y="46"/>
                    </a:lnTo>
                    <a:lnTo>
                      <a:pt x="205" y="47"/>
                    </a:lnTo>
                    <a:lnTo>
                      <a:pt x="205" y="49"/>
                    </a:lnTo>
                    <a:lnTo>
                      <a:pt x="205" y="49"/>
                    </a:lnTo>
                    <a:lnTo>
                      <a:pt x="205" y="49"/>
                    </a:lnTo>
                    <a:lnTo>
                      <a:pt x="209" y="53"/>
                    </a:lnTo>
                    <a:lnTo>
                      <a:pt x="213" y="53"/>
                    </a:lnTo>
                    <a:lnTo>
                      <a:pt x="213" y="59"/>
                    </a:lnTo>
                    <a:lnTo>
                      <a:pt x="215" y="61"/>
                    </a:lnTo>
                    <a:lnTo>
                      <a:pt x="215" y="61"/>
                    </a:lnTo>
                    <a:lnTo>
                      <a:pt x="215" y="62"/>
                    </a:lnTo>
                    <a:lnTo>
                      <a:pt x="218" y="64"/>
                    </a:lnTo>
                    <a:lnTo>
                      <a:pt x="218" y="66"/>
                    </a:lnTo>
                    <a:lnTo>
                      <a:pt x="215" y="68"/>
                    </a:lnTo>
                    <a:lnTo>
                      <a:pt x="215" y="68"/>
                    </a:lnTo>
                    <a:lnTo>
                      <a:pt x="215" y="70"/>
                    </a:lnTo>
                    <a:lnTo>
                      <a:pt x="218" y="74"/>
                    </a:lnTo>
                    <a:lnTo>
                      <a:pt x="218" y="78"/>
                    </a:lnTo>
                    <a:lnTo>
                      <a:pt x="220" y="78"/>
                    </a:lnTo>
                    <a:lnTo>
                      <a:pt x="220" y="81"/>
                    </a:lnTo>
                    <a:lnTo>
                      <a:pt x="220" y="81"/>
                    </a:lnTo>
                    <a:lnTo>
                      <a:pt x="222" y="81"/>
                    </a:lnTo>
                    <a:lnTo>
                      <a:pt x="224" y="81"/>
                    </a:lnTo>
                    <a:lnTo>
                      <a:pt x="226" y="81"/>
                    </a:lnTo>
                    <a:lnTo>
                      <a:pt x="226" y="83"/>
                    </a:lnTo>
                    <a:lnTo>
                      <a:pt x="226" y="83"/>
                    </a:lnTo>
                    <a:lnTo>
                      <a:pt x="228" y="87"/>
                    </a:lnTo>
                    <a:lnTo>
                      <a:pt x="230" y="87"/>
                    </a:lnTo>
                    <a:lnTo>
                      <a:pt x="233" y="87"/>
                    </a:lnTo>
                    <a:lnTo>
                      <a:pt x="233" y="89"/>
                    </a:lnTo>
                    <a:lnTo>
                      <a:pt x="237" y="89"/>
                    </a:lnTo>
                    <a:lnTo>
                      <a:pt x="243" y="91"/>
                    </a:lnTo>
                    <a:lnTo>
                      <a:pt x="243" y="93"/>
                    </a:lnTo>
                    <a:lnTo>
                      <a:pt x="243" y="93"/>
                    </a:lnTo>
                    <a:lnTo>
                      <a:pt x="245" y="93"/>
                    </a:lnTo>
                    <a:lnTo>
                      <a:pt x="245" y="91"/>
                    </a:lnTo>
                    <a:lnTo>
                      <a:pt x="248" y="89"/>
                    </a:lnTo>
                    <a:lnTo>
                      <a:pt x="250" y="89"/>
                    </a:lnTo>
                    <a:lnTo>
                      <a:pt x="250" y="87"/>
                    </a:lnTo>
                    <a:lnTo>
                      <a:pt x="250" y="87"/>
                    </a:lnTo>
                    <a:lnTo>
                      <a:pt x="252" y="83"/>
                    </a:lnTo>
                    <a:lnTo>
                      <a:pt x="254" y="78"/>
                    </a:lnTo>
                    <a:lnTo>
                      <a:pt x="256" y="78"/>
                    </a:lnTo>
                    <a:lnTo>
                      <a:pt x="260" y="78"/>
                    </a:lnTo>
                    <a:lnTo>
                      <a:pt x="260" y="78"/>
                    </a:lnTo>
                    <a:lnTo>
                      <a:pt x="262" y="78"/>
                    </a:lnTo>
                    <a:lnTo>
                      <a:pt x="262" y="78"/>
                    </a:lnTo>
                    <a:lnTo>
                      <a:pt x="264" y="76"/>
                    </a:lnTo>
                    <a:lnTo>
                      <a:pt x="267" y="76"/>
                    </a:lnTo>
                    <a:lnTo>
                      <a:pt x="269" y="76"/>
                    </a:lnTo>
                    <a:lnTo>
                      <a:pt x="273" y="76"/>
                    </a:lnTo>
                    <a:lnTo>
                      <a:pt x="273" y="76"/>
                    </a:lnTo>
                    <a:lnTo>
                      <a:pt x="275" y="78"/>
                    </a:lnTo>
                    <a:lnTo>
                      <a:pt x="277" y="78"/>
                    </a:lnTo>
                    <a:lnTo>
                      <a:pt x="280" y="78"/>
                    </a:lnTo>
                    <a:lnTo>
                      <a:pt x="282" y="81"/>
                    </a:lnTo>
                    <a:lnTo>
                      <a:pt x="286" y="83"/>
                    </a:lnTo>
                    <a:lnTo>
                      <a:pt x="288" y="87"/>
                    </a:lnTo>
                    <a:lnTo>
                      <a:pt x="288" y="93"/>
                    </a:lnTo>
                    <a:lnTo>
                      <a:pt x="292" y="93"/>
                    </a:lnTo>
                    <a:lnTo>
                      <a:pt x="292" y="96"/>
                    </a:lnTo>
                    <a:lnTo>
                      <a:pt x="292" y="100"/>
                    </a:lnTo>
                    <a:lnTo>
                      <a:pt x="292" y="102"/>
                    </a:lnTo>
                    <a:lnTo>
                      <a:pt x="294" y="102"/>
                    </a:lnTo>
                    <a:lnTo>
                      <a:pt x="296" y="111"/>
                    </a:lnTo>
                    <a:lnTo>
                      <a:pt x="297" y="111"/>
                    </a:lnTo>
                    <a:lnTo>
                      <a:pt x="297" y="113"/>
                    </a:lnTo>
                    <a:lnTo>
                      <a:pt x="301" y="115"/>
                    </a:lnTo>
                    <a:lnTo>
                      <a:pt x="301" y="119"/>
                    </a:lnTo>
                    <a:lnTo>
                      <a:pt x="303" y="123"/>
                    </a:lnTo>
                    <a:lnTo>
                      <a:pt x="307" y="127"/>
                    </a:lnTo>
                    <a:lnTo>
                      <a:pt x="307" y="130"/>
                    </a:lnTo>
                    <a:lnTo>
                      <a:pt x="307" y="132"/>
                    </a:lnTo>
                    <a:lnTo>
                      <a:pt x="307" y="132"/>
                    </a:lnTo>
                    <a:lnTo>
                      <a:pt x="307" y="136"/>
                    </a:lnTo>
                    <a:lnTo>
                      <a:pt x="311" y="145"/>
                    </a:lnTo>
                    <a:lnTo>
                      <a:pt x="311" y="149"/>
                    </a:lnTo>
                    <a:lnTo>
                      <a:pt x="312" y="153"/>
                    </a:lnTo>
                    <a:lnTo>
                      <a:pt x="312" y="153"/>
                    </a:lnTo>
                    <a:lnTo>
                      <a:pt x="312" y="153"/>
                    </a:lnTo>
                    <a:lnTo>
                      <a:pt x="316" y="153"/>
                    </a:lnTo>
                    <a:lnTo>
                      <a:pt x="318" y="155"/>
                    </a:lnTo>
                    <a:lnTo>
                      <a:pt x="322" y="157"/>
                    </a:lnTo>
                    <a:lnTo>
                      <a:pt x="328" y="160"/>
                    </a:lnTo>
                    <a:lnTo>
                      <a:pt x="331" y="160"/>
                    </a:lnTo>
                    <a:lnTo>
                      <a:pt x="335" y="160"/>
                    </a:lnTo>
                    <a:lnTo>
                      <a:pt x="337" y="162"/>
                    </a:lnTo>
                    <a:lnTo>
                      <a:pt x="337" y="166"/>
                    </a:lnTo>
                    <a:lnTo>
                      <a:pt x="337" y="166"/>
                    </a:lnTo>
                    <a:lnTo>
                      <a:pt x="341" y="166"/>
                    </a:lnTo>
                    <a:lnTo>
                      <a:pt x="341" y="160"/>
                    </a:lnTo>
                    <a:lnTo>
                      <a:pt x="343" y="157"/>
                    </a:lnTo>
                    <a:lnTo>
                      <a:pt x="343" y="160"/>
                    </a:lnTo>
                    <a:lnTo>
                      <a:pt x="341" y="166"/>
                    </a:lnTo>
                    <a:lnTo>
                      <a:pt x="341" y="166"/>
                    </a:lnTo>
                    <a:lnTo>
                      <a:pt x="341" y="170"/>
                    </a:lnTo>
                    <a:lnTo>
                      <a:pt x="337" y="174"/>
                    </a:lnTo>
                    <a:lnTo>
                      <a:pt x="337" y="177"/>
                    </a:lnTo>
                    <a:lnTo>
                      <a:pt x="335" y="177"/>
                    </a:lnTo>
                    <a:lnTo>
                      <a:pt x="335" y="175"/>
                    </a:lnTo>
                    <a:lnTo>
                      <a:pt x="335" y="172"/>
                    </a:lnTo>
                    <a:lnTo>
                      <a:pt x="333" y="172"/>
                    </a:lnTo>
                    <a:lnTo>
                      <a:pt x="333" y="177"/>
                    </a:lnTo>
                    <a:lnTo>
                      <a:pt x="329" y="181"/>
                    </a:lnTo>
                    <a:lnTo>
                      <a:pt x="333" y="181"/>
                    </a:lnTo>
                    <a:lnTo>
                      <a:pt x="331" y="185"/>
                    </a:lnTo>
                    <a:lnTo>
                      <a:pt x="329" y="191"/>
                    </a:lnTo>
                    <a:lnTo>
                      <a:pt x="328" y="191"/>
                    </a:lnTo>
                    <a:lnTo>
                      <a:pt x="328" y="194"/>
                    </a:lnTo>
                    <a:lnTo>
                      <a:pt x="329" y="196"/>
                    </a:lnTo>
                    <a:lnTo>
                      <a:pt x="328" y="198"/>
                    </a:lnTo>
                    <a:lnTo>
                      <a:pt x="329" y="202"/>
                    </a:lnTo>
                    <a:lnTo>
                      <a:pt x="326" y="211"/>
                    </a:lnTo>
                    <a:lnTo>
                      <a:pt x="328" y="215"/>
                    </a:lnTo>
                    <a:lnTo>
                      <a:pt x="326" y="224"/>
                    </a:lnTo>
                    <a:lnTo>
                      <a:pt x="324" y="230"/>
                    </a:lnTo>
                    <a:lnTo>
                      <a:pt x="324" y="232"/>
                    </a:lnTo>
                    <a:lnTo>
                      <a:pt x="326" y="240"/>
                    </a:lnTo>
                    <a:lnTo>
                      <a:pt x="326" y="243"/>
                    </a:lnTo>
                    <a:lnTo>
                      <a:pt x="329" y="251"/>
                    </a:lnTo>
                    <a:lnTo>
                      <a:pt x="329" y="256"/>
                    </a:lnTo>
                    <a:lnTo>
                      <a:pt x="329" y="256"/>
                    </a:lnTo>
                    <a:lnTo>
                      <a:pt x="328" y="251"/>
                    </a:lnTo>
                    <a:lnTo>
                      <a:pt x="324" y="245"/>
                    </a:lnTo>
                    <a:lnTo>
                      <a:pt x="324" y="249"/>
                    </a:lnTo>
                    <a:lnTo>
                      <a:pt x="326" y="251"/>
                    </a:lnTo>
                    <a:lnTo>
                      <a:pt x="329" y="260"/>
                    </a:lnTo>
                    <a:lnTo>
                      <a:pt x="329" y="262"/>
                    </a:lnTo>
                    <a:lnTo>
                      <a:pt x="328" y="264"/>
                    </a:lnTo>
                    <a:lnTo>
                      <a:pt x="331" y="268"/>
                    </a:lnTo>
                    <a:lnTo>
                      <a:pt x="331" y="270"/>
                    </a:lnTo>
                    <a:lnTo>
                      <a:pt x="341" y="283"/>
                    </a:lnTo>
                    <a:lnTo>
                      <a:pt x="343" y="287"/>
                    </a:lnTo>
                    <a:lnTo>
                      <a:pt x="346" y="292"/>
                    </a:lnTo>
                    <a:lnTo>
                      <a:pt x="346" y="294"/>
                    </a:lnTo>
                    <a:lnTo>
                      <a:pt x="346" y="298"/>
                    </a:lnTo>
                    <a:lnTo>
                      <a:pt x="354" y="305"/>
                    </a:lnTo>
                    <a:lnTo>
                      <a:pt x="358" y="309"/>
                    </a:lnTo>
                    <a:lnTo>
                      <a:pt x="360" y="307"/>
                    </a:lnTo>
                    <a:lnTo>
                      <a:pt x="365" y="309"/>
                    </a:lnTo>
                    <a:lnTo>
                      <a:pt x="365" y="309"/>
                    </a:lnTo>
                    <a:lnTo>
                      <a:pt x="371" y="313"/>
                    </a:lnTo>
                    <a:lnTo>
                      <a:pt x="375" y="319"/>
                    </a:lnTo>
                    <a:lnTo>
                      <a:pt x="376" y="322"/>
                    </a:lnTo>
                    <a:lnTo>
                      <a:pt x="380" y="319"/>
                    </a:lnTo>
                    <a:lnTo>
                      <a:pt x="388" y="319"/>
                    </a:lnTo>
                    <a:lnTo>
                      <a:pt x="390" y="322"/>
                    </a:lnTo>
                    <a:lnTo>
                      <a:pt x="392" y="322"/>
                    </a:lnTo>
                    <a:lnTo>
                      <a:pt x="399" y="317"/>
                    </a:lnTo>
                    <a:lnTo>
                      <a:pt x="399" y="315"/>
                    </a:lnTo>
                    <a:lnTo>
                      <a:pt x="405" y="315"/>
                    </a:lnTo>
                    <a:lnTo>
                      <a:pt x="410" y="315"/>
                    </a:lnTo>
                    <a:lnTo>
                      <a:pt x="414" y="311"/>
                    </a:lnTo>
                    <a:lnTo>
                      <a:pt x="418" y="311"/>
                    </a:lnTo>
                    <a:lnTo>
                      <a:pt x="424" y="313"/>
                    </a:lnTo>
                    <a:lnTo>
                      <a:pt x="424" y="311"/>
                    </a:lnTo>
                    <a:lnTo>
                      <a:pt x="429" y="313"/>
                    </a:lnTo>
                    <a:lnTo>
                      <a:pt x="425" y="315"/>
                    </a:lnTo>
                    <a:lnTo>
                      <a:pt x="424" y="317"/>
                    </a:lnTo>
                    <a:lnTo>
                      <a:pt x="427" y="319"/>
                    </a:lnTo>
                    <a:lnTo>
                      <a:pt x="431" y="319"/>
                    </a:lnTo>
                    <a:lnTo>
                      <a:pt x="431" y="319"/>
                    </a:lnTo>
                    <a:lnTo>
                      <a:pt x="433" y="319"/>
                    </a:lnTo>
                    <a:lnTo>
                      <a:pt x="437" y="315"/>
                    </a:lnTo>
                    <a:lnTo>
                      <a:pt x="437" y="309"/>
                    </a:lnTo>
                    <a:lnTo>
                      <a:pt x="439" y="305"/>
                    </a:lnTo>
                    <a:lnTo>
                      <a:pt x="435" y="307"/>
                    </a:lnTo>
                    <a:lnTo>
                      <a:pt x="435" y="307"/>
                    </a:lnTo>
                    <a:lnTo>
                      <a:pt x="442" y="302"/>
                    </a:lnTo>
                    <a:lnTo>
                      <a:pt x="444" y="302"/>
                    </a:lnTo>
                    <a:lnTo>
                      <a:pt x="448" y="298"/>
                    </a:lnTo>
                    <a:lnTo>
                      <a:pt x="448" y="292"/>
                    </a:lnTo>
                    <a:lnTo>
                      <a:pt x="456" y="285"/>
                    </a:lnTo>
                    <a:lnTo>
                      <a:pt x="454" y="283"/>
                    </a:lnTo>
                    <a:lnTo>
                      <a:pt x="456" y="273"/>
                    </a:lnTo>
                    <a:lnTo>
                      <a:pt x="463" y="264"/>
                    </a:lnTo>
                    <a:lnTo>
                      <a:pt x="459" y="264"/>
                    </a:lnTo>
                    <a:lnTo>
                      <a:pt x="459" y="260"/>
                    </a:lnTo>
                    <a:lnTo>
                      <a:pt x="472" y="258"/>
                    </a:lnTo>
                    <a:lnTo>
                      <a:pt x="488" y="258"/>
                    </a:lnTo>
                    <a:lnTo>
                      <a:pt x="489" y="255"/>
                    </a:lnTo>
                    <a:lnTo>
                      <a:pt x="493" y="255"/>
                    </a:lnTo>
                    <a:lnTo>
                      <a:pt x="497" y="255"/>
                    </a:lnTo>
                    <a:lnTo>
                      <a:pt x="499" y="253"/>
                    </a:lnTo>
                    <a:lnTo>
                      <a:pt x="499" y="251"/>
                    </a:lnTo>
                    <a:lnTo>
                      <a:pt x="506" y="251"/>
                    </a:lnTo>
                    <a:lnTo>
                      <a:pt x="516" y="253"/>
                    </a:lnTo>
                    <a:lnTo>
                      <a:pt x="518" y="253"/>
                    </a:lnTo>
                    <a:lnTo>
                      <a:pt x="518" y="251"/>
                    </a:lnTo>
                    <a:lnTo>
                      <a:pt x="521" y="249"/>
                    </a:lnTo>
                    <a:lnTo>
                      <a:pt x="527" y="256"/>
                    </a:lnTo>
                    <a:lnTo>
                      <a:pt x="527" y="262"/>
                    </a:lnTo>
                    <a:lnTo>
                      <a:pt x="523" y="264"/>
                    </a:lnTo>
                    <a:lnTo>
                      <a:pt x="520" y="273"/>
                    </a:lnTo>
                    <a:lnTo>
                      <a:pt x="510" y="279"/>
                    </a:lnTo>
                    <a:lnTo>
                      <a:pt x="508" y="283"/>
                    </a:lnTo>
                    <a:lnTo>
                      <a:pt x="508" y="288"/>
                    </a:lnTo>
                    <a:lnTo>
                      <a:pt x="504" y="290"/>
                    </a:lnTo>
                    <a:lnTo>
                      <a:pt x="503" y="292"/>
                    </a:lnTo>
                    <a:lnTo>
                      <a:pt x="506" y="294"/>
                    </a:lnTo>
                    <a:lnTo>
                      <a:pt x="508" y="294"/>
                    </a:lnTo>
                    <a:lnTo>
                      <a:pt x="508" y="294"/>
                    </a:lnTo>
                    <a:lnTo>
                      <a:pt x="504" y="300"/>
                    </a:lnTo>
                    <a:lnTo>
                      <a:pt x="504" y="302"/>
                    </a:lnTo>
                    <a:lnTo>
                      <a:pt x="506" y="302"/>
                    </a:lnTo>
                    <a:lnTo>
                      <a:pt x="508" y="300"/>
                    </a:lnTo>
                    <a:lnTo>
                      <a:pt x="510" y="300"/>
                    </a:lnTo>
                    <a:lnTo>
                      <a:pt x="508" y="304"/>
                    </a:lnTo>
                    <a:lnTo>
                      <a:pt x="504" y="315"/>
                    </a:lnTo>
                    <a:lnTo>
                      <a:pt x="503" y="322"/>
                    </a:lnTo>
                    <a:lnTo>
                      <a:pt x="503" y="322"/>
                    </a:lnTo>
                    <a:lnTo>
                      <a:pt x="499" y="319"/>
                    </a:lnTo>
                    <a:lnTo>
                      <a:pt x="493" y="317"/>
                    </a:lnTo>
                    <a:lnTo>
                      <a:pt x="493" y="315"/>
                    </a:lnTo>
                    <a:lnTo>
                      <a:pt x="497" y="313"/>
                    </a:lnTo>
                    <a:lnTo>
                      <a:pt x="499" y="309"/>
                    </a:lnTo>
                    <a:lnTo>
                      <a:pt x="493" y="309"/>
                    </a:lnTo>
                    <a:lnTo>
                      <a:pt x="491" y="315"/>
                    </a:lnTo>
                    <a:lnTo>
                      <a:pt x="488" y="317"/>
                    </a:lnTo>
                    <a:lnTo>
                      <a:pt x="488" y="317"/>
                    </a:lnTo>
                    <a:lnTo>
                      <a:pt x="486" y="317"/>
                    </a:lnTo>
                    <a:lnTo>
                      <a:pt x="484" y="319"/>
                    </a:lnTo>
                    <a:lnTo>
                      <a:pt x="484" y="319"/>
                    </a:lnTo>
                    <a:lnTo>
                      <a:pt x="482" y="322"/>
                    </a:lnTo>
                    <a:lnTo>
                      <a:pt x="480" y="324"/>
                    </a:lnTo>
                    <a:lnTo>
                      <a:pt x="480" y="328"/>
                    </a:lnTo>
                    <a:lnTo>
                      <a:pt x="478" y="328"/>
                    </a:lnTo>
                    <a:lnTo>
                      <a:pt x="478" y="328"/>
                    </a:lnTo>
                    <a:lnTo>
                      <a:pt x="478" y="328"/>
                    </a:lnTo>
                    <a:lnTo>
                      <a:pt x="478" y="324"/>
                    </a:lnTo>
                    <a:lnTo>
                      <a:pt x="474" y="324"/>
                    </a:lnTo>
                    <a:lnTo>
                      <a:pt x="474" y="328"/>
                    </a:lnTo>
                    <a:lnTo>
                      <a:pt x="472" y="328"/>
                    </a:lnTo>
                    <a:lnTo>
                      <a:pt x="440" y="328"/>
                    </a:lnTo>
                    <a:lnTo>
                      <a:pt x="440" y="339"/>
                    </a:lnTo>
                    <a:lnTo>
                      <a:pt x="431" y="339"/>
                    </a:lnTo>
                    <a:lnTo>
                      <a:pt x="435" y="341"/>
                    </a:lnTo>
                    <a:lnTo>
                      <a:pt x="437" y="343"/>
                    </a:lnTo>
                    <a:lnTo>
                      <a:pt x="439" y="347"/>
                    </a:lnTo>
                    <a:lnTo>
                      <a:pt x="442" y="349"/>
                    </a:lnTo>
                    <a:lnTo>
                      <a:pt x="444" y="349"/>
                    </a:lnTo>
                    <a:lnTo>
                      <a:pt x="444" y="353"/>
                    </a:lnTo>
                    <a:lnTo>
                      <a:pt x="444" y="353"/>
                    </a:lnTo>
                    <a:lnTo>
                      <a:pt x="448" y="356"/>
                    </a:lnTo>
                    <a:lnTo>
                      <a:pt x="450" y="356"/>
                    </a:lnTo>
                    <a:lnTo>
                      <a:pt x="454" y="356"/>
                    </a:lnTo>
                    <a:lnTo>
                      <a:pt x="454" y="358"/>
                    </a:lnTo>
                    <a:lnTo>
                      <a:pt x="450" y="362"/>
                    </a:lnTo>
                    <a:lnTo>
                      <a:pt x="425" y="362"/>
                    </a:lnTo>
                    <a:lnTo>
                      <a:pt x="416" y="381"/>
                    </a:lnTo>
                    <a:lnTo>
                      <a:pt x="416" y="381"/>
                    </a:lnTo>
                    <a:lnTo>
                      <a:pt x="416" y="383"/>
                    </a:lnTo>
                    <a:lnTo>
                      <a:pt x="416" y="385"/>
                    </a:lnTo>
                    <a:lnTo>
                      <a:pt x="418" y="386"/>
                    </a:lnTo>
                    <a:lnTo>
                      <a:pt x="418" y="386"/>
                    </a:lnTo>
                    <a:lnTo>
                      <a:pt x="418" y="388"/>
                    </a:lnTo>
                    <a:lnTo>
                      <a:pt x="416" y="390"/>
                    </a:lnTo>
                    <a:lnTo>
                      <a:pt x="414" y="392"/>
                    </a:lnTo>
                    <a:lnTo>
                      <a:pt x="414" y="392"/>
                    </a:lnTo>
                    <a:lnTo>
                      <a:pt x="410" y="388"/>
                    </a:lnTo>
                    <a:lnTo>
                      <a:pt x="407" y="385"/>
                    </a:lnTo>
                    <a:lnTo>
                      <a:pt x="405" y="381"/>
                    </a:lnTo>
                    <a:lnTo>
                      <a:pt x="401" y="381"/>
                    </a:lnTo>
                    <a:lnTo>
                      <a:pt x="390" y="371"/>
                    </a:lnTo>
                    <a:lnTo>
                      <a:pt x="388" y="369"/>
                    </a:lnTo>
                    <a:lnTo>
                      <a:pt x="388" y="368"/>
                    </a:lnTo>
                    <a:lnTo>
                      <a:pt x="384" y="362"/>
                    </a:lnTo>
                    <a:lnTo>
                      <a:pt x="380" y="360"/>
                    </a:lnTo>
                    <a:lnTo>
                      <a:pt x="376" y="358"/>
                    </a:lnTo>
                    <a:lnTo>
                      <a:pt x="376" y="358"/>
                    </a:lnTo>
                    <a:lnTo>
                      <a:pt x="375" y="358"/>
                    </a:lnTo>
                    <a:lnTo>
                      <a:pt x="375" y="360"/>
                    </a:lnTo>
                    <a:lnTo>
                      <a:pt x="382" y="362"/>
                    </a:lnTo>
                    <a:lnTo>
                      <a:pt x="386" y="368"/>
                    </a:lnTo>
                    <a:lnTo>
                      <a:pt x="386" y="368"/>
                    </a:lnTo>
                    <a:lnTo>
                      <a:pt x="384" y="366"/>
                    </a:lnTo>
                    <a:lnTo>
                      <a:pt x="376" y="362"/>
                    </a:lnTo>
                    <a:lnTo>
                      <a:pt x="375" y="360"/>
                    </a:lnTo>
                    <a:lnTo>
                      <a:pt x="371" y="360"/>
                    </a:lnTo>
                    <a:lnTo>
                      <a:pt x="371" y="360"/>
                    </a:lnTo>
                    <a:lnTo>
                      <a:pt x="371" y="360"/>
                    </a:lnTo>
                    <a:lnTo>
                      <a:pt x="375" y="358"/>
                    </a:lnTo>
                    <a:lnTo>
                      <a:pt x="375" y="358"/>
                    </a:lnTo>
                    <a:lnTo>
                      <a:pt x="371" y="358"/>
                    </a:lnTo>
                    <a:lnTo>
                      <a:pt x="367" y="358"/>
                    </a:lnTo>
                    <a:lnTo>
                      <a:pt x="367" y="356"/>
                    </a:lnTo>
                    <a:lnTo>
                      <a:pt x="367" y="356"/>
                    </a:lnTo>
                    <a:lnTo>
                      <a:pt x="361" y="358"/>
                    </a:lnTo>
                    <a:lnTo>
                      <a:pt x="361" y="360"/>
                    </a:lnTo>
                    <a:lnTo>
                      <a:pt x="367" y="360"/>
                    </a:lnTo>
                    <a:lnTo>
                      <a:pt x="371" y="360"/>
                    </a:lnTo>
                    <a:lnTo>
                      <a:pt x="371" y="362"/>
                    </a:lnTo>
                    <a:lnTo>
                      <a:pt x="367" y="362"/>
                    </a:lnTo>
                    <a:lnTo>
                      <a:pt x="361" y="362"/>
                    </a:lnTo>
                    <a:lnTo>
                      <a:pt x="360" y="362"/>
                    </a:lnTo>
                    <a:lnTo>
                      <a:pt x="354" y="366"/>
                    </a:lnTo>
                    <a:lnTo>
                      <a:pt x="350" y="366"/>
                    </a:lnTo>
                    <a:lnTo>
                      <a:pt x="341" y="371"/>
                    </a:lnTo>
                    <a:lnTo>
                      <a:pt x="337" y="371"/>
                    </a:lnTo>
                    <a:lnTo>
                      <a:pt x="328" y="368"/>
                    </a:lnTo>
                    <a:lnTo>
                      <a:pt x="322" y="364"/>
                    </a:lnTo>
                    <a:lnTo>
                      <a:pt x="316" y="364"/>
                    </a:lnTo>
                    <a:lnTo>
                      <a:pt x="311" y="362"/>
                    </a:lnTo>
                    <a:lnTo>
                      <a:pt x="307" y="360"/>
                    </a:lnTo>
                    <a:lnTo>
                      <a:pt x="305" y="360"/>
                    </a:lnTo>
                    <a:lnTo>
                      <a:pt x="301" y="360"/>
                    </a:lnTo>
                    <a:lnTo>
                      <a:pt x="297" y="358"/>
                    </a:lnTo>
                    <a:lnTo>
                      <a:pt x="294" y="353"/>
                    </a:lnTo>
                    <a:lnTo>
                      <a:pt x="294" y="353"/>
                    </a:lnTo>
                    <a:lnTo>
                      <a:pt x="292" y="353"/>
                    </a:lnTo>
                    <a:lnTo>
                      <a:pt x="286" y="353"/>
                    </a:lnTo>
                    <a:lnTo>
                      <a:pt x="282" y="353"/>
                    </a:lnTo>
                    <a:lnTo>
                      <a:pt x="279" y="349"/>
                    </a:lnTo>
                    <a:lnTo>
                      <a:pt x="275" y="347"/>
                    </a:lnTo>
                    <a:lnTo>
                      <a:pt x="267" y="343"/>
                    </a:lnTo>
                    <a:lnTo>
                      <a:pt x="258" y="341"/>
                    </a:lnTo>
                    <a:lnTo>
                      <a:pt x="252" y="336"/>
                    </a:lnTo>
                    <a:lnTo>
                      <a:pt x="250" y="336"/>
                    </a:lnTo>
                    <a:lnTo>
                      <a:pt x="243" y="328"/>
                    </a:lnTo>
                    <a:lnTo>
                      <a:pt x="239" y="322"/>
                    </a:lnTo>
                    <a:lnTo>
                      <a:pt x="237" y="324"/>
                    </a:lnTo>
                    <a:lnTo>
                      <a:pt x="237" y="324"/>
                    </a:lnTo>
                    <a:lnTo>
                      <a:pt x="233" y="324"/>
                    </a:lnTo>
                    <a:lnTo>
                      <a:pt x="226" y="322"/>
                    </a:lnTo>
                    <a:lnTo>
                      <a:pt x="224" y="322"/>
                    </a:lnTo>
                    <a:lnTo>
                      <a:pt x="220" y="322"/>
                    </a:lnTo>
                    <a:lnTo>
                      <a:pt x="218" y="322"/>
                    </a:lnTo>
                    <a:lnTo>
                      <a:pt x="215" y="319"/>
                    </a:lnTo>
                    <a:lnTo>
                      <a:pt x="213" y="317"/>
                    </a:lnTo>
                    <a:lnTo>
                      <a:pt x="209" y="311"/>
                    </a:lnTo>
                    <a:lnTo>
                      <a:pt x="205" y="307"/>
                    </a:lnTo>
                    <a:lnTo>
                      <a:pt x="200" y="305"/>
                    </a:lnTo>
                    <a:lnTo>
                      <a:pt x="200" y="304"/>
                    </a:lnTo>
                    <a:lnTo>
                      <a:pt x="201" y="300"/>
                    </a:lnTo>
                    <a:lnTo>
                      <a:pt x="200" y="300"/>
                    </a:lnTo>
                    <a:lnTo>
                      <a:pt x="196" y="302"/>
                    </a:lnTo>
                    <a:lnTo>
                      <a:pt x="188" y="300"/>
                    </a:lnTo>
                    <a:lnTo>
                      <a:pt x="188" y="298"/>
                    </a:lnTo>
                    <a:lnTo>
                      <a:pt x="184" y="298"/>
                    </a:lnTo>
                    <a:lnTo>
                      <a:pt x="184" y="298"/>
                    </a:lnTo>
                    <a:lnTo>
                      <a:pt x="184" y="292"/>
                    </a:lnTo>
                    <a:lnTo>
                      <a:pt x="181" y="288"/>
                    </a:lnTo>
                    <a:lnTo>
                      <a:pt x="181" y="285"/>
                    </a:lnTo>
                    <a:lnTo>
                      <a:pt x="177" y="283"/>
                    </a:lnTo>
                    <a:lnTo>
                      <a:pt x="175" y="275"/>
                    </a:lnTo>
                    <a:lnTo>
                      <a:pt x="175" y="273"/>
                    </a:lnTo>
                    <a:lnTo>
                      <a:pt x="177" y="273"/>
                    </a:lnTo>
                    <a:lnTo>
                      <a:pt x="181" y="273"/>
                    </a:lnTo>
                    <a:lnTo>
                      <a:pt x="181" y="270"/>
                    </a:lnTo>
                    <a:lnTo>
                      <a:pt x="181" y="270"/>
                    </a:lnTo>
                    <a:lnTo>
                      <a:pt x="179" y="270"/>
                    </a:lnTo>
                    <a:lnTo>
                      <a:pt x="179" y="268"/>
                    </a:lnTo>
                    <a:lnTo>
                      <a:pt x="184" y="264"/>
                    </a:lnTo>
                    <a:lnTo>
                      <a:pt x="184" y="260"/>
                    </a:lnTo>
                    <a:lnTo>
                      <a:pt x="184" y="256"/>
                    </a:lnTo>
                    <a:lnTo>
                      <a:pt x="181" y="245"/>
                    </a:lnTo>
                    <a:lnTo>
                      <a:pt x="179" y="240"/>
                    </a:lnTo>
                    <a:lnTo>
                      <a:pt x="179" y="236"/>
                    </a:lnTo>
                    <a:lnTo>
                      <a:pt x="179" y="234"/>
                    </a:lnTo>
                    <a:lnTo>
                      <a:pt x="179" y="230"/>
                    </a:lnTo>
                    <a:lnTo>
                      <a:pt x="171" y="223"/>
                    </a:lnTo>
                    <a:lnTo>
                      <a:pt x="171" y="219"/>
                    </a:lnTo>
                    <a:lnTo>
                      <a:pt x="166" y="211"/>
                    </a:lnTo>
                    <a:lnTo>
                      <a:pt x="160" y="206"/>
                    </a:lnTo>
                    <a:lnTo>
                      <a:pt x="156" y="198"/>
                    </a:lnTo>
                    <a:lnTo>
                      <a:pt x="151" y="194"/>
                    </a:lnTo>
                    <a:lnTo>
                      <a:pt x="149" y="191"/>
                    </a:lnTo>
                    <a:lnTo>
                      <a:pt x="149" y="191"/>
                    </a:lnTo>
                    <a:lnTo>
                      <a:pt x="143" y="187"/>
                    </a:lnTo>
                    <a:lnTo>
                      <a:pt x="141" y="187"/>
                    </a:lnTo>
                    <a:lnTo>
                      <a:pt x="139" y="185"/>
                    </a:lnTo>
                    <a:lnTo>
                      <a:pt x="143" y="185"/>
                    </a:lnTo>
                    <a:lnTo>
                      <a:pt x="143" y="181"/>
                    </a:lnTo>
                    <a:lnTo>
                      <a:pt x="143" y="179"/>
                    </a:lnTo>
                    <a:lnTo>
                      <a:pt x="141" y="175"/>
                    </a:lnTo>
                    <a:lnTo>
                      <a:pt x="139" y="172"/>
                    </a:lnTo>
                    <a:lnTo>
                      <a:pt x="137" y="172"/>
                    </a:lnTo>
                    <a:lnTo>
                      <a:pt x="136" y="172"/>
                    </a:lnTo>
                    <a:lnTo>
                      <a:pt x="128" y="166"/>
                    </a:lnTo>
                    <a:lnTo>
                      <a:pt x="124" y="162"/>
                    </a:lnTo>
                    <a:lnTo>
                      <a:pt x="120" y="162"/>
                    </a:lnTo>
                    <a:lnTo>
                      <a:pt x="119" y="160"/>
                    </a:lnTo>
                    <a:lnTo>
                      <a:pt x="117" y="157"/>
                    </a:lnTo>
                    <a:lnTo>
                      <a:pt x="119" y="153"/>
                    </a:lnTo>
                    <a:lnTo>
                      <a:pt x="122" y="149"/>
                    </a:lnTo>
                    <a:lnTo>
                      <a:pt x="126" y="149"/>
                    </a:lnTo>
                    <a:lnTo>
                      <a:pt x="128" y="151"/>
                    </a:lnTo>
                    <a:lnTo>
                      <a:pt x="128" y="149"/>
                    </a:lnTo>
                    <a:lnTo>
                      <a:pt x="128" y="145"/>
                    </a:lnTo>
                    <a:lnTo>
                      <a:pt x="128" y="145"/>
                    </a:lnTo>
                    <a:lnTo>
                      <a:pt x="126" y="145"/>
                    </a:lnTo>
                    <a:lnTo>
                      <a:pt x="124" y="145"/>
                    </a:lnTo>
                    <a:lnTo>
                      <a:pt x="122" y="142"/>
                    </a:lnTo>
                    <a:lnTo>
                      <a:pt x="119" y="138"/>
                    </a:lnTo>
                    <a:lnTo>
                      <a:pt x="117" y="138"/>
                    </a:lnTo>
                    <a:lnTo>
                      <a:pt x="113" y="138"/>
                    </a:lnTo>
                    <a:lnTo>
                      <a:pt x="111" y="136"/>
                    </a:lnTo>
                    <a:lnTo>
                      <a:pt x="113" y="132"/>
                    </a:lnTo>
                    <a:lnTo>
                      <a:pt x="111" y="132"/>
                    </a:lnTo>
                    <a:lnTo>
                      <a:pt x="107" y="132"/>
                    </a:lnTo>
                    <a:lnTo>
                      <a:pt x="102" y="125"/>
                    </a:lnTo>
                    <a:lnTo>
                      <a:pt x="102" y="121"/>
                    </a:lnTo>
                    <a:lnTo>
                      <a:pt x="102" y="117"/>
                    </a:lnTo>
                    <a:lnTo>
                      <a:pt x="102" y="113"/>
                    </a:lnTo>
                    <a:lnTo>
                      <a:pt x="102" y="111"/>
                    </a:lnTo>
                    <a:lnTo>
                      <a:pt x="98" y="113"/>
                    </a:lnTo>
                    <a:lnTo>
                      <a:pt x="98" y="111"/>
                    </a:lnTo>
                    <a:lnTo>
                      <a:pt x="94" y="111"/>
                    </a:lnTo>
                    <a:lnTo>
                      <a:pt x="94" y="111"/>
                    </a:lnTo>
                    <a:lnTo>
                      <a:pt x="90" y="108"/>
                    </a:lnTo>
                    <a:lnTo>
                      <a:pt x="90" y="106"/>
                    </a:lnTo>
                    <a:lnTo>
                      <a:pt x="88" y="102"/>
                    </a:lnTo>
                    <a:lnTo>
                      <a:pt x="87" y="100"/>
                    </a:lnTo>
                    <a:lnTo>
                      <a:pt x="83" y="98"/>
                    </a:lnTo>
                    <a:lnTo>
                      <a:pt x="83" y="94"/>
                    </a:lnTo>
                    <a:lnTo>
                      <a:pt x="83" y="91"/>
                    </a:lnTo>
                    <a:lnTo>
                      <a:pt x="81" y="91"/>
                    </a:lnTo>
                    <a:lnTo>
                      <a:pt x="77" y="83"/>
                    </a:lnTo>
                    <a:lnTo>
                      <a:pt x="77" y="81"/>
                    </a:lnTo>
                    <a:lnTo>
                      <a:pt x="75" y="81"/>
                    </a:lnTo>
                    <a:lnTo>
                      <a:pt x="75" y="81"/>
                    </a:lnTo>
                    <a:lnTo>
                      <a:pt x="75" y="78"/>
                    </a:lnTo>
                    <a:lnTo>
                      <a:pt x="77" y="78"/>
                    </a:lnTo>
                    <a:lnTo>
                      <a:pt x="72" y="70"/>
                    </a:lnTo>
                    <a:lnTo>
                      <a:pt x="70" y="66"/>
                    </a:lnTo>
                    <a:lnTo>
                      <a:pt x="72" y="64"/>
                    </a:lnTo>
                    <a:lnTo>
                      <a:pt x="70" y="59"/>
                    </a:lnTo>
                    <a:lnTo>
                      <a:pt x="68" y="57"/>
                    </a:lnTo>
                    <a:lnTo>
                      <a:pt x="68" y="49"/>
                    </a:lnTo>
                    <a:lnTo>
                      <a:pt x="66" y="46"/>
                    </a:lnTo>
                    <a:lnTo>
                      <a:pt x="66" y="44"/>
                    </a:lnTo>
                    <a:lnTo>
                      <a:pt x="68" y="40"/>
                    </a:lnTo>
                    <a:lnTo>
                      <a:pt x="68" y="38"/>
                    </a:lnTo>
                    <a:lnTo>
                      <a:pt x="64" y="36"/>
                    </a:lnTo>
                    <a:lnTo>
                      <a:pt x="62" y="36"/>
                    </a:lnTo>
                    <a:lnTo>
                      <a:pt x="58" y="32"/>
                    </a:lnTo>
                    <a:lnTo>
                      <a:pt x="56" y="32"/>
                    </a:lnTo>
                    <a:lnTo>
                      <a:pt x="56" y="32"/>
                    </a:lnTo>
                    <a:lnTo>
                      <a:pt x="53" y="32"/>
                    </a:lnTo>
                    <a:lnTo>
                      <a:pt x="51" y="32"/>
                    </a:lnTo>
                    <a:lnTo>
                      <a:pt x="47" y="25"/>
                    </a:lnTo>
                    <a:lnTo>
                      <a:pt x="41" y="25"/>
                    </a:lnTo>
                    <a:lnTo>
                      <a:pt x="40" y="19"/>
                    </a:lnTo>
                    <a:lnTo>
                      <a:pt x="40" y="25"/>
                    </a:lnTo>
                    <a:lnTo>
                      <a:pt x="41" y="29"/>
                    </a:lnTo>
                    <a:lnTo>
                      <a:pt x="40" y="32"/>
                    </a:lnTo>
                    <a:lnTo>
                      <a:pt x="38" y="38"/>
                    </a:lnTo>
                    <a:lnTo>
                      <a:pt x="38" y="46"/>
                    </a:lnTo>
                    <a:lnTo>
                      <a:pt x="40" y="57"/>
                    </a:lnTo>
                    <a:lnTo>
                      <a:pt x="38" y="61"/>
                    </a:lnTo>
                    <a:lnTo>
                      <a:pt x="40" y="62"/>
                    </a:lnTo>
                    <a:lnTo>
                      <a:pt x="41" y="68"/>
                    </a:lnTo>
                    <a:lnTo>
                      <a:pt x="41" y="72"/>
                    </a:lnTo>
                    <a:lnTo>
                      <a:pt x="43" y="72"/>
                    </a:lnTo>
                    <a:lnTo>
                      <a:pt x="45" y="76"/>
                    </a:lnTo>
                    <a:lnTo>
                      <a:pt x="51" y="78"/>
                    </a:lnTo>
                    <a:lnTo>
                      <a:pt x="53" y="83"/>
                    </a:lnTo>
                    <a:lnTo>
                      <a:pt x="53" y="87"/>
                    </a:lnTo>
                    <a:lnTo>
                      <a:pt x="53" y="89"/>
                    </a:lnTo>
                    <a:lnTo>
                      <a:pt x="56" y="91"/>
                    </a:lnTo>
                    <a:lnTo>
                      <a:pt x="56" y="93"/>
                    </a:lnTo>
                    <a:lnTo>
                      <a:pt x="56" y="96"/>
                    </a:lnTo>
                    <a:lnTo>
                      <a:pt x="58" y="98"/>
                    </a:lnTo>
                    <a:lnTo>
                      <a:pt x="62" y="100"/>
                    </a:lnTo>
                    <a:lnTo>
                      <a:pt x="64" y="102"/>
                    </a:lnTo>
                    <a:lnTo>
                      <a:pt x="64" y="108"/>
                    </a:lnTo>
                    <a:lnTo>
                      <a:pt x="64" y="111"/>
                    </a:lnTo>
                    <a:lnTo>
                      <a:pt x="68" y="115"/>
                    </a:lnTo>
                    <a:lnTo>
                      <a:pt x="70" y="115"/>
                    </a:lnTo>
                    <a:lnTo>
                      <a:pt x="73" y="121"/>
                    </a:lnTo>
                    <a:lnTo>
                      <a:pt x="73" y="128"/>
                    </a:lnTo>
                    <a:lnTo>
                      <a:pt x="75" y="128"/>
                    </a:lnTo>
                    <a:lnTo>
                      <a:pt x="77" y="130"/>
                    </a:lnTo>
                    <a:lnTo>
                      <a:pt x="75" y="132"/>
                    </a:lnTo>
                    <a:lnTo>
                      <a:pt x="75" y="136"/>
                    </a:lnTo>
                    <a:lnTo>
                      <a:pt x="77" y="140"/>
                    </a:lnTo>
                    <a:lnTo>
                      <a:pt x="81" y="138"/>
                    </a:lnTo>
                    <a:lnTo>
                      <a:pt x="81" y="136"/>
                    </a:lnTo>
                    <a:lnTo>
                      <a:pt x="81" y="136"/>
                    </a:lnTo>
                    <a:lnTo>
                      <a:pt x="81" y="136"/>
                    </a:lnTo>
                    <a:lnTo>
                      <a:pt x="81" y="138"/>
                    </a:lnTo>
                    <a:lnTo>
                      <a:pt x="87" y="142"/>
                    </a:lnTo>
                    <a:lnTo>
                      <a:pt x="87" y="149"/>
                    </a:lnTo>
                    <a:lnTo>
                      <a:pt x="87" y="151"/>
                    </a:lnTo>
                    <a:lnTo>
                      <a:pt x="87" y="157"/>
                    </a:lnTo>
                    <a:lnTo>
                      <a:pt x="87" y="157"/>
                    </a:lnTo>
                    <a:lnTo>
                      <a:pt x="87" y="160"/>
                    </a:lnTo>
                    <a:lnTo>
                      <a:pt x="88" y="162"/>
                    </a:lnTo>
                    <a:lnTo>
                      <a:pt x="88" y="166"/>
                    </a:lnTo>
                    <a:lnTo>
                      <a:pt x="90" y="170"/>
                    </a:lnTo>
                    <a:lnTo>
                      <a:pt x="90" y="170"/>
                    </a:lnTo>
                    <a:lnTo>
                      <a:pt x="88" y="174"/>
                    </a:lnTo>
                    <a:lnTo>
                      <a:pt x="92" y="177"/>
                    </a:lnTo>
                    <a:lnTo>
                      <a:pt x="92" y="181"/>
                    </a:lnTo>
                    <a:lnTo>
                      <a:pt x="90" y="185"/>
                    </a:lnTo>
                    <a:lnTo>
                      <a:pt x="90" y="187"/>
                    </a:lnTo>
                    <a:lnTo>
                      <a:pt x="94" y="191"/>
                    </a:lnTo>
                    <a:lnTo>
                      <a:pt x="96" y="194"/>
                    </a:lnTo>
                    <a:lnTo>
                      <a:pt x="98" y="194"/>
                    </a:lnTo>
                    <a:lnTo>
                      <a:pt x="100" y="194"/>
                    </a:lnTo>
                    <a:lnTo>
                      <a:pt x="100" y="191"/>
                    </a:lnTo>
                    <a:lnTo>
                      <a:pt x="100" y="191"/>
                    </a:lnTo>
                    <a:lnTo>
                      <a:pt x="102" y="194"/>
                    </a:lnTo>
                    <a:lnTo>
                      <a:pt x="102" y="194"/>
                    </a:lnTo>
                    <a:lnTo>
                      <a:pt x="105" y="196"/>
                    </a:lnTo>
                    <a:lnTo>
                      <a:pt x="107" y="198"/>
                    </a:lnTo>
                    <a:lnTo>
                      <a:pt x="107" y="202"/>
                    </a:lnTo>
                    <a:lnTo>
                      <a:pt x="111" y="204"/>
                    </a:lnTo>
                    <a:lnTo>
                      <a:pt x="111" y="208"/>
                    </a:lnTo>
                    <a:lnTo>
                      <a:pt x="113" y="209"/>
                    </a:lnTo>
                    <a:lnTo>
                      <a:pt x="113" y="211"/>
                    </a:lnTo>
                    <a:lnTo>
                      <a:pt x="111" y="219"/>
                    </a:lnTo>
                    <a:lnTo>
                      <a:pt x="105" y="221"/>
                    </a:lnTo>
                    <a:lnTo>
                      <a:pt x="102" y="219"/>
                    </a:lnTo>
                    <a:lnTo>
                      <a:pt x="102" y="215"/>
                    </a:lnTo>
                    <a:lnTo>
                      <a:pt x="100" y="215"/>
                    </a:lnTo>
                    <a:lnTo>
                      <a:pt x="98" y="211"/>
                    </a:lnTo>
                    <a:lnTo>
                      <a:pt x="98" y="208"/>
                    </a:lnTo>
                    <a:lnTo>
                      <a:pt x="96" y="204"/>
                    </a:lnTo>
                    <a:lnTo>
                      <a:pt x="92" y="204"/>
                    </a:lnTo>
                    <a:lnTo>
                      <a:pt x="88" y="200"/>
                    </a:lnTo>
                    <a:lnTo>
                      <a:pt x="87" y="198"/>
                    </a:lnTo>
                    <a:lnTo>
                      <a:pt x="87" y="196"/>
                    </a:lnTo>
                    <a:lnTo>
                      <a:pt x="77" y="187"/>
                    </a:lnTo>
                    <a:lnTo>
                      <a:pt x="75" y="185"/>
                    </a:lnTo>
                    <a:lnTo>
                      <a:pt x="72" y="185"/>
                    </a:lnTo>
                    <a:lnTo>
                      <a:pt x="72" y="181"/>
                    </a:lnTo>
                    <a:lnTo>
                      <a:pt x="70" y="181"/>
                    </a:lnTo>
                    <a:lnTo>
                      <a:pt x="66" y="179"/>
                    </a:lnTo>
                    <a:lnTo>
                      <a:pt x="66" y="175"/>
                    </a:lnTo>
                    <a:lnTo>
                      <a:pt x="68" y="170"/>
                    </a:lnTo>
                    <a:lnTo>
                      <a:pt x="70" y="166"/>
                    </a:lnTo>
                    <a:lnTo>
                      <a:pt x="70" y="157"/>
                    </a:lnTo>
                    <a:lnTo>
                      <a:pt x="66" y="151"/>
                    </a:lnTo>
                    <a:lnTo>
                      <a:pt x="64" y="147"/>
                    </a:lnTo>
                    <a:lnTo>
                      <a:pt x="62" y="147"/>
                    </a:lnTo>
                    <a:lnTo>
                      <a:pt x="62" y="147"/>
                    </a:lnTo>
                    <a:lnTo>
                      <a:pt x="53" y="140"/>
                    </a:lnTo>
                    <a:lnTo>
                      <a:pt x="53" y="136"/>
                    </a:lnTo>
                    <a:lnTo>
                      <a:pt x="53" y="132"/>
                    </a:lnTo>
                    <a:lnTo>
                      <a:pt x="53" y="132"/>
                    </a:lnTo>
                    <a:lnTo>
                      <a:pt x="51" y="136"/>
                    </a:lnTo>
                    <a:lnTo>
                      <a:pt x="47" y="136"/>
                    </a:lnTo>
                    <a:lnTo>
                      <a:pt x="45" y="136"/>
                    </a:lnTo>
                    <a:lnTo>
                      <a:pt x="43" y="132"/>
                    </a:lnTo>
                    <a:lnTo>
                      <a:pt x="45" y="132"/>
                    </a:lnTo>
                    <a:lnTo>
                      <a:pt x="41" y="132"/>
                    </a:lnTo>
                    <a:lnTo>
                      <a:pt x="40" y="132"/>
                    </a:lnTo>
                    <a:lnTo>
                      <a:pt x="40" y="130"/>
                    </a:lnTo>
                    <a:lnTo>
                      <a:pt x="34" y="128"/>
                    </a:lnTo>
                    <a:lnTo>
                      <a:pt x="32" y="127"/>
                    </a:lnTo>
                    <a:lnTo>
                      <a:pt x="32" y="123"/>
                    </a:lnTo>
                    <a:lnTo>
                      <a:pt x="28" y="119"/>
                    </a:lnTo>
                    <a:lnTo>
                      <a:pt x="28" y="119"/>
                    </a:lnTo>
                    <a:lnTo>
                      <a:pt x="23" y="113"/>
                    </a:lnTo>
                    <a:lnTo>
                      <a:pt x="24" y="111"/>
                    </a:lnTo>
                    <a:lnTo>
                      <a:pt x="28" y="111"/>
                    </a:lnTo>
                    <a:lnTo>
                      <a:pt x="32" y="113"/>
                    </a:lnTo>
                    <a:lnTo>
                      <a:pt x="36" y="113"/>
                    </a:lnTo>
                    <a:lnTo>
                      <a:pt x="38" y="115"/>
                    </a:lnTo>
                    <a:lnTo>
                      <a:pt x="40" y="113"/>
                    </a:lnTo>
                    <a:lnTo>
                      <a:pt x="40" y="111"/>
                    </a:lnTo>
                    <a:lnTo>
                      <a:pt x="38" y="111"/>
                    </a:lnTo>
                    <a:lnTo>
                      <a:pt x="36" y="111"/>
                    </a:lnTo>
                    <a:lnTo>
                      <a:pt x="38" y="108"/>
                    </a:lnTo>
                    <a:lnTo>
                      <a:pt x="41" y="108"/>
                    </a:lnTo>
                    <a:lnTo>
                      <a:pt x="41" y="106"/>
                    </a:lnTo>
                    <a:lnTo>
                      <a:pt x="40" y="102"/>
                    </a:lnTo>
                    <a:lnTo>
                      <a:pt x="40" y="102"/>
                    </a:lnTo>
                    <a:lnTo>
                      <a:pt x="43" y="100"/>
                    </a:lnTo>
                    <a:lnTo>
                      <a:pt x="40" y="94"/>
                    </a:lnTo>
                    <a:lnTo>
                      <a:pt x="38" y="94"/>
                    </a:lnTo>
                    <a:lnTo>
                      <a:pt x="36" y="89"/>
                    </a:lnTo>
                    <a:lnTo>
                      <a:pt x="32" y="83"/>
                    </a:lnTo>
                    <a:lnTo>
                      <a:pt x="32" y="81"/>
                    </a:lnTo>
                    <a:lnTo>
                      <a:pt x="28" y="78"/>
                    </a:lnTo>
                    <a:lnTo>
                      <a:pt x="24" y="72"/>
                    </a:lnTo>
                    <a:lnTo>
                      <a:pt x="23" y="74"/>
                    </a:lnTo>
                    <a:lnTo>
                      <a:pt x="19" y="70"/>
                    </a:lnTo>
                    <a:lnTo>
                      <a:pt x="17" y="64"/>
                    </a:lnTo>
                    <a:lnTo>
                      <a:pt x="17" y="57"/>
                    </a:lnTo>
                    <a:lnTo>
                      <a:pt x="15" y="57"/>
                    </a:lnTo>
                    <a:lnTo>
                      <a:pt x="13" y="53"/>
                    </a:lnTo>
                    <a:lnTo>
                      <a:pt x="13" y="49"/>
                    </a:lnTo>
                    <a:lnTo>
                      <a:pt x="15" y="49"/>
                    </a:lnTo>
                    <a:lnTo>
                      <a:pt x="13" y="46"/>
                    </a:lnTo>
                    <a:lnTo>
                      <a:pt x="9" y="42"/>
                    </a:lnTo>
                    <a:lnTo>
                      <a:pt x="9" y="40"/>
                    </a:lnTo>
                    <a:lnTo>
                      <a:pt x="11" y="38"/>
                    </a:lnTo>
                    <a:lnTo>
                      <a:pt x="11" y="36"/>
                    </a:lnTo>
                    <a:lnTo>
                      <a:pt x="8" y="32"/>
                    </a:lnTo>
                    <a:lnTo>
                      <a:pt x="4" y="29"/>
                    </a:lnTo>
                    <a:lnTo>
                      <a:pt x="4" y="25"/>
                    </a:lnTo>
                    <a:lnTo>
                      <a:pt x="8" y="23"/>
                    </a:lnTo>
                    <a:lnTo>
                      <a:pt x="4" y="19"/>
                    </a:lnTo>
                    <a:lnTo>
                      <a:pt x="4" y="17"/>
                    </a:lnTo>
                    <a:lnTo>
                      <a:pt x="0" y="8"/>
                    </a:lnTo>
                    <a:lnTo>
                      <a:pt x="0" y="4"/>
                    </a:lnTo>
                    <a:lnTo>
                      <a:pt x="0" y="4"/>
                    </a:lnTo>
                    <a:lnTo>
                      <a:pt x="0" y="4"/>
                    </a:lnTo>
                    <a:lnTo>
                      <a:pt x="0" y="4"/>
                    </a:lnTo>
                    <a:close/>
                    <a:moveTo>
                      <a:pt x="94" y="179"/>
                    </a:moveTo>
                    <a:lnTo>
                      <a:pt x="96" y="177"/>
                    </a:lnTo>
                    <a:lnTo>
                      <a:pt x="96" y="175"/>
                    </a:lnTo>
                    <a:lnTo>
                      <a:pt x="94" y="172"/>
                    </a:lnTo>
                    <a:lnTo>
                      <a:pt x="92" y="174"/>
                    </a:lnTo>
                    <a:lnTo>
                      <a:pt x="94" y="175"/>
                    </a:lnTo>
                    <a:lnTo>
                      <a:pt x="94" y="179"/>
                    </a:lnTo>
                    <a:lnTo>
                      <a:pt x="94" y="179"/>
                    </a:lnTo>
                    <a:lnTo>
                      <a:pt x="94" y="179"/>
                    </a:lnTo>
                    <a:lnTo>
                      <a:pt x="94" y="179"/>
                    </a:lnTo>
                    <a:close/>
                    <a:moveTo>
                      <a:pt x="98" y="187"/>
                    </a:moveTo>
                    <a:lnTo>
                      <a:pt x="98" y="191"/>
                    </a:lnTo>
                    <a:lnTo>
                      <a:pt x="100" y="191"/>
                    </a:lnTo>
                    <a:lnTo>
                      <a:pt x="100" y="187"/>
                    </a:lnTo>
                    <a:lnTo>
                      <a:pt x="98" y="187"/>
                    </a:lnTo>
                    <a:lnTo>
                      <a:pt x="98" y="187"/>
                    </a:lnTo>
                    <a:lnTo>
                      <a:pt x="98" y="187"/>
                    </a:lnTo>
                    <a:lnTo>
                      <a:pt x="98" y="187"/>
                    </a:lnTo>
                    <a:close/>
                    <a:moveTo>
                      <a:pt x="333" y="181"/>
                    </a:moveTo>
                    <a:lnTo>
                      <a:pt x="335" y="181"/>
                    </a:lnTo>
                    <a:lnTo>
                      <a:pt x="335" y="179"/>
                    </a:lnTo>
                    <a:lnTo>
                      <a:pt x="333" y="179"/>
                    </a:lnTo>
                    <a:lnTo>
                      <a:pt x="333" y="181"/>
                    </a:lnTo>
                    <a:lnTo>
                      <a:pt x="333" y="181"/>
                    </a:lnTo>
                    <a:lnTo>
                      <a:pt x="333" y="181"/>
                    </a:lnTo>
                    <a:lnTo>
                      <a:pt x="333" y="181"/>
                    </a:lnTo>
                    <a:close/>
                    <a:moveTo>
                      <a:pt x="333" y="187"/>
                    </a:moveTo>
                    <a:lnTo>
                      <a:pt x="333" y="187"/>
                    </a:lnTo>
                    <a:lnTo>
                      <a:pt x="335" y="185"/>
                    </a:lnTo>
                    <a:lnTo>
                      <a:pt x="333" y="185"/>
                    </a:lnTo>
                    <a:lnTo>
                      <a:pt x="333" y="187"/>
                    </a:lnTo>
                    <a:lnTo>
                      <a:pt x="333" y="187"/>
                    </a:lnTo>
                    <a:lnTo>
                      <a:pt x="333" y="187"/>
                    </a:lnTo>
                    <a:lnTo>
                      <a:pt x="333" y="187"/>
                    </a:lnTo>
                    <a:close/>
                    <a:moveTo>
                      <a:pt x="331" y="194"/>
                    </a:moveTo>
                    <a:lnTo>
                      <a:pt x="333" y="191"/>
                    </a:lnTo>
                    <a:lnTo>
                      <a:pt x="331" y="187"/>
                    </a:lnTo>
                    <a:lnTo>
                      <a:pt x="331" y="194"/>
                    </a:lnTo>
                    <a:lnTo>
                      <a:pt x="331" y="194"/>
                    </a:lnTo>
                    <a:lnTo>
                      <a:pt x="331" y="194"/>
                    </a:lnTo>
                    <a:close/>
                  </a:path>
                </a:pathLst>
              </a:custGeom>
              <a:solidFill>
                <a:srgbClr val="B7013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1" name="Freeform 43"/>
              <p:cNvSpPr>
                <a:spLocks noEditPoints="1"/>
              </p:cNvSpPr>
              <p:nvPr/>
            </p:nvSpPr>
            <p:spPr bwMode="auto">
              <a:xfrm>
                <a:off x="1429" y="3003"/>
                <a:ext cx="723" cy="761"/>
              </a:xfrm>
              <a:custGeom>
                <a:avLst/>
                <a:gdLst/>
                <a:ahLst/>
                <a:cxnLst>
                  <a:cxn ang="0">
                    <a:pos x="426" y="106"/>
                  </a:cxn>
                  <a:cxn ang="0">
                    <a:pos x="433" y="94"/>
                  </a:cxn>
                  <a:cxn ang="0">
                    <a:pos x="443" y="89"/>
                  </a:cxn>
                  <a:cxn ang="0">
                    <a:pos x="439" y="94"/>
                  </a:cxn>
                  <a:cxn ang="0">
                    <a:pos x="446" y="100"/>
                  </a:cxn>
                  <a:cxn ang="0">
                    <a:pos x="435" y="61"/>
                  </a:cxn>
                  <a:cxn ang="0">
                    <a:pos x="397" y="42"/>
                  </a:cxn>
                  <a:cxn ang="0">
                    <a:pos x="369" y="61"/>
                  </a:cxn>
                  <a:cxn ang="0">
                    <a:pos x="330" y="53"/>
                  </a:cxn>
                  <a:cxn ang="0">
                    <a:pos x="309" y="61"/>
                  </a:cxn>
                  <a:cxn ang="0">
                    <a:pos x="266" y="62"/>
                  </a:cxn>
                  <a:cxn ang="0">
                    <a:pos x="262" y="19"/>
                  </a:cxn>
                  <a:cxn ang="0">
                    <a:pos x="234" y="13"/>
                  </a:cxn>
                  <a:cxn ang="0">
                    <a:pos x="173" y="25"/>
                  </a:cxn>
                  <a:cxn ang="0">
                    <a:pos x="166" y="74"/>
                  </a:cxn>
                  <a:cxn ang="0">
                    <a:pos x="108" y="68"/>
                  </a:cxn>
                  <a:cxn ang="0">
                    <a:pos x="72" y="93"/>
                  </a:cxn>
                  <a:cxn ang="0">
                    <a:pos x="61" y="177"/>
                  </a:cxn>
                  <a:cxn ang="0">
                    <a:pos x="12" y="213"/>
                  </a:cxn>
                  <a:cxn ang="0">
                    <a:pos x="15" y="272"/>
                  </a:cxn>
                  <a:cxn ang="0">
                    <a:pos x="64" y="302"/>
                  </a:cxn>
                  <a:cxn ang="0">
                    <a:pos x="113" y="302"/>
                  </a:cxn>
                  <a:cxn ang="0">
                    <a:pos x="162" y="309"/>
                  </a:cxn>
                  <a:cxn ang="0">
                    <a:pos x="221" y="349"/>
                  </a:cxn>
                  <a:cxn ang="0">
                    <a:pos x="292" y="418"/>
                  </a:cxn>
                  <a:cxn ang="0">
                    <a:pos x="311" y="515"/>
                  </a:cxn>
                  <a:cxn ang="0">
                    <a:pos x="371" y="554"/>
                  </a:cxn>
                  <a:cxn ang="0">
                    <a:pos x="390" y="599"/>
                  </a:cxn>
                  <a:cxn ang="0">
                    <a:pos x="356" y="643"/>
                  </a:cxn>
                  <a:cxn ang="0">
                    <a:pos x="330" y="686"/>
                  </a:cxn>
                  <a:cxn ang="0">
                    <a:pos x="381" y="712"/>
                  </a:cxn>
                  <a:cxn ang="0">
                    <a:pos x="411" y="761"/>
                  </a:cxn>
                  <a:cxn ang="0">
                    <a:pos x="435" y="707"/>
                  </a:cxn>
                  <a:cxn ang="0">
                    <a:pos x="448" y="686"/>
                  </a:cxn>
                  <a:cxn ang="0">
                    <a:pos x="433" y="718"/>
                  </a:cxn>
                  <a:cxn ang="0">
                    <a:pos x="482" y="643"/>
                  </a:cxn>
                  <a:cxn ang="0">
                    <a:pos x="480" y="601"/>
                  </a:cxn>
                  <a:cxn ang="0">
                    <a:pos x="505" y="571"/>
                  </a:cxn>
                  <a:cxn ang="0">
                    <a:pos x="552" y="537"/>
                  </a:cxn>
                  <a:cxn ang="0">
                    <a:pos x="567" y="537"/>
                  </a:cxn>
                  <a:cxn ang="0">
                    <a:pos x="601" y="530"/>
                  </a:cxn>
                  <a:cxn ang="0">
                    <a:pos x="629" y="486"/>
                  </a:cxn>
                  <a:cxn ang="0">
                    <a:pos x="648" y="411"/>
                  </a:cxn>
                  <a:cxn ang="0">
                    <a:pos x="650" y="347"/>
                  </a:cxn>
                  <a:cxn ang="0">
                    <a:pos x="653" y="341"/>
                  </a:cxn>
                  <a:cxn ang="0">
                    <a:pos x="697" y="290"/>
                  </a:cxn>
                  <a:cxn ang="0">
                    <a:pos x="714" y="211"/>
                  </a:cxn>
                  <a:cxn ang="0">
                    <a:pos x="644" y="159"/>
                  </a:cxn>
                  <a:cxn ang="0">
                    <a:pos x="591" y="149"/>
                  </a:cxn>
                  <a:cxn ang="0">
                    <a:pos x="559" y="147"/>
                  </a:cxn>
                  <a:cxn ang="0">
                    <a:pos x="542" y="155"/>
                  </a:cxn>
                  <a:cxn ang="0">
                    <a:pos x="522" y="126"/>
                  </a:cxn>
                  <a:cxn ang="0">
                    <a:pos x="492" y="113"/>
                  </a:cxn>
                  <a:cxn ang="0">
                    <a:pos x="454" y="142"/>
                  </a:cxn>
                  <a:cxn ang="0">
                    <a:pos x="452" y="136"/>
                  </a:cxn>
                  <a:cxn ang="0">
                    <a:pos x="454" y="130"/>
                  </a:cxn>
                  <a:cxn ang="0">
                    <a:pos x="443" y="102"/>
                  </a:cxn>
                  <a:cxn ang="0">
                    <a:pos x="414" y="123"/>
                  </a:cxn>
                  <a:cxn ang="0">
                    <a:pos x="422" y="96"/>
                  </a:cxn>
                  <a:cxn ang="0">
                    <a:pos x="433" y="62"/>
                  </a:cxn>
                </a:cxnLst>
                <a:rect l="0" t="0" r="r" b="b"/>
                <a:pathLst>
                  <a:path w="723" h="761">
                    <a:moveTo>
                      <a:pt x="422" y="110"/>
                    </a:moveTo>
                    <a:lnTo>
                      <a:pt x="424" y="110"/>
                    </a:lnTo>
                    <a:lnTo>
                      <a:pt x="428" y="108"/>
                    </a:lnTo>
                    <a:lnTo>
                      <a:pt x="428" y="108"/>
                    </a:lnTo>
                    <a:lnTo>
                      <a:pt x="428" y="110"/>
                    </a:lnTo>
                    <a:lnTo>
                      <a:pt x="424" y="110"/>
                    </a:lnTo>
                    <a:lnTo>
                      <a:pt x="422" y="110"/>
                    </a:lnTo>
                    <a:lnTo>
                      <a:pt x="422" y="110"/>
                    </a:lnTo>
                    <a:lnTo>
                      <a:pt x="422" y="110"/>
                    </a:lnTo>
                    <a:lnTo>
                      <a:pt x="422" y="110"/>
                    </a:lnTo>
                    <a:close/>
                    <a:moveTo>
                      <a:pt x="420" y="110"/>
                    </a:moveTo>
                    <a:lnTo>
                      <a:pt x="420" y="110"/>
                    </a:lnTo>
                    <a:lnTo>
                      <a:pt x="422" y="110"/>
                    </a:lnTo>
                    <a:lnTo>
                      <a:pt x="426" y="106"/>
                    </a:lnTo>
                    <a:lnTo>
                      <a:pt x="428" y="106"/>
                    </a:lnTo>
                    <a:lnTo>
                      <a:pt x="429" y="102"/>
                    </a:lnTo>
                    <a:lnTo>
                      <a:pt x="429" y="100"/>
                    </a:lnTo>
                    <a:lnTo>
                      <a:pt x="429" y="100"/>
                    </a:lnTo>
                    <a:lnTo>
                      <a:pt x="428" y="100"/>
                    </a:lnTo>
                    <a:lnTo>
                      <a:pt x="426" y="100"/>
                    </a:lnTo>
                    <a:lnTo>
                      <a:pt x="422" y="104"/>
                    </a:lnTo>
                    <a:lnTo>
                      <a:pt x="420" y="110"/>
                    </a:lnTo>
                    <a:lnTo>
                      <a:pt x="420" y="110"/>
                    </a:lnTo>
                    <a:lnTo>
                      <a:pt x="420" y="110"/>
                    </a:lnTo>
                    <a:lnTo>
                      <a:pt x="420" y="110"/>
                    </a:lnTo>
                    <a:close/>
                    <a:moveTo>
                      <a:pt x="435" y="96"/>
                    </a:moveTo>
                    <a:lnTo>
                      <a:pt x="433" y="94"/>
                    </a:lnTo>
                    <a:lnTo>
                      <a:pt x="433" y="94"/>
                    </a:lnTo>
                    <a:lnTo>
                      <a:pt x="433" y="96"/>
                    </a:lnTo>
                    <a:lnTo>
                      <a:pt x="433" y="98"/>
                    </a:lnTo>
                    <a:lnTo>
                      <a:pt x="433" y="98"/>
                    </a:lnTo>
                    <a:lnTo>
                      <a:pt x="435" y="96"/>
                    </a:lnTo>
                    <a:lnTo>
                      <a:pt x="435" y="96"/>
                    </a:lnTo>
                    <a:lnTo>
                      <a:pt x="435" y="96"/>
                    </a:lnTo>
                    <a:lnTo>
                      <a:pt x="435" y="96"/>
                    </a:lnTo>
                    <a:close/>
                    <a:moveTo>
                      <a:pt x="435" y="93"/>
                    </a:moveTo>
                    <a:lnTo>
                      <a:pt x="433" y="89"/>
                    </a:lnTo>
                    <a:lnTo>
                      <a:pt x="435" y="89"/>
                    </a:lnTo>
                    <a:lnTo>
                      <a:pt x="437" y="89"/>
                    </a:lnTo>
                    <a:lnTo>
                      <a:pt x="443" y="85"/>
                    </a:lnTo>
                    <a:lnTo>
                      <a:pt x="443" y="85"/>
                    </a:lnTo>
                    <a:lnTo>
                      <a:pt x="443" y="89"/>
                    </a:lnTo>
                    <a:lnTo>
                      <a:pt x="439" y="89"/>
                    </a:lnTo>
                    <a:lnTo>
                      <a:pt x="437" y="93"/>
                    </a:lnTo>
                    <a:lnTo>
                      <a:pt x="435" y="93"/>
                    </a:lnTo>
                    <a:lnTo>
                      <a:pt x="435" y="93"/>
                    </a:lnTo>
                    <a:lnTo>
                      <a:pt x="435" y="93"/>
                    </a:lnTo>
                    <a:lnTo>
                      <a:pt x="435" y="93"/>
                    </a:lnTo>
                    <a:close/>
                    <a:moveTo>
                      <a:pt x="435" y="96"/>
                    </a:moveTo>
                    <a:lnTo>
                      <a:pt x="437" y="96"/>
                    </a:lnTo>
                    <a:lnTo>
                      <a:pt x="443" y="96"/>
                    </a:lnTo>
                    <a:lnTo>
                      <a:pt x="445" y="98"/>
                    </a:lnTo>
                    <a:lnTo>
                      <a:pt x="446" y="96"/>
                    </a:lnTo>
                    <a:lnTo>
                      <a:pt x="446" y="94"/>
                    </a:lnTo>
                    <a:lnTo>
                      <a:pt x="445" y="93"/>
                    </a:lnTo>
                    <a:lnTo>
                      <a:pt x="439" y="94"/>
                    </a:lnTo>
                    <a:lnTo>
                      <a:pt x="437" y="94"/>
                    </a:lnTo>
                    <a:lnTo>
                      <a:pt x="435" y="96"/>
                    </a:lnTo>
                    <a:lnTo>
                      <a:pt x="435" y="96"/>
                    </a:lnTo>
                    <a:lnTo>
                      <a:pt x="435" y="96"/>
                    </a:lnTo>
                    <a:lnTo>
                      <a:pt x="435" y="96"/>
                    </a:lnTo>
                    <a:close/>
                    <a:moveTo>
                      <a:pt x="446" y="100"/>
                    </a:moveTo>
                    <a:lnTo>
                      <a:pt x="450" y="98"/>
                    </a:lnTo>
                    <a:lnTo>
                      <a:pt x="450" y="98"/>
                    </a:lnTo>
                    <a:lnTo>
                      <a:pt x="454" y="96"/>
                    </a:lnTo>
                    <a:lnTo>
                      <a:pt x="454" y="98"/>
                    </a:lnTo>
                    <a:lnTo>
                      <a:pt x="454" y="102"/>
                    </a:lnTo>
                    <a:lnTo>
                      <a:pt x="450" y="102"/>
                    </a:lnTo>
                    <a:lnTo>
                      <a:pt x="446" y="100"/>
                    </a:lnTo>
                    <a:lnTo>
                      <a:pt x="446" y="100"/>
                    </a:lnTo>
                    <a:lnTo>
                      <a:pt x="446" y="100"/>
                    </a:lnTo>
                    <a:lnTo>
                      <a:pt x="446" y="100"/>
                    </a:lnTo>
                    <a:close/>
                    <a:moveTo>
                      <a:pt x="435" y="61"/>
                    </a:moveTo>
                    <a:lnTo>
                      <a:pt x="433" y="59"/>
                    </a:lnTo>
                    <a:lnTo>
                      <a:pt x="433" y="55"/>
                    </a:lnTo>
                    <a:lnTo>
                      <a:pt x="433" y="53"/>
                    </a:lnTo>
                    <a:lnTo>
                      <a:pt x="435" y="55"/>
                    </a:lnTo>
                    <a:lnTo>
                      <a:pt x="437" y="59"/>
                    </a:lnTo>
                    <a:lnTo>
                      <a:pt x="437" y="62"/>
                    </a:lnTo>
                    <a:lnTo>
                      <a:pt x="437" y="62"/>
                    </a:lnTo>
                    <a:lnTo>
                      <a:pt x="435" y="61"/>
                    </a:lnTo>
                    <a:lnTo>
                      <a:pt x="435" y="61"/>
                    </a:lnTo>
                    <a:lnTo>
                      <a:pt x="435" y="61"/>
                    </a:lnTo>
                    <a:lnTo>
                      <a:pt x="435" y="61"/>
                    </a:lnTo>
                    <a:close/>
                    <a:moveTo>
                      <a:pt x="418" y="25"/>
                    </a:moveTo>
                    <a:lnTo>
                      <a:pt x="418" y="25"/>
                    </a:lnTo>
                    <a:lnTo>
                      <a:pt x="416" y="21"/>
                    </a:lnTo>
                    <a:lnTo>
                      <a:pt x="414" y="15"/>
                    </a:lnTo>
                    <a:lnTo>
                      <a:pt x="413" y="17"/>
                    </a:lnTo>
                    <a:lnTo>
                      <a:pt x="414" y="19"/>
                    </a:lnTo>
                    <a:lnTo>
                      <a:pt x="413" y="23"/>
                    </a:lnTo>
                    <a:lnTo>
                      <a:pt x="409" y="25"/>
                    </a:lnTo>
                    <a:lnTo>
                      <a:pt x="409" y="25"/>
                    </a:lnTo>
                    <a:lnTo>
                      <a:pt x="409" y="25"/>
                    </a:lnTo>
                    <a:lnTo>
                      <a:pt x="405" y="25"/>
                    </a:lnTo>
                    <a:lnTo>
                      <a:pt x="403" y="34"/>
                    </a:lnTo>
                    <a:lnTo>
                      <a:pt x="397" y="38"/>
                    </a:lnTo>
                    <a:lnTo>
                      <a:pt x="397" y="42"/>
                    </a:lnTo>
                    <a:lnTo>
                      <a:pt x="394" y="49"/>
                    </a:lnTo>
                    <a:lnTo>
                      <a:pt x="390" y="55"/>
                    </a:lnTo>
                    <a:lnTo>
                      <a:pt x="388" y="59"/>
                    </a:lnTo>
                    <a:lnTo>
                      <a:pt x="384" y="59"/>
                    </a:lnTo>
                    <a:lnTo>
                      <a:pt x="384" y="61"/>
                    </a:lnTo>
                    <a:lnTo>
                      <a:pt x="384" y="62"/>
                    </a:lnTo>
                    <a:lnTo>
                      <a:pt x="379" y="68"/>
                    </a:lnTo>
                    <a:lnTo>
                      <a:pt x="379" y="64"/>
                    </a:lnTo>
                    <a:lnTo>
                      <a:pt x="379" y="61"/>
                    </a:lnTo>
                    <a:lnTo>
                      <a:pt x="375" y="59"/>
                    </a:lnTo>
                    <a:lnTo>
                      <a:pt x="375" y="59"/>
                    </a:lnTo>
                    <a:lnTo>
                      <a:pt x="373" y="59"/>
                    </a:lnTo>
                    <a:lnTo>
                      <a:pt x="371" y="59"/>
                    </a:lnTo>
                    <a:lnTo>
                      <a:pt x="369" y="61"/>
                    </a:lnTo>
                    <a:lnTo>
                      <a:pt x="365" y="61"/>
                    </a:lnTo>
                    <a:lnTo>
                      <a:pt x="364" y="59"/>
                    </a:lnTo>
                    <a:lnTo>
                      <a:pt x="364" y="55"/>
                    </a:lnTo>
                    <a:lnTo>
                      <a:pt x="362" y="55"/>
                    </a:lnTo>
                    <a:lnTo>
                      <a:pt x="360" y="53"/>
                    </a:lnTo>
                    <a:lnTo>
                      <a:pt x="360" y="51"/>
                    </a:lnTo>
                    <a:lnTo>
                      <a:pt x="358" y="51"/>
                    </a:lnTo>
                    <a:lnTo>
                      <a:pt x="354" y="47"/>
                    </a:lnTo>
                    <a:lnTo>
                      <a:pt x="350" y="47"/>
                    </a:lnTo>
                    <a:lnTo>
                      <a:pt x="347" y="49"/>
                    </a:lnTo>
                    <a:lnTo>
                      <a:pt x="337" y="49"/>
                    </a:lnTo>
                    <a:lnTo>
                      <a:pt x="333" y="47"/>
                    </a:lnTo>
                    <a:lnTo>
                      <a:pt x="330" y="49"/>
                    </a:lnTo>
                    <a:lnTo>
                      <a:pt x="330" y="53"/>
                    </a:lnTo>
                    <a:lnTo>
                      <a:pt x="333" y="55"/>
                    </a:lnTo>
                    <a:lnTo>
                      <a:pt x="333" y="59"/>
                    </a:lnTo>
                    <a:lnTo>
                      <a:pt x="335" y="62"/>
                    </a:lnTo>
                    <a:lnTo>
                      <a:pt x="335" y="64"/>
                    </a:lnTo>
                    <a:lnTo>
                      <a:pt x="332" y="64"/>
                    </a:lnTo>
                    <a:lnTo>
                      <a:pt x="326" y="62"/>
                    </a:lnTo>
                    <a:lnTo>
                      <a:pt x="326" y="61"/>
                    </a:lnTo>
                    <a:lnTo>
                      <a:pt x="326" y="61"/>
                    </a:lnTo>
                    <a:lnTo>
                      <a:pt x="326" y="61"/>
                    </a:lnTo>
                    <a:lnTo>
                      <a:pt x="326" y="61"/>
                    </a:lnTo>
                    <a:lnTo>
                      <a:pt x="317" y="61"/>
                    </a:lnTo>
                    <a:lnTo>
                      <a:pt x="315" y="62"/>
                    </a:lnTo>
                    <a:lnTo>
                      <a:pt x="315" y="61"/>
                    </a:lnTo>
                    <a:lnTo>
                      <a:pt x="309" y="61"/>
                    </a:lnTo>
                    <a:lnTo>
                      <a:pt x="305" y="62"/>
                    </a:lnTo>
                    <a:lnTo>
                      <a:pt x="301" y="68"/>
                    </a:lnTo>
                    <a:lnTo>
                      <a:pt x="296" y="68"/>
                    </a:lnTo>
                    <a:lnTo>
                      <a:pt x="292" y="70"/>
                    </a:lnTo>
                    <a:lnTo>
                      <a:pt x="290" y="72"/>
                    </a:lnTo>
                    <a:lnTo>
                      <a:pt x="288" y="74"/>
                    </a:lnTo>
                    <a:lnTo>
                      <a:pt x="283" y="76"/>
                    </a:lnTo>
                    <a:lnTo>
                      <a:pt x="283" y="74"/>
                    </a:lnTo>
                    <a:lnTo>
                      <a:pt x="281" y="74"/>
                    </a:lnTo>
                    <a:lnTo>
                      <a:pt x="277" y="78"/>
                    </a:lnTo>
                    <a:lnTo>
                      <a:pt x="275" y="76"/>
                    </a:lnTo>
                    <a:lnTo>
                      <a:pt x="268" y="70"/>
                    </a:lnTo>
                    <a:lnTo>
                      <a:pt x="266" y="68"/>
                    </a:lnTo>
                    <a:lnTo>
                      <a:pt x="266" y="62"/>
                    </a:lnTo>
                    <a:lnTo>
                      <a:pt x="262" y="59"/>
                    </a:lnTo>
                    <a:lnTo>
                      <a:pt x="258" y="55"/>
                    </a:lnTo>
                    <a:lnTo>
                      <a:pt x="258" y="53"/>
                    </a:lnTo>
                    <a:lnTo>
                      <a:pt x="258" y="51"/>
                    </a:lnTo>
                    <a:lnTo>
                      <a:pt x="258" y="49"/>
                    </a:lnTo>
                    <a:lnTo>
                      <a:pt x="258" y="45"/>
                    </a:lnTo>
                    <a:lnTo>
                      <a:pt x="260" y="42"/>
                    </a:lnTo>
                    <a:lnTo>
                      <a:pt x="260" y="38"/>
                    </a:lnTo>
                    <a:lnTo>
                      <a:pt x="262" y="30"/>
                    </a:lnTo>
                    <a:lnTo>
                      <a:pt x="262" y="25"/>
                    </a:lnTo>
                    <a:lnTo>
                      <a:pt x="268" y="23"/>
                    </a:lnTo>
                    <a:lnTo>
                      <a:pt x="268" y="21"/>
                    </a:lnTo>
                    <a:lnTo>
                      <a:pt x="262" y="21"/>
                    </a:lnTo>
                    <a:lnTo>
                      <a:pt x="262" y="19"/>
                    </a:lnTo>
                    <a:lnTo>
                      <a:pt x="260" y="15"/>
                    </a:lnTo>
                    <a:lnTo>
                      <a:pt x="256" y="15"/>
                    </a:lnTo>
                    <a:lnTo>
                      <a:pt x="253" y="13"/>
                    </a:lnTo>
                    <a:lnTo>
                      <a:pt x="254" y="12"/>
                    </a:lnTo>
                    <a:lnTo>
                      <a:pt x="258" y="8"/>
                    </a:lnTo>
                    <a:lnTo>
                      <a:pt x="258" y="4"/>
                    </a:lnTo>
                    <a:lnTo>
                      <a:pt x="254" y="0"/>
                    </a:lnTo>
                    <a:lnTo>
                      <a:pt x="251" y="0"/>
                    </a:lnTo>
                    <a:lnTo>
                      <a:pt x="247" y="0"/>
                    </a:lnTo>
                    <a:lnTo>
                      <a:pt x="247" y="0"/>
                    </a:lnTo>
                    <a:lnTo>
                      <a:pt x="247" y="0"/>
                    </a:lnTo>
                    <a:lnTo>
                      <a:pt x="247" y="4"/>
                    </a:lnTo>
                    <a:lnTo>
                      <a:pt x="243" y="6"/>
                    </a:lnTo>
                    <a:lnTo>
                      <a:pt x="234" y="13"/>
                    </a:lnTo>
                    <a:lnTo>
                      <a:pt x="228" y="13"/>
                    </a:lnTo>
                    <a:lnTo>
                      <a:pt x="219" y="17"/>
                    </a:lnTo>
                    <a:lnTo>
                      <a:pt x="217" y="15"/>
                    </a:lnTo>
                    <a:lnTo>
                      <a:pt x="213" y="17"/>
                    </a:lnTo>
                    <a:lnTo>
                      <a:pt x="205" y="23"/>
                    </a:lnTo>
                    <a:lnTo>
                      <a:pt x="200" y="25"/>
                    </a:lnTo>
                    <a:lnTo>
                      <a:pt x="198" y="23"/>
                    </a:lnTo>
                    <a:lnTo>
                      <a:pt x="189" y="25"/>
                    </a:lnTo>
                    <a:lnTo>
                      <a:pt x="183" y="25"/>
                    </a:lnTo>
                    <a:lnTo>
                      <a:pt x="177" y="21"/>
                    </a:lnTo>
                    <a:lnTo>
                      <a:pt x="172" y="21"/>
                    </a:lnTo>
                    <a:lnTo>
                      <a:pt x="166" y="19"/>
                    </a:lnTo>
                    <a:lnTo>
                      <a:pt x="168" y="23"/>
                    </a:lnTo>
                    <a:lnTo>
                      <a:pt x="173" y="25"/>
                    </a:lnTo>
                    <a:lnTo>
                      <a:pt x="177" y="29"/>
                    </a:lnTo>
                    <a:lnTo>
                      <a:pt x="179" y="30"/>
                    </a:lnTo>
                    <a:lnTo>
                      <a:pt x="173" y="40"/>
                    </a:lnTo>
                    <a:lnTo>
                      <a:pt x="175" y="44"/>
                    </a:lnTo>
                    <a:lnTo>
                      <a:pt x="173" y="49"/>
                    </a:lnTo>
                    <a:lnTo>
                      <a:pt x="183" y="53"/>
                    </a:lnTo>
                    <a:lnTo>
                      <a:pt x="189" y="53"/>
                    </a:lnTo>
                    <a:lnTo>
                      <a:pt x="194" y="53"/>
                    </a:lnTo>
                    <a:lnTo>
                      <a:pt x="194" y="55"/>
                    </a:lnTo>
                    <a:lnTo>
                      <a:pt x="189" y="59"/>
                    </a:lnTo>
                    <a:lnTo>
                      <a:pt x="179" y="59"/>
                    </a:lnTo>
                    <a:lnTo>
                      <a:pt x="179" y="62"/>
                    </a:lnTo>
                    <a:lnTo>
                      <a:pt x="177" y="68"/>
                    </a:lnTo>
                    <a:lnTo>
                      <a:pt x="166" y="74"/>
                    </a:lnTo>
                    <a:lnTo>
                      <a:pt x="164" y="78"/>
                    </a:lnTo>
                    <a:lnTo>
                      <a:pt x="158" y="79"/>
                    </a:lnTo>
                    <a:lnTo>
                      <a:pt x="153" y="85"/>
                    </a:lnTo>
                    <a:lnTo>
                      <a:pt x="145" y="85"/>
                    </a:lnTo>
                    <a:lnTo>
                      <a:pt x="141" y="85"/>
                    </a:lnTo>
                    <a:lnTo>
                      <a:pt x="134" y="79"/>
                    </a:lnTo>
                    <a:lnTo>
                      <a:pt x="128" y="76"/>
                    </a:lnTo>
                    <a:lnTo>
                      <a:pt x="123" y="76"/>
                    </a:lnTo>
                    <a:lnTo>
                      <a:pt x="123" y="72"/>
                    </a:lnTo>
                    <a:lnTo>
                      <a:pt x="123" y="68"/>
                    </a:lnTo>
                    <a:lnTo>
                      <a:pt x="119" y="62"/>
                    </a:lnTo>
                    <a:lnTo>
                      <a:pt x="117" y="61"/>
                    </a:lnTo>
                    <a:lnTo>
                      <a:pt x="113" y="61"/>
                    </a:lnTo>
                    <a:lnTo>
                      <a:pt x="108" y="68"/>
                    </a:lnTo>
                    <a:lnTo>
                      <a:pt x="106" y="68"/>
                    </a:lnTo>
                    <a:lnTo>
                      <a:pt x="104" y="64"/>
                    </a:lnTo>
                    <a:lnTo>
                      <a:pt x="100" y="64"/>
                    </a:lnTo>
                    <a:lnTo>
                      <a:pt x="100" y="68"/>
                    </a:lnTo>
                    <a:lnTo>
                      <a:pt x="79" y="68"/>
                    </a:lnTo>
                    <a:lnTo>
                      <a:pt x="76" y="74"/>
                    </a:lnTo>
                    <a:lnTo>
                      <a:pt x="79" y="78"/>
                    </a:lnTo>
                    <a:lnTo>
                      <a:pt x="85" y="79"/>
                    </a:lnTo>
                    <a:lnTo>
                      <a:pt x="87" y="85"/>
                    </a:lnTo>
                    <a:lnTo>
                      <a:pt x="85" y="85"/>
                    </a:lnTo>
                    <a:lnTo>
                      <a:pt x="89" y="89"/>
                    </a:lnTo>
                    <a:lnTo>
                      <a:pt x="87" y="93"/>
                    </a:lnTo>
                    <a:lnTo>
                      <a:pt x="83" y="89"/>
                    </a:lnTo>
                    <a:lnTo>
                      <a:pt x="72" y="93"/>
                    </a:lnTo>
                    <a:lnTo>
                      <a:pt x="72" y="104"/>
                    </a:lnTo>
                    <a:lnTo>
                      <a:pt x="76" y="108"/>
                    </a:lnTo>
                    <a:lnTo>
                      <a:pt x="81" y="113"/>
                    </a:lnTo>
                    <a:lnTo>
                      <a:pt x="85" y="123"/>
                    </a:lnTo>
                    <a:lnTo>
                      <a:pt x="85" y="126"/>
                    </a:lnTo>
                    <a:lnTo>
                      <a:pt x="85" y="130"/>
                    </a:lnTo>
                    <a:lnTo>
                      <a:pt x="76" y="170"/>
                    </a:lnTo>
                    <a:lnTo>
                      <a:pt x="72" y="177"/>
                    </a:lnTo>
                    <a:lnTo>
                      <a:pt x="72" y="179"/>
                    </a:lnTo>
                    <a:lnTo>
                      <a:pt x="72" y="183"/>
                    </a:lnTo>
                    <a:lnTo>
                      <a:pt x="66" y="181"/>
                    </a:lnTo>
                    <a:lnTo>
                      <a:pt x="68" y="181"/>
                    </a:lnTo>
                    <a:lnTo>
                      <a:pt x="62" y="177"/>
                    </a:lnTo>
                    <a:lnTo>
                      <a:pt x="61" y="177"/>
                    </a:lnTo>
                    <a:lnTo>
                      <a:pt x="57" y="177"/>
                    </a:lnTo>
                    <a:lnTo>
                      <a:pt x="55" y="177"/>
                    </a:lnTo>
                    <a:lnTo>
                      <a:pt x="55" y="181"/>
                    </a:lnTo>
                    <a:lnTo>
                      <a:pt x="44" y="187"/>
                    </a:lnTo>
                    <a:lnTo>
                      <a:pt x="32" y="187"/>
                    </a:lnTo>
                    <a:lnTo>
                      <a:pt x="30" y="189"/>
                    </a:lnTo>
                    <a:lnTo>
                      <a:pt x="29" y="191"/>
                    </a:lnTo>
                    <a:lnTo>
                      <a:pt x="25" y="194"/>
                    </a:lnTo>
                    <a:lnTo>
                      <a:pt x="21" y="196"/>
                    </a:lnTo>
                    <a:lnTo>
                      <a:pt x="17" y="198"/>
                    </a:lnTo>
                    <a:lnTo>
                      <a:pt x="17" y="204"/>
                    </a:lnTo>
                    <a:lnTo>
                      <a:pt x="15" y="207"/>
                    </a:lnTo>
                    <a:lnTo>
                      <a:pt x="17" y="207"/>
                    </a:lnTo>
                    <a:lnTo>
                      <a:pt x="12" y="213"/>
                    </a:lnTo>
                    <a:lnTo>
                      <a:pt x="13" y="221"/>
                    </a:lnTo>
                    <a:lnTo>
                      <a:pt x="15" y="224"/>
                    </a:lnTo>
                    <a:lnTo>
                      <a:pt x="12" y="226"/>
                    </a:lnTo>
                    <a:lnTo>
                      <a:pt x="10" y="226"/>
                    </a:lnTo>
                    <a:lnTo>
                      <a:pt x="4" y="230"/>
                    </a:lnTo>
                    <a:lnTo>
                      <a:pt x="4" y="232"/>
                    </a:lnTo>
                    <a:lnTo>
                      <a:pt x="0" y="236"/>
                    </a:lnTo>
                    <a:lnTo>
                      <a:pt x="2" y="238"/>
                    </a:lnTo>
                    <a:lnTo>
                      <a:pt x="2" y="241"/>
                    </a:lnTo>
                    <a:lnTo>
                      <a:pt x="0" y="245"/>
                    </a:lnTo>
                    <a:lnTo>
                      <a:pt x="2" y="249"/>
                    </a:lnTo>
                    <a:lnTo>
                      <a:pt x="0" y="251"/>
                    </a:lnTo>
                    <a:lnTo>
                      <a:pt x="6" y="256"/>
                    </a:lnTo>
                    <a:lnTo>
                      <a:pt x="15" y="272"/>
                    </a:lnTo>
                    <a:lnTo>
                      <a:pt x="12" y="277"/>
                    </a:lnTo>
                    <a:lnTo>
                      <a:pt x="21" y="275"/>
                    </a:lnTo>
                    <a:lnTo>
                      <a:pt x="27" y="277"/>
                    </a:lnTo>
                    <a:lnTo>
                      <a:pt x="30" y="283"/>
                    </a:lnTo>
                    <a:lnTo>
                      <a:pt x="32" y="288"/>
                    </a:lnTo>
                    <a:lnTo>
                      <a:pt x="42" y="288"/>
                    </a:lnTo>
                    <a:lnTo>
                      <a:pt x="49" y="288"/>
                    </a:lnTo>
                    <a:lnTo>
                      <a:pt x="57" y="281"/>
                    </a:lnTo>
                    <a:lnTo>
                      <a:pt x="64" y="277"/>
                    </a:lnTo>
                    <a:lnTo>
                      <a:pt x="66" y="279"/>
                    </a:lnTo>
                    <a:lnTo>
                      <a:pt x="66" y="285"/>
                    </a:lnTo>
                    <a:lnTo>
                      <a:pt x="64" y="287"/>
                    </a:lnTo>
                    <a:lnTo>
                      <a:pt x="64" y="292"/>
                    </a:lnTo>
                    <a:lnTo>
                      <a:pt x="64" y="302"/>
                    </a:lnTo>
                    <a:lnTo>
                      <a:pt x="64" y="307"/>
                    </a:lnTo>
                    <a:lnTo>
                      <a:pt x="68" y="309"/>
                    </a:lnTo>
                    <a:lnTo>
                      <a:pt x="72" y="309"/>
                    </a:lnTo>
                    <a:lnTo>
                      <a:pt x="76" y="307"/>
                    </a:lnTo>
                    <a:lnTo>
                      <a:pt x="79" y="307"/>
                    </a:lnTo>
                    <a:lnTo>
                      <a:pt x="79" y="307"/>
                    </a:lnTo>
                    <a:lnTo>
                      <a:pt x="81" y="307"/>
                    </a:lnTo>
                    <a:lnTo>
                      <a:pt x="83" y="309"/>
                    </a:lnTo>
                    <a:lnTo>
                      <a:pt x="83" y="309"/>
                    </a:lnTo>
                    <a:lnTo>
                      <a:pt x="94" y="307"/>
                    </a:lnTo>
                    <a:lnTo>
                      <a:pt x="100" y="309"/>
                    </a:lnTo>
                    <a:lnTo>
                      <a:pt x="104" y="305"/>
                    </a:lnTo>
                    <a:lnTo>
                      <a:pt x="108" y="305"/>
                    </a:lnTo>
                    <a:lnTo>
                      <a:pt x="113" y="302"/>
                    </a:lnTo>
                    <a:lnTo>
                      <a:pt x="117" y="302"/>
                    </a:lnTo>
                    <a:lnTo>
                      <a:pt x="123" y="300"/>
                    </a:lnTo>
                    <a:lnTo>
                      <a:pt x="125" y="292"/>
                    </a:lnTo>
                    <a:lnTo>
                      <a:pt x="134" y="287"/>
                    </a:lnTo>
                    <a:lnTo>
                      <a:pt x="140" y="287"/>
                    </a:lnTo>
                    <a:lnTo>
                      <a:pt x="145" y="283"/>
                    </a:lnTo>
                    <a:lnTo>
                      <a:pt x="151" y="283"/>
                    </a:lnTo>
                    <a:lnTo>
                      <a:pt x="155" y="287"/>
                    </a:lnTo>
                    <a:lnTo>
                      <a:pt x="158" y="283"/>
                    </a:lnTo>
                    <a:lnTo>
                      <a:pt x="158" y="285"/>
                    </a:lnTo>
                    <a:lnTo>
                      <a:pt x="158" y="290"/>
                    </a:lnTo>
                    <a:lnTo>
                      <a:pt x="162" y="296"/>
                    </a:lnTo>
                    <a:lnTo>
                      <a:pt x="158" y="300"/>
                    </a:lnTo>
                    <a:lnTo>
                      <a:pt x="162" y="309"/>
                    </a:lnTo>
                    <a:lnTo>
                      <a:pt x="158" y="313"/>
                    </a:lnTo>
                    <a:lnTo>
                      <a:pt x="162" y="320"/>
                    </a:lnTo>
                    <a:lnTo>
                      <a:pt x="166" y="322"/>
                    </a:lnTo>
                    <a:lnTo>
                      <a:pt x="168" y="330"/>
                    </a:lnTo>
                    <a:lnTo>
                      <a:pt x="172" y="330"/>
                    </a:lnTo>
                    <a:lnTo>
                      <a:pt x="179" y="334"/>
                    </a:lnTo>
                    <a:lnTo>
                      <a:pt x="183" y="337"/>
                    </a:lnTo>
                    <a:lnTo>
                      <a:pt x="183" y="336"/>
                    </a:lnTo>
                    <a:lnTo>
                      <a:pt x="192" y="334"/>
                    </a:lnTo>
                    <a:lnTo>
                      <a:pt x="198" y="339"/>
                    </a:lnTo>
                    <a:lnTo>
                      <a:pt x="204" y="339"/>
                    </a:lnTo>
                    <a:lnTo>
                      <a:pt x="209" y="347"/>
                    </a:lnTo>
                    <a:lnTo>
                      <a:pt x="213" y="347"/>
                    </a:lnTo>
                    <a:lnTo>
                      <a:pt x="221" y="349"/>
                    </a:lnTo>
                    <a:lnTo>
                      <a:pt x="226" y="351"/>
                    </a:lnTo>
                    <a:lnTo>
                      <a:pt x="226" y="356"/>
                    </a:lnTo>
                    <a:lnTo>
                      <a:pt x="230" y="356"/>
                    </a:lnTo>
                    <a:lnTo>
                      <a:pt x="236" y="360"/>
                    </a:lnTo>
                    <a:lnTo>
                      <a:pt x="247" y="360"/>
                    </a:lnTo>
                    <a:lnTo>
                      <a:pt x="253" y="362"/>
                    </a:lnTo>
                    <a:lnTo>
                      <a:pt x="254" y="366"/>
                    </a:lnTo>
                    <a:lnTo>
                      <a:pt x="254" y="375"/>
                    </a:lnTo>
                    <a:lnTo>
                      <a:pt x="254" y="381"/>
                    </a:lnTo>
                    <a:lnTo>
                      <a:pt x="253" y="385"/>
                    </a:lnTo>
                    <a:lnTo>
                      <a:pt x="260" y="398"/>
                    </a:lnTo>
                    <a:lnTo>
                      <a:pt x="260" y="407"/>
                    </a:lnTo>
                    <a:lnTo>
                      <a:pt x="292" y="407"/>
                    </a:lnTo>
                    <a:lnTo>
                      <a:pt x="292" y="418"/>
                    </a:lnTo>
                    <a:lnTo>
                      <a:pt x="292" y="426"/>
                    </a:lnTo>
                    <a:lnTo>
                      <a:pt x="301" y="428"/>
                    </a:lnTo>
                    <a:lnTo>
                      <a:pt x="313" y="445"/>
                    </a:lnTo>
                    <a:lnTo>
                      <a:pt x="313" y="454"/>
                    </a:lnTo>
                    <a:lnTo>
                      <a:pt x="305" y="473"/>
                    </a:lnTo>
                    <a:lnTo>
                      <a:pt x="305" y="475"/>
                    </a:lnTo>
                    <a:lnTo>
                      <a:pt x="301" y="479"/>
                    </a:lnTo>
                    <a:lnTo>
                      <a:pt x="305" y="481"/>
                    </a:lnTo>
                    <a:lnTo>
                      <a:pt x="301" y="484"/>
                    </a:lnTo>
                    <a:lnTo>
                      <a:pt x="307" y="488"/>
                    </a:lnTo>
                    <a:lnTo>
                      <a:pt x="307" y="494"/>
                    </a:lnTo>
                    <a:lnTo>
                      <a:pt x="311" y="499"/>
                    </a:lnTo>
                    <a:lnTo>
                      <a:pt x="309" y="513"/>
                    </a:lnTo>
                    <a:lnTo>
                      <a:pt x="311" y="515"/>
                    </a:lnTo>
                    <a:lnTo>
                      <a:pt x="309" y="518"/>
                    </a:lnTo>
                    <a:lnTo>
                      <a:pt x="311" y="524"/>
                    </a:lnTo>
                    <a:lnTo>
                      <a:pt x="317" y="522"/>
                    </a:lnTo>
                    <a:lnTo>
                      <a:pt x="320" y="524"/>
                    </a:lnTo>
                    <a:lnTo>
                      <a:pt x="330" y="524"/>
                    </a:lnTo>
                    <a:lnTo>
                      <a:pt x="333" y="526"/>
                    </a:lnTo>
                    <a:lnTo>
                      <a:pt x="341" y="522"/>
                    </a:lnTo>
                    <a:lnTo>
                      <a:pt x="347" y="526"/>
                    </a:lnTo>
                    <a:lnTo>
                      <a:pt x="350" y="526"/>
                    </a:lnTo>
                    <a:lnTo>
                      <a:pt x="350" y="530"/>
                    </a:lnTo>
                    <a:lnTo>
                      <a:pt x="356" y="550"/>
                    </a:lnTo>
                    <a:lnTo>
                      <a:pt x="360" y="558"/>
                    </a:lnTo>
                    <a:lnTo>
                      <a:pt x="362" y="560"/>
                    </a:lnTo>
                    <a:lnTo>
                      <a:pt x="371" y="554"/>
                    </a:lnTo>
                    <a:lnTo>
                      <a:pt x="375" y="556"/>
                    </a:lnTo>
                    <a:lnTo>
                      <a:pt x="379" y="560"/>
                    </a:lnTo>
                    <a:lnTo>
                      <a:pt x="379" y="560"/>
                    </a:lnTo>
                    <a:lnTo>
                      <a:pt x="379" y="563"/>
                    </a:lnTo>
                    <a:lnTo>
                      <a:pt x="379" y="580"/>
                    </a:lnTo>
                    <a:lnTo>
                      <a:pt x="375" y="582"/>
                    </a:lnTo>
                    <a:lnTo>
                      <a:pt x="375" y="582"/>
                    </a:lnTo>
                    <a:lnTo>
                      <a:pt x="375" y="584"/>
                    </a:lnTo>
                    <a:lnTo>
                      <a:pt x="375" y="586"/>
                    </a:lnTo>
                    <a:lnTo>
                      <a:pt x="375" y="588"/>
                    </a:lnTo>
                    <a:lnTo>
                      <a:pt x="379" y="588"/>
                    </a:lnTo>
                    <a:lnTo>
                      <a:pt x="386" y="588"/>
                    </a:lnTo>
                    <a:lnTo>
                      <a:pt x="386" y="592"/>
                    </a:lnTo>
                    <a:lnTo>
                      <a:pt x="390" y="599"/>
                    </a:lnTo>
                    <a:lnTo>
                      <a:pt x="390" y="605"/>
                    </a:lnTo>
                    <a:lnTo>
                      <a:pt x="392" y="612"/>
                    </a:lnTo>
                    <a:lnTo>
                      <a:pt x="392" y="618"/>
                    </a:lnTo>
                    <a:lnTo>
                      <a:pt x="390" y="622"/>
                    </a:lnTo>
                    <a:lnTo>
                      <a:pt x="386" y="622"/>
                    </a:lnTo>
                    <a:lnTo>
                      <a:pt x="384" y="624"/>
                    </a:lnTo>
                    <a:lnTo>
                      <a:pt x="381" y="628"/>
                    </a:lnTo>
                    <a:lnTo>
                      <a:pt x="379" y="628"/>
                    </a:lnTo>
                    <a:lnTo>
                      <a:pt x="379" y="628"/>
                    </a:lnTo>
                    <a:lnTo>
                      <a:pt x="371" y="633"/>
                    </a:lnTo>
                    <a:lnTo>
                      <a:pt x="369" y="635"/>
                    </a:lnTo>
                    <a:lnTo>
                      <a:pt x="365" y="635"/>
                    </a:lnTo>
                    <a:lnTo>
                      <a:pt x="360" y="643"/>
                    </a:lnTo>
                    <a:lnTo>
                      <a:pt x="356" y="643"/>
                    </a:lnTo>
                    <a:lnTo>
                      <a:pt x="356" y="648"/>
                    </a:lnTo>
                    <a:lnTo>
                      <a:pt x="354" y="648"/>
                    </a:lnTo>
                    <a:lnTo>
                      <a:pt x="350" y="648"/>
                    </a:lnTo>
                    <a:lnTo>
                      <a:pt x="347" y="656"/>
                    </a:lnTo>
                    <a:lnTo>
                      <a:pt x="345" y="656"/>
                    </a:lnTo>
                    <a:lnTo>
                      <a:pt x="347" y="661"/>
                    </a:lnTo>
                    <a:lnTo>
                      <a:pt x="341" y="661"/>
                    </a:lnTo>
                    <a:lnTo>
                      <a:pt x="341" y="665"/>
                    </a:lnTo>
                    <a:lnTo>
                      <a:pt x="337" y="671"/>
                    </a:lnTo>
                    <a:lnTo>
                      <a:pt x="335" y="675"/>
                    </a:lnTo>
                    <a:lnTo>
                      <a:pt x="332" y="680"/>
                    </a:lnTo>
                    <a:lnTo>
                      <a:pt x="332" y="682"/>
                    </a:lnTo>
                    <a:lnTo>
                      <a:pt x="330" y="682"/>
                    </a:lnTo>
                    <a:lnTo>
                      <a:pt x="330" y="686"/>
                    </a:lnTo>
                    <a:lnTo>
                      <a:pt x="330" y="686"/>
                    </a:lnTo>
                    <a:lnTo>
                      <a:pt x="332" y="686"/>
                    </a:lnTo>
                    <a:lnTo>
                      <a:pt x="341" y="682"/>
                    </a:lnTo>
                    <a:lnTo>
                      <a:pt x="347" y="686"/>
                    </a:lnTo>
                    <a:lnTo>
                      <a:pt x="350" y="692"/>
                    </a:lnTo>
                    <a:lnTo>
                      <a:pt x="354" y="693"/>
                    </a:lnTo>
                    <a:lnTo>
                      <a:pt x="356" y="699"/>
                    </a:lnTo>
                    <a:lnTo>
                      <a:pt x="360" y="707"/>
                    </a:lnTo>
                    <a:lnTo>
                      <a:pt x="362" y="707"/>
                    </a:lnTo>
                    <a:lnTo>
                      <a:pt x="365" y="703"/>
                    </a:lnTo>
                    <a:lnTo>
                      <a:pt x="367" y="703"/>
                    </a:lnTo>
                    <a:lnTo>
                      <a:pt x="373" y="710"/>
                    </a:lnTo>
                    <a:lnTo>
                      <a:pt x="379" y="712"/>
                    </a:lnTo>
                    <a:lnTo>
                      <a:pt x="381" y="712"/>
                    </a:lnTo>
                    <a:lnTo>
                      <a:pt x="386" y="716"/>
                    </a:lnTo>
                    <a:lnTo>
                      <a:pt x="386" y="722"/>
                    </a:lnTo>
                    <a:lnTo>
                      <a:pt x="390" y="720"/>
                    </a:lnTo>
                    <a:lnTo>
                      <a:pt x="397" y="724"/>
                    </a:lnTo>
                    <a:lnTo>
                      <a:pt x="399" y="729"/>
                    </a:lnTo>
                    <a:lnTo>
                      <a:pt x="405" y="737"/>
                    </a:lnTo>
                    <a:lnTo>
                      <a:pt x="409" y="741"/>
                    </a:lnTo>
                    <a:lnTo>
                      <a:pt x="409" y="746"/>
                    </a:lnTo>
                    <a:lnTo>
                      <a:pt x="405" y="750"/>
                    </a:lnTo>
                    <a:lnTo>
                      <a:pt x="409" y="754"/>
                    </a:lnTo>
                    <a:lnTo>
                      <a:pt x="409" y="756"/>
                    </a:lnTo>
                    <a:lnTo>
                      <a:pt x="409" y="758"/>
                    </a:lnTo>
                    <a:lnTo>
                      <a:pt x="411" y="759"/>
                    </a:lnTo>
                    <a:lnTo>
                      <a:pt x="411" y="761"/>
                    </a:lnTo>
                    <a:lnTo>
                      <a:pt x="418" y="756"/>
                    </a:lnTo>
                    <a:lnTo>
                      <a:pt x="420" y="750"/>
                    </a:lnTo>
                    <a:lnTo>
                      <a:pt x="424" y="737"/>
                    </a:lnTo>
                    <a:lnTo>
                      <a:pt x="428" y="727"/>
                    </a:lnTo>
                    <a:lnTo>
                      <a:pt x="428" y="725"/>
                    </a:lnTo>
                    <a:lnTo>
                      <a:pt x="428" y="724"/>
                    </a:lnTo>
                    <a:lnTo>
                      <a:pt x="424" y="720"/>
                    </a:lnTo>
                    <a:lnTo>
                      <a:pt x="426" y="716"/>
                    </a:lnTo>
                    <a:lnTo>
                      <a:pt x="428" y="716"/>
                    </a:lnTo>
                    <a:lnTo>
                      <a:pt x="428" y="712"/>
                    </a:lnTo>
                    <a:lnTo>
                      <a:pt x="429" y="707"/>
                    </a:lnTo>
                    <a:lnTo>
                      <a:pt x="429" y="707"/>
                    </a:lnTo>
                    <a:lnTo>
                      <a:pt x="433" y="707"/>
                    </a:lnTo>
                    <a:lnTo>
                      <a:pt x="435" y="707"/>
                    </a:lnTo>
                    <a:lnTo>
                      <a:pt x="437" y="705"/>
                    </a:lnTo>
                    <a:lnTo>
                      <a:pt x="439" y="701"/>
                    </a:lnTo>
                    <a:lnTo>
                      <a:pt x="439" y="699"/>
                    </a:lnTo>
                    <a:lnTo>
                      <a:pt x="439" y="695"/>
                    </a:lnTo>
                    <a:lnTo>
                      <a:pt x="443" y="693"/>
                    </a:lnTo>
                    <a:lnTo>
                      <a:pt x="443" y="693"/>
                    </a:lnTo>
                    <a:lnTo>
                      <a:pt x="445" y="690"/>
                    </a:lnTo>
                    <a:lnTo>
                      <a:pt x="443" y="686"/>
                    </a:lnTo>
                    <a:lnTo>
                      <a:pt x="443" y="686"/>
                    </a:lnTo>
                    <a:lnTo>
                      <a:pt x="443" y="680"/>
                    </a:lnTo>
                    <a:lnTo>
                      <a:pt x="443" y="678"/>
                    </a:lnTo>
                    <a:lnTo>
                      <a:pt x="443" y="678"/>
                    </a:lnTo>
                    <a:lnTo>
                      <a:pt x="445" y="682"/>
                    </a:lnTo>
                    <a:lnTo>
                      <a:pt x="448" y="686"/>
                    </a:lnTo>
                    <a:lnTo>
                      <a:pt x="450" y="686"/>
                    </a:lnTo>
                    <a:lnTo>
                      <a:pt x="452" y="686"/>
                    </a:lnTo>
                    <a:lnTo>
                      <a:pt x="454" y="688"/>
                    </a:lnTo>
                    <a:lnTo>
                      <a:pt x="454" y="690"/>
                    </a:lnTo>
                    <a:lnTo>
                      <a:pt x="452" y="692"/>
                    </a:lnTo>
                    <a:lnTo>
                      <a:pt x="450" y="697"/>
                    </a:lnTo>
                    <a:lnTo>
                      <a:pt x="446" y="705"/>
                    </a:lnTo>
                    <a:lnTo>
                      <a:pt x="443" y="705"/>
                    </a:lnTo>
                    <a:lnTo>
                      <a:pt x="443" y="710"/>
                    </a:lnTo>
                    <a:lnTo>
                      <a:pt x="443" y="712"/>
                    </a:lnTo>
                    <a:lnTo>
                      <a:pt x="439" y="712"/>
                    </a:lnTo>
                    <a:lnTo>
                      <a:pt x="435" y="712"/>
                    </a:lnTo>
                    <a:lnTo>
                      <a:pt x="433" y="716"/>
                    </a:lnTo>
                    <a:lnTo>
                      <a:pt x="433" y="718"/>
                    </a:lnTo>
                    <a:lnTo>
                      <a:pt x="429" y="718"/>
                    </a:lnTo>
                    <a:lnTo>
                      <a:pt x="429" y="720"/>
                    </a:lnTo>
                    <a:lnTo>
                      <a:pt x="429" y="722"/>
                    </a:lnTo>
                    <a:lnTo>
                      <a:pt x="433" y="724"/>
                    </a:lnTo>
                    <a:lnTo>
                      <a:pt x="443" y="716"/>
                    </a:lnTo>
                    <a:lnTo>
                      <a:pt x="450" y="707"/>
                    </a:lnTo>
                    <a:lnTo>
                      <a:pt x="460" y="692"/>
                    </a:lnTo>
                    <a:lnTo>
                      <a:pt x="463" y="686"/>
                    </a:lnTo>
                    <a:lnTo>
                      <a:pt x="463" y="677"/>
                    </a:lnTo>
                    <a:lnTo>
                      <a:pt x="473" y="661"/>
                    </a:lnTo>
                    <a:lnTo>
                      <a:pt x="482" y="650"/>
                    </a:lnTo>
                    <a:lnTo>
                      <a:pt x="484" y="646"/>
                    </a:lnTo>
                    <a:lnTo>
                      <a:pt x="482" y="646"/>
                    </a:lnTo>
                    <a:lnTo>
                      <a:pt x="482" y="643"/>
                    </a:lnTo>
                    <a:lnTo>
                      <a:pt x="484" y="643"/>
                    </a:lnTo>
                    <a:lnTo>
                      <a:pt x="486" y="639"/>
                    </a:lnTo>
                    <a:lnTo>
                      <a:pt x="488" y="637"/>
                    </a:lnTo>
                    <a:lnTo>
                      <a:pt x="488" y="633"/>
                    </a:lnTo>
                    <a:lnTo>
                      <a:pt x="488" y="631"/>
                    </a:lnTo>
                    <a:lnTo>
                      <a:pt x="488" y="631"/>
                    </a:lnTo>
                    <a:lnTo>
                      <a:pt x="486" y="628"/>
                    </a:lnTo>
                    <a:lnTo>
                      <a:pt x="486" y="624"/>
                    </a:lnTo>
                    <a:lnTo>
                      <a:pt x="482" y="618"/>
                    </a:lnTo>
                    <a:lnTo>
                      <a:pt x="482" y="618"/>
                    </a:lnTo>
                    <a:lnTo>
                      <a:pt x="484" y="616"/>
                    </a:lnTo>
                    <a:lnTo>
                      <a:pt x="482" y="614"/>
                    </a:lnTo>
                    <a:lnTo>
                      <a:pt x="482" y="607"/>
                    </a:lnTo>
                    <a:lnTo>
                      <a:pt x="480" y="601"/>
                    </a:lnTo>
                    <a:lnTo>
                      <a:pt x="480" y="601"/>
                    </a:lnTo>
                    <a:lnTo>
                      <a:pt x="486" y="599"/>
                    </a:lnTo>
                    <a:lnTo>
                      <a:pt x="484" y="597"/>
                    </a:lnTo>
                    <a:lnTo>
                      <a:pt x="482" y="597"/>
                    </a:lnTo>
                    <a:lnTo>
                      <a:pt x="488" y="594"/>
                    </a:lnTo>
                    <a:lnTo>
                      <a:pt x="488" y="592"/>
                    </a:lnTo>
                    <a:lnTo>
                      <a:pt x="482" y="588"/>
                    </a:lnTo>
                    <a:lnTo>
                      <a:pt x="486" y="588"/>
                    </a:lnTo>
                    <a:lnTo>
                      <a:pt x="488" y="584"/>
                    </a:lnTo>
                    <a:lnTo>
                      <a:pt x="492" y="586"/>
                    </a:lnTo>
                    <a:lnTo>
                      <a:pt x="495" y="580"/>
                    </a:lnTo>
                    <a:lnTo>
                      <a:pt x="499" y="579"/>
                    </a:lnTo>
                    <a:lnTo>
                      <a:pt x="499" y="577"/>
                    </a:lnTo>
                    <a:lnTo>
                      <a:pt x="505" y="571"/>
                    </a:lnTo>
                    <a:lnTo>
                      <a:pt x="510" y="567"/>
                    </a:lnTo>
                    <a:lnTo>
                      <a:pt x="518" y="560"/>
                    </a:lnTo>
                    <a:lnTo>
                      <a:pt x="524" y="560"/>
                    </a:lnTo>
                    <a:lnTo>
                      <a:pt x="527" y="556"/>
                    </a:lnTo>
                    <a:lnTo>
                      <a:pt x="531" y="552"/>
                    </a:lnTo>
                    <a:lnTo>
                      <a:pt x="535" y="552"/>
                    </a:lnTo>
                    <a:lnTo>
                      <a:pt x="539" y="554"/>
                    </a:lnTo>
                    <a:lnTo>
                      <a:pt x="541" y="554"/>
                    </a:lnTo>
                    <a:lnTo>
                      <a:pt x="541" y="552"/>
                    </a:lnTo>
                    <a:lnTo>
                      <a:pt x="542" y="547"/>
                    </a:lnTo>
                    <a:lnTo>
                      <a:pt x="550" y="543"/>
                    </a:lnTo>
                    <a:lnTo>
                      <a:pt x="554" y="543"/>
                    </a:lnTo>
                    <a:lnTo>
                      <a:pt x="554" y="539"/>
                    </a:lnTo>
                    <a:lnTo>
                      <a:pt x="552" y="537"/>
                    </a:lnTo>
                    <a:lnTo>
                      <a:pt x="550" y="537"/>
                    </a:lnTo>
                    <a:lnTo>
                      <a:pt x="548" y="537"/>
                    </a:lnTo>
                    <a:lnTo>
                      <a:pt x="552" y="533"/>
                    </a:lnTo>
                    <a:lnTo>
                      <a:pt x="556" y="533"/>
                    </a:lnTo>
                    <a:lnTo>
                      <a:pt x="559" y="533"/>
                    </a:lnTo>
                    <a:lnTo>
                      <a:pt x="563" y="533"/>
                    </a:lnTo>
                    <a:lnTo>
                      <a:pt x="565" y="530"/>
                    </a:lnTo>
                    <a:lnTo>
                      <a:pt x="567" y="530"/>
                    </a:lnTo>
                    <a:lnTo>
                      <a:pt x="567" y="533"/>
                    </a:lnTo>
                    <a:lnTo>
                      <a:pt x="563" y="533"/>
                    </a:lnTo>
                    <a:lnTo>
                      <a:pt x="557" y="537"/>
                    </a:lnTo>
                    <a:lnTo>
                      <a:pt x="557" y="537"/>
                    </a:lnTo>
                    <a:lnTo>
                      <a:pt x="559" y="537"/>
                    </a:lnTo>
                    <a:lnTo>
                      <a:pt x="567" y="537"/>
                    </a:lnTo>
                    <a:lnTo>
                      <a:pt x="576" y="533"/>
                    </a:lnTo>
                    <a:lnTo>
                      <a:pt x="573" y="530"/>
                    </a:lnTo>
                    <a:lnTo>
                      <a:pt x="576" y="530"/>
                    </a:lnTo>
                    <a:lnTo>
                      <a:pt x="580" y="530"/>
                    </a:lnTo>
                    <a:lnTo>
                      <a:pt x="576" y="530"/>
                    </a:lnTo>
                    <a:lnTo>
                      <a:pt x="576" y="530"/>
                    </a:lnTo>
                    <a:lnTo>
                      <a:pt x="580" y="533"/>
                    </a:lnTo>
                    <a:lnTo>
                      <a:pt x="580" y="533"/>
                    </a:lnTo>
                    <a:lnTo>
                      <a:pt x="584" y="537"/>
                    </a:lnTo>
                    <a:lnTo>
                      <a:pt x="586" y="533"/>
                    </a:lnTo>
                    <a:lnTo>
                      <a:pt x="591" y="533"/>
                    </a:lnTo>
                    <a:lnTo>
                      <a:pt x="597" y="533"/>
                    </a:lnTo>
                    <a:lnTo>
                      <a:pt x="601" y="533"/>
                    </a:lnTo>
                    <a:lnTo>
                      <a:pt x="601" y="530"/>
                    </a:lnTo>
                    <a:lnTo>
                      <a:pt x="601" y="530"/>
                    </a:lnTo>
                    <a:lnTo>
                      <a:pt x="601" y="528"/>
                    </a:lnTo>
                    <a:lnTo>
                      <a:pt x="608" y="522"/>
                    </a:lnTo>
                    <a:lnTo>
                      <a:pt x="616" y="518"/>
                    </a:lnTo>
                    <a:lnTo>
                      <a:pt x="620" y="516"/>
                    </a:lnTo>
                    <a:lnTo>
                      <a:pt x="621" y="515"/>
                    </a:lnTo>
                    <a:lnTo>
                      <a:pt x="620" y="513"/>
                    </a:lnTo>
                    <a:lnTo>
                      <a:pt x="618" y="505"/>
                    </a:lnTo>
                    <a:lnTo>
                      <a:pt x="620" y="499"/>
                    </a:lnTo>
                    <a:lnTo>
                      <a:pt x="621" y="498"/>
                    </a:lnTo>
                    <a:lnTo>
                      <a:pt x="621" y="494"/>
                    </a:lnTo>
                    <a:lnTo>
                      <a:pt x="621" y="494"/>
                    </a:lnTo>
                    <a:lnTo>
                      <a:pt x="625" y="490"/>
                    </a:lnTo>
                    <a:lnTo>
                      <a:pt x="629" y="486"/>
                    </a:lnTo>
                    <a:lnTo>
                      <a:pt x="625" y="486"/>
                    </a:lnTo>
                    <a:lnTo>
                      <a:pt x="631" y="479"/>
                    </a:lnTo>
                    <a:lnTo>
                      <a:pt x="638" y="469"/>
                    </a:lnTo>
                    <a:lnTo>
                      <a:pt x="638" y="466"/>
                    </a:lnTo>
                    <a:lnTo>
                      <a:pt x="637" y="454"/>
                    </a:lnTo>
                    <a:lnTo>
                      <a:pt x="637" y="450"/>
                    </a:lnTo>
                    <a:lnTo>
                      <a:pt x="638" y="445"/>
                    </a:lnTo>
                    <a:lnTo>
                      <a:pt x="640" y="443"/>
                    </a:lnTo>
                    <a:lnTo>
                      <a:pt x="640" y="441"/>
                    </a:lnTo>
                    <a:lnTo>
                      <a:pt x="646" y="435"/>
                    </a:lnTo>
                    <a:lnTo>
                      <a:pt x="648" y="434"/>
                    </a:lnTo>
                    <a:lnTo>
                      <a:pt x="646" y="426"/>
                    </a:lnTo>
                    <a:lnTo>
                      <a:pt x="650" y="418"/>
                    </a:lnTo>
                    <a:lnTo>
                      <a:pt x="648" y="411"/>
                    </a:lnTo>
                    <a:lnTo>
                      <a:pt x="650" y="407"/>
                    </a:lnTo>
                    <a:lnTo>
                      <a:pt x="650" y="403"/>
                    </a:lnTo>
                    <a:lnTo>
                      <a:pt x="650" y="398"/>
                    </a:lnTo>
                    <a:lnTo>
                      <a:pt x="648" y="371"/>
                    </a:lnTo>
                    <a:lnTo>
                      <a:pt x="648" y="368"/>
                    </a:lnTo>
                    <a:lnTo>
                      <a:pt x="650" y="364"/>
                    </a:lnTo>
                    <a:lnTo>
                      <a:pt x="650" y="360"/>
                    </a:lnTo>
                    <a:lnTo>
                      <a:pt x="648" y="362"/>
                    </a:lnTo>
                    <a:lnTo>
                      <a:pt x="646" y="360"/>
                    </a:lnTo>
                    <a:lnTo>
                      <a:pt x="646" y="356"/>
                    </a:lnTo>
                    <a:lnTo>
                      <a:pt x="648" y="354"/>
                    </a:lnTo>
                    <a:lnTo>
                      <a:pt x="648" y="351"/>
                    </a:lnTo>
                    <a:lnTo>
                      <a:pt x="648" y="347"/>
                    </a:lnTo>
                    <a:lnTo>
                      <a:pt x="650" y="347"/>
                    </a:lnTo>
                    <a:lnTo>
                      <a:pt x="650" y="341"/>
                    </a:lnTo>
                    <a:lnTo>
                      <a:pt x="648" y="337"/>
                    </a:lnTo>
                    <a:lnTo>
                      <a:pt x="644" y="336"/>
                    </a:lnTo>
                    <a:lnTo>
                      <a:pt x="644" y="334"/>
                    </a:lnTo>
                    <a:lnTo>
                      <a:pt x="646" y="332"/>
                    </a:lnTo>
                    <a:lnTo>
                      <a:pt x="646" y="336"/>
                    </a:lnTo>
                    <a:lnTo>
                      <a:pt x="650" y="337"/>
                    </a:lnTo>
                    <a:lnTo>
                      <a:pt x="650" y="337"/>
                    </a:lnTo>
                    <a:lnTo>
                      <a:pt x="653" y="334"/>
                    </a:lnTo>
                    <a:lnTo>
                      <a:pt x="655" y="334"/>
                    </a:lnTo>
                    <a:lnTo>
                      <a:pt x="655" y="336"/>
                    </a:lnTo>
                    <a:lnTo>
                      <a:pt x="659" y="337"/>
                    </a:lnTo>
                    <a:lnTo>
                      <a:pt x="655" y="339"/>
                    </a:lnTo>
                    <a:lnTo>
                      <a:pt x="653" y="341"/>
                    </a:lnTo>
                    <a:lnTo>
                      <a:pt x="653" y="345"/>
                    </a:lnTo>
                    <a:lnTo>
                      <a:pt x="655" y="345"/>
                    </a:lnTo>
                    <a:lnTo>
                      <a:pt x="659" y="341"/>
                    </a:lnTo>
                    <a:lnTo>
                      <a:pt x="663" y="337"/>
                    </a:lnTo>
                    <a:lnTo>
                      <a:pt x="670" y="330"/>
                    </a:lnTo>
                    <a:lnTo>
                      <a:pt x="672" y="322"/>
                    </a:lnTo>
                    <a:lnTo>
                      <a:pt x="674" y="317"/>
                    </a:lnTo>
                    <a:lnTo>
                      <a:pt x="676" y="315"/>
                    </a:lnTo>
                    <a:lnTo>
                      <a:pt x="678" y="309"/>
                    </a:lnTo>
                    <a:lnTo>
                      <a:pt x="680" y="305"/>
                    </a:lnTo>
                    <a:lnTo>
                      <a:pt x="689" y="296"/>
                    </a:lnTo>
                    <a:lnTo>
                      <a:pt x="691" y="292"/>
                    </a:lnTo>
                    <a:lnTo>
                      <a:pt x="695" y="292"/>
                    </a:lnTo>
                    <a:lnTo>
                      <a:pt x="697" y="290"/>
                    </a:lnTo>
                    <a:lnTo>
                      <a:pt x="704" y="281"/>
                    </a:lnTo>
                    <a:lnTo>
                      <a:pt x="714" y="272"/>
                    </a:lnTo>
                    <a:lnTo>
                      <a:pt x="714" y="268"/>
                    </a:lnTo>
                    <a:lnTo>
                      <a:pt x="717" y="260"/>
                    </a:lnTo>
                    <a:lnTo>
                      <a:pt x="719" y="255"/>
                    </a:lnTo>
                    <a:lnTo>
                      <a:pt x="721" y="251"/>
                    </a:lnTo>
                    <a:lnTo>
                      <a:pt x="721" y="249"/>
                    </a:lnTo>
                    <a:lnTo>
                      <a:pt x="719" y="245"/>
                    </a:lnTo>
                    <a:lnTo>
                      <a:pt x="719" y="241"/>
                    </a:lnTo>
                    <a:lnTo>
                      <a:pt x="723" y="238"/>
                    </a:lnTo>
                    <a:lnTo>
                      <a:pt x="721" y="230"/>
                    </a:lnTo>
                    <a:lnTo>
                      <a:pt x="719" y="228"/>
                    </a:lnTo>
                    <a:lnTo>
                      <a:pt x="719" y="224"/>
                    </a:lnTo>
                    <a:lnTo>
                      <a:pt x="714" y="211"/>
                    </a:lnTo>
                    <a:lnTo>
                      <a:pt x="714" y="206"/>
                    </a:lnTo>
                    <a:lnTo>
                      <a:pt x="710" y="198"/>
                    </a:lnTo>
                    <a:lnTo>
                      <a:pt x="701" y="194"/>
                    </a:lnTo>
                    <a:lnTo>
                      <a:pt x="693" y="194"/>
                    </a:lnTo>
                    <a:lnTo>
                      <a:pt x="687" y="196"/>
                    </a:lnTo>
                    <a:lnTo>
                      <a:pt x="684" y="191"/>
                    </a:lnTo>
                    <a:lnTo>
                      <a:pt x="680" y="191"/>
                    </a:lnTo>
                    <a:lnTo>
                      <a:pt x="676" y="187"/>
                    </a:lnTo>
                    <a:lnTo>
                      <a:pt x="670" y="183"/>
                    </a:lnTo>
                    <a:lnTo>
                      <a:pt x="667" y="183"/>
                    </a:lnTo>
                    <a:lnTo>
                      <a:pt x="659" y="174"/>
                    </a:lnTo>
                    <a:lnTo>
                      <a:pt x="653" y="164"/>
                    </a:lnTo>
                    <a:lnTo>
                      <a:pt x="650" y="164"/>
                    </a:lnTo>
                    <a:lnTo>
                      <a:pt x="644" y="159"/>
                    </a:lnTo>
                    <a:lnTo>
                      <a:pt x="640" y="160"/>
                    </a:lnTo>
                    <a:lnTo>
                      <a:pt x="629" y="153"/>
                    </a:lnTo>
                    <a:lnTo>
                      <a:pt x="625" y="153"/>
                    </a:lnTo>
                    <a:lnTo>
                      <a:pt x="620" y="149"/>
                    </a:lnTo>
                    <a:lnTo>
                      <a:pt x="616" y="153"/>
                    </a:lnTo>
                    <a:lnTo>
                      <a:pt x="610" y="153"/>
                    </a:lnTo>
                    <a:lnTo>
                      <a:pt x="606" y="149"/>
                    </a:lnTo>
                    <a:lnTo>
                      <a:pt x="605" y="153"/>
                    </a:lnTo>
                    <a:lnTo>
                      <a:pt x="601" y="153"/>
                    </a:lnTo>
                    <a:lnTo>
                      <a:pt x="601" y="153"/>
                    </a:lnTo>
                    <a:lnTo>
                      <a:pt x="595" y="147"/>
                    </a:lnTo>
                    <a:lnTo>
                      <a:pt x="595" y="149"/>
                    </a:lnTo>
                    <a:lnTo>
                      <a:pt x="591" y="147"/>
                    </a:lnTo>
                    <a:lnTo>
                      <a:pt x="591" y="149"/>
                    </a:lnTo>
                    <a:lnTo>
                      <a:pt x="591" y="153"/>
                    </a:lnTo>
                    <a:lnTo>
                      <a:pt x="588" y="149"/>
                    </a:lnTo>
                    <a:lnTo>
                      <a:pt x="588" y="147"/>
                    </a:lnTo>
                    <a:lnTo>
                      <a:pt x="586" y="147"/>
                    </a:lnTo>
                    <a:lnTo>
                      <a:pt x="586" y="147"/>
                    </a:lnTo>
                    <a:lnTo>
                      <a:pt x="584" y="149"/>
                    </a:lnTo>
                    <a:lnTo>
                      <a:pt x="580" y="147"/>
                    </a:lnTo>
                    <a:lnTo>
                      <a:pt x="576" y="147"/>
                    </a:lnTo>
                    <a:lnTo>
                      <a:pt x="573" y="147"/>
                    </a:lnTo>
                    <a:lnTo>
                      <a:pt x="563" y="142"/>
                    </a:lnTo>
                    <a:lnTo>
                      <a:pt x="559" y="143"/>
                    </a:lnTo>
                    <a:lnTo>
                      <a:pt x="559" y="143"/>
                    </a:lnTo>
                    <a:lnTo>
                      <a:pt x="559" y="143"/>
                    </a:lnTo>
                    <a:lnTo>
                      <a:pt x="559" y="147"/>
                    </a:lnTo>
                    <a:lnTo>
                      <a:pt x="556" y="143"/>
                    </a:lnTo>
                    <a:lnTo>
                      <a:pt x="556" y="147"/>
                    </a:lnTo>
                    <a:lnTo>
                      <a:pt x="556" y="147"/>
                    </a:lnTo>
                    <a:lnTo>
                      <a:pt x="552" y="147"/>
                    </a:lnTo>
                    <a:lnTo>
                      <a:pt x="550" y="153"/>
                    </a:lnTo>
                    <a:lnTo>
                      <a:pt x="550" y="155"/>
                    </a:lnTo>
                    <a:lnTo>
                      <a:pt x="548" y="153"/>
                    </a:lnTo>
                    <a:lnTo>
                      <a:pt x="546" y="149"/>
                    </a:lnTo>
                    <a:lnTo>
                      <a:pt x="546" y="149"/>
                    </a:lnTo>
                    <a:lnTo>
                      <a:pt x="546" y="153"/>
                    </a:lnTo>
                    <a:lnTo>
                      <a:pt x="542" y="159"/>
                    </a:lnTo>
                    <a:lnTo>
                      <a:pt x="542" y="164"/>
                    </a:lnTo>
                    <a:lnTo>
                      <a:pt x="542" y="159"/>
                    </a:lnTo>
                    <a:lnTo>
                      <a:pt x="542" y="155"/>
                    </a:lnTo>
                    <a:lnTo>
                      <a:pt x="542" y="153"/>
                    </a:lnTo>
                    <a:lnTo>
                      <a:pt x="542" y="143"/>
                    </a:lnTo>
                    <a:lnTo>
                      <a:pt x="546" y="143"/>
                    </a:lnTo>
                    <a:lnTo>
                      <a:pt x="542" y="143"/>
                    </a:lnTo>
                    <a:lnTo>
                      <a:pt x="542" y="143"/>
                    </a:lnTo>
                    <a:lnTo>
                      <a:pt x="546" y="138"/>
                    </a:lnTo>
                    <a:lnTo>
                      <a:pt x="541" y="132"/>
                    </a:lnTo>
                    <a:lnTo>
                      <a:pt x="537" y="126"/>
                    </a:lnTo>
                    <a:lnTo>
                      <a:pt x="535" y="126"/>
                    </a:lnTo>
                    <a:lnTo>
                      <a:pt x="529" y="126"/>
                    </a:lnTo>
                    <a:lnTo>
                      <a:pt x="527" y="130"/>
                    </a:lnTo>
                    <a:lnTo>
                      <a:pt x="525" y="130"/>
                    </a:lnTo>
                    <a:lnTo>
                      <a:pt x="524" y="128"/>
                    </a:lnTo>
                    <a:lnTo>
                      <a:pt x="522" y="126"/>
                    </a:lnTo>
                    <a:lnTo>
                      <a:pt x="522" y="125"/>
                    </a:lnTo>
                    <a:lnTo>
                      <a:pt x="518" y="123"/>
                    </a:lnTo>
                    <a:lnTo>
                      <a:pt x="518" y="123"/>
                    </a:lnTo>
                    <a:lnTo>
                      <a:pt x="516" y="123"/>
                    </a:lnTo>
                    <a:lnTo>
                      <a:pt x="512" y="119"/>
                    </a:lnTo>
                    <a:lnTo>
                      <a:pt x="510" y="123"/>
                    </a:lnTo>
                    <a:lnTo>
                      <a:pt x="510" y="123"/>
                    </a:lnTo>
                    <a:lnTo>
                      <a:pt x="509" y="119"/>
                    </a:lnTo>
                    <a:lnTo>
                      <a:pt x="509" y="117"/>
                    </a:lnTo>
                    <a:lnTo>
                      <a:pt x="505" y="119"/>
                    </a:lnTo>
                    <a:lnTo>
                      <a:pt x="501" y="117"/>
                    </a:lnTo>
                    <a:lnTo>
                      <a:pt x="495" y="113"/>
                    </a:lnTo>
                    <a:lnTo>
                      <a:pt x="493" y="113"/>
                    </a:lnTo>
                    <a:lnTo>
                      <a:pt x="492" y="113"/>
                    </a:lnTo>
                    <a:lnTo>
                      <a:pt x="492" y="113"/>
                    </a:lnTo>
                    <a:lnTo>
                      <a:pt x="488" y="113"/>
                    </a:lnTo>
                    <a:lnTo>
                      <a:pt x="488" y="113"/>
                    </a:lnTo>
                    <a:lnTo>
                      <a:pt x="486" y="113"/>
                    </a:lnTo>
                    <a:lnTo>
                      <a:pt x="484" y="113"/>
                    </a:lnTo>
                    <a:lnTo>
                      <a:pt x="480" y="113"/>
                    </a:lnTo>
                    <a:lnTo>
                      <a:pt x="477" y="113"/>
                    </a:lnTo>
                    <a:lnTo>
                      <a:pt x="475" y="119"/>
                    </a:lnTo>
                    <a:lnTo>
                      <a:pt x="475" y="119"/>
                    </a:lnTo>
                    <a:lnTo>
                      <a:pt x="471" y="123"/>
                    </a:lnTo>
                    <a:lnTo>
                      <a:pt x="467" y="126"/>
                    </a:lnTo>
                    <a:lnTo>
                      <a:pt x="460" y="130"/>
                    </a:lnTo>
                    <a:lnTo>
                      <a:pt x="454" y="136"/>
                    </a:lnTo>
                    <a:lnTo>
                      <a:pt x="454" y="142"/>
                    </a:lnTo>
                    <a:lnTo>
                      <a:pt x="454" y="143"/>
                    </a:lnTo>
                    <a:lnTo>
                      <a:pt x="452" y="147"/>
                    </a:lnTo>
                    <a:lnTo>
                      <a:pt x="448" y="153"/>
                    </a:lnTo>
                    <a:lnTo>
                      <a:pt x="448" y="153"/>
                    </a:lnTo>
                    <a:lnTo>
                      <a:pt x="448" y="157"/>
                    </a:lnTo>
                    <a:lnTo>
                      <a:pt x="448" y="164"/>
                    </a:lnTo>
                    <a:lnTo>
                      <a:pt x="446" y="160"/>
                    </a:lnTo>
                    <a:lnTo>
                      <a:pt x="445" y="155"/>
                    </a:lnTo>
                    <a:lnTo>
                      <a:pt x="445" y="153"/>
                    </a:lnTo>
                    <a:lnTo>
                      <a:pt x="446" y="149"/>
                    </a:lnTo>
                    <a:lnTo>
                      <a:pt x="450" y="147"/>
                    </a:lnTo>
                    <a:lnTo>
                      <a:pt x="450" y="143"/>
                    </a:lnTo>
                    <a:lnTo>
                      <a:pt x="452" y="138"/>
                    </a:lnTo>
                    <a:lnTo>
                      <a:pt x="452" y="136"/>
                    </a:lnTo>
                    <a:lnTo>
                      <a:pt x="448" y="136"/>
                    </a:lnTo>
                    <a:lnTo>
                      <a:pt x="445" y="138"/>
                    </a:lnTo>
                    <a:lnTo>
                      <a:pt x="439" y="136"/>
                    </a:lnTo>
                    <a:lnTo>
                      <a:pt x="435" y="136"/>
                    </a:lnTo>
                    <a:lnTo>
                      <a:pt x="433" y="138"/>
                    </a:lnTo>
                    <a:lnTo>
                      <a:pt x="429" y="134"/>
                    </a:lnTo>
                    <a:lnTo>
                      <a:pt x="433" y="136"/>
                    </a:lnTo>
                    <a:lnTo>
                      <a:pt x="435" y="132"/>
                    </a:lnTo>
                    <a:lnTo>
                      <a:pt x="439" y="132"/>
                    </a:lnTo>
                    <a:lnTo>
                      <a:pt x="445" y="132"/>
                    </a:lnTo>
                    <a:lnTo>
                      <a:pt x="448" y="132"/>
                    </a:lnTo>
                    <a:lnTo>
                      <a:pt x="450" y="128"/>
                    </a:lnTo>
                    <a:lnTo>
                      <a:pt x="452" y="128"/>
                    </a:lnTo>
                    <a:lnTo>
                      <a:pt x="454" y="130"/>
                    </a:lnTo>
                    <a:lnTo>
                      <a:pt x="454" y="128"/>
                    </a:lnTo>
                    <a:lnTo>
                      <a:pt x="460" y="126"/>
                    </a:lnTo>
                    <a:lnTo>
                      <a:pt x="463" y="125"/>
                    </a:lnTo>
                    <a:lnTo>
                      <a:pt x="463" y="123"/>
                    </a:lnTo>
                    <a:lnTo>
                      <a:pt x="469" y="117"/>
                    </a:lnTo>
                    <a:lnTo>
                      <a:pt x="469" y="110"/>
                    </a:lnTo>
                    <a:lnTo>
                      <a:pt x="471" y="110"/>
                    </a:lnTo>
                    <a:lnTo>
                      <a:pt x="471" y="106"/>
                    </a:lnTo>
                    <a:lnTo>
                      <a:pt x="467" y="104"/>
                    </a:lnTo>
                    <a:lnTo>
                      <a:pt x="463" y="102"/>
                    </a:lnTo>
                    <a:lnTo>
                      <a:pt x="460" y="102"/>
                    </a:lnTo>
                    <a:lnTo>
                      <a:pt x="454" y="104"/>
                    </a:lnTo>
                    <a:lnTo>
                      <a:pt x="448" y="106"/>
                    </a:lnTo>
                    <a:lnTo>
                      <a:pt x="443" y="102"/>
                    </a:lnTo>
                    <a:lnTo>
                      <a:pt x="435" y="102"/>
                    </a:lnTo>
                    <a:lnTo>
                      <a:pt x="429" y="108"/>
                    </a:lnTo>
                    <a:lnTo>
                      <a:pt x="429" y="110"/>
                    </a:lnTo>
                    <a:lnTo>
                      <a:pt x="433" y="110"/>
                    </a:lnTo>
                    <a:lnTo>
                      <a:pt x="433" y="113"/>
                    </a:lnTo>
                    <a:lnTo>
                      <a:pt x="429" y="113"/>
                    </a:lnTo>
                    <a:lnTo>
                      <a:pt x="429" y="113"/>
                    </a:lnTo>
                    <a:lnTo>
                      <a:pt x="428" y="117"/>
                    </a:lnTo>
                    <a:lnTo>
                      <a:pt x="428" y="113"/>
                    </a:lnTo>
                    <a:lnTo>
                      <a:pt x="426" y="113"/>
                    </a:lnTo>
                    <a:lnTo>
                      <a:pt x="422" y="113"/>
                    </a:lnTo>
                    <a:lnTo>
                      <a:pt x="416" y="119"/>
                    </a:lnTo>
                    <a:lnTo>
                      <a:pt x="411" y="126"/>
                    </a:lnTo>
                    <a:lnTo>
                      <a:pt x="414" y="123"/>
                    </a:lnTo>
                    <a:lnTo>
                      <a:pt x="414" y="119"/>
                    </a:lnTo>
                    <a:lnTo>
                      <a:pt x="416" y="113"/>
                    </a:lnTo>
                    <a:lnTo>
                      <a:pt x="416" y="113"/>
                    </a:lnTo>
                    <a:lnTo>
                      <a:pt x="414" y="113"/>
                    </a:lnTo>
                    <a:lnTo>
                      <a:pt x="411" y="117"/>
                    </a:lnTo>
                    <a:lnTo>
                      <a:pt x="409" y="119"/>
                    </a:lnTo>
                    <a:lnTo>
                      <a:pt x="409" y="125"/>
                    </a:lnTo>
                    <a:lnTo>
                      <a:pt x="405" y="126"/>
                    </a:lnTo>
                    <a:lnTo>
                      <a:pt x="409" y="123"/>
                    </a:lnTo>
                    <a:lnTo>
                      <a:pt x="409" y="117"/>
                    </a:lnTo>
                    <a:lnTo>
                      <a:pt x="414" y="110"/>
                    </a:lnTo>
                    <a:lnTo>
                      <a:pt x="416" y="104"/>
                    </a:lnTo>
                    <a:lnTo>
                      <a:pt x="418" y="100"/>
                    </a:lnTo>
                    <a:lnTo>
                      <a:pt x="422" y="96"/>
                    </a:lnTo>
                    <a:lnTo>
                      <a:pt x="426" y="94"/>
                    </a:lnTo>
                    <a:lnTo>
                      <a:pt x="429" y="93"/>
                    </a:lnTo>
                    <a:lnTo>
                      <a:pt x="433" y="89"/>
                    </a:lnTo>
                    <a:lnTo>
                      <a:pt x="443" y="79"/>
                    </a:lnTo>
                    <a:lnTo>
                      <a:pt x="443" y="78"/>
                    </a:lnTo>
                    <a:lnTo>
                      <a:pt x="443" y="76"/>
                    </a:lnTo>
                    <a:lnTo>
                      <a:pt x="443" y="74"/>
                    </a:lnTo>
                    <a:lnTo>
                      <a:pt x="443" y="72"/>
                    </a:lnTo>
                    <a:lnTo>
                      <a:pt x="443" y="70"/>
                    </a:lnTo>
                    <a:lnTo>
                      <a:pt x="443" y="68"/>
                    </a:lnTo>
                    <a:lnTo>
                      <a:pt x="439" y="62"/>
                    </a:lnTo>
                    <a:lnTo>
                      <a:pt x="435" y="64"/>
                    </a:lnTo>
                    <a:lnTo>
                      <a:pt x="433" y="64"/>
                    </a:lnTo>
                    <a:lnTo>
                      <a:pt x="433" y="62"/>
                    </a:lnTo>
                    <a:lnTo>
                      <a:pt x="429" y="55"/>
                    </a:lnTo>
                    <a:lnTo>
                      <a:pt x="426" y="45"/>
                    </a:lnTo>
                    <a:lnTo>
                      <a:pt x="422" y="40"/>
                    </a:lnTo>
                    <a:lnTo>
                      <a:pt x="420" y="34"/>
                    </a:lnTo>
                    <a:lnTo>
                      <a:pt x="420" y="29"/>
                    </a:lnTo>
                    <a:lnTo>
                      <a:pt x="418" y="25"/>
                    </a:lnTo>
                    <a:lnTo>
                      <a:pt x="418" y="25"/>
                    </a:lnTo>
                    <a:lnTo>
                      <a:pt x="418" y="25"/>
                    </a:lnTo>
                    <a:close/>
                  </a:path>
                </a:pathLst>
              </a:custGeom>
              <a:solidFill>
                <a:srgbClr val="B7013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2" name="Freeform 44"/>
              <p:cNvSpPr>
                <a:spLocks/>
              </p:cNvSpPr>
              <p:nvPr/>
            </p:nvSpPr>
            <p:spPr bwMode="auto">
              <a:xfrm>
                <a:off x="1335" y="2866"/>
                <a:ext cx="222" cy="316"/>
              </a:xfrm>
              <a:custGeom>
                <a:avLst/>
                <a:gdLst/>
                <a:ahLst/>
                <a:cxnLst>
                  <a:cxn ang="0">
                    <a:pos x="179" y="260"/>
                  </a:cxn>
                  <a:cxn ang="0">
                    <a:pos x="177" y="228"/>
                  </a:cxn>
                  <a:cxn ang="0">
                    <a:pos x="179" y="216"/>
                  </a:cxn>
                  <a:cxn ang="0">
                    <a:pos x="194" y="203"/>
                  </a:cxn>
                  <a:cxn ang="0">
                    <a:pos x="211" y="199"/>
                  </a:cxn>
                  <a:cxn ang="0">
                    <a:pos x="222" y="213"/>
                  </a:cxn>
                  <a:cxn ang="0">
                    <a:pos x="213" y="190"/>
                  </a:cxn>
                  <a:cxn ang="0">
                    <a:pos x="207" y="186"/>
                  </a:cxn>
                  <a:cxn ang="0">
                    <a:pos x="205" y="156"/>
                  </a:cxn>
                  <a:cxn ang="0">
                    <a:pos x="207" y="135"/>
                  </a:cxn>
                  <a:cxn ang="0">
                    <a:pos x="213" y="118"/>
                  </a:cxn>
                  <a:cxn ang="0">
                    <a:pos x="198" y="118"/>
                  </a:cxn>
                  <a:cxn ang="0">
                    <a:pos x="187" y="117"/>
                  </a:cxn>
                  <a:cxn ang="0">
                    <a:pos x="153" y="101"/>
                  </a:cxn>
                  <a:cxn ang="0">
                    <a:pos x="134" y="101"/>
                  </a:cxn>
                  <a:cxn ang="0">
                    <a:pos x="123" y="92"/>
                  </a:cxn>
                  <a:cxn ang="0">
                    <a:pos x="113" y="60"/>
                  </a:cxn>
                  <a:cxn ang="0">
                    <a:pos x="113" y="49"/>
                  </a:cxn>
                  <a:cxn ang="0">
                    <a:pos x="123" y="24"/>
                  </a:cxn>
                  <a:cxn ang="0">
                    <a:pos x="143" y="9"/>
                  </a:cxn>
                  <a:cxn ang="0">
                    <a:pos x="147" y="4"/>
                  </a:cxn>
                  <a:cxn ang="0">
                    <a:pos x="134" y="4"/>
                  </a:cxn>
                  <a:cxn ang="0">
                    <a:pos x="126" y="7"/>
                  </a:cxn>
                  <a:cxn ang="0">
                    <a:pos x="106" y="20"/>
                  </a:cxn>
                  <a:cxn ang="0">
                    <a:pos x="91" y="28"/>
                  </a:cxn>
                  <a:cxn ang="0">
                    <a:pos x="87" y="28"/>
                  </a:cxn>
                  <a:cxn ang="0">
                    <a:pos x="72" y="28"/>
                  </a:cxn>
                  <a:cxn ang="0">
                    <a:pos x="62" y="47"/>
                  </a:cxn>
                  <a:cxn ang="0">
                    <a:pos x="57" y="58"/>
                  </a:cxn>
                  <a:cxn ang="0">
                    <a:pos x="42" y="69"/>
                  </a:cxn>
                  <a:cxn ang="0">
                    <a:pos x="42" y="86"/>
                  </a:cxn>
                  <a:cxn ang="0">
                    <a:pos x="34" y="79"/>
                  </a:cxn>
                  <a:cxn ang="0">
                    <a:pos x="30" y="81"/>
                  </a:cxn>
                  <a:cxn ang="0">
                    <a:pos x="21" y="98"/>
                  </a:cxn>
                  <a:cxn ang="0">
                    <a:pos x="27" y="111"/>
                  </a:cxn>
                  <a:cxn ang="0">
                    <a:pos x="30" y="122"/>
                  </a:cxn>
                  <a:cxn ang="0">
                    <a:pos x="30" y="134"/>
                  </a:cxn>
                  <a:cxn ang="0">
                    <a:pos x="27" y="156"/>
                  </a:cxn>
                  <a:cxn ang="0">
                    <a:pos x="36" y="164"/>
                  </a:cxn>
                  <a:cxn ang="0">
                    <a:pos x="25" y="182"/>
                  </a:cxn>
                  <a:cxn ang="0">
                    <a:pos x="2" y="207"/>
                  </a:cxn>
                  <a:cxn ang="0">
                    <a:pos x="23" y="222"/>
                  </a:cxn>
                  <a:cxn ang="0">
                    <a:pos x="38" y="235"/>
                  </a:cxn>
                  <a:cxn ang="0">
                    <a:pos x="51" y="230"/>
                  </a:cxn>
                  <a:cxn ang="0">
                    <a:pos x="64" y="237"/>
                  </a:cxn>
                  <a:cxn ang="0">
                    <a:pos x="79" y="243"/>
                  </a:cxn>
                  <a:cxn ang="0">
                    <a:pos x="91" y="260"/>
                  </a:cxn>
                  <a:cxn ang="0">
                    <a:pos x="106" y="275"/>
                  </a:cxn>
                  <a:cxn ang="0">
                    <a:pos x="115" y="282"/>
                  </a:cxn>
                  <a:cxn ang="0">
                    <a:pos x="138" y="280"/>
                  </a:cxn>
                  <a:cxn ang="0">
                    <a:pos x="155" y="282"/>
                  </a:cxn>
                  <a:cxn ang="0">
                    <a:pos x="153" y="311"/>
                  </a:cxn>
                  <a:cxn ang="0">
                    <a:pos x="164" y="316"/>
                  </a:cxn>
                </a:cxnLst>
                <a:rect l="0" t="0" r="r" b="b"/>
                <a:pathLst>
                  <a:path w="222" h="316">
                    <a:moveTo>
                      <a:pt x="164" y="316"/>
                    </a:moveTo>
                    <a:lnTo>
                      <a:pt x="168" y="307"/>
                    </a:lnTo>
                    <a:lnTo>
                      <a:pt x="179" y="267"/>
                    </a:lnTo>
                    <a:lnTo>
                      <a:pt x="179" y="265"/>
                    </a:lnTo>
                    <a:lnTo>
                      <a:pt x="179" y="260"/>
                    </a:lnTo>
                    <a:lnTo>
                      <a:pt x="175" y="250"/>
                    </a:lnTo>
                    <a:lnTo>
                      <a:pt x="168" y="247"/>
                    </a:lnTo>
                    <a:lnTo>
                      <a:pt x="164" y="243"/>
                    </a:lnTo>
                    <a:lnTo>
                      <a:pt x="164" y="231"/>
                    </a:lnTo>
                    <a:lnTo>
                      <a:pt x="177" y="228"/>
                    </a:lnTo>
                    <a:lnTo>
                      <a:pt x="181" y="230"/>
                    </a:lnTo>
                    <a:lnTo>
                      <a:pt x="183" y="228"/>
                    </a:lnTo>
                    <a:lnTo>
                      <a:pt x="179" y="224"/>
                    </a:lnTo>
                    <a:lnTo>
                      <a:pt x="181" y="222"/>
                    </a:lnTo>
                    <a:lnTo>
                      <a:pt x="179" y="216"/>
                    </a:lnTo>
                    <a:lnTo>
                      <a:pt x="171" y="216"/>
                    </a:lnTo>
                    <a:lnTo>
                      <a:pt x="170" y="213"/>
                    </a:lnTo>
                    <a:lnTo>
                      <a:pt x="171" y="205"/>
                    </a:lnTo>
                    <a:lnTo>
                      <a:pt x="192" y="205"/>
                    </a:lnTo>
                    <a:lnTo>
                      <a:pt x="194" y="203"/>
                    </a:lnTo>
                    <a:lnTo>
                      <a:pt x="198" y="203"/>
                    </a:lnTo>
                    <a:lnTo>
                      <a:pt x="200" y="205"/>
                    </a:lnTo>
                    <a:lnTo>
                      <a:pt x="202" y="205"/>
                    </a:lnTo>
                    <a:lnTo>
                      <a:pt x="205" y="199"/>
                    </a:lnTo>
                    <a:lnTo>
                      <a:pt x="211" y="199"/>
                    </a:lnTo>
                    <a:lnTo>
                      <a:pt x="213" y="201"/>
                    </a:lnTo>
                    <a:lnTo>
                      <a:pt x="217" y="205"/>
                    </a:lnTo>
                    <a:lnTo>
                      <a:pt x="217" y="211"/>
                    </a:lnTo>
                    <a:lnTo>
                      <a:pt x="217" y="213"/>
                    </a:lnTo>
                    <a:lnTo>
                      <a:pt x="222" y="213"/>
                    </a:lnTo>
                    <a:lnTo>
                      <a:pt x="222" y="211"/>
                    </a:lnTo>
                    <a:lnTo>
                      <a:pt x="217" y="201"/>
                    </a:lnTo>
                    <a:lnTo>
                      <a:pt x="213" y="196"/>
                    </a:lnTo>
                    <a:lnTo>
                      <a:pt x="217" y="194"/>
                    </a:lnTo>
                    <a:lnTo>
                      <a:pt x="213" y="190"/>
                    </a:lnTo>
                    <a:lnTo>
                      <a:pt x="213" y="188"/>
                    </a:lnTo>
                    <a:lnTo>
                      <a:pt x="211" y="186"/>
                    </a:lnTo>
                    <a:lnTo>
                      <a:pt x="211" y="186"/>
                    </a:lnTo>
                    <a:lnTo>
                      <a:pt x="209" y="186"/>
                    </a:lnTo>
                    <a:lnTo>
                      <a:pt x="207" y="186"/>
                    </a:lnTo>
                    <a:lnTo>
                      <a:pt x="205" y="182"/>
                    </a:lnTo>
                    <a:lnTo>
                      <a:pt x="213" y="173"/>
                    </a:lnTo>
                    <a:lnTo>
                      <a:pt x="207" y="162"/>
                    </a:lnTo>
                    <a:lnTo>
                      <a:pt x="207" y="162"/>
                    </a:lnTo>
                    <a:lnTo>
                      <a:pt x="205" y="156"/>
                    </a:lnTo>
                    <a:lnTo>
                      <a:pt x="205" y="152"/>
                    </a:lnTo>
                    <a:lnTo>
                      <a:pt x="207" y="147"/>
                    </a:lnTo>
                    <a:lnTo>
                      <a:pt x="207" y="145"/>
                    </a:lnTo>
                    <a:lnTo>
                      <a:pt x="205" y="137"/>
                    </a:lnTo>
                    <a:lnTo>
                      <a:pt x="207" y="135"/>
                    </a:lnTo>
                    <a:lnTo>
                      <a:pt x="213" y="134"/>
                    </a:lnTo>
                    <a:lnTo>
                      <a:pt x="213" y="132"/>
                    </a:lnTo>
                    <a:lnTo>
                      <a:pt x="213" y="128"/>
                    </a:lnTo>
                    <a:lnTo>
                      <a:pt x="213" y="124"/>
                    </a:lnTo>
                    <a:lnTo>
                      <a:pt x="213" y="118"/>
                    </a:lnTo>
                    <a:lnTo>
                      <a:pt x="211" y="117"/>
                    </a:lnTo>
                    <a:lnTo>
                      <a:pt x="207" y="117"/>
                    </a:lnTo>
                    <a:lnTo>
                      <a:pt x="207" y="118"/>
                    </a:lnTo>
                    <a:lnTo>
                      <a:pt x="202" y="118"/>
                    </a:lnTo>
                    <a:lnTo>
                      <a:pt x="198" y="118"/>
                    </a:lnTo>
                    <a:lnTo>
                      <a:pt x="194" y="118"/>
                    </a:lnTo>
                    <a:lnTo>
                      <a:pt x="192" y="118"/>
                    </a:lnTo>
                    <a:lnTo>
                      <a:pt x="188" y="118"/>
                    </a:lnTo>
                    <a:lnTo>
                      <a:pt x="187" y="118"/>
                    </a:lnTo>
                    <a:lnTo>
                      <a:pt x="187" y="117"/>
                    </a:lnTo>
                    <a:lnTo>
                      <a:pt x="181" y="118"/>
                    </a:lnTo>
                    <a:lnTo>
                      <a:pt x="168" y="103"/>
                    </a:lnTo>
                    <a:lnTo>
                      <a:pt x="164" y="101"/>
                    </a:lnTo>
                    <a:lnTo>
                      <a:pt x="158" y="101"/>
                    </a:lnTo>
                    <a:lnTo>
                      <a:pt x="153" y="101"/>
                    </a:lnTo>
                    <a:lnTo>
                      <a:pt x="151" y="103"/>
                    </a:lnTo>
                    <a:lnTo>
                      <a:pt x="145" y="101"/>
                    </a:lnTo>
                    <a:lnTo>
                      <a:pt x="143" y="101"/>
                    </a:lnTo>
                    <a:lnTo>
                      <a:pt x="138" y="103"/>
                    </a:lnTo>
                    <a:lnTo>
                      <a:pt x="134" y="101"/>
                    </a:lnTo>
                    <a:lnTo>
                      <a:pt x="130" y="100"/>
                    </a:lnTo>
                    <a:lnTo>
                      <a:pt x="126" y="98"/>
                    </a:lnTo>
                    <a:lnTo>
                      <a:pt x="123" y="94"/>
                    </a:lnTo>
                    <a:lnTo>
                      <a:pt x="123" y="92"/>
                    </a:lnTo>
                    <a:lnTo>
                      <a:pt x="123" y="92"/>
                    </a:lnTo>
                    <a:lnTo>
                      <a:pt x="123" y="88"/>
                    </a:lnTo>
                    <a:lnTo>
                      <a:pt x="124" y="85"/>
                    </a:lnTo>
                    <a:lnTo>
                      <a:pt x="124" y="81"/>
                    </a:lnTo>
                    <a:lnTo>
                      <a:pt x="121" y="75"/>
                    </a:lnTo>
                    <a:lnTo>
                      <a:pt x="113" y="60"/>
                    </a:lnTo>
                    <a:lnTo>
                      <a:pt x="109" y="60"/>
                    </a:lnTo>
                    <a:lnTo>
                      <a:pt x="106" y="64"/>
                    </a:lnTo>
                    <a:lnTo>
                      <a:pt x="109" y="58"/>
                    </a:lnTo>
                    <a:lnTo>
                      <a:pt x="109" y="54"/>
                    </a:lnTo>
                    <a:lnTo>
                      <a:pt x="113" y="49"/>
                    </a:lnTo>
                    <a:lnTo>
                      <a:pt x="109" y="45"/>
                    </a:lnTo>
                    <a:lnTo>
                      <a:pt x="113" y="41"/>
                    </a:lnTo>
                    <a:lnTo>
                      <a:pt x="117" y="34"/>
                    </a:lnTo>
                    <a:lnTo>
                      <a:pt x="119" y="30"/>
                    </a:lnTo>
                    <a:lnTo>
                      <a:pt x="123" y="24"/>
                    </a:lnTo>
                    <a:lnTo>
                      <a:pt x="126" y="24"/>
                    </a:lnTo>
                    <a:lnTo>
                      <a:pt x="128" y="22"/>
                    </a:lnTo>
                    <a:lnTo>
                      <a:pt x="134" y="15"/>
                    </a:lnTo>
                    <a:lnTo>
                      <a:pt x="143" y="11"/>
                    </a:lnTo>
                    <a:lnTo>
                      <a:pt x="143" y="9"/>
                    </a:lnTo>
                    <a:lnTo>
                      <a:pt x="145" y="9"/>
                    </a:lnTo>
                    <a:lnTo>
                      <a:pt x="145" y="9"/>
                    </a:lnTo>
                    <a:lnTo>
                      <a:pt x="149" y="7"/>
                    </a:lnTo>
                    <a:lnTo>
                      <a:pt x="149" y="5"/>
                    </a:lnTo>
                    <a:lnTo>
                      <a:pt x="147" y="4"/>
                    </a:lnTo>
                    <a:lnTo>
                      <a:pt x="139" y="0"/>
                    </a:lnTo>
                    <a:lnTo>
                      <a:pt x="138" y="0"/>
                    </a:lnTo>
                    <a:lnTo>
                      <a:pt x="138" y="0"/>
                    </a:lnTo>
                    <a:lnTo>
                      <a:pt x="138" y="4"/>
                    </a:lnTo>
                    <a:lnTo>
                      <a:pt x="134" y="4"/>
                    </a:lnTo>
                    <a:lnTo>
                      <a:pt x="130" y="4"/>
                    </a:lnTo>
                    <a:lnTo>
                      <a:pt x="130" y="4"/>
                    </a:lnTo>
                    <a:lnTo>
                      <a:pt x="126" y="4"/>
                    </a:lnTo>
                    <a:lnTo>
                      <a:pt x="124" y="5"/>
                    </a:lnTo>
                    <a:lnTo>
                      <a:pt x="126" y="7"/>
                    </a:lnTo>
                    <a:lnTo>
                      <a:pt x="126" y="9"/>
                    </a:lnTo>
                    <a:lnTo>
                      <a:pt x="121" y="13"/>
                    </a:lnTo>
                    <a:lnTo>
                      <a:pt x="113" y="17"/>
                    </a:lnTo>
                    <a:lnTo>
                      <a:pt x="109" y="19"/>
                    </a:lnTo>
                    <a:lnTo>
                      <a:pt x="106" y="20"/>
                    </a:lnTo>
                    <a:lnTo>
                      <a:pt x="100" y="20"/>
                    </a:lnTo>
                    <a:lnTo>
                      <a:pt x="94" y="20"/>
                    </a:lnTo>
                    <a:lnTo>
                      <a:pt x="89" y="22"/>
                    </a:lnTo>
                    <a:lnTo>
                      <a:pt x="91" y="24"/>
                    </a:lnTo>
                    <a:lnTo>
                      <a:pt x="91" y="28"/>
                    </a:lnTo>
                    <a:lnTo>
                      <a:pt x="91" y="30"/>
                    </a:lnTo>
                    <a:lnTo>
                      <a:pt x="87" y="34"/>
                    </a:lnTo>
                    <a:lnTo>
                      <a:pt x="85" y="34"/>
                    </a:lnTo>
                    <a:lnTo>
                      <a:pt x="87" y="28"/>
                    </a:lnTo>
                    <a:lnTo>
                      <a:pt x="87" y="28"/>
                    </a:lnTo>
                    <a:lnTo>
                      <a:pt x="89" y="28"/>
                    </a:lnTo>
                    <a:lnTo>
                      <a:pt x="85" y="28"/>
                    </a:lnTo>
                    <a:lnTo>
                      <a:pt x="81" y="24"/>
                    </a:lnTo>
                    <a:lnTo>
                      <a:pt x="79" y="24"/>
                    </a:lnTo>
                    <a:lnTo>
                      <a:pt x="72" y="28"/>
                    </a:lnTo>
                    <a:lnTo>
                      <a:pt x="72" y="30"/>
                    </a:lnTo>
                    <a:lnTo>
                      <a:pt x="66" y="36"/>
                    </a:lnTo>
                    <a:lnTo>
                      <a:pt x="60" y="45"/>
                    </a:lnTo>
                    <a:lnTo>
                      <a:pt x="60" y="49"/>
                    </a:lnTo>
                    <a:lnTo>
                      <a:pt x="62" y="47"/>
                    </a:lnTo>
                    <a:lnTo>
                      <a:pt x="64" y="49"/>
                    </a:lnTo>
                    <a:lnTo>
                      <a:pt x="64" y="53"/>
                    </a:lnTo>
                    <a:lnTo>
                      <a:pt x="62" y="54"/>
                    </a:lnTo>
                    <a:lnTo>
                      <a:pt x="60" y="58"/>
                    </a:lnTo>
                    <a:lnTo>
                      <a:pt x="57" y="58"/>
                    </a:lnTo>
                    <a:lnTo>
                      <a:pt x="55" y="58"/>
                    </a:lnTo>
                    <a:lnTo>
                      <a:pt x="51" y="64"/>
                    </a:lnTo>
                    <a:lnTo>
                      <a:pt x="49" y="64"/>
                    </a:lnTo>
                    <a:lnTo>
                      <a:pt x="45" y="69"/>
                    </a:lnTo>
                    <a:lnTo>
                      <a:pt x="42" y="69"/>
                    </a:lnTo>
                    <a:lnTo>
                      <a:pt x="40" y="69"/>
                    </a:lnTo>
                    <a:lnTo>
                      <a:pt x="40" y="73"/>
                    </a:lnTo>
                    <a:lnTo>
                      <a:pt x="43" y="77"/>
                    </a:lnTo>
                    <a:lnTo>
                      <a:pt x="43" y="83"/>
                    </a:lnTo>
                    <a:lnTo>
                      <a:pt x="42" y="86"/>
                    </a:lnTo>
                    <a:lnTo>
                      <a:pt x="40" y="86"/>
                    </a:lnTo>
                    <a:lnTo>
                      <a:pt x="36" y="83"/>
                    </a:lnTo>
                    <a:lnTo>
                      <a:pt x="36" y="81"/>
                    </a:lnTo>
                    <a:lnTo>
                      <a:pt x="38" y="79"/>
                    </a:lnTo>
                    <a:lnTo>
                      <a:pt x="34" y="79"/>
                    </a:lnTo>
                    <a:lnTo>
                      <a:pt x="34" y="75"/>
                    </a:lnTo>
                    <a:lnTo>
                      <a:pt x="30" y="71"/>
                    </a:lnTo>
                    <a:lnTo>
                      <a:pt x="30" y="73"/>
                    </a:lnTo>
                    <a:lnTo>
                      <a:pt x="30" y="77"/>
                    </a:lnTo>
                    <a:lnTo>
                      <a:pt x="30" y="81"/>
                    </a:lnTo>
                    <a:lnTo>
                      <a:pt x="30" y="86"/>
                    </a:lnTo>
                    <a:lnTo>
                      <a:pt x="27" y="92"/>
                    </a:lnTo>
                    <a:lnTo>
                      <a:pt x="27" y="92"/>
                    </a:lnTo>
                    <a:lnTo>
                      <a:pt x="25" y="92"/>
                    </a:lnTo>
                    <a:lnTo>
                      <a:pt x="21" y="98"/>
                    </a:lnTo>
                    <a:lnTo>
                      <a:pt x="23" y="98"/>
                    </a:lnTo>
                    <a:lnTo>
                      <a:pt x="23" y="103"/>
                    </a:lnTo>
                    <a:lnTo>
                      <a:pt x="23" y="107"/>
                    </a:lnTo>
                    <a:lnTo>
                      <a:pt x="27" y="113"/>
                    </a:lnTo>
                    <a:lnTo>
                      <a:pt x="27" y="111"/>
                    </a:lnTo>
                    <a:lnTo>
                      <a:pt x="30" y="111"/>
                    </a:lnTo>
                    <a:lnTo>
                      <a:pt x="30" y="113"/>
                    </a:lnTo>
                    <a:lnTo>
                      <a:pt x="30" y="117"/>
                    </a:lnTo>
                    <a:lnTo>
                      <a:pt x="30" y="118"/>
                    </a:lnTo>
                    <a:lnTo>
                      <a:pt x="30" y="122"/>
                    </a:lnTo>
                    <a:lnTo>
                      <a:pt x="30" y="122"/>
                    </a:lnTo>
                    <a:lnTo>
                      <a:pt x="30" y="128"/>
                    </a:lnTo>
                    <a:lnTo>
                      <a:pt x="30" y="130"/>
                    </a:lnTo>
                    <a:lnTo>
                      <a:pt x="27" y="132"/>
                    </a:lnTo>
                    <a:lnTo>
                      <a:pt x="30" y="134"/>
                    </a:lnTo>
                    <a:lnTo>
                      <a:pt x="30" y="137"/>
                    </a:lnTo>
                    <a:lnTo>
                      <a:pt x="30" y="143"/>
                    </a:lnTo>
                    <a:lnTo>
                      <a:pt x="30" y="152"/>
                    </a:lnTo>
                    <a:lnTo>
                      <a:pt x="27" y="154"/>
                    </a:lnTo>
                    <a:lnTo>
                      <a:pt x="27" y="156"/>
                    </a:lnTo>
                    <a:lnTo>
                      <a:pt x="30" y="162"/>
                    </a:lnTo>
                    <a:lnTo>
                      <a:pt x="32" y="158"/>
                    </a:lnTo>
                    <a:lnTo>
                      <a:pt x="30" y="162"/>
                    </a:lnTo>
                    <a:lnTo>
                      <a:pt x="34" y="164"/>
                    </a:lnTo>
                    <a:lnTo>
                      <a:pt x="36" y="164"/>
                    </a:lnTo>
                    <a:lnTo>
                      <a:pt x="36" y="166"/>
                    </a:lnTo>
                    <a:lnTo>
                      <a:pt x="34" y="167"/>
                    </a:lnTo>
                    <a:lnTo>
                      <a:pt x="32" y="171"/>
                    </a:lnTo>
                    <a:lnTo>
                      <a:pt x="27" y="179"/>
                    </a:lnTo>
                    <a:lnTo>
                      <a:pt x="25" y="182"/>
                    </a:lnTo>
                    <a:lnTo>
                      <a:pt x="19" y="186"/>
                    </a:lnTo>
                    <a:lnTo>
                      <a:pt x="11" y="188"/>
                    </a:lnTo>
                    <a:lnTo>
                      <a:pt x="6" y="192"/>
                    </a:lnTo>
                    <a:lnTo>
                      <a:pt x="2" y="201"/>
                    </a:lnTo>
                    <a:lnTo>
                      <a:pt x="2" y="207"/>
                    </a:lnTo>
                    <a:lnTo>
                      <a:pt x="0" y="211"/>
                    </a:lnTo>
                    <a:lnTo>
                      <a:pt x="6" y="213"/>
                    </a:lnTo>
                    <a:lnTo>
                      <a:pt x="11" y="216"/>
                    </a:lnTo>
                    <a:lnTo>
                      <a:pt x="19" y="222"/>
                    </a:lnTo>
                    <a:lnTo>
                      <a:pt x="23" y="222"/>
                    </a:lnTo>
                    <a:lnTo>
                      <a:pt x="27" y="226"/>
                    </a:lnTo>
                    <a:lnTo>
                      <a:pt x="27" y="230"/>
                    </a:lnTo>
                    <a:lnTo>
                      <a:pt x="27" y="231"/>
                    </a:lnTo>
                    <a:lnTo>
                      <a:pt x="32" y="233"/>
                    </a:lnTo>
                    <a:lnTo>
                      <a:pt x="38" y="235"/>
                    </a:lnTo>
                    <a:lnTo>
                      <a:pt x="42" y="237"/>
                    </a:lnTo>
                    <a:lnTo>
                      <a:pt x="47" y="237"/>
                    </a:lnTo>
                    <a:lnTo>
                      <a:pt x="49" y="237"/>
                    </a:lnTo>
                    <a:lnTo>
                      <a:pt x="49" y="233"/>
                    </a:lnTo>
                    <a:lnTo>
                      <a:pt x="51" y="230"/>
                    </a:lnTo>
                    <a:lnTo>
                      <a:pt x="55" y="231"/>
                    </a:lnTo>
                    <a:lnTo>
                      <a:pt x="60" y="233"/>
                    </a:lnTo>
                    <a:lnTo>
                      <a:pt x="60" y="235"/>
                    </a:lnTo>
                    <a:lnTo>
                      <a:pt x="62" y="237"/>
                    </a:lnTo>
                    <a:lnTo>
                      <a:pt x="64" y="237"/>
                    </a:lnTo>
                    <a:lnTo>
                      <a:pt x="64" y="237"/>
                    </a:lnTo>
                    <a:lnTo>
                      <a:pt x="66" y="237"/>
                    </a:lnTo>
                    <a:lnTo>
                      <a:pt x="68" y="241"/>
                    </a:lnTo>
                    <a:lnTo>
                      <a:pt x="75" y="243"/>
                    </a:lnTo>
                    <a:lnTo>
                      <a:pt x="79" y="243"/>
                    </a:lnTo>
                    <a:lnTo>
                      <a:pt x="81" y="247"/>
                    </a:lnTo>
                    <a:lnTo>
                      <a:pt x="85" y="248"/>
                    </a:lnTo>
                    <a:lnTo>
                      <a:pt x="85" y="252"/>
                    </a:lnTo>
                    <a:lnTo>
                      <a:pt x="89" y="260"/>
                    </a:lnTo>
                    <a:lnTo>
                      <a:pt x="91" y="260"/>
                    </a:lnTo>
                    <a:lnTo>
                      <a:pt x="100" y="262"/>
                    </a:lnTo>
                    <a:lnTo>
                      <a:pt x="104" y="267"/>
                    </a:lnTo>
                    <a:lnTo>
                      <a:pt x="104" y="271"/>
                    </a:lnTo>
                    <a:lnTo>
                      <a:pt x="106" y="271"/>
                    </a:lnTo>
                    <a:lnTo>
                      <a:pt x="106" y="275"/>
                    </a:lnTo>
                    <a:lnTo>
                      <a:pt x="109" y="280"/>
                    </a:lnTo>
                    <a:lnTo>
                      <a:pt x="109" y="280"/>
                    </a:lnTo>
                    <a:lnTo>
                      <a:pt x="109" y="282"/>
                    </a:lnTo>
                    <a:lnTo>
                      <a:pt x="113" y="284"/>
                    </a:lnTo>
                    <a:lnTo>
                      <a:pt x="115" y="282"/>
                    </a:lnTo>
                    <a:lnTo>
                      <a:pt x="119" y="284"/>
                    </a:lnTo>
                    <a:lnTo>
                      <a:pt x="124" y="284"/>
                    </a:lnTo>
                    <a:lnTo>
                      <a:pt x="126" y="282"/>
                    </a:lnTo>
                    <a:lnTo>
                      <a:pt x="130" y="280"/>
                    </a:lnTo>
                    <a:lnTo>
                      <a:pt x="138" y="280"/>
                    </a:lnTo>
                    <a:lnTo>
                      <a:pt x="139" y="282"/>
                    </a:lnTo>
                    <a:lnTo>
                      <a:pt x="147" y="280"/>
                    </a:lnTo>
                    <a:lnTo>
                      <a:pt x="151" y="280"/>
                    </a:lnTo>
                    <a:lnTo>
                      <a:pt x="153" y="282"/>
                    </a:lnTo>
                    <a:lnTo>
                      <a:pt x="155" y="282"/>
                    </a:lnTo>
                    <a:lnTo>
                      <a:pt x="158" y="284"/>
                    </a:lnTo>
                    <a:lnTo>
                      <a:pt x="160" y="286"/>
                    </a:lnTo>
                    <a:lnTo>
                      <a:pt x="164" y="286"/>
                    </a:lnTo>
                    <a:lnTo>
                      <a:pt x="164" y="288"/>
                    </a:lnTo>
                    <a:lnTo>
                      <a:pt x="153" y="311"/>
                    </a:lnTo>
                    <a:lnTo>
                      <a:pt x="153" y="311"/>
                    </a:lnTo>
                    <a:lnTo>
                      <a:pt x="158" y="311"/>
                    </a:lnTo>
                    <a:lnTo>
                      <a:pt x="162" y="311"/>
                    </a:lnTo>
                    <a:lnTo>
                      <a:pt x="164" y="312"/>
                    </a:lnTo>
                    <a:lnTo>
                      <a:pt x="164" y="316"/>
                    </a:lnTo>
                    <a:lnTo>
                      <a:pt x="164" y="316"/>
                    </a:lnTo>
                    <a:lnTo>
                      <a:pt x="164" y="316"/>
                    </a:lnTo>
                    <a:close/>
                  </a:path>
                </a:pathLst>
              </a:custGeom>
              <a:solidFill>
                <a:srgbClr val="B7013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3" name="Freeform 45"/>
              <p:cNvSpPr>
                <a:spLocks noEditPoints="1"/>
              </p:cNvSpPr>
              <p:nvPr/>
            </p:nvSpPr>
            <p:spPr bwMode="auto">
              <a:xfrm>
                <a:off x="1525" y="3527"/>
                <a:ext cx="300" cy="767"/>
              </a:xfrm>
              <a:custGeom>
                <a:avLst/>
                <a:gdLst/>
                <a:ahLst/>
                <a:cxnLst>
                  <a:cxn ang="0">
                    <a:pos x="83" y="4"/>
                  </a:cxn>
                  <a:cxn ang="0">
                    <a:pos x="100" y="4"/>
                  </a:cxn>
                  <a:cxn ang="0">
                    <a:pos x="157" y="28"/>
                  </a:cxn>
                  <a:cxn ang="0">
                    <a:pos x="217" y="62"/>
                  </a:cxn>
                  <a:cxn ang="0">
                    <a:pos x="209" y="104"/>
                  </a:cxn>
                  <a:cxn ang="0">
                    <a:pos x="256" y="109"/>
                  </a:cxn>
                  <a:cxn ang="0">
                    <a:pos x="283" y="75"/>
                  </a:cxn>
                  <a:cxn ang="0">
                    <a:pos x="300" y="98"/>
                  </a:cxn>
                  <a:cxn ang="0">
                    <a:pos x="273" y="115"/>
                  </a:cxn>
                  <a:cxn ang="0">
                    <a:pos x="249" y="141"/>
                  </a:cxn>
                  <a:cxn ang="0">
                    <a:pos x="230" y="171"/>
                  </a:cxn>
                  <a:cxn ang="0">
                    <a:pos x="226" y="211"/>
                  </a:cxn>
                  <a:cxn ang="0">
                    <a:pos x="224" y="247"/>
                  </a:cxn>
                  <a:cxn ang="0">
                    <a:pos x="256" y="279"/>
                  </a:cxn>
                  <a:cxn ang="0">
                    <a:pos x="266" y="303"/>
                  </a:cxn>
                  <a:cxn ang="0">
                    <a:pos x="256" y="337"/>
                  </a:cxn>
                  <a:cxn ang="0">
                    <a:pos x="196" y="356"/>
                  </a:cxn>
                  <a:cxn ang="0">
                    <a:pos x="173" y="358"/>
                  </a:cxn>
                  <a:cxn ang="0">
                    <a:pos x="173" y="379"/>
                  </a:cxn>
                  <a:cxn ang="0">
                    <a:pos x="173" y="403"/>
                  </a:cxn>
                  <a:cxn ang="0">
                    <a:pos x="130" y="401"/>
                  </a:cxn>
                  <a:cxn ang="0">
                    <a:pos x="136" y="435"/>
                  </a:cxn>
                  <a:cxn ang="0">
                    <a:pos x="143" y="435"/>
                  </a:cxn>
                  <a:cxn ang="0">
                    <a:pos x="160" y="446"/>
                  </a:cxn>
                  <a:cxn ang="0">
                    <a:pos x="136" y="448"/>
                  </a:cxn>
                  <a:cxn ang="0">
                    <a:pos x="136" y="465"/>
                  </a:cxn>
                  <a:cxn ang="0">
                    <a:pos x="136" y="492"/>
                  </a:cxn>
                  <a:cxn ang="0">
                    <a:pos x="125" y="507"/>
                  </a:cxn>
                  <a:cxn ang="0">
                    <a:pos x="100" y="529"/>
                  </a:cxn>
                  <a:cxn ang="0">
                    <a:pos x="134" y="557"/>
                  </a:cxn>
                  <a:cxn ang="0">
                    <a:pos x="140" y="574"/>
                  </a:cxn>
                  <a:cxn ang="0">
                    <a:pos x="130" y="593"/>
                  </a:cxn>
                  <a:cxn ang="0">
                    <a:pos x="119" y="616"/>
                  </a:cxn>
                  <a:cxn ang="0">
                    <a:pos x="104" y="633"/>
                  </a:cxn>
                  <a:cxn ang="0">
                    <a:pos x="104" y="671"/>
                  </a:cxn>
                  <a:cxn ang="0">
                    <a:pos x="123" y="691"/>
                  </a:cxn>
                  <a:cxn ang="0">
                    <a:pos x="64" y="684"/>
                  </a:cxn>
                  <a:cxn ang="0">
                    <a:pos x="32" y="657"/>
                  </a:cxn>
                  <a:cxn ang="0">
                    <a:pos x="30" y="580"/>
                  </a:cxn>
                  <a:cxn ang="0">
                    <a:pos x="30" y="524"/>
                  </a:cxn>
                  <a:cxn ang="0">
                    <a:pos x="27" y="501"/>
                  </a:cxn>
                  <a:cxn ang="0">
                    <a:pos x="17" y="465"/>
                  </a:cxn>
                  <a:cxn ang="0">
                    <a:pos x="6" y="411"/>
                  </a:cxn>
                  <a:cxn ang="0">
                    <a:pos x="10" y="330"/>
                  </a:cxn>
                  <a:cxn ang="0">
                    <a:pos x="13" y="271"/>
                  </a:cxn>
                  <a:cxn ang="0">
                    <a:pos x="6" y="209"/>
                  </a:cxn>
                  <a:cxn ang="0">
                    <a:pos x="6" y="147"/>
                  </a:cxn>
                  <a:cxn ang="0">
                    <a:pos x="29" y="96"/>
                  </a:cxn>
                  <a:cxn ang="0">
                    <a:pos x="25" y="62"/>
                  </a:cxn>
                  <a:cxn ang="0">
                    <a:pos x="200" y="757"/>
                  </a:cxn>
                  <a:cxn ang="0">
                    <a:pos x="200" y="757"/>
                  </a:cxn>
                  <a:cxn ang="0">
                    <a:pos x="123" y="716"/>
                  </a:cxn>
                  <a:cxn ang="0">
                    <a:pos x="132" y="723"/>
                  </a:cxn>
                  <a:cxn ang="0">
                    <a:pos x="173" y="752"/>
                  </a:cxn>
                  <a:cxn ang="0">
                    <a:pos x="173" y="765"/>
                  </a:cxn>
                  <a:cxn ang="0">
                    <a:pos x="132" y="755"/>
                  </a:cxn>
                  <a:cxn ang="0">
                    <a:pos x="123" y="719"/>
                  </a:cxn>
                </a:cxnLst>
                <a:rect l="0" t="0" r="r" b="b"/>
                <a:pathLst>
                  <a:path w="300" h="767">
                    <a:moveTo>
                      <a:pt x="47" y="17"/>
                    </a:moveTo>
                    <a:lnTo>
                      <a:pt x="49" y="15"/>
                    </a:lnTo>
                    <a:lnTo>
                      <a:pt x="53" y="7"/>
                    </a:lnTo>
                    <a:lnTo>
                      <a:pt x="59" y="2"/>
                    </a:lnTo>
                    <a:lnTo>
                      <a:pt x="64" y="0"/>
                    </a:lnTo>
                    <a:lnTo>
                      <a:pt x="70" y="4"/>
                    </a:lnTo>
                    <a:lnTo>
                      <a:pt x="74" y="4"/>
                    </a:lnTo>
                    <a:lnTo>
                      <a:pt x="79" y="2"/>
                    </a:lnTo>
                    <a:lnTo>
                      <a:pt x="83" y="4"/>
                    </a:lnTo>
                    <a:lnTo>
                      <a:pt x="89" y="2"/>
                    </a:lnTo>
                    <a:lnTo>
                      <a:pt x="93" y="2"/>
                    </a:lnTo>
                    <a:lnTo>
                      <a:pt x="93" y="7"/>
                    </a:lnTo>
                    <a:lnTo>
                      <a:pt x="96" y="15"/>
                    </a:lnTo>
                    <a:lnTo>
                      <a:pt x="96" y="17"/>
                    </a:lnTo>
                    <a:lnTo>
                      <a:pt x="98" y="15"/>
                    </a:lnTo>
                    <a:lnTo>
                      <a:pt x="98" y="11"/>
                    </a:lnTo>
                    <a:lnTo>
                      <a:pt x="100" y="7"/>
                    </a:lnTo>
                    <a:lnTo>
                      <a:pt x="100" y="4"/>
                    </a:lnTo>
                    <a:lnTo>
                      <a:pt x="104" y="0"/>
                    </a:lnTo>
                    <a:lnTo>
                      <a:pt x="113" y="0"/>
                    </a:lnTo>
                    <a:lnTo>
                      <a:pt x="123" y="0"/>
                    </a:lnTo>
                    <a:lnTo>
                      <a:pt x="128" y="4"/>
                    </a:lnTo>
                    <a:lnTo>
                      <a:pt x="132" y="7"/>
                    </a:lnTo>
                    <a:lnTo>
                      <a:pt x="136" y="9"/>
                    </a:lnTo>
                    <a:lnTo>
                      <a:pt x="140" y="17"/>
                    </a:lnTo>
                    <a:lnTo>
                      <a:pt x="153" y="28"/>
                    </a:lnTo>
                    <a:lnTo>
                      <a:pt x="157" y="28"/>
                    </a:lnTo>
                    <a:lnTo>
                      <a:pt x="160" y="32"/>
                    </a:lnTo>
                    <a:lnTo>
                      <a:pt x="164" y="38"/>
                    </a:lnTo>
                    <a:lnTo>
                      <a:pt x="173" y="41"/>
                    </a:lnTo>
                    <a:lnTo>
                      <a:pt x="183" y="45"/>
                    </a:lnTo>
                    <a:lnTo>
                      <a:pt x="187" y="45"/>
                    </a:lnTo>
                    <a:lnTo>
                      <a:pt x="194" y="53"/>
                    </a:lnTo>
                    <a:lnTo>
                      <a:pt x="202" y="56"/>
                    </a:lnTo>
                    <a:lnTo>
                      <a:pt x="213" y="58"/>
                    </a:lnTo>
                    <a:lnTo>
                      <a:pt x="217" y="62"/>
                    </a:lnTo>
                    <a:lnTo>
                      <a:pt x="222" y="68"/>
                    </a:lnTo>
                    <a:lnTo>
                      <a:pt x="224" y="72"/>
                    </a:lnTo>
                    <a:lnTo>
                      <a:pt x="224" y="75"/>
                    </a:lnTo>
                    <a:lnTo>
                      <a:pt x="222" y="81"/>
                    </a:lnTo>
                    <a:lnTo>
                      <a:pt x="217" y="83"/>
                    </a:lnTo>
                    <a:lnTo>
                      <a:pt x="217" y="87"/>
                    </a:lnTo>
                    <a:lnTo>
                      <a:pt x="217" y="90"/>
                    </a:lnTo>
                    <a:lnTo>
                      <a:pt x="213" y="96"/>
                    </a:lnTo>
                    <a:lnTo>
                      <a:pt x="209" y="104"/>
                    </a:lnTo>
                    <a:lnTo>
                      <a:pt x="209" y="107"/>
                    </a:lnTo>
                    <a:lnTo>
                      <a:pt x="211" y="107"/>
                    </a:lnTo>
                    <a:lnTo>
                      <a:pt x="224" y="105"/>
                    </a:lnTo>
                    <a:lnTo>
                      <a:pt x="236" y="109"/>
                    </a:lnTo>
                    <a:lnTo>
                      <a:pt x="243" y="113"/>
                    </a:lnTo>
                    <a:lnTo>
                      <a:pt x="247" y="111"/>
                    </a:lnTo>
                    <a:lnTo>
                      <a:pt x="249" y="111"/>
                    </a:lnTo>
                    <a:lnTo>
                      <a:pt x="253" y="113"/>
                    </a:lnTo>
                    <a:lnTo>
                      <a:pt x="256" y="109"/>
                    </a:lnTo>
                    <a:lnTo>
                      <a:pt x="256" y="107"/>
                    </a:lnTo>
                    <a:lnTo>
                      <a:pt x="262" y="109"/>
                    </a:lnTo>
                    <a:lnTo>
                      <a:pt x="264" y="104"/>
                    </a:lnTo>
                    <a:lnTo>
                      <a:pt x="266" y="100"/>
                    </a:lnTo>
                    <a:lnTo>
                      <a:pt x="275" y="92"/>
                    </a:lnTo>
                    <a:lnTo>
                      <a:pt x="277" y="90"/>
                    </a:lnTo>
                    <a:lnTo>
                      <a:pt x="279" y="87"/>
                    </a:lnTo>
                    <a:lnTo>
                      <a:pt x="283" y="83"/>
                    </a:lnTo>
                    <a:lnTo>
                      <a:pt x="283" y="75"/>
                    </a:lnTo>
                    <a:lnTo>
                      <a:pt x="283" y="73"/>
                    </a:lnTo>
                    <a:lnTo>
                      <a:pt x="283" y="68"/>
                    </a:lnTo>
                    <a:lnTo>
                      <a:pt x="286" y="66"/>
                    </a:lnTo>
                    <a:lnTo>
                      <a:pt x="294" y="66"/>
                    </a:lnTo>
                    <a:lnTo>
                      <a:pt x="294" y="70"/>
                    </a:lnTo>
                    <a:lnTo>
                      <a:pt x="298" y="79"/>
                    </a:lnTo>
                    <a:lnTo>
                      <a:pt x="298" y="85"/>
                    </a:lnTo>
                    <a:lnTo>
                      <a:pt x="300" y="92"/>
                    </a:lnTo>
                    <a:lnTo>
                      <a:pt x="300" y="98"/>
                    </a:lnTo>
                    <a:lnTo>
                      <a:pt x="298" y="102"/>
                    </a:lnTo>
                    <a:lnTo>
                      <a:pt x="294" y="102"/>
                    </a:lnTo>
                    <a:lnTo>
                      <a:pt x="292" y="104"/>
                    </a:lnTo>
                    <a:lnTo>
                      <a:pt x="288" y="105"/>
                    </a:lnTo>
                    <a:lnTo>
                      <a:pt x="286" y="107"/>
                    </a:lnTo>
                    <a:lnTo>
                      <a:pt x="286" y="107"/>
                    </a:lnTo>
                    <a:lnTo>
                      <a:pt x="279" y="113"/>
                    </a:lnTo>
                    <a:lnTo>
                      <a:pt x="277" y="115"/>
                    </a:lnTo>
                    <a:lnTo>
                      <a:pt x="273" y="115"/>
                    </a:lnTo>
                    <a:lnTo>
                      <a:pt x="268" y="120"/>
                    </a:lnTo>
                    <a:lnTo>
                      <a:pt x="264" y="120"/>
                    </a:lnTo>
                    <a:lnTo>
                      <a:pt x="264" y="126"/>
                    </a:lnTo>
                    <a:lnTo>
                      <a:pt x="262" y="126"/>
                    </a:lnTo>
                    <a:lnTo>
                      <a:pt x="258" y="126"/>
                    </a:lnTo>
                    <a:lnTo>
                      <a:pt x="253" y="134"/>
                    </a:lnTo>
                    <a:lnTo>
                      <a:pt x="253" y="136"/>
                    </a:lnTo>
                    <a:lnTo>
                      <a:pt x="253" y="141"/>
                    </a:lnTo>
                    <a:lnTo>
                      <a:pt x="249" y="141"/>
                    </a:lnTo>
                    <a:lnTo>
                      <a:pt x="247" y="145"/>
                    </a:lnTo>
                    <a:lnTo>
                      <a:pt x="243" y="151"/>
                    </a:lnTo>
                    <a:lnTo>
                      <a:pt x="243" y="154"/>
                    </a:lnTo>
                    <a:lnTo>
                      <a:pt x="239" y="158"/>
                    </a:lnTo>
                    <a:lnTo>
                      <a:pt x="239" y="160"/>
                    </a:lnTo>
                    <a:lnTo>
                      <a:pt x="236" y="162"/>
                    </a:lnTo>
                    <a:lnTo>
                      <a:pt x="234" y="166"/>
                    </a:lnTo>
                    <a:lnTo>
                      <a:pt x="232" y="169"/>
                    </a:lnTo>
                    <a:lnTo>
                      <a:pt x="230" y="171"/>
                    </a:lnTo>
                    <a:lnTo>
                      <a:pt x="230" y="179"/>
                    </a:lnTo>
                    <a:lnTo>
                      <a:pt x="228" y="181"/>
                    </a:lnTo>
                    <a:lnTo>
                      <a:pt x="230" y="185"/>
                    </a:lnTo>
                    <a:lnTo>
                      <a:pt x="230" y="194"/>
                    </a:lnTo>
                    <a:lnTo>
                      <a:pt x="228" y="196"/>
                    </a:lnTo>
                    <a:lnTo>
                      <a:pt x="228" y="200"/>
                    </a:lnTo>
                    <a:lnTo>
                      <a:pt x="226" y="203"/>
                    </a:lnTo>
                    <a:lnTo>
                      <a:pt x="228" y="209"/>
                    </a:lnTo>
                    <a:lnTo>
                      <a:pt x="226" y="211"/>
                    </a:lnTo>
                    <a:lnTo>
                      <a:pt x="228" y="220"/>
                    </a:lnTo>
                    <a:lnTo>
                      <a:pt x="230" y="226"/>
                    </a:lnTo>
                    <a:lnTo>
                      <a:pt x="228" y="228"/>
                    </a:lnTo>
                    <a:lnTo>
                      <a:pt x="224" y="230"/>
                    </a:lnTo>
                    <a:lnTo>
                      <a:pt x="224" y="234"/>
                    </a:lnTo>
                    <a:lnTo>
                      <a:pt x="224" y="234"/>
                    </a:lnTo>
                    <a:lnTo>
                      <a:pt x="224" y="234"/>
                    </a:lnTo>
                    <a:lnTo>
                      <a:pt x="222" y="239"/>
                    </a:lnTo>
                    <a:lnTo>
                      <a:pt x="224" y="247"/>
                    </a:lnTo>
                    <a:lnTo>
                      <a:pt x="224" y="249"/>
                    </a:lnTo>
                    <a:lnTo>
                      <a:pt x="226" y="250"/>
                    </a:lnTo>
                    <a:lnTo>
                      <a:pt x="226" y="254"/>
                    </a:lnTo>
                    <a:lnTo>
                      <a:pt x="224" y="254"/>
                    </a:lnTo>
                    <a:lnTo>
                      <a:pt x="228" y="260"/>
                    </a:lnTo>
                    <a:lnTo>
                      <a:pt x="236" y="264"/>
                    </a:lnTo>
                    <a:lnTo>
                      <a:pt x="243" y="267"/>
                    </a:lnTo>
                    <a:lnTo>
                      <a:pt x="253" y="275"/>
                    </a:lnTo>
                    <a:lnTo>
                      <a:pt x="256" y="279"/>
                    </a:lnTo>
                    <a:lnTo>
                      <a:pt x="256" y="282"/>
                    </a:lnTo>
                    <a:lnTo>
                      <a:pt x="249" y="290"/>
                    </a:lnTo>
                    <a:lnTo>
                      <a:pt x="249" y="292"/>
                    </a:lnTo>
                    <a:lnTo>
                      <a:pt x="253" y="298"/>
                    </a:lnTo>
                    <a:lnTo>
                      <a:pt x="256" y="301"/>
                    </a:lnTo>
                    <a:lnTo>
                      <a:pt x="262" y="301"/>
                    </a:lnTo>
                    <a:lnTo>
                      <a:pt x="264" y="299"/>
                    </a:lnTo>
                    <a:lnTo>
                      <a:pt x="266" y="299"/>
                    </a:lnTo>
                    <a:lnTo>
                      <a:pt x="266" y="303"/>
                    </a:lnTo>
                    <a:lnTo>
                      <a:pt x="266" y="309"/>
                    </a:lnTo>
                    <a:lnTo>
                      <a:pt x="266" y="315"/>
                    </a:lnTo>
                    <a:lnTo>
                      <a:pt x="260" y="318"/>
                    </a:lnTo>
                    <a:lnTo>
                      <a:pt x="260" y="326"/>
                    </a:lnTo>
                    <a:lnTo>
                      <a:pt x="258" y="328"/>
                    </a:lnTo>
                    <a:lnTo>
                      <a:pt x="258" y="326"/>
                    </a:lnTo>
                    <a:lnTo>
                      <a:pt x="256" y="326"/>
                    </a:lnTo>
                    <a:lnTo>
                      <a:pt x="256" y="333"/>
                    </a:lnTo>
                    <a:lnTo>
                      <a:pt x="256" y="337"/>
                    </a:lnTo>
                    <a:lnTo>
                      <a:pt x="256" y="341"/>
                    </a:lnTo>
                    <a:lnTo>
                      <a:pt x="243" y="347"/>
                    </a:lnTo>
                    <a:lnTo>
                      <a:pt x="236" y="348"/>
                    </a:lnTo>
                    <a:lnTo>
                      <a:pt x="236" y="347"/>
                    </a:lnTo>
                    <a:lnTo>
                      <a:pt x="234" y="348"/>
                    </a:lnTo>
                    <a:lnTo>
                      <a:pt x="222" y="354"/>
                    </a:lnTo>
                    <a:lnTo>
                      <a:pt x="211" y="358"/>
                    </a:lnTo>
                    <a:lnTo>
                      <a:pt x="202" y="358"/>
                    </a:lnTo>
                    <a:lnTo>
                      <a:pt x="196" y="356"/>
                    </a:lnTo>
                    <a:lnTo>
                      <a:pt x="192" y="358"/>
                    </a:lnTo>
                    <a:lnTo>
                      <a:pt x="187" y="358"/>
                    </a:lnTo>
                    <a:lnTo>
                      <a:pt x="183" y="356"/>
                    </a:lnTo>
                    <a:lnTo>
                      <a:pt x="177" y="354"/>
                    </a:lnTo>
                    <a:lnTo>
                      <a:pt x="173" y="354"/>
                    </a:lnTo>
                    <a:lnTo>
                      <a:pt x="173" y="352"/>
                    </a:lnTo>
                    <a:lnTo>
                      <a:pt x="172" y="352"/>
                    </a:lnTo>
                    <a:lnTo>
                      <a:pt x="172" y="356"/>
                    </a:lnTo>
                    <a:lnTo>
                      <a:pt x="173" y="358"/>
                    </a:lnTo>
                    <a:lnTo>
                      <a:pt x="173" y="365"/>
                    </a:lnTo>
                    <a:lnTo>
                      <a:pt x="173" y="367"/>
                    </a:lnTo>
                    <a:lnTo>
                      <a:pt x="173" y="367"/>
                    </a:lnTo>
                    <a:lnTo>
                      <a:pt x="177" y="367"/>
                    </a:lnTo>
                    <a:lnTo>
                      <a:pt x="179" y="373"/>
                    </a:lnTo>
                    <a:lnTo>
                      <a:pt x="177" y="377"/>
                    </a:lnTo>
                    <a:lnTo>
                      <a:pt x="177" y="377"/>
                    </a:lnTo>
                    <a:lnTo>
                      <a:pt x="177" y="377"/>
                    </a:lnTo>
                    <a:lnTo>
                      <a:pt x="173" y="379"/>
                    </a:lnTo>
                    <a:lnTo>
                      <a:pt x="173" y="380"/>
                    </a:lnTo>
                    <a:lnTo>
                      <a:pt x="172" y="384"/>
                    </a:lnTo>
                    <a:lnTo>
                      <a:pt x="172" y="388"/>
                    </a:lnTo>
                    <a:lnTo>
                      <a:pt x="173" y="392"/>
                    </a:lnTo>
                    <a:lnTo>
                      <a:pt x="177" y="392"/>
                    </a:lnTo>
                    <a:lnTo>
                      <a:pt x="177" y="395"/>
                    </a:lnTo>
                    <a:lnTo>
                      <a:pt x="173" y="397"/>
                    </a:lnTo>
                    <a:lnTo>
                      <a:pt x="177" y="401"/>
                    </a:lnTo>
                    <a:lnTo>
                      <a:pt x="173" y="403"/>
                    </a:lnTo>
                    <a:lnTo>
                      <a:pt x="172" y="405"/>
                    </a:lnTo>
                    <a:lnTo>
                      <a:pt x="172" y="407"/>
                    </a:lnTo>
                    <a:lnTo>
                      <a:pt x="166" y="412"/>
                    </a:lnTo>
                    <a:lnTo>
                      <a:pt x="155" y="412"/>
                    </a:lnTo>
                    <a:lnTo>
                      <a:pt x="149" y="411"/>
                    </a:lnTo>
                    <a:lnTo>
                      <a:pt x="143" y="405"/>
                    </a:lnTo>
                    <a:lnTo>
                      <a:pt x="136" y="403"/>
                    </a:lnTo>
                    <a:lnTo>
                      <a:pt x="132" y="403"/>
                    </a:lnTo>
                    <a:lnTo>
                      <a:pt x="130" y="401"/>
                    </a:lnTo>
                    <a:lnTo>
                      <a:pt x="132" y="401"/>
                    </a:lnTo>
                    <a:lnTo>
                      <a:pt x="128" y="401"/>
                    </a:lnTo>
                    <a:lnTo>
                      <a:pt x="125" y="403"/>
                    </a:lnTo>
                    <a:lnTo>
                      <a:pt x="125" y="411"/>
                    </a:lnTo>
                    <a:lnTo>
                      <a:pt x="128" y="414"/>
                    </a:lnTo>
                    <a:lnTo>
                      <a:pt x="130" y="422"/>
                    </a:lnTo>
                    <a:lnTo>
                      <a:pt x="130" y="431"/>
                    </a:lnTo>
                    <a:lnTo>
                      <a:pt x="132" y="435"/>
                    </a:lnTo>
                    <a:lnTo>
                      <a:pt x="136" y="435"/>
                    </a:lnTo>
                    <a:lnTo>
                      <a:pt x="141" y="435"/>
                    </a:lnTo>
                    <a:lnTo>
                      <a:pt x="143" y="435"/>
                    </a:lnTo>
                    <a:lnTo>
                      <a:pt x="141" y="437"/>
                    </a:lnTo>
                    <a:lnTo>
                      <a:pt x="140" y="439"/>
                    </a:lnTo>
                    <a:lnTo>
                      <a:pt x="143" y="441"/>
                    </a:lnTo>
                    <a:lnTo>
                      <a:pt x="149" y="439"/>
                    </a:lnTo>
                    <a:lnTo>
                      <a:pt x="149" y="437"/>
                    </a:lnTo>
                    <a:lnTo>
                      <a:pt x="147" y="435"/>
                    </a:lnTo>
                    <a:lnTo>
                      <a:pt x="143" y="435"/>
                    </a:lnTo>
                    <a:lnTo>
                      <a:pt x="147" y="435"/>
                    </a:lnTo>
                    <a:lnTo>
                      <a:pt x="149" y="435"/>
                    </a:lnTo>
                    <a:lnTo>
                      <a:pt x="153" y="431"/>
                    </a:lnTo>
                    <a:lnTo>
                      <a:pt x="155" y="431"/>
                    </a:lnTo>
                    <a:lnTo>
                      <a:pt x="158" y="435"/>
                    </a:lnTo>
                    <a:lnTo>
                      <a:pt x="157" y="439"/>
                    </a:lnTo>
                    <a:lnTo>
                      <a:pt x="155" y="439"/>
                    </a:lnTo>
                    <a:lnTo>
                      <a:pt x="158" y="443"/>
                    </a:lnTo>
                    <a:lnTo>
                      <a:pt x="160" y="446"/>
                    </a:lnTo>
                    <a:lnTo>
                      <a:pt x="158" y="450"/>
                    </a:lnTo>
                    <a:lnTo>
                      <a:pt x="153" y="452"/>
                    </a:lnTo>
                    <a:lnTo>
                      <a:pt x="149" y="452"/>
                    </a:lnTo>
                    <a:lnTo>
                      <a:pt x="149" y="450"/>
                    </a:lnTo>
                    <a:lnTo>
                      <a:pt x="149" y="448"/>
                    </a:lnTo>
                    <a:lnTo>
                      <a:pt x="149" y="446"/>
                    </a:lnTo>
                    <a:lnTo>
                      <a:pt x="143" y="443"/>
                    </a:lnTo>
                    <a:lnTo>
                      <a:pt x="140" y="444"/>
                    </a:lnTo>
                    <a:lnTo>
                      <a:pt x="136" y="448"/>
                    </a:lnTo>
                    <a:lnTo>
                      <a:pt x="136" y="450"/>
                    </a:lnTo>
                    <a:lnTo>
                      <a:pt x="136" y="452"/>
                    </a:lnTo>
                    <a:lnTo>
                      <a:pt x="141" y="452"/>
                    </a:lnTo>
                    <a:lnTo>
                      <a:pt x="147" y="452"/>
                    </a:lnTo>
                    <a:lnTo>
                      <a:pt x="147" y="456"/>
                    </a:lnTo>
                    <a:lnTo>
                      <a:pt x="141" y="460"/>
                    </a:lnTo>
                    <a:lnTo>
                      <a:pt x="136" y="461"/>
                    </a:lnTo>
                    <a:lnTo>
                      <a:pt x="134" y="465"/>
                    </a:lnTo>
                    <a:lnTo>
                      <a:pt x="136" y="465"/>
                    </a:lnTo>
                    <a:lnTo>
                      <a:pt x="134" y="469"/>
                    </a:lnTo>
                    <a:lnTo>
                      <a:pt x="130" y="473"/>
                    </a:lnTo>
                    <a:lnTo>
                      <a:pt x="132" y="476"/>
                    </a:lnTo>
                    <a:lnTo>
                      <a:pt x="134" y="480"/>
                    </a:lnTo>
                    <a:lnTo>
                      <a:pt x="134" y="482"/>
                    </a:lnTo>
                    <a:lnTo>
                      <a:pt x="132" y="484"/>
                    </a:lnTo>
                    <a:lnTo>
                      <a:pt x="138" y="490"/>
                    </a:lnTo>
                    <a:lnTo>
                      <a:pt x="138" y="490"/>
                    </a:lnTo>
                    <a:lnTo>
                      <a:pt x="136" y="492"/>
                    </a:lnTo>
                    <a:lnTo>
                      <a:pt x="136" y="493"/>
                    </a:lnTo>
                    <a:lnTo>
                      <a:pt x="130" y="497"/>
                    </a:lnTo>
                    <a:lnTo>
                      <a:pt x="130" y="499"/>
                    </a:lnTo>
                    <a:lnTo>
                      <a:pt x="130" y="501"/>
                    </a:lnTo>
                    <a:lnTo>
                      <a:pt x="134" y="503"/>
                    </a:lnTo>
                    <a:lnTo>
                      <a:pt x="136" y="505"/>
                    </a:lnTo>
                    <a:lnTo>
                      <a:pt x="136" y="507"/>
                    </a:lnTo>
                    <a:lnTo>
                      <a:pt x="128" y="509"/>
                    </a:lnTo>
                    <a:lnTo>
                      <a:pt x="125" y="507"/>
                    </a:lnTo>
                    <a:lnTo>
                      <a:pt x="119" y="509"/>
                    </a:lnTo>
                    <a:lnTo>
                      <a:pt x="117" y="510"/>
                    </a:lnTo>
                    <a:lnTo>
                      <a:pt x="113" y="510"/>
                    </a:lnTo>
                    <a:lnTo>
                      <a:pt x="109" y="514"/>
                    </a:lnTo>
                    <a:lnTo>
                      <a:pt x="108" y="516"/>
                    </a:lnTo>
                    <a:lnTo>
                      <a:pt x="104" y="520"/>
                    </a:lnTo>
                    <a:lnTo>
                      <a:pt x="104" y="524"/>
                    </a:lnTo>
                    <a:lnTo>
                      <a:pt x="100" y="525"/>
                    </a:lnTo>
                    <a:lnTo>
                      <a:pt x="100" y="529"/>
                    </a:lnTo>
                    <a:lnTo>
                      <a:pt x="102" y="533"/>
                    </a:lnTo>
                    <a:lnTo>
                      <a:pt x="102" y="535"/>
                    </a:lnTo>
                    <a:lnTo>
                      <a:pt x="104" y="544"/>
                    </a:lnTo>
                    <a:lnTo>
                      <a:pt x="111" y="544"/>
                    </a:lnTo>
                    <a:lnTo>
                      <a:pt x="113" y="546"/>
                    </a:lnTo>
                    <a:lnTo>
                      <a:pt x="117" y="550"/>
                    </a:lnTo>
                    <a:lnTo>
                      <a:pt x="125" y="557"/>
                    </a:lnTo>
                    <a:lnTo>
                      <a:pt x="130" y="557"/>
                    </a:lnTo>
                    <a:lnTo>
                      <a:pt x="134" y="557"/>
                    </a:lnTo>
                    <a:lnTo>
                      <a:pt x="136" y="556"/>
                    </a:lnTo>
                    <a:lnTo>
                      <a:pt x="140" y="557"/>
                    </a:lnTo>
                    <a:lnTo>
                      <a:pt x="141" y="559"/>
                    </a:lnTo>
                    <a:lnTo>
                      <a:pt x="140" y="561"/>
                    </a:lnTo>
                    <a:lnTo>
                      <a:pt x="140" y="563"/>
                    </a:lnTo>
                    <a:lnTo>
                      <a:pt x="141" y="565"/>
                    </a:lnTo>
                    <a:lnTo>
                      <a:pt x="141" y="569"/>
                    </a:lnTo>
                    <a:lnTo>
                      <a:pt x="138" y="574"/>
                    </a:lnTo>
                    <a:lnTo>
                      <a:pt x="140" y="574"/>
                    </a:lnTo>
                    <a:lnTo>
                      <a:pt x="143" y="578"/>
                    </a:lnTo>
                    <a:lnTo>
                      <a:pt x="141" y="578"/>
                    </a:lnTo>
                    <a:lnTo>
                      <a:pt x="141" y="580"/>
                    </a:lnTo>
                    <a:lnTo>
                      <a:pt x="141" y="582"/>
                    </a:lnTo>
                    <a:lnTo>
                      <a:pt x="138" y="584"/>
                    </a:lnTo>
                    <a:lnTo>
                      <a:pt x="136" y="586"/>
                    </a:lnTo>
                    <a:lnTo>
                      <a:pt x="134" y="590"/>
                    </a:lnTo>
                    <a:lnTo>
                      <a:pt x="132" y="590"/>
                    </a:lnTo>
                    <a:lnTo>
                      <a:pt x="130" y="593"/>
                    </a:lnTo>
                    <a:lnTo>
                      <a:pt x="128" y="599"/>
                    </a:lnTo>
                    <a:lnTo>
                      <a:pt x="125" y="599"/>
                    </a:lnTo>
                    <a:lnTo>
                      <a:pt x="123" y="603"/>
                    </a:lnTo>
                    <a:lnTo>
                      <a:pt x="119" y="606"/>
                    </a:lnTo>
                    <a:lnTo>
                      <a:pt x="117" y="610"/>
                    </a:lnTo>
                    <a:lnTo>
                      <a:pt x="117" y="614"/>
                    </a:lnTo>
                    <a:lnTo>
                      <a:pt x="113" y="616"/>
                    </a:lnTo>
                    <a:lnTo>
                      <a:pt x="117" y="614"/>
                    </a:lnTo>
                    <a:lnTo>
                      <a:pt x="119" y="616"/>
                    </a:lnTo>
                    <a:lnTo>
                      <a:pt x="119" y="622"/>
                    </a:lnTo>
                    <a:lnTo>
                      <a:pt x="119" y="623"/>
                    </a:lnTo>
                    <a:lnTo>
                      <a:pt x="117" y="627"/>
                    </a:lnTo>
                    <a:lnTo>
                      <a:pt x="117" y="629"/>
                    </a:lnTo>
                    <a:lnTo>
                      <a:pt x="111" y="633"/>
                    </a:lnTo>
                    <a:lnTo>
                      <a:pt x="109" y="633"/>
                    </a:lnTo>
                    <a:lnTo>
                      <a:pt x="108" y="629"/>
                    </a:lnTo>
                    <a:lnTo>
                      <a:pt x="104" y="627"/>
                    </a:lnTo>
                    <a:lnTo>
                      <a:pt x="104" y="633"/>
                    </a:lnTo>
                    <a:lnTo>
                      <a:pt x="104" y="633"/>
                    </a:lnTo>
                    <a:lnTo>
                      <a:pt x="108" y="635"/>
                    </a:lnTo>
                    <a:lnTo>
                      <a:pt x="104" y="638"/>
                    </a:lnTo>
                    <a:lnTo>
                      <a:pt x="100" y="642"/>
                    </a:lnTo>
                    <a:lnTo>
                      <a:pt x="98" y="648"/>
                    </a:lnTo>
                    <a:lnTo>
                      <a:pt x="100" y="654"/>
                    </a:lnTo>
                    <a:lnTo>
                      <a:pt x="104" y="659"/>
                    </a:lnTo>
                    <a:lnTo>
                      <a:pt x="104" y="669"/>
                    </a:lnTo>
                    <a:lnTo>
                      <a:pt x="104" y="671"/>
                    </a:lnTo>
                    <a:lnTo>
                      <a:pt x="108" y="671"/>
                    </a:lnTo>
                    <a:lnTo>
                      <a:pt x="108" y="674"/>
                    </a:lnTo>
                    <a:lnTo>
                      <a:pt x="104" y="676"/>
                    </a:lnTo>
                    <a:lnTo>
                      <a:pt x="104" y="678"/>
                    </a:lnTo>
                    <a:lnTo>
                      <a:pt x="108" y="676"/>
                    </a:lnTo>
                    <a:lnTo>
                      <a:pt x="111" y="678"/>
                    </a:lnTo>
                    <a:lnTo>
                      <a:pt x="113" y="682"/>
                    </a:lnTo>
                    <a:lnTo>
                      <a:pt x="117" y="687"/>
                    </a:lnTo>
                    <a:lnTo>
                      <a:pt x="123" y="691"/>
                    </a:lnTo>
                    <a:lnTo>
                      <a:pt x="123" y="693"/>
                    </a:lnTo>
                    <a:lnTo>
                      <a:pt x="123" y="693"/>
                    </a:lnTo>
                    <a:lnTo>
                      <a:pt x="117" y="691"/>
                    </a:lnTo>
                    <a:lnTo>
                      <a:pt x="111" y="687"/>
                    </a:lnTo>
                    <a:lnTo>
                      <a:pt x="108" y="687"/>
                    </a:lnTo>
                    <a:lnTo>
                      <a:pt x="104" y="684"/>
                    </a:lnTo>
                    <a:lnTo>
                      <a:pt x="83" y="684"/>
                    </a:lnTo>
                    <a:lnTo>
                      <a:pt x="68" y="687"/>
                    </a:lnTo>
                    <a:lnTo>
                      <a:pt x="64" y="684"/>
                    </a:lnTo>
                    <a:lnTo>
                      <a:pt x="55" y="684"/>
                    </a:lnTo>
                    <a:lnTo>
                      <a:pt x="53" y="678"/>
                    </a:lnTo>
                    <a:lnTo>
                      <a:pt x="53" y="671"/>
                    </a:lnTo>
                    <a:lnTo>
                      <a:pt x="47" y="667"/>
                    </a:lnTo>
                    <a:lnTo>
                      <a:pt x="47" y="657"/>
                    </a:lnTo>
                    <a:lnTo>
                      <a:pt x="47" y="652"/>
                    </a:lnTo>
                    <a:lnTo>
                      <a:pt x="44" y="652"/>
                    </a:lnTo>
                    <a:lnTo>
                      <a:pt x="36" y="654"/>
                    </a:lnTo>
                    <a:lnTo>
                      <a:pt x="32" y="657"/>
                    </a:lnTo>
                    <a:lnTo>
                      <a:pt x="29" y="657"/>
                    </a:lnTo>
                    <a:lnTo>
                      <a:pt x="23" y="640"/>
                    </a:lnTo>
                    <a:lnTo>
                      <a:pt x="19" y="635"/>
                    </a:lnTo>
                    <a:lnTo>
                      <a:pt x="23" y="620"/>
                    </a:lnTo>
                    <a:lnTo>
                      <a:pt x="27" y="614"/>
                    </a:lnTo>
                    <a:lnTo>
                      <a:pt x="32" y="606"/>
                    </a:lnTo>
                    <a:lnTo>
                      <a:pt x="34" y="597"/>
                    </a:lnTo>
                    <a:lnTo>
                      <a:pt x="32" y="588"/>
                    </a:lnTo>
                    <a:lnTo>
                      <a:pt x="30" y="580"/>
                    </a:lnTo>
                    <a:lnTo>
                      <a:pt x="32" y="573"/>
                    </a:lnTo>
                    <a:lnTo>
                      <a:pt x="36" y="569"/>
                    </a:lnTo>
                    <a:lnTo>
                      <a:pt x="32" y="559"/>
                    </a:lnTo>
                    <a:lnTo>
                      <a:pt x="32" y="554"/>
                    </a:lnTo>
                    <a:lnTo>
                      <a:pt x="36" y="550"/>
                    </a:lnTo>
                    <a:lnTo>
                      <a:pt x="34" y="544"/>
                    </a:lnTo>
                    <a:lnTo>
                      <a:pt x="32" y="533"/>
                    </a:lnTo>
                    <a:lnTo>
                      <a:pt x="30" y="527"/>
                    </a:lnTo>
                    <a:lnTo>
                      <a:pt x="30" y="524"/>
                    </a:lnTo>
                    <a:lnTo>
                      <a:pt x="34" y="520"/>
                    </a:lnTo>
                    <a:lnTo>
                      <a:pt x="34" y="516"/>
                    </a:lnTo>
                    <a:lnTo>
                      <a:pt x="30" y="510"/>
                    </a:lnTo>
                    <a:lnTo>
                      <a:pt x="25" y="505"/>
                    </a:lnTo>
                    <a:lnTo>
                      <a:pt x="23" y="505"/>
                    </a:lnTo>
                    <a:lnTo>
                      <a:pt x="19" y="507"/>
                    </a:lnTo>
                    <a:lnTo>
                      <a:pt x="17" y="505"/>
                    </a:lnTo>
                    <a:lnTo>
                      <a:pt x="17" y="501"/>
                    </a:lnTo>
                    <a:lnTo>
                      <a:pt x="27" y="501"/>
                    </a:lnTo>
                    <a:lnTo>
                      <a:pt x="30" y="495"/>
                    </a:lnTo>
                    <a:lnTo>
                      <a:pt x="30" y="492"/>
                    </a:lnTo>
                    <a:lnTo>
                      <a:pt x="29" y="490"/>
                    </a:lnTo>
                    <a:lnTo>
                      <a:pt x="25" y="492"/>
                    </a:lnTo>
                    <a:lnTo>
                      <a:pt x="23" y="492"/>
                    </a:lnTo>
                    <a:lnTo>
                      <a:pt x="19" y="484"/>
                    </a:lnTo>
                    <a:lnTo>
                      <a:pt x="17" y="476"/>
                    </a:lnTo>
                    <a:lnTo>
                      <a:pt x="17" y="471"/>
                    </a:lnTo>
                    <a:lnTo>
                      <a:pt x="17" y="465"/>
                    </a:lnTo>
                    <a:lnTo>
                      <a:pt x="10" y="461"/>
                    </a:lnTo>
                    <a:lnTo>
                      <a:pt x="10" y="456"/>
                    </a:lnTo>
                    <a:lnTo>
                      <a:pt x="10" y="443"/>
                    </a:lnTo>
                    <a:lnTo>
                      <a:pt x="13" y="441"/>
                    </a:lnTo>
                    <a:lnTo>
                      <a:pt x="13" y="435"/>
                    </a:lnTo>
                    <a:lnTo>
                      <a:pt x="10" y="431"/>
                    </a:lnTo>
                    <a:lnTo>
                      <a:pt x="8" y="431"/>
                    </a:lnTo>
                    <a:lnTo>
                      <a:pt x="8" y="422"/>
                    </a:lnTo>
                    <a:lnTo>
                      <a:pt x="6" y="411"/>
                    </a:lnTo>
                    <a:lnTo>
                      <a:pt x="8" y="395"/>
                    </a:lnTo>
                    <a:lnTo>
                      <a:pt x="4" y="390"/>
                    </a:lnTo>
                    <a:lnTo>
                      <a:pt x="2" y="382"/>
                    </a:lnTo>
                    <a:lnTo>
                      <a:pt x="10" y="373"/>
                    </a:lnTo>
                    <a:lnTo>
                      <a:pt x="10" y="363"/>
                    </a:lnTo>
                    <a:lnTo>
                      <a:pt x="17" y="362"/>
                    </a:lnTo>
                    <a:lnTo>
                      <a:pt x="17" y="358"/>
                    </a:lnTo>
                    <a:lnTo>
                      <a:pt x="8" y="337"/>
                    </a:lnTo>
                    <a:lnTo>
                      <a:pt x="10" y="330"/>
                    </a:lnTo>
                    <a:lnTo>
                      <a:pt x="10" y="324"/>
                    </a:lnTo>
                    <a:lnTo>
                      <a:pt x="10" y="313"/>
                    </a:lnTo>
                    <a:lnTo>
                      <a:pt x="13" y="303"/>
                    </a:lnTo>
                    <a:lnTo>
                      <a:pt x="17" y="299"/>
                    </a:lnTo>
                    <a:lnTo>
                      <a:pt x="17" y="292"/>
                    </a:lnTo>
                    <a:lnTo>
                      <a:pt x="13" y="284"/>
                    </a:lnTo>
                    <a:lnTo>
                      <a:pt x="10" y="284"/>
                    </a:lnTo>
                    <a:lnTo>
                      <a:pt x="13" y="279"/>
                    </a:lnTo>
                    <a:lnTo>
                      <a:pt x="13" y="271"/>
                    </a:lnTo>
                    <a:lnTo>
                      <a:pt x="17" y="264"/>
                    </a:lnTo>
                    <a:lnTo>
                      <a:pt x="19" y="264"/>
                    </a:lnTo>
                    <a:lnTo>
                      <a:pt x="19" y="254"/>
                    </a:lnTo>
                    <a:lnTo>
                      <a:pt x="17" y="239"/>
                    </a:lnTo>
                    <a:lnTo>
                      <a:pt x="17" y="235"/>
                    </a:lnTo>
                    <a:lnTo>
                      <a:pt x="13" y="226"/>
                    </a:lnTo>
                    <a:lnTo>
                      <a:pt x="10" y="220"/>
                    </a:lnTo>
                    <a:lnTo>
                      <a:pt x="8" y="213"/>
                    </a:lnTo>
                    <a:lnTo>
                      <a:pt x="6" y="209"/>
                    </a:lnTo>
                    <a:lnTo>
                      <a:pt x="2" y="205"/>
                    </a:lnTo>
                    <a:lnTo>
                      <a:pt x="0" y="196"/>
                    </a:lnTo>
                    <a:lnTo>
                      <a:pt x="2" y="188"/>
                    </a:lnTo>
                    <a:lnTo>
                      <a:pt x="8" y="186"/>
                    </a:lnTo>
                    <a:lnTo>
                      <a:pt x="8" y="179"/>
                    </a:lnTo>
                    <a:lnTo>
                      <a:pt x="10" y="175"/>
                    </a:lnTo>
                    <a:lnTo>
                      <a:pt x="10" y="166"/>
                    </a:lnTo>
                    <a:lnTo>
                      <a:pt x="8" y="160"/>
                    </a:lnTo>
                    <a:lnTo>
                      <a:pt x="6" y="147"/>
                    </a:lnTo>
                    <a:lnTo>
                      <a:pt x="10" y="145"/>
                    </a:lnTo>
                    <a:lnTo>
                      <a:pt x="10" y="132"/>
                    </a:lnTo>
                    <a:lnTo>
                      <a:pt x="13" y="126"/>
                    </a:lnTo>
                    <a:lnTo>
                      <a:pt x="17" y="115"/>
                    </a:lnTo>
                    <a:lnTo>
                      <a:pt x="23" y="109"/>
                    </a:lnTo>
                    <a:lnTo>
                      <a:pt x="27" y="107"/>
                    </a:lnTo>
                    <a:lnTo>
                      <a:pt x="30" y="104"/>
                    </a:lnTo>
                    <a:lnTo>
                      <a:pt x="29" y="102"/>
                    </a:lnTo>
                    <a:lnTo>
                      <a:pt x="29" y="96"/>
                    </a:lnTo>
                    <a:lnTo>
                      <a:pt x="27" y="96"/>
                    </a:lnTo>
                    <a:lnTo>
                      <a:pt x="25" y="92"/>
                    </a:lnTo>
                    <a:lnTo>
                      <a:pt x="25" y="90"/>
                    </a:lnTo>
                    <a:lnTo>
                      <a:pt x="29" y="87"/>
                    </a:lnTo>
                    <a:lnTo>
                      <a:pt x="29" y="83"/>
                    </a:lnTo>
                    <a:lnTo>
                      <a:pt x="25" y="77"/>
                    </a:lnTo>
                    <a:lnTo>
                      <a:pt x="23" y="70"/>
                    </a:lnTo>
                    <a:lnTo>
                      <a:pt x="25" y="66"/>
                    </a:lnTo>
                    <a:lnTo>
                      <a:pt x="25" y="62"/>
                    </a:lnTo>
                    <a:lnTo>
                      <a:pt x="23" y="60"/>
                    </a:lnTo>
                    <a:lnTo>
                      <a:pt x="23" y="56"/>
                    </a:lnTo>
                    <a:lnTo>
                      <a:pt x="44" y="43"/>
                    </a:lnTo>
                    <a:lnTo>
                      <a:pt x="49" y="23"/>
                    </a:lnTo>
                    <a:lnTo>
                      <a:pt x="47" y="17"/>
                    </a:lnTo>
                    <a:lnTo>
                      <a:pt x="47" y="17"/>
                    </a:lnTo>
                    <a:lnTo>
                      <a:pt x="47" y="17"/>
                    </a:lnTo>
                    <a:lnTo>
                      <a:pt x="47" y="17"/>
                    </a:lnTo>
                    <a:close/>
                    <a:moveTo>
                      <a:pt x="200" y="757"/>
                    </a:moveTo>
                    <a:lnTo>
                      <a:pt x="204" y="759"/>
                    </a:lnTo>
                    <a:lnTo>
                      <a:pt x="207" y="757"/>
                    </a:lnTo>
                    <a:lnTo>
                      <a:pt x="211" y="755"/>
                    </a:lnTo>
                    <a:lnTo>
                      <a:pt x="213" y="752"/>
                    </a:lnTo>
                    <a:lnTo>
                      <a:pt x="211" y="752"/>
                    </a:lnTo>
                    <a:lnTo>
                      <a:pt x="207" y="755"/>
                    </a:lnTo>
                    <a:lnTo>
                      <a:pt x="202" y="755"/>
                    </a:lnTo>
                    <a:lnTo>
                      <a:pt x="200" y="757"/>
                    </a:lnTo>
                    <a:lnTo>
                      <a:pt x="200" y="757"/>
                    </a:lnTo>
                    <a:lnTo>
                      <a:pt x="200" y="757"/>
                    </a:lnTo>
                    <a:lnTo>
                      <a:pt x="200" y="757"/>
                    </a:lnTo>
                    <a:close/>
                    <a:moveTo>
                      <a:pt x="117" y="697"/>
                    </a:moveTo>
                    <a:lnTo>
                      <a:pt x="117" y="697"/>
                    </a:lnTo>
                    <a:lnTo>
                      <a:pt x="119" y="701"/>
                    </a:lnTo>
                    <a:lnTo>
                      <a:pt x="126" y="708"/>
                    </a:lnTo>
                    <a:lnTo>
                      <a:pt x="128" y="716"/>
                    </a:lnTo>
                    <a:lnTo>
                      <a:pt x="126" y="716"/>
                    </a:lnTo>
                    <a:lnTo>
                      <a:pt x="123" y="716"/>
                    </a:lnTo>
                    <a:lnTo>
                      <a:pt x="123" y="718"/>
                    </a:lnTo>
                    <a:lnTo>
                      <a:pt x="117" y="697"/>
                    </a:lnTo>
                    <a:lnTo>
                      <a:pt x="117" y="697"/>
                    </a:lnTo>
                    <a:lnTo>
                      <a:pt x="117" y="697"/>
                    </a:lnTo>
                    <a:lnTo>
                      <a:pt x="117" y="697"/>
                    </a:lnTo>
                    <a:close/>
                    <a:moveTo>
                      <a:pt x="123" y="719"/>
                    </a:moveTo>
                    <a:lnTo>
                      <a:pt x="126" y="721"/>
                    </a:lnTo>
                    <a:lnTo>
                      <a:pt x="130" y="719"/>
                    </a:lnTo>
                    <a:lnTo>
                      <a:pt x="132" y="723"/>
                    </a:lnTo>
                    <a:lnTo>
                      <a:pt x="136" y="731"/>
                    </a:lnTo>
                    <a:lnTo>
                      <a:pt x="140" y="731"/>
                    </a:lnTo>
                    <a:lnTo>
                      <a:pt x="143" y="735"/>
                    </a:lnTo>
                    <a:lnTo>
                      <a:pt x="143" y="740"/>
                    </a:lnTo>
                    <a:lnTo>
                      <a:pt x="149" y="740"/>
                    </a:lnTo>
                    <a:lnTo>
                      <a:pt x="162" y="746"/>
                    </a:lnTo>
                    <a:lnTo>
                      <a:pt x="164" y="746"/>
                    </a:lnTo>
                    <a:lnTo>
                      <a:pt x="172" y="748"/>
                    </a:lnTo>
                    <a:lnTo>
                      <a:pt x="173" y="752"/>
                    </a:lnTo>
                    <a:lnTo>
                      <a:pt x="179" y="753"/>
                    </a:lnTo>
                    <a:lnTo>
                      <a:pt x="187" y="752"/>
                    </a:lnTo>
                    <a:lnTo>
                      <a:pt x="189" y="752"/>
                    </a:lnTo>
                    <a:lnTo>
                      <a:pt x="189" y="755"/>
                    </a:lnTo>
                    <a:lnTo>
                      <a:pt x="187" y="759"/>
                    </a:lnTo>
                    <a:lnTo>
                      <a:pt x="183" y="757"/>
                    </a:lnTo>
                    <a:lnTo>
                      <a:pt x="179" y="757"/>
                    </a:lnTo>
                    <a:lnTo>
                      <a:pt x="179" y="761"/>
                    </a:lnTo>
                    <a:lnTo>
                      <a:pt x="173" y="765"/>
                    </a:lnTo>
                    <a:lnTo>
                      <a:pt x="172" y="767"/>
                    </a:lnTo>
                    <a:lnTo>
                      <a:pt x="166" y="765"/>
                    </a:lnTo>
                    <a:lnTo>
                      <a:pt x="162" y="763"/>
                    </a:lnTo>
                    <a:lnTo>
                      <a:pt x="155" y="761"/>
                    </a:lnTo>
                    <a:lnTo>
                      <a:pt x="149" y="761"/>
                    </a:lnTo>
                    <a:lnTo>
                      <a:pt x="141" y="761"/>
                    </a:lnTo>
                    <a:lnTo>
                      <a:pt x="136" y="763"/>
                    </a:lnTo>
                    <a:lnTo>
                      <a:pt x="134" y="763"/>
                    </a:lnTo>
                    <a:lnTo>
                      <a:pt x="132" y="755"/>
                    </a:lnTo>
                    <a:lnTo>
                      <a:pt x="141" y="755"/>
                    </a:lnTo>
                    <a:lnTo>
                      <a:pt x="143" y="753"/>
                    </a:lnTo>
                    <a:lnTo>
                      <a:pt x="149" y="753"/>
                    </a:lnTo>
                    <a:lnTo>
                      <a:pt x="149" y="752"/>
                    </a:lnTo>
                    <a:lnTo>
                      <a:pt x="143" y="753"/>
                    </a:lnTo>
                    <a:lnTo>
                      <a:pt x="140" y="753"/>
                    </a:lnTo>
                    <a:lnTo>
                      <a:pt x="132" y="753"/>
                    </a:lnTo>
                    <a:lnTo>
                      <a:pt x="130" y="753"/>
                    </a:lnTo>
                    <a:lnTo>
                      <a:pt x="123" y="719"/>
                    </a:lnTo>
                    <a:lnTo>
                      <a:pt x="123" y="719"/>
                    </a:lnTo>
                    <a:lnTo>
                      <a:pt x="123" y="719"/>
                    </a:lnTo>
                    <a:close/>
                  </a:path>
                </a:pathLst>
              </a:custGeom>
              <a:solidFill>
                <a:srgbClr val="B70132"/>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4" name="Freeform 46"/>
              <p:cNvSpPr>
                <a:spLocks noEditPoints="1"/>
              </p:cNvSpPr>
              <p:nvPr/>
            </p:nvSpPr>
            <p:spPr bwMode="auto">
              <a:xfrm>
                <a:off x="1488" y="3437"/>
                <a:ext cx="201" cy="883"/>
              </a:xfrm>
              <a:custGeom>
                <a:avLst/>
                <a:gdLst/>
                <a:ahLst/>
                <a:cxnLst>
                  <a:cxn ang="0">
                    <a:pos x="131" y="845"/>
                  </a:cxn>
                  <a:cxn ang="0">
                    <a:pos x="139" y="866"/>
                  </a:cxn>
                  <a:cxn ang="0">
                    <a:pos x="156" y="838"/>
                  </a:cxn>
                  <a:cxn ang="0">
                    <a:pos x="133" y="798"/>
                  </a:cxn>
                  <a:cxn ang="0">
                    <a:pos x="103" y="776"/>
                  </a:cxn>
                  <a:cxn ang="0">
                    <a:pos x="73" y="634"/>
                  </a:cxn>
                  <a:cxn ang="0">
                    <a:pos x="49" y="533"/>
                  </a:cxn>
                  <a:cxn ang="0">
                    <a:pos x="52" y="361"/>
                  </a:cxn>
                  <a:cxn ang="0">
                    <a:pos x="67" y="194"/>
                  </a:cxn>
                  <a:cxn ang="0">
                    <a:pos x="56" y="48"/>
                  </a:cxn>
                  <a:cxn ang="0">
                    <a:pos x="20" y="30"/>
                  </a:cxn>
                  <a:cxn ang="0">
                    <a:pos x="26" y="160"/>
                  </a:cxn>
                  <a:cxn ang="0">
                    <a:pos x="15" y="261"/>
                  </a:cxn>
                  <a:cxn ang="0">
                    <a:pos x="18" y="357"/>
                  </a:cxn>
                  <a:cxn ang="0">
                    <a:pos x="2" y="421"/>
                  </a:cxn>
                  <a:cxn ang="0">
                    <a:pos x="9" y="506"/>
                  </a:cxn>
                  <a:cxn ang="0">
                    <a:pos x="37" y="534"/>
                  </a:cxn>
                  <a:cxn ang="0">
                    <a:pos x="49" y="589"/>
                  </a:cxn>
                  <a:cxn ang="0">
                    <a:pos x="26" y="629"/>
                  </a:cxn>
                  <a:cxn ang="0">
                    <a:pos x="13" y="649"/>
                  </a:cxn>
                  <a:cxn ang="0">
                    <a:pos x="30" y="663"/>
                  </a:cxn>
                  <a:cxn ang="0">
                    <a:pos x="39" y="689"/>
                  </a:cxn>
                  <a:cxn ang="0">
                    <a:pos x="45" y="725"/>
                  </a:cxn>
                  <a:cxn ang="0">
                    <a:pos x="64" y="768"/>
                  </a:cxn>
                  <a:cxn ang="0">
                    <a:pos x="82" y="772"/>
                  </a:cxn>
                  <a:cxn ang="0">
                    <a:pos x="79" y="783"/>
                  </a:cxn>
                  <a:cxn ang="0">
                    <a:pos x="88" y="800"/>
                  </a:cxn>
                  <a:cxn ang="0">
                    <a:pos x="94" y="802"/>
                  </a:cxn>
                  <a:cxn ang="0">
                    <a:pos x="116" y="802"/>
                  </a:cxn>
                  <a:cxn ang="0">
                    <a:pos x="118" y="832"/>
                  </a:cxn>
                  <a:cxn ang="0">
                    <a:pos x="156" y="783"/>
                  </a:cxn>
                  <a:cxn ang="0">
                    <a:pos x="13" y="555"/>
                  </a:cxn>
                  <a:cxn ang="0">
                    <a:pos x="28" y="534"/>
                  </a:cxn>
                  <a:cxn ang="0">
                    <a:pos x="32" y="574"/>
                  </a:cxn>
                  <a:cxn ang="0">
                    <a:pos x="18" y="580"/>
                  </a:cxn>
                  <a:cxn ang="0">
                    <a:pos x="26" y="593"/>
                  </a:cxn>
                  <a:cxn ang="0">
                    <a:pos x="18" y="591"/>
                  </a:cxn>
                  <a:cxn ang="0">
                    <a:pos x="26" y="617"/>
                  </a:cxn>
                  <a:cxn ang="0">
                    <a:pos x="32" y="593"/>
                  </a:cxn>
                  <a:cxn ang="0">
                    <a:pos x="20" y="604"/>
                  </a:cxn>
                  <a:cxn ang="0">
                    <a:pos x="30" y="687"/>
                  </a:cxn>
                  <a:cxn ang="0">
                    <a:pos x="26" y="691"/>
                  </a:cxn>
                  <a:cxn ang="0">
                    <a:pos x="20" y="710"/>
                  </a:cxn>
                  <a:cxn ang="0">
                    <a:pos x="35" y="723"/>
                  </a:cxn>
                  <a:cxn ang="0">
                    <a:pos x="39" y="728"/>
                  </a:cxn>
                  <a:cxn ang="0">
                    <a:pos x="35" y="744"/>
                  </a:cxn>
                  <a:cxn ang="0">
                    <a:pos x="39" y="742"/>
                  </a:cxn>
                  <a:cxn ang="0">
                    <a:pos x="50" y="762"/>
                  </a:cxn>
                  <a:cxn ang="0">
                    <a:pos x="49" y="776"/>
                  </a:cxn>
                  <a:cxn ang="0">
                    <a:pos x="52" y="793"/>
                  </a:cxn>
                  <a:cxn ang="0">
                    <a:pos x="62" y="783"/>
                  </a:cxn>
                  <a:cxn ang="0">
                    <a:pos x="64" y="798"/>
                  </a:cxn>
                  <a:cxn ang="0">
                    <a:pos x="82" y="817"/>
                  </a:cxn>
                  <a:cxn ang="0">
                    <a:pos x="94" y="840"/>
                  </a:cxn>
                  <a:cxn ang="0">
                    <a:pos x="103" y="828"/>
                  </a:cxn>
                  <a:cxn ang="0">
                    <a:pos x="126" y="840"/>
                  </a:cxn>
                  <a:cxn ang="0">
                    <a:pos x="137" y="832"/>
                  </a:cxn>
                  <a:cxn ang="0">
                    <a:pos x="124" y="862"/>
                  </a:cxn>
                  <a:cxn ang="0">
                    <a:pos x="158" y="858"/>
                  </a:cxn>
                  <a:cxn ang="0">
                    <a:pos x="171" y="864"/>
                  </a:cxn>
                  <a:cxn ang="0">
                    <a:pos x="150" y="868"/>
                  </a:cxn>
                </a:cxnLst>
                <a:rect l="0" t="0" r="r" b="b"/>
                <a:pathLst>
                  <a:path w="201" h="883">
                    <a:moveTo>
                      <a:pt x="171" y="853"/>
                    </a:moveTo>
                    <a:lnTo>
                      <a:pt x="171" y="847"/>
                    </a:lnTo>
                    <a:lnTo>
                      <a:pt x="167" y="847"/>
                    </a:lnTo>
                    <a:lnTo>
                      <a:pt x="163" y="845"/>
                    </a:lnTo>
                    <a:lnTo>
                      <a:pt x="158" y="843"/>
                    </a:lnTo>
                    <a:lnTo>
                      <a:pt x="150" y="840"/>
                    </a:lnTo>
                    <a:lnTo>
                      <a:pt x="143" y="838"/>
                    </a:lnTo>
                    <a:lnTo>
                      <a:pt x="143" y="840"/>
                    </a:lnTo>
                    <a:lnTo>
                      <a:pt x="146" y="842"/>
                    </a:lnTo>
                    <a:lnTo>
                      <a:pt x="143" y="843"/>
                    </a:lnTo>
                    <a:lnTo>
                      <a:pt x="143" y="842"/>
                    </a:lnTo>
                    <a:lnTo>
                      <a:pt x="135" y="840"/>
                    </a:lnTo>
                    <a:lnTo>
                      <a:pt x="133" y="838"/>
                    </a:lnTo>
                    <a:lnTo>
                      <a:pt x="131" y="838"/>
                    </a:lnTo>
                    <a:lnTo>
                      <a:pt x="133" y="840"/>
                    </a:lnTo>
                    <a:lnTo>
                      <a:pt x="141" y="843"/>
                    </a:lnTo>
                    <a:lnTo>
                      <a:pt x="143" y="845"/>
                    </a:lnTo>
                    <a:lnTo>
                      <a:pt x="139" y="845"/>
                    </a:lnTo>
                    <a:lnTo>
                      <a:pt x="139" y="845"/>
                    </a:lnTo>
                    <a:lnTo>
                      <a:pt x="139" y="847"/>
                    </a:lnTo>
                    <a:lnTo>
                      <a:pt x="137" y="847"/>
                    </a:lnTo>
                    <a:lnTo>
                      <a:pt x="135" y="845"/>
                    </a:lnTo>
                    <a:lnTo>
                      <a:pt x="131" y="843"/>
                    </a:lnTo>
                    <a:lnTo>
                      <a:pt x="131" y="845"/>
                    </a:lnTo>
                    <a:lnTo>
                      <a:pt x="131" y="847"/>
                    </a:lnTo>
                    <a:lnTo>
                      <a:pt x="130" y="847"/>
                    </a:lnTo>
                    <a:lnTo>
                      <a:pt x="122" y="847"/>
                    </a:lnTo>
                    <a:lnTo>
                      <a:pt x="122" y="849"/>
                    </a:lnTo>
                    <a:lnTo>
                      <a:pt x="122" y="851"/>
                    </a:lnTo>
                    <a:lnTo>
                      <a:pt x="122" y="851"/>
                    </a:lnTo>
                    <a:lnTo>
                      <a:pt x="118" y="851"/>
                    </a:lnTo>
                    <a:lnTo>
                      <a:pt x="116" y="851"/>
                    </a:lnTo>
                    <a:lnTo>
                      <a:pt x="116" y="853"/>
                    </a:lnTo>
                    <a:lnTo>
                      <a:pt x="122" y="853"/>
                    </a:lnTo>
                    <a:lnTo>
                      <a:pt x="124" y="853"/>
                    </a:lnTo>
                    <a:lnTo>
                      <a:pt x="124" y="853"/>
                    </a:lnTo>
                    <a:lnTo>
                      <a:pt x="126" y="851"/>
                    </a:lnTo>
                    <a:lnTo>
                      <a:pt x="128" y="853"/>
                    </a:lnTo>
                    <a:lnTo>
                      <a:pt x="131" y="853"/>
                    </a:lnTo>
                    <a:lnTo>
                      <a:pt x="133" y="853"/>
                    </a:lnTo>
                    <a:lnTo>
                      <a:pt x="135" y="857"/>
                    </a:lnTo>
                    <a:lnTo>
                      <a:pt x="135" y="857"/>
                    </a:lnTo>
                    <a:lnTo>
                      <a:pt x="137" y="858"/>
                    </a:lnTo>
                    <a:lnTo>
                      <a:pt x="133" y="858"/>
                    </a:lnTo>
                    <a:lnTo>
                      <a:pt x="131" y="862"/>
                    </a:lnTo>
                    <a:lnTo>
                      <a:pt x="135" y="866"/>
                    </a:lnTo>
                    <a:lnTo>
                      <a:pt x="137" y="866"/>
                    </a:lnTo>
                    <a:lnTo>
                      <a:pt x="139" y="866"/>
                    </a:lnTo>
                    <a:lnTo>
                      <a:pt x="143" y="870"/>
                    </a:lnTo>
                    <a:lnTo>
                      <a:pt x="143" y="870"/>
                    </a:lnTo>
                    <a:lnTo>
                      <a:pt x="143" y="868"/>
                    </a:lnTo>
                    <a:lnTo>
                      <a:pt x="143" y="866"/>
                    </a:lnTo>
                    <a:lnTo>
                      <a:pt x="139" y="864"/>
                    </a:lnTo>
                    <a:lnTo>
                      <a:pt x="139" y="862"/>
                    </a:lnTo>
                    <a:lnTo>
                      <a:pt x="139" y="862"/>
                    </a:lnTo>
                    <a:lnTo>
                      <a:pt x="143" y="862"/>
                    </a:lnTo>
                    <a:lnTo>
                      <a:pt x="143" y="862"/>
                    </a:lnTo>
                    <a:lnTo>
                      <a:pt x="143" y="862"/>
                    </a:lnTo>
                    <a:lnTo>
                      <a:pt x="143" y="858"/>
                    </a:lnTo>
                    <a:lnTo>
                      <a:pt x="141" y="858"/>
                    </a:lnTo>
                    <a:lnTo>
                      <a:pt x="146" y="857"/>
                    </a:lnTo>
                    <a:lnTo>
                      <a:pt x="150" y="853"/>
                    </a:lnTo>
                    <a:lnTo>
                      <a:pt x="165" y="857"/>
                    </a:lnTo>
                    <a:lnTo>
                      <a:pt x="167" y="857"/>
                    </a:lnTo>
                    <a:lnTo>
                      <a:pt x="167" y="853"/>
                    </a:lnTo>
                    <a:lnTo>
                      <a:pt x="171" y="853"/>
                    </a:lnTo>
                    <a:lnTo>
                      <a:pt x="171" y="853"/>
                    </a:lnTo>
                    <a:lnTo>
                      <a:pt x="171" y="853"/>
                    </a:lnTo>
                    <a:lnTo>
                      <a:pt x="171" y="853"/>
                    </a:lnTo>
                    <a:close/>
                    <a:moveTo>
                      <a:pt x="167" y="845"/>
                    </a:moveTo>
                    <a:lnTo>
                      <a:pt x="165" y="845"/>
                    </a:lnTo>
                    <a:lnTo>
                      <a:pt x="156" y="838"/>
                    </a:lnTo>
                    <a:lnTo>
                      <a:pt x="150" y="836"/>
                    </a:lnTo>
                    <a:lnTo>
                      <a:pt x="146" y="836"/>
                    </a:lnTo>
                    <a:lnTo>
                      <a:pt x="143" y="834"/>
                    </a:lnTo>
                    <a:lnTo>
                      <a:pt x="141" y="832"/>
                    </a:lnTo>
                    <a:lnTo>
                      <a:pt x="139" y="828"/>
                    </a:lnTo>
                    <a:lnTo>
                      <a:pt x="139" y="826"/>
                    </a:lnTo>
                    <a:lnTo>
                      <a:pt x="143" y="823"/>
                    </a:lnTo>
                    <a:lnTo>
                      <a:pt x="146" y="823"/>
                    </a:lnTo>
                    <a:lnTo>
                      <a:pt x="150" y="823"/>
                    </a:lnTo>
                    <a:lnTo>
                      <a:pt x="150" y="817"/>
                    </a:lnTo>
                    <a:lnTo>
                      <a:pt x="150" y="815"/>
                    </a:lnTo>
                    <a:lnTo>
                      <a:pt x="146" y="815"/>
                    </a:lnTo>
                    <a:lnTo>
                      <a:pt x="141" y="817"/>
                    </a:lnTo>
                    <a:lnTo>
                      <a:pt x="139" y="819"/>
                    </a:lnTo>
                    <a:lnTo>
                      <a:pt x="135" y="819"/>
                    </a:lnTo>
                    <a:lnTo>
                      <a:pt x="131" y="815"/>
                    </a:lnTo>
                    <a:lnTo>
                      <a:pt x="131" y="811"/>
                    </a:lnTo>
                    <a:lnTo>
                      <a:pt x="131" y="809"/>
                    </a:lnTo>
                    <a:lnTo>
                      <a:pt x="133" y="806"/>
                    </a:lnTo>
                    <a:lnTo>
                      <a:pt x="135" y="804"/>
                    </a:lnTo>
                    <a:lnTo>
                      <a:pt x="131" y="804"/>
                    </a:lnTo>
                    <a:lnTo>
                      <a:pt x="130" y="802"/>
                    </a:lnTo>
                    <a:lnTo>
                      <a:pt x="131" y="798"/>
                    </a:lnTo>
                    <a:lnTo>
                      <a:pt x="133" y="798"/>
                    </a:lnTo>
                    <a:lnTo>
                      <a:pt x="137" y="802"/>
                    </a:lnTo>
                    <a:lnTo>
                      <a:pt x="139" y="800"/>
                    </a:lnTo>
                    <a:lnTo>
                      <a:pt x="143" y="798"/>
                    </a:lnTo>
                    <a:lnTo>
                      <a:pt x="143" y="794"/>
                    </a:lnTo>
                    <a:lnTo>
                      <a:pt x="143" y="793"/>
                    </a:lnTo>
                    <a:lnTo>
                      <a:pt x="143" y="789"/>
                    </a:lnTo>
                    <a:lnTo>
                      <a:pt x="146" y="789"/>
                    </a:lnTo>
                    <a:lnTo>
                      <a:pt x="150" y="793"/>
                    </a:lnTo>
                    <a:lnTo>
                      <a:pt x="150" y="789"/>
                    </a:lnTo>
                    <a:lnTo>
                      <a:pt x="156" y="789"/>
                    </a:lnTo>
                    <a:lnTo>
                      <a:pt x="160" y="809"/>
                    </a:lnTo>
                    <a:lnTo>
                      <a:pt x="160" y="811"/>
                    </a:lnTo>
                    <a:lnTo>
                      <a:pt x="160" y="811"/>
                    </a:lnTo>
                    <a:lnTo>
                      <a:pt x="167" y="845"/>
                    </a:lnTo>
                    <a:lnTo>
                      <a:pt x="167" y="845"/>
                    </a:lnTo>
                    <a:lnTo>
                      <a:pt x="167" y="845"/>
                    </a:lnTo>
                    <a:lnTo>
                      <a:pt x="167" y="845"/>
                    </a:lnTo>
                    <a:close/>
                    <a:moveTo>
                      <a:pt x="156" y="783"/>
                    </a:moveTo>
                    <a:lnTo>
                      <a:pt x="150" y="777"/>
                    </a:lnTo>
                    <a:lnTo>
                      <a:pt x="146" y="777"/>
                    </a:lnTo>
                    <a:lnTo>
                      <a:pt x="143" y="776"/>
                    </a:lnTo>
                    <a:lnTo>
                      <a:pt x="122" y="776"/>
                    </a:lnTo>
                    <a:lnTo>
                      <a:pt x="107" y="777"/>
                    </a:lnTo>
                    <a:lnTo>
                      <a:pt x="103" y="776"/>
                    </a:lnTo>
                    <a:lnTo>
                      <a:pt x="94" y="776"/>
                    </a:lnTo>
                    <a:lnTo>
                      <a:pt x="94" y="768"/>
                    </a:lnTo>
                    <a:lnTo>
                      <a:pt x="92" y="762"/>
                    </a:lnTo>
                    <a:lnTo>
                      <a:pt x="86" y="759"/>
                    </a:lnTo>
                    <a:lnTo>
                      <a:pt x="86" y="747"/>
                    </a:lnTo>
                    <a:lnTo>
                      <a:pt x="86" y="742"/>
                    </a:lnTo>
                    <a:lnTo>
                      <a:pt x="82" y="742"/>
                    </a:lnTo>
                    <a:lnTo>
                      <a:pt x="75" y="745"/>
                    </a:lnTo>
                    <a:lnTo>
                      <a:pt x="73" y="749"/>
                    </a:lnTo>
                    <a:lnTo>
                      <a:pt x="69" y="749"/>
                    </a:lnTo>
                    <a:lnTo>
                      <a:pt x="62" y="730"/>
                    </a:lnTo>
                    <a:lnTo>
                      <a:pt x="60" y="725"/>
                    </a:lnTo>
                    <a:lnTo>
                      <a:pt x="62" y="710"/>
                    </a:lnTo>
                    <a:lnTo>
                      <a:pt x="67" y="704"/>
                    </a:lnTo>
                    <a:lnTo>
                      <a:pt x="73" y="698"/>
                    </a:lnTo>
                    <a:lnTo>
                      <a:pt x="73" y="687"/>
                    </a:lnTo>
                    <a:lnTo>
                      <a:pt x="73" y="678"/>
                    </a:lnTo>
                    <a:lnTo>
                      <a:pt x="69" y="670"/>
                    </a:lnTo>
                    <a:lnTo>
                      <a:pt x="73" y="663"/>
                    </a:lnTo>
                    <a:lnTo>
                      <a:pt x="75" y="659"/>
                    </a:lnTo>
                    <a:lnTo>
                      <a:pt x="73" y="649"/>
                    </a:lnTo>
                    <a:lnTo>
                      <a:pt x="73" y="644"/>
                    </a:lnTo>
                    <a:lnTo>
                      <a:pt x="75" y="640"/>
                    </a:lnTo>
                    <a:lnTo>
                      <a:pt x="73" y="634"/>
                    </a:lnTo>
                    <a:lnTo>
                      <a:pt x="73" y="623"/>
                    </a:lnTo>
                    <a:lnTo>
                      <a:pt x="69" y="617"/>
                    </a:lnTo>
                    <a:lnTo>
                      <a:pt x="69" y="614"/>
                    </a:lnTo>
                    <a:lnTo>
                      <a:pt x="73" y="610"/>
                    </a:lnTo>
                    <a:lnTo>
                      <a:pt x="73" y="606"/>
                    </a:lnTo>
                    <a:lnTo>
                      <a:pt x="69" y="600"/>
                    </a:lnTo>
                    <a:lnTo>
                      <a:pt x="64" y="595"/>
                    </a:lnTo>
                    <a:lnTo>
                      <a:pt x="62" y="595"/>
                    </a:lnTo>
                    <a:lnTo>
                      <a:pt x="60" y="597"/>
                    </a:lnTo>
                    <a:lnTo>
                      <a:pt x="58" y="595"/>
                    </a:lnTo>
                    <a:lnTo>
                      <a:pt x="58" y="591"/>
                    </a:lnTo>
                    <a:lnTo>
                      <a:pt x="67" y="591"/>
                    </a:lnTo>
                    <a:lnTo>
                      <a:pt x="69" y="585"/>
                    </a:lnTo>
                    <a:lnTo>
                      <a:pt x="69" y="582"/>
                    </a:lnTo>
                    <a:lnTo>
                      <a:pt x="69" y="580"/>
                    </a:lnTo>
                    <a:lnTo>
                      <a:pt x="64" y="582"/>
                    </a:lnTo>
                    <a:lnTo>
                      <a:pt x="62" y="582"/>
                    </a:lnTo>
                    <a:lnTo>
                      <a:pt x="60" y="574"/>
                    </a:lnTo>
                    <a:lnTo>
                      <a:pt x="56" y="566"/>
                    </a:lnTo>
                    <a:lnTo>
                      <a:pt x="56" y="561"/>
                    </a:lnTo>
                    <a:lnTo>
                      <a:pt x="56" y="553"/>
                    </a:lnTo>
                    <a:lnTo>
                      <a:pt x="50" y="551"/>
                    </a:lnTo>
                    <a:lnTo>
                      <a:pt x="49" y="546"/>
                    </a:lnTo>
                    <a:lnTo>
                      <a:pt x="49" y="533"/>
                    </a:lnTo>
                    <a:lnTo>
                      <a:pt x="52" y="531"/>
                    </a:lnTo>
                    <a:lnTo>
                      <a:pt x="54" y="525"/>
                    </a:lnTo>
                    <a:lnTo>
                      <a:pt x="50" y="521"/>
                    </a:lnTo>
                    <a:lnTo>
                      <a:pt x="49" y="519"/>
                    </a:lnTo>
                    <a:lnTo>
                      <a:pt x="49" y="510"/>
                    </a:lnTo>
                    <a:lnTo>
                      <a:pt x="45" y="499"/>
                    </a:lnTo>
                    <a:lnTo>
                      <a:pt x="49" y="484"/>
                    </a:lnTo>
                    <a:lnTo>
                      <a:pt x="43" y="480"/>
                    </a:lnTo>
                    <a:lnTo>
                      <a:pt x="43" y="472"/>
                    </a:lnTo>
                    <a:lnTo>
                      <a:pt x="49" y="463"/>
                    </a:lnTo>
                    <a:lnTo>
                      <a:pt x="50" y="452"/>
                    </a:lnTo>
                    <a:lnTo>
                      <a:pt x="56" y="450"/>
                    </a:lnTo>
                    <a:lnTo>
                      <a:pt x="58" y="446"/>
                    </a:lnTo>
                    <a:lnTo>
                      <a:pt x="49" y="425"/>
                    </a:lnTo>
                    <a:lnTo>
                      <a:pt x="49" y="418"/>
                    </a:lnTo>
                    <a:lnTo>
                      <a:pt x="49" y="412"/>
                    </a:lnTo>
                    <a:lnTo>
                      <a:pt x="49" y="401"/>
                    </a:lnTo>
                    <a:lnTo>
                      <a:pt x="52" y="391"/>
                    </a:lnTo>
                    <a:lnTo>
                      <a:pt x="56" y="388"/>
                    </a:lnTo>
                    <a:lnTo>
                      <a:pt x="56" y="382"/>
                    </a:lnTo>
                    <a:lnTo>
                      <a:pt x="52" y="372"/>
                    </a:lnTo>
                    <a:lnTo>
                      <a:pt x="49" y="372"/>
                    </a:lnTo>
                    <a:lnTo>
                      <a:pt x="54" y="367"/>
                    </a:lnTo>
                    <a:lnTo>
                      <a:pt x="52" y="361"/>
                    </a:lnTo>
                    <a:lnTo>
                      <a:pt x="56" y="352"/>
                    </a:lnTo>
                    <a:lnTo>
                      <a:pt x="60" y="352"/>
                    </a:lnTo>
                    <a:lnTo>
                      <a:pt x="60" y="342"/>
                    </a:lnTo>
                    <a:lnTo>
                      <a:pt x="58" y="327"/>
                    </a:lnTo>
                    <a:lnTo>
                      <a:pt x="56" y="324"/>
                    </a:lnTo>
                    <a:lnTo>
                      <a:pt x="54" y="314"/>
                    </a:lnTo>
                    <a:lnTo>
                      <a:pt x="50" y="308"/>
                    </a:lnTo>
                    <a:lnTo>
                      <a:pt x="49" y="301"/>
                    </a:lnTo>
                    <a:lnTo>
                      <a:pt x="45" y="297"/>
                    </a:lnTo>
                    <a:lnTo>
                      <a:pt x="43" y="291"/>
                    </a:lnTo>
                    <a:lnTo>
                      <a:pt x="39" y="284"/>
                    </a:lnTo>
                    <a:lnTo>
                      <a:pt x="43" y="276"/>
                    </a:lnTo>
                    <a:lnTo>
                      <a:pt x="49" y="275"/>
                    </a:lnTo>
                    <a:lnTo>
                      <a:pt x="49" y="265"/>
                    </a:lnTo>
                    <a:lnTo>
                      <a:pt x="49" y="261"/>
                    </a:lnTo>
                    <a:lnTo>
                      <a:pt x="50" y="254"/>
                    </a:lnTo>
                    <a:lnTo>
                      <a:pt x="49" y="248"/>
                    </a:lnTo>
                    <a:lnTo>
                      <a:pt x="45" y="235"/>
                    </a:lnTo>
                    <a:lnTo>
                      <a:pt x="49" y="233"/>
                    </a:lnTo>
                    <a:lnTo>
                      <a:pt x="50" y="218"/>
                    </a:lnTo>
                    <a:lnTo>
                      <a:pt x="54" y="214"/>
                    </a:lnTo>
                    <a:lnTo>
                      <a:pt x="58" y="201"/>
                    </a:lnTo>
                    <a:lnTo>
                      <a:pt x="64" y="197"/>
                    </a:lnTo>
                    <a:lnTo>
                      <a:pt x="67" y="194"/>
                    </a:lnTo>
                    <a:lnTo>
                      <a:pt x="69" y="190"/>
                    </a:lnTo>
                    <a:lnTo>
                      <a:pt x="69" y="190"/>
                    </a:lnTo>
                    <a:lnTo>
                      <a:pt x="69" y="184"/>
                    </a:lnTo>
                    <a:lnTo>
                      <a:pt x="67" y="182"/>
                    </a:lnTo>
                    <a:lnTo>
                      <a:pt x="64" y="180"/>
                    </a:lnTo>
                    <a:lnTo>
                      <a:pt x="64" y="177"/>
                    </a:lnTo>
                    <a:lnTo>
                      <a:pt x="69" y="173"/>
                    </a:lnTo>
                    <a:lnTo>
                      <a:pt x="69" y="169"/>
                    </a:lnTo>
                    <a:lnTo>
                      <a:pt x="64" y="163"/>
                    </a:lnTo>
                    <a:lnTo>
                      <a:pt x="64" y="158"/>
                    </a:lnTo>
                    <a:lnTo>
                      <a:pt x="64" y="154"/>
                    </a:lnTo>
                    <a:lnTo>
                      <a:pt x="64" y="150"/>
                    </a:lnTo>
                    <a:lnTo>
                      <a:pt x="62" y="146"/>
                    </a:lnTo>
                    <a:lnTo>
                      <a:pt x="62" y="143"/>
                    </a:lnTo>
                    <a:lnTo>
                      <a:pt x="84" y="129"/>
                    </a:lnTo>
                    <a:lnTo>
                      <a:pt x="88" y="109"/>
                    </a:lnTo>
                    <a:lnTo>
                      <a:pt x="86" y="103"/>
                    </a:lnTo>
                    <a:lnTo>
                      <a:pt x="84" y="105"/>
                    </a:lnTo>
                    <a:lnTo>
                      <a:pt x="82" y="107"/>
                    </a:lnTo>
                    <a:lnTo>
                      <a:pt x="77" y="107"/>
                    </a:lnTo>
                    <a:lnTo>
                      <a:pt x="64" y="69"/>
                    </a:lnTo>
                    <a:lnTo>
                      <a:pt x="54" y="64"/>
                    </a:lnTo>
                    <a:lnTo>
                      <a:pt x="52" y="58"/>
                    </a:lnTo>
                    <a:lnTo>
                      <a:pt x="56" y="48"/>
                    </a:lnTo>
                    <a:lnTo>
                      <a:pt x="54" y="45"/>
                    </a:lnTo>
                    <a:lnTo>
                      <a:pt x="58" y="39"/>
                    </a:lnTo>
                    <a:lnTo>
                      <a:pt x="56" y="35"/>
                    </a:lnTo>
                    <a:lnTo>
                      <a:pt x="49" y="30"/>
                    </a:lnTo>
                    <a:lnTo>
                      <a:pt x="45" y="26"/>
                    </a:lnTo>
                    <a:lnTo>
                      <a:pt x="43" y="18"/>
                    </a:lnTo>
                    <a:lnTo>
                      <a:pt x="43" y="16"/>
                    </a:lnTo>
                    <a:lnTo>
                      <a:pt x="43" y="13"/>
                    </a:lnTo>
                    <a:lnTo>
                      <a:pt x="43" y="9"/>
                    </a:lnTo>
                    <a:lnTo>
                      <a:pt x="43" y="9"/>
                    </a:lnTo>
                    <a:lnTo>
                      <a:pt x="39" y="5"/>
                    </a:lnTo>
                    <a:lnTo>
                      <a:pt x="39" y="0"/>
                    </a:lnTo>
                    <a:lnTo>
                      <a:pt x="35" y="0"/>
                    </a:lnTo>
                    <a:lnTo>
                      <a:pt x="34" y="1"/>
                    </a:lnTo>
                    <a:lnTo>
                      <a:pt x="32" y="5"/>
                    </a:lnTo>
                    <a:lnTo>
                      <a:pt x="35" y="9"/>
                    </a:lnTo>
                    <a:lnTo>
                      <a:pt x="34" y="11"/>
                    </a:lnTo>
                    <a:lnTo>
                      <a:pt x="30" y="15"/>
                    </a:lnTo>
                    <a:lnTo>
                      <a:pt x="28" y="13"/>
                    </a:lnTo>
                    <a:lnTo>
                      <a:pt x="22" y="16"/>
                    </a:lnTo>
                    <a:lnTo>
                      <a:pt x="18" y="18"/>
                    </a:lnTo>
                    <a:lnTo>
                      <a:pt x="20" y="20"/>
                    </a:lnTo>
                    <a:lnTo>
                      <a:pt x="20" y="26"/>
                    </a:lnTo>
                    <a:lnTo>
                      <a:pt x="20" y="30"/>
                    </a:lnTo>
                    <a:lnTo>
                      <a:pt x="20" y="35"/>
                    </a:lnTo>
                    <a:lnTo>
                      <a:pt x="24" y="48"/>
                    </a:lnTo>
                    <a:lnTo>
                      <a:pt x="24" y="54"/>
                    </a:lnTo>
                    <a:lnTo>
                      <a:pt x="22" y="58"/>
                    </a:lnTo>
                    <a:lnTo>
                      <a:pt x="20" y="60"/>
                    </a:lnTo>
                    <a:lnTo>
                      <a:pt x="22" y="65"/>
                    </a:lnTo>
                    <a:lnTo>
                      <a:pt x="24" y="73"/>
                    </a:lnTo>
                    <a:lnTo>
                      <a:pt x="26" y="79"/>
                    </a:lnTo>
                    <a:lnTo>
                      <a:pt x="26" y="90"/>
                    </a:lnTo>
                    <a:lnTo>
                      <a:pt x="26" y="90"/>
                    </a:lnTo>
                    <a:lnTo>
                      <a:pt x="24" y="94"/>
                    </a:lnTo>
                    <a:lnTo>
                      <a:pt x="26" y="107"/>
                    </a:lnTo>
                    <a:lnTo>
                      <a:pt x="26" y="109"/>
                    </a:lnTo>
                    <a:lnTo>
                      <a:pt x="22" y="111"/>
                    </a:lnTo>
                    <a:lnTo>
                      <a:pt x="20" y="113"/>
                    </a:lnTo>
                    <a:lnTo>
                      <a:pt x="20" y="120"/>
                    </a:lnTo>
                    <a:lnTo>
                      <a:pt x="22" y="122"/>
                    </a:lnTo>
                    <a:lnTo>
                      <a:pt x="24" y="120"/>
                    </a:lnTo>
                    <a:lnTo>
                      <a:pt x="26" y="122"/>
                    </a:lnTo>
                    <a:lnTo>
                      <a:pt x="24" y="124"/>
                    </a:lnTo>
                    <a:lnTo>
                      <a:pt x="24" y="143"/>
                    </a:lnTo>
                    <a:lnTo>
                      <a:pt x="26" y="152"/>
                    </a:lnTo>
                    <a:lnTo>
                      <a:pt x="28" y="158"/>
                    </a:lnTo>
                    <a:lnTo>
                      <a:pt x="26" y="160"/>
                    </a:lnTo>
                    <a:lnTo>
                      <a:pt x="22" y="165"/>
                    </a:lnTo>
                    <a:lnTo>
                      <a:pt x="22" y="171"/>
                    </a:lnTo>
                    <a:lnTo>
                      <a:pt x="26" y="178"/>
                    </a:lnTo>
                    <a:lnTo>
                      <a:pt x="26" y="182"/>
                    </a:lnTo>
                    <a:lnTo>
                      <a:pt x="26" y="190"/>
                    </a:lnTo>
                    <a:lnTo>
                      <a:pt x="24" y="194"/>
                    </a:lnTo>
                    <a:lnTo>
                      <a:pt x="24" y="199"/>
                    </a:lnTo>
                    <a:lnTo>
                      <a:pt x="24" y="201"/>
                    </a:lnTo>
                    <a:lnTo>
                      <a:pt x="24" y="205"/>
                    </a:lnTo>
                    <a:lnTo>
                      <a:pt x="20" y="209"/>
                    </a:lnTo>
                    <a:lnTo>
                      <a:pt x="20" y="214"/>
                    </a:lnTo>
                    <a:lnTo>
                      <a:pt x="18" y="218"/>
                    </a:lnTo>
                    <a:lnTo>
                      <a:pt x="20" y="224"/>
                    </a:lnTo>
                    <a:lnTo>
                      <a:pt x="18" y="224"/>
                    </a:lnTo>
                    <a:lnTo>
                      <a:pt x="18" y="231"/>
                    </a:lnTo>
                    <a:lnTo>
                      <a:pt x="18" y="235"/>
                    </a:lnTo>
                    <a:lnTo>
                      <a:pt x="20" y="241"/>
                    </a:lnTo>
                    <a:lnTo>
                      <a:pt x="20" y="246"/>
                    </a:lnTo>
                    <a:lnTo>
                      <a:pt x="22" y="248"/>
                    </a:lnTo>
                    <a:lnTo>
                      <a:pt x="20" y="252"/>
                    </a:lnTo>
                    <a:lnTo>
                      <a:pt x="18" y="254"/>
                    </a:lnTo>
                    <a:lnTo>
                      <a:pt x="20" y="258"/>
                    </a:lnTo>
                    <a:lnTo>
                      <a:pt x="18" y="261"/>
                    </a:lnTo>
                    <a:lnTo>
                      <a:pt x="15" y="261"/>
                    </a:lnTo>
                    <a:lnTo>
                      <a:pt x="15" y="267"/>
                    </a:lnTo>
                    <a:lnTo>
                      <a:pt x="18" y="273"/>
                    </a:lnTo>
                    <a:lnTo>
                      <a:pt x="18" y="276"/>
                    </a:lnTo>
                    <a:lnTo>
                      <a:pt x="20" y="288"/>
                    </a:lnTo>
                    <a:lnTo>
                      <a:pt x="20" y="291"/>
                    </a:lnTo>
                    <a:lnTo>
                      <a:pt x="18" y="295"/>
                    </a:lnTo>
                    <a:lnTo>
                      <a:pt x="18" y="297"/>
                    </a:lnTo>
                    <a:lnTo>
                      <a:pt x="24" y="305"/>
                    </a:lnTo>
                    <a:lnTo>
                      <a:pt x="24" y="310"/>
                    </a:lnTo>
                    <a:lnTo>
                      <a:pt x="22" y="316"/>
                    </a:lnTo>
                    <a:lnTo>
                      <a:pt x="22" y="318"/>
                    </a:lnTo>
                    <a:lnTo>
                      <a:pt x="24" y="322"/>
                    </a:lnTo>
                    <a:lnTo>
                      <a:pt x="22" y="322"/>
                    </a:lnTo>
                    <a:lnTo>
                      <a:pt x="22" y="325"/>
                    </a:lnTo>
                    <a:lnTo>
                      <a:pt x="24" y="327"/>
                    </a:lnTo>
                    <a:lnTo>
                      <a:pt x="28" y="333"/>
                    </a:lnTo>
                    <a:lnTo>
                      <a:pt x="28" y="337"/>
                    </a:lnTo>
                    <a:lnTo>
                      <a:pt x="26" y="340"/>
                    </a:lnTo>
                    <a:lnTo>
                      <a:pt x="22" y="342"/>
                    </a:lnTo>
                    <a:lnTo>
                      <a:pt x="20" y="348"/>
                    </a:lnTo>
                    <a:lnTo>
                      <a:pt x="20" y="348"/>
                    </a:lnTo>
                    <a:lnTo>
                      <a:pt x="22" y="352"/>
                    </a:lnTo>
                    <a:lnTo>
                      <a:pt x="20" y="354"/>
                    </a:lnTo>
                    <a:lnTo>
                      <a:pt x="18" y="357"/>
                    </a:lnTo>
                    <a:lnTo>
                      <a:pt x="18" y="361"/>
                    </a:lnTo>
                    <a:lnTo>
                      <a:pt x="18" y="367"/>
                    </a:lnTo>
                    <a:lnTo>
                      <a:pt x="18" y="369"/>
                    </a:lnTo>
                    <a:lnTo>
                      <a:pt x="18" y="372"/>
                    </a:lnTo>
                    <a:lnTo>
                      <a:pt x="15" y="372"/>
                    </a:lnTo>
                    <a:lnTo>
                      <a:pt x="15" y="378"/>
                    </a:lnTo>
                    <a:lnTo>
                      <a:pt x="15" y="382"/>
                    </a:lnTo>
                    <a:lnTo>
                      <a:pt x="15" y="382"/>
                    </a:lnTo>
                    <a:lnTo>
                      <a:pt x="15" y="386"/>
                    </a:lnTo>
                    <a:lnTo>
                      <a:pt x="13" y="388"/>
                    </a:lnTo>
                    <a:lnTo>
                      <a:pt x="13" y="393"/>
                    </a:lnTo>
                    <a:lnTo>
                      <a:pt x="13" y="397"/>
                    </a:lnTo>
                    <a:lnTo>
                      <a:pt x="11" y="399"/>
                    </a:lnTo>
                    <a:lnTo>
                      <a:pt x="11" y="403"/>
                    </a:lnTo>
                    <a:lnTo>
                      <a:pt x="9" y="405"/>
                    </a:lnTo>
                    <a:lnTo>
                      <a:pt x="9" y="408"/>
                    </a:lnTo>
                    <a:lnTo>
                      <a:pt x="11" y="410"/>
                    </a:lnTo>
                    <a:lnTo>
                      <a:pt x="11" y="412"/>
                    </a:lnTo>
                    <a:lnTo>
                      <a:pt x="7" y="416"/>
                    </a:lnTo>
                    <a:lnTo>
                      <a:pt x="5" y="416"/>
                    </a:lnTo>
                    <a:lnTo>
                      <a:pt x="3" y="416"/>
                    </a:lnTo>
                    <a:lnTo>
                      <a:pt x="0" y="416"/>
                    </a:lnTo>
                    <a:lnTo>
                      <a:pt x="0" y="418"/>
                    </a:lnTo>
                    <a:lnTo>
                      <a:pt x="2" y="421"/>
                    </a:lnTo>
                    <a:lnTo>
                      <a:pt x="2" y="427"/>
                    </a:lnTo>
                    <a:lnTo>
                      <a:pt x="3" y="433"/>
                    </a:lnTo>
                    <a:lnTo>
                      <a:pt x="7" y="435"/>
                    </a:lnTo>
                    <a:lnTo>
                      <a:pt x="9" y="440"/>
                    </a:lnTo>
                    <a:lnTo>
                      <a:pt x="7" y="442"/>
                    </a:lnTo>
                    <a:lnTo>
                      <a:pt x="15" y="455"/>
                    </a:lnTo>
                    <a:lnTo>
                      <a:pt x="15" y="455"/>
                    </a:lnTo>
                    <a:lnTo>
                      <a:pt x="15" y="459"/>
                    </a:lnTo>
                    <a:lnTo>
                      <a:pt x="15" y="465"/>
                    </a:lnTo>
                    <a:lnTo>
                      <a:pt x="15" y="474"/>
                    </a:lnTo>
                    <a:lnTo>
                      <a:pt x="15" y="474"/>
                    </a:lnTo>
                    <a:lnTo>
                      <a:pt x="15" y="476"/>
                    </a:lnTo>
                    <a:lnTo>
                      <a:pt x="15" y="480"/>
                    </a:lnTo>
                    <a:lnTo>
                      <a:pt x="13" y="480"/>
                    </a:lnTo>
                    <a:lnTo>
                      <a:pt x="11" y="480"/>
                    </a:lnTo>
                    <a:lnTo>
                      <a:pt x="9" y="482"/>
                    </a:lnTo>
                    <a:lnTo>
                      <a:pt x="11" y="485"/>
                    </a:lnTo>
                    <a:lnTo>
                      <a:pt x="13" y="487"/>
                    </a:lnTo>
                    <a:lnTo>
                      <a:pt x="11" y="495"/>
                    </a:lnTo>
                    <a:lnTo>
                      <a:pt x="11" y="499"/>
                    </a:lnTo>
                    <a:lnTo>
                      <a:pt x="9" y="501"/>
                    </a:lnTo>
                    <a:lnTo>
                      <a:pt x="11" y="502"/>
                    </a:lnTo>
                    <a:lnTo>
                      <a:pt x="11" y="506"/>
                    </a:lnTo>
                    <a:lnTo>
                      <a:pt x="9" y="506"/>
                    </a:lnTo>
                    <a:lnTo>
                      <a:pt x="11" y="506"/>
                    </a:lnTo>
                    <a:lnTo>
                      <a:pt x="15" y="516"/>
                    </a:lnTo>
                    <a:lnTo>
                      <a:pt x="18" y="518"/>
                    </a:lnTo>
                    <a:lnTo>
                      <a:pt x="18" y="521"/>
                    </a:lnTo>
                    <a:lnTo>
                      <a:pt x="24" y="523"/>
                    </a:lnTo>
                    <a:lnTo>
                      <a:pt x="30" y="523"/>
                    </a:lnTo>
                    <a:lnTo>
                      <a:pt x="30" y="518"/>
                    </a:lnTo>
                    <a:lnTo>
                      <a:pt x="32" y="516"/>
                    </a:lnTo>
                    <a:lnTo>
                      <a:pt x="35" y="516"/>
                    </a:lnTo>
                    <a:lnTo>
                      <a:pt x="37" y="519"/>
                    </a:lnTo>
                    <a:lnTo>
                      <a:pt x="39" y="519"/>
                    </a:lnTo>
                    <a:lnTo>
                      <a:pt x="39" y="518"/>
                    </a:lnTo>
                    <a:lnTo>
                      <a:pt x="39" y="521"/>
                    </a:lnTo>
                    <a:lnTo>
                      <a:pt x="35" y="525"/>
                    </a:lnTo>
                    <a:lnTo>
                      <a:pt x="35" y="527"/>
                    </a:lnTo>
                    <a:lnTo>
                      <a:pt x="39" y="529"/>
                    </a:lnTo>
                    <a:lnTo>
                      <a:pt x="39" y="527"/>
                    </a:lnTo>
                    <a:lnTo>
                      <a:pt x="39" y="531"/>
                    </a:lnTo>
                    <a:lnTo>
                      <a:pt x="39" y="536"/>
                    </a:lnTo>
                    <a:lnTo>
                      <a:pt x="43" y="540"/>
                    </a:lnTo>
                    <a:lnTo>
                      <a:pt x="43" y="540"/>
                    </a:lnTo>
                    <a:lnTo>
                      <a:pt x="39" y="536"/>
                    </a:lnTo>
                    <a:lnTo>
                      <a:pt x="39" y="534"/>
                    </a:lnTo>
                    <a:lnTo>
                      <a:pt x="37" y="534"/>
                    </a:lnTo>
                    <a:lnTo>
                      <a:pt x="35" y="536"/>
                    </a:lnTo>
                    <a:lnTo>
                      <a:pt x="35" y="536"/>
                    </a:lnTo>
                    <a:lnTo>
                      <a:pt x="39" y="540"/>
                    </a:lnTo>
                    <a:lnTo>
                      <a:pt x="39" y="540"/>
                    </a:lnTo>
                    <a:lnTo>
                      <a:pt x="37" y="542"/>
                    </a:lnTo>
                    <a:lnTo>
                      <a:pt x="35" y="544"/>
                    </a:lnTo>
                    <a:lnTo>
                      <a:pt x="37" y="550"/>
                    </a:lnTo>
                    <a:lnTo>
                      <a:pt x="39" y="551"/>
                    </a:lnTo>
                    <a:lnTo>
                      <a:pt x="37" y="555"/>
                    </a:lnTo>
                    <a:lnTo>
                      <a:pt x="37" y="557"/>
                    </a:lnTo>
                    <a:lnTo>
                      <a:pt x="37" y="559"/>
                    </a:lnTo>
                    <a:lnTo>
                      <a:pt x="34" y="561"/>
                    </a:lnTo>
                    <a:lnTo>
                      <a:pt x="35" y="565"/>
                    </a:lnTo>
                    <a:lnTo>
                      <a:pt x="39" y="566"/>
                    </a:lnTo>
                    <a:lnTo>
                      <a:pt x="37" y="570"/>
                    </a:lnTo>
                    <a:lnTo>
                      <a:pt x="37" y="574"/>
                    </a:lnTo>
                    <a:lnTo>
                      <a:pt x="35" y="576"/>
                    </a:lnTo>
                    <a:lnTo>
                      <a:pt x="35" y="580"/>
                    </a:lnTo>
                    <a:lnTo>
                      <a:pt x="37" y="580"/>
                    </a:lnTo>
                    <a:lnTo>
                      <a:pt x="39" y="582"/>
                    </a:lnTo>
                    <a:lnTo>
                      <a:pt x="43" y="583"/>
                    </a:lnTo>
                    <a:lnTo>
                      <a:pt x="43" y="585"/>
                    </a:lnTo>
                    <a:lnTo>
                      <a:pt x="45" y="587"/>
                    </a:lnTo>
                    <a:lnTo>
                      <a:pt x="49" y="589"/>
                    </a:lnTo>
                    <a:lnTo>
                      <a:pt x="49" y="595"/>
                    </a:lnTo>
                    <a:lnTo>
                      <a:pt x="43" y="600"/>
                    </a:lnTo>
                    <a:lnTo>
                      <a:pt x="39" y="600"/>
                    </a:lnTo>
                    <a:lnTo>
                      <a:pt x="37" y="600"/>
                    </a:lnTo>
                    <a:lnTo>
                      <a:pt x="37" y="604"/>
                    </a:lnTo>
                    <a:lnTo>
                      <a:pt x="39" y="608"/>
                    </a:lnTo>
                    <a:lnTo>
                      <a:pt x="37" y="610"/>
                    </a:lnTo>
                    <a:lnTo>
                      <a:pt x="37" y="614"/>
                    </a:lnTo>
                    <a:lnTo>
                      <a:pt x="39" y="614"/>
                    </a:lnTo>
                    <a:lnTo>
                      <a:pt x="37" y="617"/>
                    </a:lnTo>
                    <a:lnTo>
                      <a:pt x="34" y="623"/>
                    </a:lnTo>
                    <a:lnTo>
                      <a:pt x="34" y="629"/>
                    </a:lnTo>
                    <a:lnTo>
                      <a:pt x="35" y="629"/>
                    </a:lnTo>
                    <a:lnTo>
                      <a:pt x="35" y="631"/>
                    </a:lnTo>
                    <a:lnTo>
                      <a:pt x="35" y="636"/>
                    </a:lnTo>
                    <a:lnTo>
                      <a:pt x="32" y="638"/>
                    </a:lnTo>
                    <a:lnTo>
                      <a:pt x="32" y="644"/>
                    </a:lnTo>
                    <a:lnTo>
                      <a:pt x="30" y="640"/>
                    </a:lnTo>
                    <a:lnTo>
                      <a:pt x="32" y="638"/>
                    </a:lnTo>
                    <a:lnTo>
                      <a:pt x="34" y="634"/>
                    </a:lnTo>
                    <a:lnTo>
                      <a:pt x="32" y="631"/>
                    </a:lnTo>
                    <a:lnTo>
                      <a:pt x="34" y="629"/>
                    </a:lnTo>
                    <a:lnTo>
                      <a:pt x="32" y="629"/>
                    </a:lnTo>
                    <a:lnTo>
                      <a:pt x="26" y="629"/>
                    </a:lnTo>
                    <a:lnTo>
                      <a:pt x="22" y="631"/>
                    </a:lnTo>
                    <a:lnTo>
                      <a:pt x="20" y="631"/>
                    </a:lnTo>
                    <a:lnTo>
                      <a:pt x="20" y="631"/>
                    </a:lnTo>
                    <a:lnTo>
                      <a:pt x="24" y="629"/>
                    </a:lnTo>
                    <a:lnTo>
                      <a:pt x="26" y="627"/>
                    </a:lnTo>
                    <a:lnTo>
                      <a:pt x="26" y="621"/>
                    </a:lnTo>
                    <a:lnTo>
                      <a:pt x="24" y="621"/>
                    </a:lnTo>
                    <a:lnTo>
                      <a:pt x="20" y="623"/>
                    </a:lnTo>
                    <a:lnTo>
                      <a:pt x="15" y="623"/>
                    </a:lnTo>
                    <a:lnTo>
                      <a:pt x="13" y="621"/>
                    </a:lnTo>
                    <a:lnTo>
                      <a:pt x="11" y="623"/>
                    </a:lnTo>
                    <a:lnTo>
                      <a:pt x="11" y="625"/>
                    </a:lnTo>
                    <a:lnTo>
                      <a:pt x="13" y="629"/>
                    </a:lnTo>
                    <a:lnTo>
                      <a:pt x="15" y="629"/>
                    </a:lnTo>
                    <a:lnTo>
                      <a:pt x="15" y="631"/>
                    </a:lnTo>
                    <a:lnTo>
                      <a:pt x="13" y="631"/>
                    </a:lnTo>
                    <a:lnTo>
                      <a:pt x="11" y="634"/>
                    </a:lnTo>
                    <a:lnTo>
                      <a:pt x="9" y="636"/>
                    </a:lnTo>
                    <a:lnTo>
                      <a:pt x="7" y="640"/>
                    </a:lnTo>
                    <a:lnTo>
                      <a:pt x="2" y="644"/>
                    </a:lnTo>
                    <a:lnTo>
                      <a:pt x="2" y="646"/>
                    </a:lnTo>
                    <a:lnTo>
                      <a:pt x="7" y="651"/>
                    </a:lnTo>
                    <a:lnTo>
                      <a:pt x="11" y="651"/>
                    </a:lnTo>
                    <a:lnTo>
                      <a:pt x="13" y="649"/>
                    </a:lnTo>
                    <a:lnTo>
                      <a:pt x="11" y="647"/>
                    </a:lnTo>
                    <a:lnTo>
                      <a:pt x="7" y="646"/>
                    </a:lnTo>
                    <a:lnTo>
                      <a:pt x="7" y="644"/>
                    </a:lnTo>
                    <a:lnTo>
                      <a:pt x="9" y="640"/>
                    </a:lnTo>
                    <a:lnTo>
                      <a:pt x="15" y="640"/>
                    </a:lnTo>
                    <a:lnTo>
                      <a:pt x="15" y="638"/>
                    </a:lnTo>
                    <a:lnTo>
                      <a:pt x="15" y="644"/>
                    </a:lnTo>
                    <a:lnTo>
                      <a:pt x="18" y="646"/>
                    </a:lnTo>
                    <a:lnTo>
                      <a:pt x="22" y="646"/>
                    </a:lnTo>
                    <a:lnTo>
                      <a:pt x="24" y="644"/>
                    </a:lnTo>
                    <a:lnTo>
                      <a:pt x="26" y="646"/>
                    </a:lnTo>
                    <a:lnTo>
                      <a:pt x="28" y="647"/>
                    </a:lnTo>
                    <a:lnTo>
                      <a:pt x="34" y="649"/>
                    </a:lnTo>
                    <a:lnTo>
                      <a:pt x="35" y="651"/>
                    </a:lnTo>
                    <a:lnTo>
                      <a:pt x="34" y="653"/>
                    </a:lnTo>
                    <a:lnTo>
                      <a:pt x="32" y="655"/>
                    </a:lnTo>
                    <a:lnTo>
                      <a:pt x="34" y="655"/>
                    </a:lnTo>
                    <a:lnTo>
                      <a:pt x="32" y="659"/>
                    </a:lnTo>
                    <a:lnTo>
                      <a:pt x="30" y="661"/>
                    </a:lnTo>
                    <a:lnTo>
                      <a:pt x="32" y="663"/>
                    </a:lnTo>
                    <a:lnTo>
                      <a:pt x="35" y="664"/>
                    </a:lnTo>
                    <a:lnTo>
                      <a:pt x="34" y="664"/>
                    </a:lnTo>
                    <a:lnTo>
                      <a:pt x="32" y="664"/>
                    </a:lnTo>
                    <a:lnTo>
                      <a:pt x="30" y="663"/>
                    </a:lnTo>
                    <a:lnTo>
                      <a:pt x="28" y="664"/>
                    </a:lnTo>
                    <a:lnTo>
                      <a:pt x="28" y="664"/>
                    </a:lnTo>
                    <a:lnTo>
                      <a:pt x="30" y="668"/>
                    </a:lnTo>
                    <a:lnTo>
                      <a:pt x="32" y="670"/>
                    </a:lnTo>
                    <a:lnTo>
                      <a:pt x="37" y="670"/>
                    </a:lnTo>
                    <a:lnTo>
                      <a:pt x="39" y="668"/>
                    </a:lnTo>
                    <a:lnTo>
                      <a:pt x="43" y="670"/>
                    </a:lnTo>
                    <a:lnTo>
                      <a:pt x="45" y="670"/>
                    </a:lnTo>
                    <a:lnTo>
                      <a:pt x="49" y="668"/>
                    </a:lnTo>
                    <a:lnTo>
                      <a:pt x="49" y="674"/>
                    </a:lnTo>
                    <a:lnTo>
                      <a:pt x="49" y="674"/>
                    </a:lnTo>
                    <a:lnTo>
                      <a:pt x="45" y="674"/>
                    </a:lnTo>
                    <a:lnTo>
                      <a:pt x="43" y="674"/>
                    </a:lnTo>
                    <a:lnTo>
                      <a:pt x="43" y="676"/>
                    </a:lnTo>
                    <a:lnTo>
                      <a:pt x="39" y="674"/>
                    </a:lnTo>
                    <a:lnTo>
                      <a:pt x="34" y="674"/>
                    </a:lnTo>
                    <a:lnTo>
                      <a:pt x="34" y="678"/>
                    </a:lnTo>
                    <a:lnTo>
                      <a:pt x="34" y="680"/>
                    </a:lnTo>
                    <a:lnTo>
                      <a:pt x="37" y="681"/>
                    </a:lnTo>
                    <a:lnTo>
                      <a:pt x="37" y="685"/>
                    </a:lnTo>
                    <a:lnTo>
                      <a:pt x="39" y="685"/>
                    </a:lnTo>
                    <a:lnTo>
                      <a:pt x="43" y="685"/>
                    </a:lnTo>
                    <a:lnTo>
                      <a:pt x="43" y="687"/>
                    </a:lnTo>
                    <a:lnTo>
                      <a:pt x="39" y="689"/>
                    </a:lnTo>
                    <a:lnTo>
                      <a:pt x="39" y="691"/>
                    </a:lnTo>
                    <a:lnTo>
                      <a:pt x="39" y="693"/>
                    </a:lnTo>
                    <a:lnTo>
                      <a:pt x="39" y="695"/>
                    </a:lnTo>
                    <a:lnTo>
                      <a:pt x="39" y="695"/>
                    </a:lnTo>
                    <a:lnTo>
                      <a:pt x="37" y="698"/>
                    </a:lnTo>
                    <a:lnTo>
                      <a:pt x="39" y="706"/>
                    </a:lnTo>
                    <a:lnTo>
                      <a:pt x="43" y="708"/>
                    </a:lnTo>
                    <a:lnTo>
                      <a:pt x="43" y="713"/>
                    </a:lnTo>
                    <a:lnTo>
                      <a:pt x="43" y="717"/>
                    </a:lnTo>
                    <a:lnTo>
                      <a:pt x="49" y="717"/>
                    </a:lnTo>
                    <a:lnTo>
                      <a:pt x="49" y="712"/>
                    </a:lnTo>
                    <a:lnTo>
                      <a:pt x="49" y="704"/>
                    </a:lnTo>
                    <a:lnTo>
                      <a:pt x="50" y="704"/>
                    </a:lnTo>
                    <a:lnTo>
                      <a:pt x="52" y="704"/>
                    </a:lnTo>
                    <a:lnTo>
                      <a:pt x="50" y="704"/>
                    </a:lnTo>
                    <a:lnTo>
                      <a:pt x="49" y="712"/>
                    </a:lnTo>
                    <a:lnTo>
                      <a:pt x="49" y="715"/>
                    </a:lnTo>
                    <a:lnTo>
                      <a:pt x="50" y="717"/>
                    </a:lnTo>
                    <a:lnTo>
                      <a:pt x="52" y="717"/>
                    </a:lnTo>
                    <a:lnTo>
                      <a:pt x="52" y="717"/>
                    </a:lnTo>
                    <a:lnTo>
                      <a:pt x="49" y="719"/>
                    </a:lnTo>
                    <a:lnTo>
                      <a:pt x="45" y="721"/>
                    </a:lnTo>
                    <a:lnTo>
                      <a:pt x="45" y="723"/>
                    </a:lnTo>
                    <a:lnTo>
                      <a:pt x="45" y="725"/>
                    </a:lnTo>
                    <a:lnTo>
                      <a:pt x="45" y="728"/>
                    </a:lnTo>
                    <a:lnTo>
                      <a:pt x="43" y="730"/>
                    </a:lnTo>
                    <a:lnTo>
                      <a:pt x="43" y="734"/>
                    </a:lnTo>
                    <a:lnTo>
                      <a:pt x="43" y="738"/>
                    </a:lnTo>
                    <a:lnTo>
                      <a:pt x="49" y="740"/>
                    </a:lnTo>
                    <a:lnTo>
                      <a:pt x="54" y="742"/>
                    </a:lnTo>
                    <a:lnTo>
                      <a:pt x="56" y="744"/>
                    </a:lnTo>
                    <a:lnTo>
                      <a:pt x="56" y="745"/>
                    </a:lnTo>
                    <a:lnTo>
                      <a:pt x="54" y="745"/>
                    </a:lnTo>
                    <a:lnTo>
                      <a:pt x="56" y="749"/>
                    </a:lnTo>
                    <a:lnTo>
                      <a:pt x="56" y="751"/>
                    </a:lnTo>
                    <a:lnTo>
                      <a:pt x="60" y="747"/>
                    </a:lnTo>
                    <a:lnTo>
                      <a:pt x="60" y="751"/>
                    </a:lnTo>
                    <a:lnTo>
                      <a:pt x="60" y="753"/>
                    </a:lnTo>
                    <a:lnTo>
                      <a:pt x="56" y="755"/>
                    </a:lnTo>
                    <a:lnTo>
                      <a:pt x="54" y="757"/>
                    </a:lnTo>
                    <a:lnTo>
                      <a:pt x="56" y="759"/>
                    </a:lnTo>
                    <a:lnTo>
                      <a:pt x="58" y="759"/>
                    </a:lnTo>
                    <a:lnTo>
                      <a:pt x="58" y="759"/>
                    </a:lnTo>
                    <a:lnTo>
                      <a:pt x="62" y="762"/>
                    </a:lnTo>
                    <a:lnTo>
                      <a:pt x="64" y="762"/>
                    </a:lnTo>
                    <a:lnTo>
                      <a:pt x="64" y="762"/>
                    </a:lnTo>
                    <a:lnTo>
                      <a:pt x="64" y="764"/>
                    </a:lnTo>
                    <a:lnTo>
                      <a:pt x="64" y="768"/>
                    </a:lnTo>
                    <a:lnTo>
                      <a:pt x="64" y="768"/>
                    </a:lnTo>
                    <a:lnTo>
                      <a:pt x="62" y="768"/>
                    </a:lnTo>
                    <a:lnTo>
                      <a:pt x="60" y="768"/>
                    </a:lnTo>
                    <a:lnTo>
                      <a:pt x="60" y="770"/>
                    </a:lnTo>
                    <a:lnTo>
                      <a:pt x="64" y="774"/>
                    </a:lnTo>
                    <a:lnTo>
                      <a:pt x="64" y="774"/>
                    </a:lnTo>
                    <a:lnTo>
                      <a:pt x="64" y="777"/>
                    </a:lnTo>
                    <a:lnTo>
                      <a:pt x="67" y="779"/>
                    </a:lnTo>
                    <a:lnTo>
                      <a:pt x="69" y="783"/>
                    </a:lnTo>
                    <a:lnTo>
                      <a:pt x="73" y="783"/>
                    </a:lnTo>
                    <a:lnTo>
                      <a:pt x="69" y="777"/>
                    </a:lnTo>
                    <a:lnTo>
                      <a:pt x="73" y="776"/>
                    </a:lnTo>
                    <a:lnTo>
                      <a:pt x="69" y="772"/>
                    </a:lnTo>
                    <a:lnTo>
                      <a:pt x="73" y="776"/>
                    </a:lnTo>
                    <a:lnTo>
                      <a:pt x="73" y="777"/>
                    </a:lnTo>
                    <a:lnTo>
                      <a:pt x="77" y="781"/>
                    </a:lnTo>
                    <a:lnTo>
                      <a:pt x="77" y="777"/>
                    </a:lnTo>
                    <a:lnTo>
                      <a:pt x="81" y="776"/>
                    </a:lnTo>
                    <a:lnTo>
                      <a:pt x="81" y="772"/>
                    </a:lnTo>
                    <a:lnTo>
                      <a:pt x="77" y="772"/>
                    </a:lnTo>
                    <a:lnTo>
                      <a:pt x="73" y="770"/>
                    </a:lnTo>
                    <a:lnTo>
                      <a:pt x="73" y="770"/>
                    </a:lnTo>
                    <a:lnTo>
                      <a:pt x="75" y="770"/>
                    </a:lnTo>
                    <a:lnTo>
                      <a:pt x="82" y="772"/>
                    </a:lnTo>
                    <a:lnTo>
                      <a:pt x="82" y="772"/>
                    </a:lnTo>
                    <a:lnTo>
                      <a:pt x="86" y="772"/>
                    </a:lnTo>
                    <a:lnTo>
                      <a:pt x="86" y="770"/>
                    </a:lnTo>
                    <a:lnTo>
                      <a:pt x="82" y="768"/>
                    </a:lnTo>
                    <a:lnTo>
                      <a:pt x="75" y="768"/>
                    </a:lnTo>
                    <a:lnTo>
                      <a:pt x="75" y="764"/>
                    </a:lnTo>
                    <a:lnTo>
                      <a:pt x="77" y="764"/>
                    </a:lnTo>
                    <a:lnTo>
                      <a:pt x="82" y="768"/>
                    </a:lnTo>
                    <a:lnTo>
                      <a:pt x="88" y="770"/>
                    </a:lnTo>
                    <a:lnTo>
                      <a:pt x="88" y="776"/>
                    </a:lnTo>
                    <a:lnTo>
                      <a:pt x="88" y="777"/>
                    </a:lnTo>
                    <a:lnTo>
                      <a:pt x="88" y="781"/>
                    </a:lnTo>
                    <a:lnTo>
                      <a:pt x="88" y="785"/>
                    </a:lnTo>
                    <a:lnTo>
                      <a:pt x="88" y="789"/>
                    </a:lnTo>
                    <a:lnTo>
                      <a:pt x="86" y="789"/>
                    </a:lnTo>
                    <a:lnTo>
                      <a:pt x="88" y="787"/>
                    </a:lnTo>
                    <a:lnTo>
                      <a:pt x="86" y="779"/>
                    </a:lnTo>
                    <a:lnTo>
                      <a:pt x="82" y="777"/>
                    </a:lnTo>
                    <a:lnTo>
                      <a:pt x="81" y="779"/>
                    </a:lnTo>
                    <a:lnTo>
                      <a:pt x="81" y="783"/>
                    </a:lnTo>
                    <a:lnTo>
                      <a:pt x="82" y="785"/>
                    </a:lnTo>
                    <a:lnTo>
                      <a:pt x="81" y="789"/>
                    </a:lnTo>
                    <a:lnTo>
                      <a:pt x="81" y="787"/>
                    </a:lnTo>
                    <a:lnTo>
                      <a:pt x="79" y="783"/>
                    </a:lnTo>
                    <a:lnTo>
                      <a:pt x="77" y="783"/>
                    </a:lnTo>
                    <a:lnTo>
                      <a:pt x="73" y="785"/>
                    </a:lnTo>
                    <a:lnTo>
                      <a:pt x="69" y="785"/>
                    </a:lnTo>
                    <a:lnTo>
                      <a:pt x="67" y="787"/>
                    </a:lnTo>
                    <a:lnTo>
                      <a:pt x="69" y="789"/>
                    </a:lnTo>
                    <a:lnTo>
                      <a:pt x="69" y="793"/>
                    </a:lnTo>
                    <a:lnTo>
                      <a:pt x="73" y="798"/>
                    </a:lnTo>
                    <a:lnTo>
                      <a:pt x="73" y="798"/>
                    </a:lnTo>
                    <a:lnTo>
                      <a:pt x="73" y="800"/>
                    </a:lnTo>
                    <a:lnTo>
                      <a:pt x="73" y="802"/>
                    </a:lnTo>
                    <a:lnTo>
                      <a:pt x="73" y="802"/>
                    </a:lnTo>
                    <a:lnTo>
                      <a:pt x="75" y="798"/>
                    </a:lnTo>
                    <a:lnTo>
                      <a:pt x="77" y="800"/>
                    </a:lnTo>
                    <a:lnTo>
                      <a:pt x="81" y="800"/>
                    </a:lnTo>
                    <a:lnTo>
                      <a:pt x="81" y="802"/>
                    </a:lnTo>
                    <a:lnTo>
                      <a:pt x="77" y="804"/>
                    </a:lnTo>
                    <a:lnTo>
                      <a:pt x="75" y="806"/>
                    </a:lnTo>
                    <a:lnTo>
                      <a:pt x="75" y="808"/>
                    </a:lnTo>
                    <a:lnTo>
                      <a:pt x="81" y="808"/>
                    </a:lnTo>
                    <a:lnTo>
                      <a:pt x="86" y="811"/>
                    </a:lnTo>
                    <a:lnTo>
                      <a:pt x="88" y="809"/>
                    </a:lnTo>
                    <a:lnTo>
                      <a:pt x="88" y="808"/>
                    </a:lnTo>
                    <a:lnTo>
                      <a:pt x="88" y="804"/>
                    </a:lnTo>
                    <a:lnTo>
                      <a:pt x="88" y="800"/>
                    </a:lnTo>
                    <a:lnTo>
                      <a:pt x="88" y="798"/>
                    </a:lnTo>
                    <a:lnTo>
                      <a:pt x="86" y="798"/>
                    </a:lnTo>
                    <a:lnTo>
                      <a:pt x="82" y="798"/>
                    </a:lnTo>
                    <a:lnTo>
                      <a:pt x="84" y="798"/>
                    </a:lnTo>
                    <a:lnTo>
                      <a:pt x="86" y="798"/>
                    </a:lnTo>
                    <a:lnTo>
                      <a:pt x="86" y="793"/>
                    </a:lnTo>
                    <a:lnTo>
                      <a:pt x="88" y="793"/>
                    </a:lnTo>
                    <a:lnTo>
                      <a:pt x="92" y="794"/>
                    </a:lnTo>
                    <a:lnTo>
                      <a:pt x="94" y="793"/>
                    </a:lnTo>
                    <a:lnTo>
                      <a:pt x="94" y="794"/>
                    </a:lnTo>
                    <a:lnTo>
                      <a:pt x="98" y="798"/>
                    </a:lnTo>
                    <a:lnTo>
                      <a:pt x="98" y="794"/>
                    </a:lnTo>
                    <a:lnTo>
                      <a:pt x="99" y="793"/>
                    </a:lnTo>
                    <a:lnTo>
                      <a:pt x="103" y="794"/>
                    </a:lnTo>
                    <a:lnTo>
                      <a:pt x="107" y="794"/>
                    </a:lnTo>
                    <a:lnTo>
                      <a:pt x="111" y="794"/>
                    </a:lnTo>
                    <a:lnTo>
                      <a:pt x="111" y="794"/>
                    </a:lnTo>
                    <a:lnTo>
                      <a:pt x="109" y="798"/>
                    </a:lnTo>
                    <a:lnTo>
                      <a:pt x="107" y="798"/>
                    </a:lnTo>
                    <a:lnTo>
                      <a:pt x="105" y="798"/>
                    </a:lnTo>
                    <a:lnTo>
                      <a:pt x="101" y="798"/>
                    </a:lnTo>
                    <a:lnTo>
                      <a:pt x="99" y="798"/>
                    </a:lnTo>
                    <a:lnTo>
                      <a:pt x="94" y="802"/>
                    </a:lnTo>
                    <a:lnTo>
                      <a:pt x="94" y="802"/>
                    </a:lnTo>
                    <a:lnTo>
                      <a:pt x="92" y="802"/>
                    </a:lnTo>
                    <a:lnTo>
                      <a:pt x="88" y="804"/>
                    </a:lnTo>
                    <a:lnTo>
                      <a:pt x="88" y="808"/>
                    </a:lnTo>
                    <a:lnTo>
                      <a:pt x="88" y="809"/>
                    </a:lnTo>
                    <a:lnTo>
                      <a:pt x="88" y="811"/>
                    </a:lnTo>
                    <a:lnTo>
                      <a:pt x="88" y="813"/>
                    </a:lnTo>
                    <a:lnTo>
                      <a:pt x="88" y="813"/>
                    </a:lnTo>
                    <a:lnTo>
                      <a:pt x="88" y="815"/>
                    </a:lnTo>
                    <a:lnTo>
                      <a:pt x="88" y="817"/>
                    </a:lnTo>
                    <a:lnTo>
                      <a:pt x="94" y="819"/>
                    </a:lnTo>
                    <a:lnTo>
                      <a:pt x="98" y="823"/>
                    </a:lnTo>
                    <a:lnTo>
                      <a:pt x="98" y="823"/>
                    </a:lnTo>
                    <a:lnTo>
                      <a:pt x="98" y="819"/>
                    </a:lnTo>
                    <a:lnTo>
                      <a:pt x="98" y="817"/>
                    </a:lnTo>
                    <a:lnTo>
                      <a:pt x="99" y="815"/>
                    </a:lnTo>
                    <a:lnTo>
                      <a:pt x="103" y="815"/>
                    </a:lnTo>
                    <a:lnTo>
                      <a:pt x="103" y="813"/>
                    </a:lnTo>
                    <a:lnTo>
                      <a:pt x="99" y="809"/>
                    </a:lnTo>
                    <a:lnTo>
                      <a:pt x="105" y="808"/>
                    </a:lnTo>
                    <a:lnTo>
                      <a:pt x="109" y="806"/>
                    </a:lnTo>
                    <a:lnTo>
                      <a:pt x="111" y="800"/>
                    </a:lnTo>
                    <a:lnTo>
                      <a:pt x="114" y="800"/>
                    </a:lnTo>
                    <a:lnTo>
                      <a:pt x="114" y="800"/>
                    </a:lnTo>
                    <a:lnTo>
                      <a:pt x="116" y="802"/>
                    </a:lnTo>
                    <a:lnTo>
                      <a:pt x="118" y="802"/>
                    </a:lnTo>
                    <a:lnTo>
                      <a:pt x="118" y="802"/>
                    </a:lnTo>
                    <a:lnTo>
                      <a:pt x="116" y="804"/>
                    </a:lnTo>
                    <a:lnTo>
                      <a:pt x="114" y="808"/>
                    </a:lnTo>
                    <a:lnTo>
                      <a:pt x="114" y="809"/>
                    </a:lnTo>
                    <a:lnTo>
                      <a:pt x="111" y="813"/>
                    </a:lnTo>
                    <a:lnTo>
                      <a:pt x="111" y="817"/>
                    </a:lnTo>
                    <a:lnTo>
                      <a:pt x="113" y="819"/>
                    </a:lnTo>
                    <a:lnTo>
                      <a:pt x="111" y="819"/>
                    </a:lnTo>
                    <a:lnTo>
                      <a:pt x="107" y="823"/>
                    </a:lnTo>
                    <a:lnTo>
                      <a:pt x="107" y="819"/>
                    </a:lnTo>
                    <a:lnTo>
                      <a:pt x="109" y="819"/>
                    </a:lnTo>
                    <a:lnTo>
                      <a:pt x="109" y="815"/>
                    </a:lnTo>
                    <a:lnTo>
                      <a:pt x="107" y="815"/>
                    </a:lnTo>
                    <a:lnTo>
                      <a:pt x="105" y="815"/>
                    </a:lnTo>
                    <a:lnTo>
                      <a:pt x="105" y="819"/>
                    </a:lnTo>
                    <a:lnTo>
                      <a:pt x="103" y="817"/>
                    </a:lnTo>
                    <a:lnTo>
                      <a:pt x="101" y="819"/>
                    </a:lnTo>
                    <a:lnTo>
                      <a:pt x="99" y="819"/>
                    </a:lnTo>
                    <a:lnTo>
                      <a:pt x="103" y="823"/>
                    </a:lnTo>
                    <a:lnTo>
                      <a:pt x="109" y="828"/>
                    </a:lnTo>
                    <a:lnTo>
                      <a:pt x="114" y="828"/>
                    </a:lnTo>
                    <a:lnTo>
                      <a:pt x="118" y="832"/>
                    </a:lnTo>
                    <a:lnTo>
                      <a:pt x="118" y="832"/>
                    </a:lnTo>
                    <a:lnTo>
                      <a:pt x="122" y="832"/>
                    </a:lnTo>
                    <a:lnTo>
                      <a:pt x="122" y="832"/>
                    </a:lnTo>
                    <a:lnTo>
                      <a:pt x="126" y="826"/>
                    </a:lnTo>
                    <a:lnTo>
                      <a:pt x="124" y="819"/>
                    </a:lnTo>
                    <a:lnTo>
                      <a:pt x="124" y="819"/>
                    </a:lnTo>
                    <a:lnTo>
                      <a:pt x="124" y="815"/>
                    </a:lnTo>
                    <a:lnTo>
                      <a:pt x="124" y="811"/>
                    </a:lnTo>
                    <a:lnTo>
                      <a:pt x="124" y="806"/>
                    </a:lnTo>
                    <a:lnTo>
                      <a:pt x="124" y="800"/>
                    </a:lnTo>
                    <a:lnTo>
                      <a:pt x="124" y="798"/>
                    </a:lnTo>
                    <a:lnTo>
                      <a:pt x="130" y="794"/>
                    </a:lnTo>
                    <a:lnTo>
                      <a:pt x="133" y="793"/>
                    </a:lnTo>
                    <a:lnTo>
                      <a:pt x="135" y="789"/>
                    </a:lnTo>
                    <a:lnTo>
                      <a:pt x="141" y="789"/>
                    </a:lnTo>
                    <a:lnTo>
                      <a:pt x="141" y="789"/>
                    </a:lnTo>
                    <a:lnTo>
                      <a:pt x="141" y="785"/>
                    </a:lnTo>
                    <a:lnTo>
                      <a:pt x="143" y="781"/>
                    </a:lnTo>
                    <a:lnTo>
                      <a:pt x="146" y="781"/>
                    </a:lnTo>
                    <a:lnTo>
                      <a:pt x="150" y="783"/>
                    </a:lnTo>
                    <a:lnTo>
                      <a:pt x="156" y="783"/>
                    </a:lnTo>
                    <a:lnTo>
                      <a:pt x="156" y="783"/>
                    </a:lnTo>
                    <a:lnTo>
                      <a:pt x="156" y="783"/>
                    </a:lnTo>
                    <a:lnTo>
                      <a:pt x="156" y="783"/>
                    </a:lnTo>
                    <a:lnTo>
                      <a:pt x="156" y="783"/>
                    </a:lnTo>
                    <a:close/>
                    <a:moveTo>
                      <a:pt x="192" y="881"/>
                    </a:moveTo>
                    <a:lnTo>
                      <a:pt x="192" y="883"/>
                    </a:lnTo>
                    <a:lnTo>
                      <a:pt x="195" y="881"/>
                    </a:lnTo>
                    <a:lnTo>
                      <a:pt x="192" y="881"/>
                    </a:lnTo>
                    <a:lnTo>
                      <a:pt x="192" y="881"/>
                    </a:lnTo>
                    <a:lnTo>
                      <a:pt x="192" y="881"/>
                    </a:lnTo>
                    <a:lnTo>
                      <a:pt x="192" y="881"/>
                    </a:lnTo>
                    <a:lnTo>
                      <a:pt x="192" y="881"/>
                    </a:lnTo>
                    <a:lnTo>
                      <a:pt x="192" y="881"/>
                    </a:lnTo>
                    <a:close/>
                    <a:moveTo>
                      <a:pt x="24" y="542"/>
                    </a:moveTo>
                    <a:lnTo>
                      <a:pt x="20" y="540"/>
                    </a:lnTo>
                    <a:lnTo>
                      <a:pt x="18" y="540"/>
                    </a:lnTo>
                    <a:lnTo>
                      <a:pt x="18" y="544"/>
                    </a:lnTo>
                    <a:lnTo>
                      <a:pt x="24" y="550"/>
                    </a:lnTo>
                    <a:lnTo>
                      <a:pt x="22" y="550"/>
                    </a:lnTo>
                    <a:lnTo>
                      <a:pt x="26" y="553"/>
                    </a:lnTo>
                    <a:lnTo>
                      <a:pt x="24" y="553"/>
                    </a:lnTo>
                    <a:lnTo>
                      <a:pt x="20" y="553"/>
                    </a:lnTo>
                    <a:lnTo>
                      <a:pt x="20" y="555"/>
                    </a:lnTo>
                    <a:lnTo>
                      <a:pt x="20" y="559"/>
                    </a:lnTo>
                    <a:lnTo>
                      <a:pt x="20" y="561"/>
                    </a:lnTo>
                    <a:lnTo>
                      <a:pt x="15" y="561"/>
                    </a:lnTo>
                    <a:lnTo>
                      <a:pt x="11" y="561"/>
                    </a:lnTo>
                    <a:lnTo>
                      <a:pt x="13" y="555"/>
                    </a:lnTo>
                    <a:lnTo>
                      <a:pt x="11" y="544"/>
                    </a:lnTo>
                    <a:lnTo>
                      <a:pt x="11" y="540"/>
                    </a:lnTo>
                    <a:lnTo>
                      <a:pt x="9" y="540"/>
                    </a:lnTo>
                    <a:lnTo>
                      <a:pt x="7" y="536"/>
                    </a:lnTo>
                    <a:lnTo>
                      <a:pt x="9" y="534"/>
                    </a:lnTo>
                    <a:lnTo>
                      <a:pt x="11" y="533"/>
                    </a:lnTo>
                    <a:lnTo>
                      <a:pt x="11" y="529"/>
                    </a:lnTo>
                    <a:lnTo>
                      <a:pt x="11" y="527"/>
                    </a:lnTo>
                    <a:lnTo>
                      <a:pt x="11" y="525"/>
                    </a:lnTo>
                    <a:lnTo>
                      <a:pt x="13" y="523"/>
                    </a:lnTo>
                    <a:lnTo>
                      <a:pt x="15" y="523"/>
                    </a:lnTo>
                    <a:lnTo>
                      <a:pt x="18" y="525"/>
                    </a:lnTo>
                    <a:lnTo>
                      <a:pt x="22" y="529"/>
                    </a:lnTo>
                    <a:lnTo>
                      <a:pt x="22" y="534"/>
                    </a:lnTo>
                    <a:lnTo>
                      <a:pt x="22" y="536"/>
                    </a:lnTo>
                    <a:lnTo>
                      <a:pt x="22" y="540"/>
                    </a:lnTo>
                    <a:lnTo>
                      <a:pt x="18" y="536"/>
                    </a:lnTo>
                    <a:lnTo>
                      <a:pt x="24" y="540"/>
                    </a:lnTo>
                    <a:lnTo>
                      <a:pt x="24" y="542"/>
                    </a:lnTo>
                    <a:lnTo>
                      <a:pt x="24" y="542"/>
                    </a:lnTo>
                    <a:lnTo>
                      <a:pt x="24" y="542"/>
                    </a:lnTo>
                    <a:lnTo>
                      <a:pt x="24" y="542"/>
                    </a:lnTo>
                    <a:lnTo>
                      <a:pt x="24" y="542"/>
                    </a:lnTo>
                    <a:close/>
                    <a:moveTo>
                      <a:pt x="28" y="534"/>
                    </a:moveTo>
                    <a:lnTo>
                      <a:pt x="30" y="534"/>
                    </a:lnTo>
                    <a:lnTo>
                      <a:pt x="32" y="536"/>
                    </a:lnTo>
                    <a:lnTo>
                      <a:pt x="30" y="536"/>
                    </a:lnTo>
                    <a:lnTo>
                      <a:pt x="28" y="534"/>
                    </a:lnTo>
                    <a:lnTo>
                      <a:pt x="28" y="534"/>
                    </a:lnTo>
                    <a:lnTo>
                      <a:pt x="28" y="534"/>
                    </a:lnTo>
                    <a:lnTo>
                      <a:pt x="28" y="534"/>
                    </a:lnTo>
                    <a:close/>
                    <a:moveTo>
                      <a:pt x="5" y="570"/>
                    </a:moveTo>
                    <a:lnTo>
                      <a:pt x="7" y="568"/>
                    </a:lnTo>
                    <a:lnTo>
                      <a:pt x="11" y="568"/>
                    </a:lnTo>
                    <a:lnTo>
                      <a:pt x="13" y="570"/>
                    </a:lnTo>
                    <a:lnTo>
                      <a:pt x="9" y="570"/>
                    </a:lnTo>
                    <a:lnTo>
                      <a:pt x="5" y="570"/>
                    </a:lnTo>
                    <a:lnTo>
                      <a:pt x="5" y="570"/>
                    </a:lnTo>
                    <a:lnTo>
                      <a:pt x="5" y="570"/>
                    </a:lnTo>
                    <a:lnTo>
                      <a:pt x="5" y="570"/>
                    </a:lnTo>
                    <a:close/>
                    <a:moveTo>
                      <a:pt x="32" y="574"/>
                    </a:moveTo>
                    <a:lnTo>
                      <a:pt x="35" y="570"/>
                    </a:lnTo>
                    <a:lnTo>
                      <a:pt x="35" y="574"/>
                    </a:lnTo>
                    <a:lnTo>
                      <a:pt x="34" y="576"/>
                    </a:lnTo>
                    <a:lnTo>
                      <a:pt x="32" y="574"/>
                    </a:lnTo>
                    <a:lnTo>
                      <a:pt x="32" y="574"/>
                    </a:lnTo>
                    <a:lnTo>
                      <a:pt x="32" y="574"/>
                    </a:lnTo>
                    <a:lnTo>
                      <a:pt x="32" y="574"/>
                    </a:lnTo>
                    <a:close/>
                    <a:moveTo>
                      <a:pt x="26" y="574"/>
                    </a:moveTo>
                    <a:lnTo>
                      <a:pt x="28" y="574"/>
                    </a:lnTo>
                    <a:lnTo>
                      <a:pt x="30" y="576"/>
                    </a:lnTo>
                    <a:lnTo>
                      <a:pt x="26" y="580"/>
                    </a:lnTo>
                    <a:lnTo>
                      <a:pt x="26" y="576"/>
                    </a:lnTo>
                    <a:lnTo>
                      <a:pt x="24" y="574"/>
                    </a:lnTo>
                    <a:lnTo>
                      <a:pt x="26" y="574"/>
                    </a:lnTo>
                    <a:lnTo>
                      <a:pt x="26" y="574"/>
                    </a:lnTo>
                    <a:lnTo>
                      <a:pt x="26" y="574"/>
                    </a:lnTo>
                    <a:lnTo>
                      <a:pt x="26" y="574"/>
                    </a:lnTo>
                    <a:close/>
                    <a:moveTo>
                      <a:pt x="18" y="570"/>
                    </a:moveTo>
                    <a:lnTo>
                      <a:pt x="18" y="570"/>
                    </a:lnTo>
                    <a:lnTo>
                      <a:pt x="22" y="570"/>
                    </a:lnTo>
                    <a:lnTo>
                      <a:pt x="18" y="574"/>
                    </a:lnTo>
                    <a:lnTo>
                      <a:pt x="18" y="570"/>
                    </a:lnTo>
                    <a:lnTo>
                      <a:pt x="18" y="570"/>
                    </a:lnTo>
                    <a:lnTo>
                      <a:pt x="18" y="570"/>
                    </a:lnTo>
                    <a:lnTo>
                      <a:pt x="18" y="570"/>
                    </a:lnTo>
                    <a:close/>
                    <a:moveTo>
                      <a:pt x="18" y="580"/>
                    </a:moveTo>
                    <a:lnTo>
                      <a:pt x="18" y="580"/>
                    </a:lnTo>
                    <a:lnTo>
                      <a:pt x="20" y="580"/>
                    </a:lnTo>
                    <a:lnTo>
                      <a:pt x="20" y="582"/>
                    </a:lnTo>
                    <a:lnTo>
                      <a:pt x="18" y="580"/>
                    </a:lnTo>
                    <a:lnTo>
                      <a:pt x="18" y="580"/>
                    </a:lnTo>
                    <a:lnTo>
                      <a:pt x="18" y="580"/>
                    </a:lnTo>
                    <a:lnTo>
                      <a:pt x="18" y="580"/>
                    </a:lnTo>
                    <a:close/>
                    <a:moveTo>
                      <a:pt x="15" y="583"/>
                    </a:moveTo>
                    <a:lnTo>
                      <a:pt x="15" y="582"/>
                    </a:lnTo>
                    <a:lnTo>
                      <a:pt x="18" y="582"/>
                    </a:lnTo>
                    <a:lnTo>
                      <a:pt x="18" y="583"/>
                    </a:lnTo>
                    <a:lnTo>
                      <a:pt x="18" y="585"/>
                    </a:lnTo>
                    <a:lnTo>
                      <a:pt x="15" y="585"/>
                    </a:lnTo>
                    <a:lnTo>
                      <a:pt x="15" y="585"/>
                    </a:lnTo>
                    <a:lnTo>
                      <a:pt x="15" y="583"/>
                    </a:lnTo>
                    <a:lnTo>
                      <a:pt x="15" y="583"/>
                    </a:lnTo>
                    <a:lnTo>
                      <a:pt x="15" y="583"/>
                    </a:lnTo>
                    <a:lnTo>
                      <a:pt x="15" y="583"/>
                    </a:lnTo>
                    <a:close/>
                    <a:moveTo>
                      <a:pt x="11" y="589"/>
                    </a:moveTo>
                    <a:lnTo>
                      <a:pt x="13" y="593"/>
                    </a:lnTo>
                    <a:lnTo>
                      <a:pt x="11" y="595"/>
                    </a:lnTo>
                    <a:lnTo>
                      <a:pt x="9" y="593"/>
                    </a:lnTo>
                    <a:lnTo>
                      <a:pt x="11" y="589"/>
                    </a:lnTo>
                    <a:lnTo>
                      <a:pt x="11" y="589"/>
                    </a:lnTo>
                    <a:lnTo>
                      <a:pt x="11" y="589"/>
                    </a:lnTo>
                    <a:lnTo>
                      <a:pt x="11" y="589"/>
                    </a:lnTo>
                    <a:close/>
                    <a:moveTo>
                      <a:pt x="28" y="589"/>
                    </a:moveTo>
                    <a:lnTo>
                      <a:pt x="30" y="593"/>
                    </a:lnTo>
                    <a:lnTo>
                      <a:pt x="26" y="593"/>
                    </a:lnTo>
                    <a:lnTo>
                      <a:pt x="28" y="589"/>
                    </a:lnTo>
                    <a:lnTo>
                      <a:pt x="28" y="589"/>
                    </a:lnTo>
                    <a:lnTo>
                      <a:pt x="28" y="589"/>
                    </a:lnTo>
                    <a:lnTo>
                      <a:pt x="28" y="589"/>
                    </a:lnTo>
                    <a:close/>
                    <a:moveTo>
                      <a:pt x="22" y="587"/>
                    </a:moveTo>
                    <a:lnTo>
                      <a:pt x="26" y="585"/>
                    </a:lnTo>
                    <a:lnTo>
                      <a:pt x="26" y="591"/>
                    </a:lnTo>
                    <a:lnTo>
                      <a:pt x="22" y="587"/>
                    </a:lnTo>
                    <a:lnTo>
                      <a:pt x="22" y="587"/>
                    </a:lnTo>
                    <a:lnTo>
                      <a:pt x="22" y="587"/>
                    </a:lnTo>
                    <a:lnTo>
                      <a:pt x="22" y="587"/>
                    </a:lnTo>
                    <a:close/>
                    <a:moveTo>
                      <a:pt x="15" y="615"/>
                    </a:moveTo>
                    <a:lnTo>
                      <a:pt x="15" y="615"/>
                    </a:lnTo>
                    <a:lnTo>
                      <a:pt x="18" y="619"/>
                    </a:lnTo>
                    <a:lnTo>
                      <a:pt x="15" y="619"/>
                    </a:lnTo>
                    <a:lnTo>
                      <a:pt x="15" y="615"/>
                    </a:lnTo>
                    <a:lnTo>
                      <a:pt x="15" y="615"/>
                    </a:lnTo>
                    <a:lnTo>
                      <a:pt x="15" y="615"/>
                    </a:lnTo>
                    <a:lnTo>
                      <a:pt x="15" y="615"/>
                    </a:lnTo>
                    <a:close/>
                    <a:moveTo>
                      <a:pt x="15" y="593"/>
                    </a:moveTo>
                    <a:lnTo>
                      <a:pt x="15" y="589"/>
                    </a:lnTo>
                    <a:lnTo>
                      <a:pt x="15" y="587"/>
                    </a:lnTo>
                    <a:lnTo>
                      <a:pt x="18" y="587"/>
                    </a:lnTo>
                    <a:lnTo>
                      <a:pt x="18" y="591"/>
                    </a:lnTo>
                    <a:lnTo>
                      <a:pt x="18" y="591"/>
                    </a:lnTo>
                    <a:lnTo>
                      <a:pt x="15" y="593"/>
                    </a:lnTo>
                    <a:lnTo>
                      <a:pt x="15" y="593"/>
                    </a:lnTo>
                    <a:lnTo>
                      <a:pt x="15" y="593"/>
                    </a:lnTo>
                    <a:lnTo>
                      <a:pt x="15" y="593"/>
                    </a:lnTo>
                    <a:close/>
                    <a:moveTo>
                      <a:pt x="7" y="599"/>
                    </a:moveTo>
                    <a:lnTo>
                      <a:pt x="3" y="597"/>
                    </a:lnTo>
                    <a:lnTo>
                      <a:pt x="3" y="595"/>
                    </a:lnTo>
                    <a:lnTo>
                      <a:pt x="7" y="595"/>
                    </a:lnTo>
                    <a:lnTo>
                      <a:pt x="9" y="597"/>
                    </a:lnTo>
                    <a:lnTo>
                      <a:pt x="7" y="599"/>
                    </a:lnTo>
                    <a:lnTo>
                      <a:pt x="7" y="599"/>
                    </a:lnTo>
                    <a:lnTo>
                      <a:pt x="7" y="599"/>
                    </a:lnTo>
                    <a:lnTo>
                      <a:pt x="7" y="599"/>
                    </a:lnTo>
                    <a:close/>
                    <a:moveTo>
                      <a:pt x="20" y="610"/>
                    </a:moveTo>
                    <a:lnTo>
                      <a:pt x="22" y="610"/>
                    </a:lnTo>
                    <a:lnTo>
                      <a:pt x="22" y="614"/>
                    </a:lnTo>
                    <a:lnTo>
                      <a:pt x="20" y="610"/>
                    </a:lnTo>
                    <a:lnTo>
                      <a:pt x="20" y="610"/>
                    </a:lnTo>
                    <a:lnTo>
                      <a:pt x="20" y="610"/>
                    </a:lnTo>
                    <a:lnTo>
                      <a:pt x="20" y="610"/>
                    </a:lnTo>
                    <a:close/>
                    <a:moveTo>
                      <a:pt x="24" y="615"/>
                    </a:moveTo>
                    <a:lnTo>
                      <a:pt x="28" y="615"/>
                    </a:lnTo>
                    <a:lnTo>
                      <a:pt x="26" y="617"/>
                    </a:lnTo>
                    <a:lnTo>
                      <a:pt x="24" y="615"/>
                    </a:lnTo>
                    <a:lnTo>
                      <a:pt x="24" y="615"/>
                    </a:lnTo>
                    <a:lnTo>
                      <a:pt x="24" y="615"/>
                    </a:lnTo>
                    <a:lnTo>
                      <a:pt x="24" y="615"/>
                    </a:lnTo>
                    <a:close/>
                    <a:moveTo>
                      <a:pt x="32" y="582"/>
                    </a:moveTo>
                    <a:lnTo>
                      <a:pt x="34" y="582"/>
                    </a:lnTo>
                    <a:lnTo>
                      <a:pt x="37" y="583"/>
                    </a:lnTo>
                    <a:lnTo>
                      <a:pt x="34" y="583"/>
                    </a:lnTo>
                    <a:lnTo>
                      <a:pt x="32" y="582"/>
                    </a:lnTo>
                    <a:lnTo>
                      <a:pt x="32" y="582"/>
                    </a:lnTo>
                    <a:lnTo>
                      <a:pt x="32" y="582"/>
                    </a:lnTo>
                    <a:lnTo>
                      <a:pt x="32" y="582"/>
                    </a:lnTo>
                    <a:close/>
                    <a:moveTo>
                      <a:pt x="39" y="585"/>
                    </a:moveTo>
                    <a:lnTo>
                      <a:pt x="39" y="585"/>
                    </a:lnTo>
                    <a:lnTo>
                      <a:pt x="43" y="589"/>
                    </a:lnTo>
                    <a:lnTo>
                      <a:pt x="45" y="593"/>
                    </a:lnTo>
                    <a:lnTo>
                      <a:pt x="43" y="595"/>
                    </a:lnTo>
                    <a:lnTo>
                      <a:pt x="43" y="599"/>
                    </a:lnTo>
                    <a:lnTo>
                      <a:pt x="39" y="599"/>
                    </a:lnTo>
                    <a:lnTo>
                      <a:pt x="39" y="599"/>
                    </a:lnTo>
                    <a:lnTo>
                      <a:pt x="35" y="597"/>
                    </a:lnTo>
                    <a:lnTo>
                      <a:pt x="34" y="600"/>
                    </a:lnTo>
                    <a:lnTo>
                      <a:pt x="34" y="597"/>
                    </a:lnTo>
                    <a:lnTo>
                      <a:pt x="32" y="593"/>
                    </a:lnTo>
                    <a:lnTo>
                      <a:pt x="34" y="587"/>
                    </a:lnTo>
                    <a:lnTo>
                      <a:pt x="39" y="585"/>
                    </a:lnTo>
                    <a:lnTo>
                      <a:pt x="39" y="585"/>
                    </a:lnTo>
                    <a:lnTo>
                      <a:pt x="39" y="585"/>
                    </a:lnTo>
                    <a:lnTo>
                      <a:pt x="39" y="585"/>
                    </a:lnTo>
                    <a:close/>
                    <a:moveTo>
                      <a:pt x="18" y="597"/>
                    </a:moveTo>
                    <a:lnTo>
                      <a:pt x="18" y="595"/>
                    </a:lnTo>
                    <a:lnTo>
                      <a:pt x="26" y="595"/>
                    </a:lnTo>
                    <a:lnTo>
                      <a:pt x="24" y="597"/>
                    </a:lnTo>
                    <a:lnTo>
                      <a:pt x="18" y="597"/>
                    </a:lnTo>
                    <a:lnTo>
                      <a:pt x="18" y="599"/>
                    </a:lnTo>
                    <a:lnTo>
                      <a:pt x="18" y="599"/>
                    </a:lnTo>
                    <a:lnTo>
                      <a:pt x="18" y="597"/>
                    </a:lnTo>
                    <a:lnTo>
                      <a:pt x="18" y="597"/>
                    </a:lnTo>
                    <a:lnTo>
                      <a:pt x="18" y="597"/>
                    </a:lnTo>
                    <a:lnTo>
                      <a:pt x="18" y="597"/>
                    </a:lnTo>
                    <a:close/>
                    <a:moveTo>
                      <a:pt x="20" y="604"/>
                    </a:moveTo>
                    <a:lnTo>
                      <a:pt x="18" y="600"/>
                    </a:lnTo>
                    <a:lnTo>
                      <a:pt x="24" y="600"/>
                    </a:lnTo>
                    <a:lnTo>
                      <a:pt x="26" y="600"/>
                    </a:lnTo>
                    <a:lnTo>
                      <a:pt x="26" y="604"/>
                    </a:lnTo>
                    <a:lnTo>
                      <a:pt x="20" y="604"/>
                    </a:lnTo>
                    <a:lnTo>
                      <a:pt x="20" y="604"/>
                    </a:lnTo>
                    <a:lnTo>
                      <a:pt x="20" y="604"/>
                    </a:lnTo>
                    <a:lnTo>
                      <a:pt x="20" y="604"/>
                    </a:lnTo>
                    <a:close/>
                    <a:moveTo>
                      <a:pt x="22" y="606"/>
                    </a:moveTo>
                    <a:lnTo>
                      <a:pt x="26" y="604"/>
                    </a:lnTo>
                    <a:lnTo>
                      <a:pt x="30" y="604"/>
                    </a:lnTo>
                    <a:lnTo>
                      <a:pt x="30" y="610"/>
                    </a:lnTo>
                    <a:lnTo>
                      <a:pt x="28" y="614"/>
                    </a:lnTo>
                    <a:lnTo>
                      <a:pt x="26" y="612"/>
                    </a:lnTo>
                    <a:lnTo>
                      <a:pt x="24" y="608"/>
                    </a:lnTo>
                    <a:lnTo>
                      <a:pt x="22" y="606"/>
                    </a:lnTo>
                    <a:lnTo>
                      <a:pt x="22" y="606"/>
                    </a:lnTo>
                    <a:lnTo>
                      <a:pt x="22" y="606"/>
                    </a:lnTo>
                    <a:lnTo>
                      <a:pt x="22" y="606"/>
                    </a:lnTo>
                    <a:close/>
                    <a:moveTo>
                      <a:pt x="18" y="615"/>
                    </a:moveTo>
                    <a:lnTo>
                      <a:pt x="18" y="614"/>
                    </a:lnTo>
                    <a:lnTo>
                      <a:pt x="20" y="615"/>
                    </a:lnTo>
                    <a:lnTo>
                      <a:pt x="22" y="615"/>
                    </a:lnTo>
                    <a:lnTo>
                      <a:pt x="24" y="619"/>
                    </a:lnTo>
                    <a:lnTo>
                      <a:pt x="20" y="619"/>
                    </a:lnTo>
                    <a:lnTo>
                      <a:pt x="18" y="615"/>
                    </a:lnTo>
                    <a:lnTo>
                      <a:pt x="18" y="615"/>
                    </a:lnTo>
                    <a:lnTo>
                      <a:pt x="18" y="615"/>
                    </a:lnTo>
                    <a:lnTo>
                      <a:pt x="18" y="615"/>
                    </a:lnTo>
                    <a:close/>
                    <a:moveTo>
                      <a:pt x="28" y="689"/>
                    </a:moveTo>
                    <a:lnTo>
                      <a:pt x="30" y="687"/>
                    </a:lnTo>
                    <a:lnTo>
                      <a:pt x="28" y="685"/>
                    </a:lnTo>
                    <a:lnTo>
                      <a:pt x="26" y="687"/>
                    </a:lnTo>
                    <a:lnTo>
                      <a:pt x="22" y="680"/>
                    </a:lnTo>
                    <a:lnTo>
                      <a:pt x="18" y="676"/>
                    </a:lnTo>
                    <a:lnTo>
                      <a:pt x="20" y="674"/>
                    </a:lnTo>
                    <a:lnTo>
                      <a:pt x="24" y="674"/>
                    </a:lnTo>
                    <a:lnTo>
                      <a:pt x="26" y="674"/>
                    </a:lnTo>
                    <a:lnTo>
                      <a:pt x="28" y="678"/>
                    </a:lnTo>
                    <a:lnTo>
                      <a:pt x="32" y="680"/>
                    </a:lnTo>
                    <a:lnTo>
                      <a:pt x="32" y="683"/>
                    </a:lnTo>
                    <a:lnTo>
                      <a:pt x="34" y="687"/>
                    </a:lnTo>
                    <a:lnTo>
                      <a:pt x="35" y="693"/>
                    </a:lnTo>
                    <a:lnTo>
                      <a:pt x="32" y="693"/>
                    </a:lnTo>
                    <a:lnTo>
                      <a:pt x="28" y="693"/>
                    </a:lnTo>
                    <a:lnTo>
                      <a:pt x="28" y="689"/>
                    </a:lnTo>
                    <a:lnTo>
                      <a:pt x="28" y="689"/>
                    </a:lnTo>
                    <a:lnTo>
                      <a:pt x="28" y="689"/>
                    </a:lnTo>
                    <a:lnTo>
                      <a:pt x="28" y="689"/>
                    </a:lnTo>
                    <a:close/>
                    <a:moveTo>
                      <a:pt x="15" y="681"/>
                    </a:moveTo>
                    <a:lnTo>
                      <a:pt x="15" y="680"/>
                    </a:lnTo>
                    <a:lnTo>
                      <a:pt x="15" y="678"/>
                    </a:lnTo>
                    <a:lnTo>
                      <a:pt x="18" y="678"/>
                    </a:lnTo>
                    <a:lnTo>
                      <a:pt x="22" y="687"/>
                    </a:lnTo>
                    <a:lnTo>
                      <a:pt x="26" y="691"/>
                    </a:lnTo>
                    <a:lnTo>
                      <a:pt x="26" y="695"/>
                    </a:lnTo>
                    <a:lnTo>
                      <a:pt x="24" y="698"/>
                    </a:lnTo>
                    <a:lnTo>
                      <a:pt x="20" y="695"/>
                    </a:lnTo>
                    <a:lnTo>
                      <a:pt x="20" y="691"/>
                    </a:lnTo>
                    <a:lnTo>
                      <a:pt x="20" y="689"/>
                    </a:lnTo>
                    <a:lnTo>
                      <a:pt x="18" y="687"/>
                    </a:lnTo>
                    <a:lnTo>
                      <a:pt x="15" y="685"/>
                    </a:lnTo>
                    <a:lnTo>
                      <a:pt x="15" y="681"/>
                    </a:lnTo>
                    <a:lnTo>
                      <a:pt x="15" y="681"/>
                    </a:lnTo>
                    <a:lnTo>
                      <a:pt x="15" y="681"/>
                    </a:lnTo>
                    <a:lnTo>
                      <a:pt x="15" y="681"/>
                    </a:lnTo>
                    <a:close/>
                    <a:moveTo>
                      <a:pt x="15" y="687"/>
                    </a:moveTo>
                    <a:lnTo>
                      <a:pt x="15" y="689"/>
                    </a:lnTo>
                    <a:lnTo>
                      <a:pt x="18" y="689"/>
                    </a:lnTo>
                    <a:lnTo>
                      <a:pt x="18" y="693"/>
                    </a:lnTo>
                    <a:lnTo>
                      <a:pt x="18" y="695"/>
                    </a:lnTo>
                    <a:lnTo>
                      <a:pt x="18" y="695"/>
                    </a:lnTo>
                    <a:lnTo>
                      <a:pt x="18" y="695"/>
                    </a:lnTo>
                    <a:lnTo>
                      <a:pt x="15" y="693"/>
                    </a:lnTo>
                    <a:lnTo>
                      <a:pt x="15" y="687"/>
                    </a:lnTo>
                    <a:lnTo>
                      <a:pt x="15" y="687"/>
                    </a:lnTo>
                    <a:lnTo>
                      <a:pt x="15" y="687"/>
                    </a:lnTo>
                    <a:lnTo>
                      <a:pt x="15" y="687"/>
                    </a:lnTo>
                    <a:close/>
                    <a:moveTo>
                      <a:pt x="20" y="710"/>
                    </a:moveTo>
                    <a:lnTo>
                      <a:pt x="18" y="708"/>
                    </a:lnTo>
                    <a:lnTo>
                      <a:pt x="20" y="706"/>
                    </a:lnTo>
                    <a:lnTo>
                      <a:pt x="18" y="698"/>
                    </a:lnTo>
                    <a:lnTo>
                      <a:pt x="20" y="698"/>
                    </a:lnTo>
                    <a:lnTo>
                      <a:pt x="20" y="698"/>
                    </a:lnTo>
                    <a:lnTo>
                      <a:pt x="24" y="700"/>
                    </a:lnTo>
                    <a:lnTo>
                      <a:pt x="26" y="704"/>
                    </a:lnTo>
                    <a:lnTo>
                      <a:pt x="24" y="704"/>
                    </a:lnTo>
                    <a:lnTo>
                      <a:pt x="20" y="710"/>
                    </a:lnTo>
                    <a:lnTo>
                      <a:pt x="20" y="710"/>
                    </a:lnTo>
                    <a:lnTo>
                      <a:pt x="20" y="710"/>
                    </a:lnTo>
                    <a:lnTo>
                      <a:pt x="20" y="710"/>
                    </a:lnTo>
                    <a:close/>
                    <a:moveTo>
                      <a:pt x="26" y="725"/>
                    </a:moveTo>
                    <a:lnTo>
                      <a:pt x="24" y="725"/>
                    </a:lnTo>
                    <a:lnTo>
                      <a:pt x="22" y="723"/>
                    </a:lnTo>
                    <a:lnTo>
                      <a:pt x="22" y="721"/>
                    </a:lnTo>
                    <a:lnTo>
                      <a:pt x="20" y="719"/>
                    </a:lnTo>
                    <a:lnTo>
                      <a:pt x="24" y="717"/>
                    </a:lnTo>
                    <a:lnTo>
                      <a:pt x="26" y="721"/>
                    </a:lnTo>
                    <a:lnTo>
                      <a:pt x="26" y="725"/>
                    </a:lnTo>
                    <a:lnTo>
                      <a:pt x="26" y="725"/>
                    </a:lnTo>
                    <a:lnTo>
                      <a:pt x="26" y="725"/>
                    </a:lnTo>
                    <a:lnTo>
                      <a:pt x="26" y="725"/>
                    </a:lnTo>
                    <a:close/>
                    <a:moveTo>
                      <a:pt x="35" y="723"/>
                    </a:moveTo>
                    <a:lnTo>
                      <a:pt x="35" y="725"/>
                    </a:lnTo>
                    <a:lnTo>
                      <a:pt x="34" y="725"/>
                    </a:lnTo>
                    <a:lnTo>
                      <a:pt x="30" y="725"/>
                    </a:lnTo>
                    <a:lnTo>
                      <a:pt x="28" y="719"/>
                    </a:lnTo>
                    <a:lnTo>
                      <a:pt x="24" y="712"/>
                    </a:lnTo>
                    <a:lnTo>
                      <a:pt x="28" y="712"/>
                    </a:lnTo>
                    <a:lnTo>
                      <a:pt x="32" y="710"/>
                    </a:lnTo>
                    <a:lnTo>
                      <a:pt x="32" y="706"/>
                    </a:lnTo>
                    <a:lnTo>
                      <a:pt x="30" y="708"/>
                    </a:lnTo>
                    <a:lnTo>
                      <a:pt x="28" y="708"/>
                    </a:lnTo>
                    <a:lnTo>
                      <a:pt x="28" y="706"/>
                    </a:lnTo>
                    <a:lnTo>
                      <a:pt x="28" y="704"/>
                    </a:lnTo>
                    <a:lnTo>
                      <a:pt x="26" y="700"/>
                    </a:lnTo>
                    <a:lnTo>
                      <a:pt x="26" y="698"/>
                    </a:lnTo>
                    <a:lnTo>
                      <a:pt x="28" y="695"/>
                    </a:lnTo>
                    <a:lnTo>
                      <a:pt x="34" y="695"/>
                    </a:lnTo>
                    <a:lnTo>
                      <a:pt x="37" y="698"/>
                    </a:lnTo>
                    <a:lnTo>
                      <a:pt x="39" y="704"/>
                    </a:lnTo>
                    <a:lnTo>
                      <a:pt x="39" y="710"/>
                    </a:lnTo>
                    <a:lnTo>
                      <a:pt x="39" y="717"/>
                    </a:lnTo>
                    <a:lnTo>
                      <a:pt x="39" y="717"/>
                    </a:lnTo>
                    <a:lnTo>
                      <a:pt x="43" y="723"/>
                    </a:lnTo>
                    <a:lnTo>
                      <a:pt x="43" y="728"/>
                    </a:lnTo>
                    <a:lnTo>
                      <a:pt x="39" y="728"/>
                    </a:lnTo>
                    <a:lnTo>
                      <a:pt x="37" y="728"/>
                    </a:lnTo>
                    <a:lnTo>
                      <a:pt x="37" y="725"/>
                    </a:lnTo>
                    <a:lnTo>
                      <a:pt x="35" y="723"/>
                    </a:lnTo>
                    <a:lnTo>
                      <a:pt x="35" y="723"/>
                    </a:lnTo>
                    <a:lnTo>
                      <a:pt x="35" y="723"/>
                    </a:lnTo>
                    <a:lnTo>
                      <a:pt x="35" y="723"/>
                    </a:lnTo>
                    <a:close/>
                    <a:moveTo>
                      <a:pt x="34" y="740"/>
                    </a:moveTo>
                    <a:lnTo>
                      <a:pt x="32" y="738"/>
                    </a:lnTo>
                    <a:lnTo>
                      <a:pt x="30" y="738"/>
                    </a:lnTo>
                    <a:lnTo>
                      <a:pt x="32" y="734"/>
                    </a:lnTo>
                    <a:lnTo>
                      <a:pt x="32" y="732"/>
                    </a:lnTo>
                    <a:lnTo>
                      <a:pt x="32" y="730"/>
                    </a:lnTo>
                    <a:lnTo>
                      <a:pt x="34" y="732"/>
                    </a:lnTo>
                    <a:lnTo>
                      <a:pt x="37" y="732"/>
                    </a:lnTo>
                    <a:lnTo>
                      <a:pt x="37" y="738"/>
                    </a:lnTo>
                    <a:lnTo>
                      <a:pt x="37" y="738"/>
                    </a:lnTo>
                    <a:lnTo>
                      <a:pt x="35" y="740"/>
                    </a:lnTo>
                    <a:lnTo>
                      <a:pt x="34" y="740"/>
                    </a:lnTo>
                    <a:lnTo>
                      <a:pt x="34" y="740"/>
                    </a:lnTo>
                    <a:lnTo>
                      <a:pt x="34" y="740"/>
                    </a:lnTo>
                    <a:lnTo>
                      <a:pt x="34" y="740"/>
                    </a:lnTo>
                    <a:close/>
                    <a:moveTo>
                      <a:pt x="30" y="745"/>
                    </a:moveTo>
                    <a:lnTo>
                      <a:pt x="30" y="744"/>
                    </a:lnTo>
                    <a:lnTo>
                      <a:pt x="35" y="744"/>
                    </a:lnTo>
                    <a:lnTo>
                      <a:pt x="32" y="745"/>
                    </a:lnTo>
                    <a:lnTo>
                      <a:pt x="30" y="745"/>
                    </a:lnTo>
                    <a:lnTo>
                      <a:pt x="30" y="745"/>
                    </a:lnTo>
                    <a:lnTo>
                      <a:pt x="30" y="745"/>
                    </a:lnTo>
                    <a:lnTo>
                      <a:pt x="30" y="745"/>
                    </a:lnTo>
                    <a:close/>
                    <a:moveTo>
                      <a:pt x="37" y="744"/>
                    </a:moveTo>
                    <a:lnTo>
                      <a:pt x="39" y="745"/>
                    </a:lnTo>
                    <a:lnTo>
                      <a:pt x="39" y="749"/>
                    </a:lnTo>
                    <a:lnTo>
                      <a:pt x="39" y="751"/>
                    </a:lnTo>
                    <a:lnTo>
                      <a:pt x="37" y="747"/>
                    </a:lnTo>
                    <a:lnTo>
                      <a:pt x="37" y="744"/>
                    </a:lnTo>
                    <a:lnTo>
                      <a:pt x="37" y="744"/>
                    </a:lnTo>
                    <a:lnTo>
                      <a:pt x="37" y="744"/>
                    </a:lnTo>
                    <a:lnTo>
                      <a:pt x="37" y="744"/>
                    </a:lnTo>
                    <a:close/>
                    <a:moveTo>
                      <a:pt x="39" y="742"/>
                    </a:moveTo>
                    <a:lnTo>
                      <a:pt x="39" y="740"/>
                    </a:lnTo>
                    <a:lnTo>
                      <a:pt x="43" y="740"/>
                    </a:lnTo>
                    <a:lnTo>
                      <a:pt x="43" y="744"/>
                    </a:lnTo>
                    <a:lnTo>
                      <a:pt x="49" y="744"/>
                    </a:lnTo>
                    <a:lnTo>
                      <a:pt x="49" y="749"/>
                    </a:lnTo>
                    <a:lnTo>
                      <a:pt x="50" y="753"/>
                    </a:lnTo>
                    <a:lnTo>
                      <a:pt x="49" y="747"/>
                    </a:lnTo>
                    <a:lnTo>
                      <a:pt x="43" y="747"/>
                    </a:lnTo>
                    <a:lnTo>
                      <a:pt x="39" y="742"/>
                    </a:lnTo>
                    <a:lnTo>
                      <a:pt x="39" y="742"/>
                    </a:lnTo>
                    <a:lnTo>
                      <a:pt x="39" y="742"/>
                    </a:lnTo>
                    <a:lnTo>
                      <a:pt x="39" y="742"/>
                    </a:lnTo>
                    <a:close/>
                    <a:moveTo>
                      <a:pt x="39" y="749"/>
                    </a:moveTo>
                    <a:lnTo>
                      <a:pt x="43" y="749"/>
                    </a:lnTo>
                    <a:lnTo>
                      <a:pt x="45" y="751"/>
                    </a:lnTo>
                    <a:lnTo>
                      <a:pt x="49" y="757"/>
                    </a:lnTo>
                    <a:lnTo>
                      <a:pt x="49" y="759"/>
                    </a:lnTo>
                    <a:lnTo>
                      <a:pt x="45" y="759"/>
                    </a:lnTo>
                    <a:lnTo>
                      <a:pt x="39" y="753"/>
                    </a:lnTo>
                    <a:lnTo>
                      <a:pt x="39" y="749"/>
                    </a:lnTo>
                    <a:lnTo>
                      <a:pt x="39" y="749"/>
                    </a:lnTo>
                    <a:lnTo>
                      <a:pt x="39" y="749"/>
                    </a:lnTo>
                    <a:lnTo>
                      <a:pt x="39" y="749"/>
                    </a:lnTo>
                    <a:close/>
                    <a:moveTo>
                      <a:pt x="43" y="768"/>
                    </a:moveTo>
                    <a:lnTo>
                      <a:pt x="39" y="768"/>
                    </a:lnTo>
                    <a:lnTo>
                      <a:pt x="37" y="768"/>
                    </a:lnTo>
                    <a:lnTo>
                      <a:pt x="39" y="764"/>
                    </a:lnTo>
                    <a:lnTo>
                      <a:pt x="39" y="762"/>
                    </a:lnTo>
                    <a:lnTo>
                      <a:pt x="39" y="759"/>
                    </a:lnTo>
                    <a:lnTo>
                      <a:pt x="39" y="759"/>
                    </a:lnTo>
                    <a:lnTo>
                      <a:pt x="43" y="759"/>
                    </a:lnTo>
                    <a:lnTo>
                      <a:pt x="45" y="759"/>
                    </a:lnTo>
                    <a:lnTo>
                      <a:pt x="50" y="762"/>
                    </a:lnTo>
                    <a:lnTo>
                      <a:pt x="50" y="764"/>
                    </a:lnTo>
                    <a:lnTo>
                      <a:pt x="49" y="764"/>
                    </a:lnTo>
                    <a:lnTo>
                      <a:pt x="49" y="768"/>
                    </a:lnTo>
                    <a:lnTo>
                      <a:pt x="43" y="768"/>
                    </a:lnTo>
                    <a:lnTo>
                      <a:pt x="43" y="768"/>
                    </a:lnTo>
                    <a:lnTo>
                      <a:pt x="43" y="768"/>
                    </a:lnTo>
                    <a:lnTo>
                      <a:pt x="43" y="768"/>
                    </a:lnTo>
                    <a:close/>
                    <a:moveTo>
                      <a:pt x="49" y="783"/>
                    </a:moveTo>
                    <a:lnTo>
                      <a:pt x="45" y="783"/>
                    </a:lnTo>
                    <a:lnTo>
                      <a:pt x="43" y="781"/>
                    </a:lnTo>
                    <a:lnTo>
                      <a:pt x="43" y="777"/>
                    </a:lnTo>
                    <a:lnTo>
                      <a:pt x="43" y="776"/>
                    </a:lnTo>
                    <a:lnTo>
                      <a:pt x="45" y="776"/>
                    </a:lnTo>
                    <a:lnTo>
                      <a:pt x="45" y="774"/>
                    </a:lnTo>
                    <a:lnTo>
                      <a:pt x="43" y="772"/>
                    </a:lnTo>
                    <a:lnTo>
                      <a:pt x="49" y="772"/>
                    </a:lnTo>
                    <a:lnTo>
                      <a:pt x="49" y="774"/>
                    </a:lnTo>
                    <a:lnTo>
                      <a:pt x="49" y="777"/>
                    </a:lnTo>
                    <a:lnTo>
                      <a:pt x="45" y="779"/>
                    </a:lnTo>
                    <a:lnTo>
                      <a:pt x="49" y="783"/>
                    </a:lnTo>
                    <a:lnTo>
                      <a:pt x="49" y="783"/>
                    </a:lnTo>
                    <a:lnTo>
                      <a:pt x="49" y="783"/>
                    </a:lnTo>
                    <a:lnTo>
                      <a:pt x="49" y="783"/>
                    </a:lnTo>
                    <a:close/>
                    <a:moveTo>
                      <a:pt x="49" y="776"/>
                    </a:moveTo>
                    <a:lnTo>
                      <a:pt x="49" y="774"/>
                    </a:lnTo>
                    <a:lnTo>
                      <a:pt x="50" y="774"/>
                    </a:lnTo>
                    <a:lnTo>
                      <a:pt x="52" y="776"/>
                    </a:lnTo>
                    <a:lnTo>
                      <a:pt x="54" y="777"/>
                    </a:lnTo>
                    <a:lnTo>
                      <a:pt x="54" y="781"/>
                    </a:lnTo>
                    <a:lnTo>
                      <a:pt x="52" y="783"/>
                    </a:lnTo>
                    <a:lnTo>
                      <a:pt x="50" y="781"/>
                    </a:lnTo>
                    <a:lnTo>
                      <a:pt x="50" y="781"/>
                    </a:lnTo>
                    <a:lnTo>
                      <a:pt x="49" y="779"/>
                    </a:lnTo>
                    <a:lnTo>
                      <a:pt x="49" y="776"/>
                    </a:lnTo>
                    <a:lnTo>
                      <a:pt x="49" y="776"/>
                    </a:lnTo>
                    <a:lnTo>
                      <a:pt x="49" y="776"/>
                    </a:lnTo>
                    <a:lnTo>
                      <a:pt x="49" y="776"/>
                    </a:lnTo>
                    <a:close/>
                    <a:moveTo>
                      <a:pt x="54" y="777"/>
                    </a:moveTo>
                    <a:lnTo>
                      <a:pt x="60" y="779"/>
                    </a:lnTo>
                    <a:lnTo>
                      <a:pt x="60" y="783"/>
                    </a:lnTo>
                    <a:lnTo>
                      <a:pt x="58" y="783"/>
                    </a:lnTo>
                    <a:lnTo>
                      <a:pt x="56" y="781"/>
                    </a:lnTo>
                    <a:lnTo>
                      <a:pt x="54" y="777"/>
                    </a:lnTo>
                    <a:lnTo>
                      <a:pt x="54" y="777"/>
                    </a:lnTo>
                    <a:lnTo>
                      <a:pt x="54" y="777"/>
                    </a:lnTo>
                    <a:lnTo>
                      <a:pt x="54" y="777"/>
                    </a:lnTo>
                    <a:close/>
                    <a:moveTo>
                      <a:pt x="54" y="789"/>
                    </a:moveTo>
                    <a:lnTo>
                      <a:pt x="52" y="793"/>
                    </a:lnTo>
                    <a:lnTo>
                      <a:pt x="50" y="789"/>
                    </a:lnTo>
                    <a:lnTo>
                      <a:pt x="52" y="789"/>
                    </a:lnTo>
                    <a:lnTo>
                      <a:pt x="52" y="785"/>
                    </a:lnTo>
                    <a:lnTo>
                      <a:pt x="54" y="785"/>
                    </a:lnTo>
                    <a:lnTo>
                      <a:pt x="56" y="787"/>
                    </a:lnTo>
                    <a:lnTo>
                      <a:pt x="54" y="789"/>
                    </a:lnTo>
                    <a:lnTo>
                      <a:pt x="54" y="789"/>
                    </a:lnTo>
                    <a:lnTo>
                      <a:pt x="54" y="789"/>
                    </a:lnTo>
                    <a:lnTo>
                      <a:pt x="54" y="789"/>
                    </a:lnTo>
                    <a:close/>
                    <a:moveTo>
                      <a:pt x="64" y="781"/>
                    </a:moveTo>
                    <a:lnTo>
                      <a:pt x="60" y="779"/>
                    </a:lnTo>
                    <a:lnTo>
                      <a:pt x="58" y="776"/>
                    </a:lnTo>
                    <a:lnTo>
                      <a:pt x="58" y="770"/>
                    </a:lnTo>
                    <a:lnTo>
                      <a:pt x="60" y="770"/>
                    </a:lnTo>
                    <a:lnTo>
                      <a:pt x="62" y="776"/>
                    </a:lnTo>
                    <a:lnTo>
                      <a:pt x="64" y="779"/>
                    </a:lnTo>
                    <a:lnTo>
                      <a:pt x="64" y="781"/>
                    </a:lnTo>
                    <a:lnTo>
                      <a:pt x="64" y="781"/>
                    </a:lnTo>
                    <a:lnTo>
                      <a:pt x="64" y="781"/>
                    </a:lnTo>
                    <a:lnTo>
                      <a:pt x="64" y="781"/>
                    </a:lnTo>
                    <a:lnTo>
                      <a:pt x="64" y="781"/>
                    </a:lnTo>
                    <a:close/>
                    <a:moveTo>
                      <a:pt x="64" y="787"/>
                    </a:moveTo>
                    <a:lnTo>
                      <a:pt x="62" y="785"/>
                    </a:lnTo>
                    <a:lnTo>
                      <a:pt x="62" y="783"/>
                    </a:lnTo>
                    <a:lnTo>
                      <a:pt x="64" y="783"/>
                    </a:lnTo>
                    <a:lnTo>
                      <a:pt x="64" y="787"/>
                    </a:lnTo>
                    <a:lnTo>
                      <a:pt x="64" y="787"/>
                    </a:lnTo>
                    <a:lnTo>
                      <a:pt x="64" y="787"/>
                    </a:lnTo>
                    <a:lnTo>
                      <a:pt x="64" y="787"/>
                    </a:lnTo>
                    <a:lnTo>
                      <a:pt x="64" y="787"/>
                    </a:lnTo>
                    <a:close/>
                    <a:moveTo>
                      <a:pt x="64" y="793"/>
                    </a:moveTo>
                    <a:lnTo>
                      <a:pt x="62" y="789"/>
                    </a:lnTo>
                    <a:lnTo>
                      <a:pt x="60" y="787"/>
                    </a:lnTo>
                    <a:lnTo>
                      <a:pt x="62" y="787"/>
                    </a:lnTo>
                    <a:lnTo>
                      <a:pt x="67" y="789"/>
                    </a:lnTo>
                    <a:lnTo>
                      <a:pt x="67" y="793"/>
                    </a:lnTo>
                    <a:lnTo>
                      <a:pt x="64" y="793"/>
                    </a:lnTo>
                    <a:lnTo>
                      <a:pt x="64" y="793"/>
                    </a:lnTo>
                    <a:lnTo>
                      <a:pt x="64" y="793"/>
                    </a:lnTo>
                    <a:lnTo>
                      <a:pt x="64" y="793"/>
                    </a:lnTo>
                    <a:close/>
                    <a:moveTo>
                      <a:pt x="69" y="802"/>
                    </a:moveTo>
                    <a:lnTo>
                      <a:pt x="69" y="800"/>
                    </a:lnTo>
                    <a:lnTo>
                      <a:pt x="67" y="800"/>
                    </a:lnTo>
                    <a:lnTo>
                      <a:pt x="64" y="798"/>
                    </a:lnTo>
                    <a:lnTo>
                      <a:pt x="62" y="798"/>
                    </a:lnTo>
                    <a:lnTo>
                      <a:pt x="60" y="798"/>
                    </a:lnTo>
                    <a:lnTo>
                      <a:pt x="64" y="794"/>
                    </a:lnTo>
                    <a:lnTo>
                      <a:pt x="64" y="798"/>
                    </a:lnTo>
                    <a:lnTo>
                      <a:pt x="69" y="794"/>
                    </a:lnTo>
                    <a:lnTo>
                      <a:pt x="73" y="798"/>
                    </a:lnTo>
                    <a:lnTo>
                      <a:pt x="69" y="802"/>
                    </a:lnTo>
                    <a:lnTo>
                      <a:pt x="69" y="802"/>
                    </a:lnTo>
                    <a:lnTo>
                      <a:pt x="69" y="802"/>
                    </a:lnTo>
                    <a:lnTo>
                      <a:pt x="69" y="802"/>
                    </a:lnTo>
                    <a:close/>
                    <a:moveTo>
                      <a:pt x="81" y="819"/>
                    </a:moveTo>
                    <a:lnTo>
                      <a:pt x="75" y="819"/>
                    </a:lnTo>
                    <a:lnTo>
                      <a:pt x="73" y="819"/>
                    </a:lnTo>
                    <a:lnTo>
                      <a:pt x="73" y="819"/>
                    </a:lnTo>
                    <a:lnTo>
                      <a:pt x="69" y="817"/>
                    </a:lnTo>
                    <a:lnTo>
                      <a:pt x="64" y="815"/>
                    </a:lnTo>
                    <a:lnTo>
                      <a:pt x="62" y="815"/>
                    </a:lnTo>
                    <a:lnTo>
                      <a:pt x="58" y="809"/>
                    </a:lnTo>
                    <a:lnTo>
                      <a:pt x="58" y="806"/>
                    </a:lnTo>
                    <a:lnTo>
                      <a:pt x="58" y="804"/>
                    </a:lnTo>
                    <a:lnTo>
                      <a:pt x="60" y="806"/>
                    </a:lnTo>
                    <a:lnTo>
                      <a:pt x="64" y="811"/>
                    </a:lnTo>
                    <a:lnTo>
                      <a:pt x="67" y="813"/>
                    </a:lnTo>
                    <a:lnTo>
                      <a:pt x="69" y="813"/>
                    </a:lnTo>
                    <a:lnTo>
                      <a:pt x="73" y="813"/>
                    </a:lnTo>
                    <a:lnTo>
                      <a:pt x="75" y="815"/>
                    </a:lnTo>
                    <a:lnTo>
                      <a:pt x="81" y="815"/>
                    </a:lnTo>
                    <a:lnTo>
                      <a:pt x="82" y="817"/>
                    </a:lnTo>
                    <a:lnTo>
                      <a:pt x="86" y="819"/>
                    </a:lnTo>
                    <a:lnTo>
                      <a:pt x="88" y="819"/>
                    </a:lnTo>
                    <a:lnTo>
                      <a:pt x="88" y="823"/>
                    </a:lnTo>
                    <a:lnTo>
                      <a:pt x="88" y="823"/>
                    </a:lnTo>
                    <a:lnTo>
                      <a:pt x="84" y="823"/>
                    </a:lnTo>
                    <a:lnTo>
                      <a:pt x="81" y="819"/>
                    </a:lnTo>
                    <a:lnTo>
                      <a:pt x="81" y="819"/>
                    </a:lnTo>
                    <a:lnTo>
                      <a:pt x="81" y="819"/>
                    </a:lnTo>
                    <a:lnTo>
                      <a:pt x="81" y="819"/>
                    </a:lnTo>
                    <a:close/>
                    <a:moveTo>
                      <a:pt x="69" y="823"/>
                    </a:moveTo>
                    <a:lnTo>
                      <a:pt x="69" y="823"/>
                    </a:lnTo>
                    <a:lnTo>
                      <a:pt x="69" y="826"/>
                    </a:lnTo>
                    <a:lnTo>
                      <a:pt x="67" y="823"/>
                    </a:lnTo>
                    <a:lnTo>
                      <a:pt x="69" y="823"/>
                    </a:lnTo>
                    <a:lnTo>
                      <a:pt x="69" y="823"/>
                    </a:lnTo>
                    <a:lnTo>
                      <a:pt x="69" y="823"/>
                    </a:lnTo>
                    <a:lnTo>
                      <a:pt x="69" y="823"/>
                    </a:lnTo>
                    <a:close/>
                    <a:moveTo>
                      <a:pt x="94" y="840"/>
                    </a:moveTo>
                    <a:lnTo>
                      <a:pt x="94" y="840"/>
                    </a:lnTo>
                    <a:lnTo>
                      <a:pt x="98" y="840"/>
                    </a:lnTo>
                    <a:lnTo>
                      <a:pt x="94" y="838"/>
                    </a:lnTo>
                    <a:lnTo>
                      <a:pt x="94" y="838"/>
                    </a:lnTo>
                    <a:lnTo>
                      <a:pt x="94" y="840"/>
                    </a:lnTo>
                    <a:lnTo>
                      <a:pt x="94" y="840"/>
                    </a:lnTo>
                    <a:lnTo>
                      <a:pt x="94" y="840"/>
                    </a:lnTo>
                    <a:lnTo>
                      <a:pt x="94" y="840"/>
                    </a:lnTo>
                    <a:close/>
                    <a:moveTo>
                      <a:pt x="103" y="842"/>
                    </a:moveTo>
                    <a:lnTo>
                      <a:pt x="99" y="842"/>
                    </a:lnTo>
                    <a:lnTo>
                      <a:pt x="98" y="840"/>
                    </a:lnTo>
                    <a:lnTo>
                      <a:pt x="98" y="838"/>
                    </a:lnTo>
                    <a:lnTo>
                      <a:pt x="98" y="836"/>
                    </a:lnTo>
                    <a:lnTo>
                      <a:pt x="92" y="836"/>
                    </a:lnTo>
                    <a:lnTo>
                      <a:pt x="88" y="836"/>
                    </a:lnTo>
                    <a:lnTo>
                      <a:pt x="86" y="832"/>
                    </a:lnTo>
                    <a:lnTo>
                      <a:pt x="82" y="832"/>
                    </a:lnTo>
                    <a:lnTo>
                      <a:pt x="81" y="826"/>
                    </a:lnTo>
                    <a:lnTo>
                      <a:pt x="77" y="826"/>
                    </a:lnTo>
                    <a:lnTo>
                      <a:pt x="77" y="823"/>
                    </a:lnTo>
                    <a:lnTo>
                      <a:pt x="79" y="823"/>
                    </a:lnTo>
                    <a:lnTo>
                      <a:pt x="81" y="823"/>
                    </a:lnTo>
                    <a:lnTo>
                      <a:pt x="82" y="823"/>
                    </a:lnTo>
                    <a:lnTo>
                      <a:pt x="84" y="826"/>
                    </a:lnTo>
                    <a:lnTo>
                      <a:pt x="88" y="823"/>
                    </a:lnTo>
                    <a:lnTo>
                      <a:pt x="92" y="823"/>
                    </a:lnTo>
                    <a:lnTo>
                      <a:pt x="98" y="826"/>
                    </a:lnTo>
                    <a:lnTo>
                      <a:pt x="99" y="828"/>
                    </a:lnTo>
                    <a:lnTo>
                      <a:pt x="99" y="832"/>
                    </a:lnTo>
                    <a:lnTo>
                      <a:pt x="103" y="828"/>
                    </a:lnTo>
                    <a:lnTo>
                      <a:pt x="107" y="832"/>
                    </a:lnTo>
                    <a:lnTo>
                      <a:pt x="107" y="832"/>
                    </a:lnTo>
                    <a:lnTo>
                      <a:pt x="105" y="832"/>
                    </a:lnTo>
                    <a:lnTo>
                      <a:pt x="103" y="834"/>
                    </a:lnTo>
                    <a:lnTo>
                      <a:pt x="105" y="834"/>
                    </a:lnTo>
                    <a:lnTo>
                      <a:pt x="105" y="836"/>
                    </a:lnTo>
                    <a:lnTo>
                      <a:pt x="101" y="840"/>
                    </a:lnTo>
                    <a:lnTo>
                      <a:pt x="103" y="842"/>
                    </a:lnTo>
                    <a:lnTo>
                      <a:pt x="103" y="842"/>
                    </a:lnTo>
                    <a:lnTo>
                      <a:pt x="103" y="842"/>
                    </a:lnTo>
                    <a:lnTo>
                      <a:pt x="103" y="842"/>
                    </a:lnTo>
                    <a:close/>
                    <a:moveTo>
                      <a:pt x="107" y="840"/>
                    </a:moveTo>
                    <a:lnTo>
                      <a:pt x="105" y="843"/>
                    </a:lnTo>
                    <a:lnTo>
                      <a:pt x="105" y="845"/>
                    </a:lnTo>
                    <a:lnTo>
                      <a:pt x="109" y="843"/>
                    </a:lnTo>
                    <a:lnTo>
                      <a:pt x="109" y="842"/>
                    </a:lnTo>
                    <a:lnTo>
                      <a:pt x="111" y="840"/>
                    </a:lnTo>
                    <a:lnTo>
                      <a:pt x="109" y="840"/>
                    </a:lnTo>
                    <a:lnTo>
                      <a:pt x="107" y="840"/>
                    </a:lnTo>
                    <a:lnTo>
                      <a:pt x="107" y="840"/>
                    </a:lnTo>
                    <a:lnTo>
                      <a:pt x="107" y="840"/>
                    </a:lnTo>
                    <a:lnTo>
                      <a:pt x="107" y="840"/>
                    </a:lnTo>
                    <a:close/>
                    <a:moveTo>
                      <a:pt x="128" y="836"/>
                    </a:moveTo>
                    <a:lnTo>
                      <a:pt x="126" y="840"/>
                    </a:lnTo>
                    <a:lnTo>
                      <a:pt x="128" y="842"/>
                    </a:lnTo>
                    <a:lnTo>
                      <a:pt x="126" y="843"/>
                    </a:lnTo>
                    <a:lnTo>
                      <a:pt x="122" y="843"/>
                    </a:lnTo>
                    <a:lnTo>
                      <a:pt x="122" y="842"/>
                    </a:lnTo>
                    <a:lnTo>
                      <a:pt x="118" y="842"/>
                    </a:lnTo>
                    <a:lnTo>
                      <a:pt x="118" y="840"/>
                    </a:lnTo>
                    <a:lnTo>
                      <a:pt x="114" y="840"/>
                    </a:lnTo>
                    <a:lnTo>
                      <a:pt x="113" y="842"/>
                    </a:lnTo>
                    <a:lnTo>
                      <a:pt x="111" y="838"/>
                    </a:lnTo>
                    <a:lnTo>
                      <a:pt x="109" y="838"/>
                    </a:lnTo>
                    <a:lnTo>
                      <a:pt x="109" y="834"/>
                    </a:lnTo>
                    <a:lnTo>
                      <a:pt x="114" y="834"/>
                    </a:lnTo>
                    <a:lnTo>
                      <a:pt x="116" y="834"/>
                    </a:lnTo>
                    <a:lnTo>
                      <a:pt x="122" y="836"/>
                    </a:lnTo>
                    <a:lnTo>
                      <a:pt x="122" y="838"/>
                    </a:lnTo>
                    <a:lnTo>
                      <a:pt x="124" y="836"/>
                    </a:lnTo>
                    <a:lnTo>
                      <a:pt x="126" y="836"/>
                    </a:lnTo>
                    <a:lnTo>
                      <a:pt x="128" y="836"/>
                    </a:lnTo>
                    <a:lnTo>
                      <a:pt x="128" y="836"/>
                    </a:lnTo>
                    <a:lnTo>
                      <a:pt x="128" y="836"/>
                    </a:lnTo>
                    <a:lnTo>
                      <a:pt x="128" y="836"/>
                    </a:lnTo>
                    <a:close/>
                    <a:moveTo>
                      <a:pt x="139" y="836"/>
                    </a:moveTo>
                    <a:lnTo>
                      <a:pt x="135" y="832"/>
                    </a:lnTo>
                    <a:lnTo>
                      <a:pt x="137" y="832"/>
                    </a:lnTo>
                    <a:lnTo>
                      <a:pt x="135" y="826"/>
                    </a:lnTo>
                    <a:lnTo>
                      <a:pt x="135" y="826"/>
                    </a:lnTo>
                    <a:lnTo>
                      <a:pt x="133" y="823"/>
                    </a:lnTo>
                    <a:lnTo>
                      <a:pt x="133" y="819"/>
                    </a:lnTo>
                    <a:lnTo>
                      <a:pt x="130" y="819"/>
                    </a:lnTo>
                    <a:lnTo>
                      <a:pt x="130" y="823"/>
                    </a:lnTo>
                    <a:lnTo>
                      <a:pt x="128" y="826"/>
                    </a:lnTo>
                    <a:lnTo>
                      <a:pt x="130" y="828"/>
                    </a:lnTo>
                    <a:lnTo>
                      <a:pt x="130" y="832"/>
                    </a:lnTo>
                    <a:lnTo>
                      <a:pt x="130" y="832"/>
                    </a:lnTo>
                    <a:lnTo>
                      <a:pt x="131" y="834"/>
                    </a:lnTo>
                    <a:lnTo>
                      <a:pt x="135" y="836"/>
                    </a:lnTo>
                    <a:lnTo>
                      <a:pt x="137" y="838"/>
                    </a:lnTo>
                    <a:lnTo>
                      <a:pt x="139" y="836"/>
                    </a:lnTo>
                    <a:lnTo>
                      <a:pt x="139" y="836"/>
                    </a:lnTo>
                    <a:lnTo>
                      <a:pt x="139" y="836"/>
                    </a:lnTo>
                    <a:lnTo>
                      <a:pt x="139" y="836"/>
                    </a:lnTo>
                    <a:close/>
                    <a:moveTo>
                      <a:pt x="124" y="862"/>
                    </a:moveTo>
                    <a:lnTo>
                      <a:pt x="128" y="862"/>
                    </a:lnTo>
                    <a:lnTo>
                      <a:pt x="130" y="862"/>
                    </a:lnTo>
                    <a:lnTo>
                      <a:pt x="126" y="864"/>
                    </a:lnTo>
                    <a:lnTo>
                      <a:pt x="124" y="862"/>
                    </a:lnTo>
                    <a:lnTo>
                      <a:pt x="124" y="862"/>
                    </a:lnTo>
                    <a:lnTo>
                      <a:pt x="124" y="862"/>
                    </a:lnTo>
                    <a:lnTo>
                      <a:pt x="124" y="862"/>
                    </a:lnTo>
                    <a:close/>
                    <a:moveTo>
                      <a:pt x="126" y="858"/>
                    </a:moveTo>
                    <a:lnTo>
                      <a:pt x="124" y="858"/>
                    </a:lnTo>
                    <a:lnTo>
                      <a:pt x="126" y="857"/>
                    </a:lnTo>
                    <a:lnTo>
                      <a:pt x="128" y="857"/>
                    </a:lnTo>
                    <a:lnTo>
                      <a:pt x="128" y="858"/>
                    </a:lnTo>
                    <a:lnTo>
                      <a:pt x="126" y="858"/>
                    </a:lnTo>
                    <a:lnTo>
                      <a:pt x="126" y="858"/>
                    </a:lnTo>
                    <a:lnTo>
                      <a:pt x="126" y="858"/>
                    </a:lnTo>
                    <a:lnTo>
                      <a:pt x="126" y="858"/>
                    </a:lnTo>
                    <a:close/>
                    <a:moveTo>
                      <a:pt x="199" y="879"/>
                    </a:moveTo>
                    <a:lnTo>
                      <a:pt x="195" y="877"/>
                    </a:lnTo>
                    <a:lnTo>
                      <a:pt x="199" y="875"/>
                    </a:lnTo>
                    <a:lnTo>
                      <a:pt x="195" y="874"/>
                    </a:lnTo>
                    <a:lnTo>
                      <a:pt x="201" y="874"/>
                    </a:lnTo>
                    <a:lnTo>
                      <a:pt x="201" y="877"/>
                    </a:lnTo>
                    <a:lnTo>
                      <a:pt x="201" y="879"/>
                    </a:lnTo>
                    <a:lnTo>
                      <a:pt x="199" y="879"/>
                    </a:lnTo>
                    <a:lnTo>
                      <a:pt x="199" y="879"/>
                    </a:lnTo>
                    <a:lnTo>
                      <a:pt x="199" y="879"/>
                    </a:lnTo>
                    <a:lnTo>
                      <a:pt x="199" y="879"/>
                    </a:lnTo>
                    <a:close/>
                    <a:moveTo>
                      <a:pt x="152" y="862"/>
                    </a:moveTo>
                    <a:lnTo>
                      <a:pt x="156" y="858"/>
                    </a:lnTo>
                    <a:lnTo>
                      <a:pt x="158" y="858"/>
                    </a:lnTo>
                    <a:lnTo>
                      <a:pt x="160" y="858"/>
                    </a:lnTo>
                    <a:lnTo>
                      <a:pt x="163" y="858"/>
                    </a:lnTo>
                    <a:lnTo>
                      <a:pt x="171" y="857"/>
                    </a:lnTo>
                    <a:lnTo>
                      <a:pt x="177" y="857"/>
                    </a:lnTo>
                    <a:lnTo>
                      <a:pt x="182" y="857"/>
                    </a:lnTo>
                    <a:lnTo>
                      <a:pt x="188" y="857"/>
                    </a:lnTo>
                    <a:lnTo>
                      <a:pt x="192" y="857"/>
                    </a:lnTo>
                    <a:lnTo>
                      <a:pt x="195" y="857"/>
                    </a:lnTo>
                    <a:lnTo>
                      <a:pt x="195" y="858"/>
                    </a:lnTo>
                    <a:lnTo>
                      <a:pt x="199" y="862"/>
                    </a:lnTo>
                    <a:lnTo>
                      <a:pt x="195" y="862"/>
                    </a:lnTo>
                    <a:lnTo>
                      <a:pt x="195" y="864"/>
                    </a:lnTo>
                    <a:lnTo>
                      <a:pt x="192" y="862"/>
                    </a:lnTo>
                    <a:lnTo>
                      <a:pt x="192" y="862"/>
                    </a:lnTo>
                    <a:lnTo>
                      <a:pt x="188" y="864"/>
                    </a:lnTo>
                    <a:lnTo>
                      <a:pt x="182" y="864"/>
                    </a:lnTo>
                    <a:lnTo>
                      <a:pt x="180" y="862"/>
                    </a:lnTo>
                    <a:lnTo>
                      <a:pt x="180" y="858"/>
                    </a:lnTo>
                    <a:lnTo>
                      <a:pt x="177" y="858"/>
                    </a:lnTo>
                    <a:lnTo>
                      <a:pt x="175" y="862"/>
                    </a:lnTo>
                    <a:lnTo>
                      <a:pt x="171" y="862"/>
                    </a:lnTo>
                    <a:lnTo>
                      <a:pt x="167" y="862"/>
                    </a:lnTo>
                    <a:lnTo>
                      <a:pt x="171" y="864"/>
                    </a:lnTo>
                    <a:lnTo>
                      <a:pt x="171" y="864"/>
                    </a:lnTo>
                    <a:lnTo>
                      <a:pt x="177" y="866"/>
                    </a:lnTo>
                    <a:lnTo>
                      <a:pt x="177" y="866"/>
                    </a:lnTo>
                    <a:lnTo>
                      <a:pt x="177" y="868"/>
                    </a:lnTo>
                    <a:lnTo>
                      <a:pt x="180" y="870"/>
                    </a:lnTo>
                    <a:lnTo>
                      <a:pt x="184" y="874"/>
                    </a:lnTo>
                    <a:lnTo>
                      <a:pt x="184" y="877"/>
                    </a:lnTo>
                    <a:lnTo>
                      <a:pt x="182" y="875"/>
                    </a:lnTo>
                    <a:lnTo>
                      <a:pt x="180" y="872"/>
                    </a:lnTo>
                    <a:lnTo>
                      <a:pt x="177" y="872"/>
                    </a:lnTo>
                    <a:lnTo>
                      <a:pt x="171" y="874"/>
                    </a:lnTo>
                    <a:lnTo>
                      <a:pt x="171" y="872"/>
                    </a:lnTo>
                    <a:lnTo>
                      <a:pt x="167" y="868"/>
                    </a:lnTo>
                    <a:lnTo>
                      <a:pt x="165" y="868"/>
                    </a:lnTo>
                    <a:lnTo>
                      <a:pt x="165" y="870"/>
                    </a:lnTo>
                    <a:lnTo>
                      <a:pt x="167" y="872"/>
                    </a:lnTo>
                    <a:lnTo>
                      <a:pt x="167" y="875"/>
                    </a:lnTo>
                    <a:lnTo>
                      <a:pt x="165" y="875"/>
                    </a:lnTo>
                    <a:lnTo>
                      <a:pt x="162" y="872"/>
                    </a:lnTo>
                    <a:lnTo>
                      <a:pt x="160" y="874"/>
                    </a:lnTo>
                    <a:lnTo>
                      <a:pt x="158" y="872"/>
                    </a:lnTo>
                    <a:lnTo>
                      <a:pt x="156" y="870"/>
                    </a:lnTo>
                    <a:lnTo>
                      <a:pt x="156" y="868"/>
                    </a:lnTo>
                    <a:lnTo>
                      <a:pt x="156" y="870"/>
                    </a:lnTo>
                    <a:lnTo>
                      <a:pt x="150" y="868"/>
                    </a:lnTo>
                    <a:lnTo>
                      <a:pt x="150" y="866"/>
                    </a:lnTo>
                    <a:lnTo>
                      <a:pt x="156" y="864"/>
                    </a:lnTo>
                    <a:lnTo>
                      <a:pt x="160" y="862"/>
                    </a:lnTo>
                    <a:lnTo>
                      <a:pt x="156" y="862"/>
                    </a:lnTo>
                    <a:lnTo>
                      <a:pt x="156" y="862"/>
                    </a:lnTo>
                    <a:lnTo>
                      <a:pt x="152" y="862"/>
                    </a:lnTo>
                    <a:lnTo>
                      <a:pt x="152" y="862"/>
                    </a:lnTo>
                    <a:lnTo>
                      <a:pt x="152" y="862"/>
                    </a:lnTo>
                    <a:close/>
                  </a:path>
                </a:pathLst>
              </a:custGeom>
              <a:solidFill>
                <a:srgbClr val="B70132"/>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5" name="Freeform 47"/>
              <p:cNvSpPr>
                <a:spLocks/>
              </p:cNvSpPr>
              <p:nvPr/>
            </p:nvSpPr>
            <p:spPr bwMode="auto">
              <a:xfrm>
                <a:off x="4272" y="1950"/>
                <a:ext cx="574" cy="270"/>
              </a:xfrm>
              <a:custGeom>
                <a:avLst/>
                <a:gdLst/>
                <a:ahLst/>
                <a:cxnLst>
                  <a:cxn ang="0">
                    <a:pos x="20" y="83"/>
                  </a:cxn>
                  <a:cxn ang="0">
                    <a:pos x="35" y="64"/>
                  </a:cxn>
                  <a:cxn ang="0">
                    <a:pos x="41" y="53"/>
                  </a:cxn>
                  <a:cxn ang="0">
                    <a:pos x="66" y="47"/>
                  </a:cxn>
                  <a:cxn ang="0">
                    <a:pos x="81" y="49"/>
                  </a:cxn>
                  <a:cxn ang="0">
                    <a:pos x="99" y="49"/>
                  </a:cxn>
                  <a:cxn ang="0">
                    <a:pos x="120" y="68"/>
                  </a:cxn>
                  <a:cxn ang="0">
                    <a:pos x="139" y="64"/>
                  </a:cxn>
                  <a:cxn ang="0">
                    <a:pos x="163" y="64"/>
                  </a:cxn>
                  <a:cxn ang="0">
                    <a:pos x="169" y="44"/>
                  </a:cxn>
                  <a:cxn ang="0">
                    <a:pos x="154" y="21"/>
                  </a:cxn>
                  <a:cxn ang="0">
                    <a:pos x="167" y="10"/>
                  </a:cxn>
                  <a:cxn ang="0">
                    <a:pos x="179" y="4"/>
                  </a:cxn>
                  <a:cxn ang="0">
                    <a:pos x="205" y="10"/>
                  </a:cxn>
                  <a:cxn ang="0">
                    <a:pos x="227" y="15"/>
                  </a:cxn>
                  <a:cxn ang="0">
                    <a:pos x="235" y="32"/>
                  </a:cxn>
                  <a:cxn ang="0">
                    <a:pos x="248" y="44"/>
                  </a:cxn>
                  <a:cxn ang="0">
                    <a:pos x="269" y="44"/>
                  </a:cxn>
                  <a:cxn ang="0">
                    <a:pos x="293" y="38"/>
                  </a:cxn>
                  <a:cxn ang="0">
                    <a:pos x="323" y="44"/>
                  </a:cxn>
                  <a:cxn ang="0">
                    <a:pos x="346" y="55"/>
                  </a:cxn>
                  <a:cxn ang="0">
                    <a:pos x="372" y="62"/>
                  </a:cxn>
                  <a:cxn ang="0">
                    <a:pos x="403" y="62"/>
                  </a:cxn>
                  <a:cxn ang="0">
                    <a:pos x="431" y="49"/>
                  </a:cxn>
                  <a:cxn ang="0">
                    <a:pos x="446" y="32"/>
                  </a:cxn>
                  <a:cxn ang="0">
                    <a:pos x="463" y="25"/>
                  </a:cxn>
                  <a:cxn ang="0">
                    <a:pos x="480" y="32"/>
                  </a:cxn>
                  <a:cxn ang="0">
                    <a:pos x="497" y="61"/>
                  </a:cxn>
                  <a:cxn ang="0">
                    <a:pos x="506" y="95"/>
                  </a:cxn>
                  <a:cxn ang="0">
                    <a:pos x="534" y="83"/>
                  </a:cxn>
                  <a:cxn ang="0">
                    <a:pos x="561" y="91"/>
                  </a:cxn>
                  <a:cxn ang="0">
                    <a:pos x="572" y="113"/>
                  </a:cxn>
                  <a:cxn ang="0">
                    <a:pos x="561" y="117"/>
                  </a:cxn>
                  <a:cxn ang="0">
                    <a:pos x="536" y="125"/>
                  </a:cxn>
                  <a:cxn ang="0">
                    <a:pos x="527" y="132"/>
                  </a:cxn>
                  <a:cxn ang="0">
                    <a:pos x="510" y="157"/>
                  </a:cxn>
                  <a:cxn ang="0">
                    <a:pos x="489" y="170"/>
                  </a:cxn>
                  <a:cxn ang="0">
                    <a:pos x="470" y="170"/>
                  </a:cxn>
                  <a:cxn ang="0">
                    <a:pos x="446" y="183"/>
                  </a:cxn>
                  <a:cxn ang="0">
                    <a:pos x="457" y="206"/>
                  </a:cxn>
                  <a:cxn ang="0">
                    <a:pos x="433" y="236"/>
                  </a:cxn>
                  <a:cxn ang="0">
                    <a:pos x="401" y="245"/>
                  </a:cxn>
                  <a:cxn ang="0">
                    <a:pos x="354" y="270"/>
                  </a:cxn>
                  <a:cxn ang="0">
                    <a:pos x="329" y="268"/>
                  </a:cxn>
                  <a:cxn ang="0">
                    <a:pos x="282" y="247"/>
                  </a:cxn>
                  <a:cxn ang="0">
                    <a:pos x="244" y="251"/>
                  </a:cxn>
                  <a:cxn ang="0">
                    <a:pos x="190" y="251"/>
                  </a:cxn>
                  <a:cxn ang="0">
                    <a:pos x="169" y="223"/>
                  </a:cxn>
                  <a:cxn ang="0">
                    <a:pos x="162" y="213"/>
                  </a:cxn>
                  <a:cxn ang="0">
                    <a:pos x="139" y="204"/>
                  </a:cxn>
                  <a:cxn ang="0">
                    <a:pos x="115" y="196"/>
                  </a:cxn>
                  <a:cxn ang="0">
                    <a:pos x="73" y="183"/>
                  </a:cxn>
                  <a:cxn ang="0">
                    <a:pos x="75" y="168"/>
                  </a:cxn>
                  <a:cxn ang="0">
                    <a:pos x="69" y="151"/>
                  </a:cxn>
                  <a:cxn ang="0">
                    <a:pos x="58" y="132"/>
                  </a:cxn>
                  <a:cxn ang="0">
                    <a:pos x="45" y="128"/>
                  </a:cxn>
                  <a:cxn ang="0">
                    <a:pos x="28" y="127"/>
                  </a:cxn>
                  <a:cxn ang="0">
                    <a:pos x="20" y="123"/>
                  </a:cxn>
                  <a:cxn ang="0">
                    <a:pos x="7" y="108"/>
                  </a:cxn>
                  <a:cxn ang="0">
                    <a:pos x="2" y="104"/>
                  </a:cxn>
                </a:cxnLst>
                <a:rect l="0" t="0" r="r" b="b"/>
                <a:pathLst>
                  <a:path w="574" h="270">
                    <a:moveTo>
                      <a:pt x="0" y="96"/>
                    </a:moveTo>
                    <a:lnTo>
                      <a:pt x="3" y="91"/>
                    </a:lnTo>
                    <a:lnTo>
                      <a:pt x="7" y="89"/>
                    </a:lnTo>
                    <a:lnTo>
                      <a:pt x="15" y="89"/>
                    </a:lnTo>
                    <a:lnTo>
                      <a:pt x="15" y="87"/>
                    </a:lnTo>
                    <a:lnTo>
                      <a:pt x="20" y="83"/>
                    </a:lnTo>
                    <a:lnTo>
                      <a:pt x="24" y="81"/>
                    </a:lnTo>
                    <a:lnTo>
                      <a:pt x="26" y="78"/>
                    </a:lnTo>
                    <a:lnTo>
                      <a:pt x="26" y="74"/>
                    </a:lnTo>
                    <a:lnTo>
                      <a:pt x="32" y="72"/>
                    </a:lnTo>
                    <a:lnTo>
                      <a:pt x="32" y="68"/>
                    </a:lnTo>
                    <a:lnTo>
                      <a:pt x="35" y="64"/>
                    </a:lnTo>
                    <a:lnTo>
                      <a:pt x="39" y="64"/>
                    </a:lnTo>
                    <a:lnTo>
                      <a:pt x="41" y="61"/>
                    </a:lnTo>
                    <a:lnTo>
                      <a:pt x="43" y="61"/>
                    </a:lnTo>
                    <a:lnTo>
                      <a:pt x="41" y="59"/>
                    </a:lnTo>
                    <a:lnTo>
                      <a:pt x="41" y="55"/>
                    </a:lnTo>
                    <a:lnTo>
                      <a:pt x="41" y="53"/>
                    </a:lnTo>
                    <a:lnTo>
                      <a:pt x="49" y="55"/>
                    </a:lnTo>
                    <a:lnTo>
                      <a:pt x="51" y="55"/>
                    </a:lnTo>
                    <a:lnTo>
                      <a:pt x="51" y="49"/>
                    </a:lnTo>
                    <a:lnTo>
                      <a:pt x="54" y="47"/>
                    </a:lnTo>
                    <a:lnTo>
                      <a:pt x="62" y="47"/>
                    </a:lnTo>
                    <a:lnTo>
                      <a:pt x="66" y="47"/>
                    </a:lnTo>
                    <a:lnTo>
                      <a:pt x="67" y="47"/>
                    </a:lnTo>
                    <a:lnTo>
                      <a:pt x="73" y="47"/>
                    </a:lnTo>
                    <a:lnTo>
                      <a:pt x="75" y="44"/>
                    </a:lnTo>
                    <a:lnTo>
                      <a:pt x="75" y="44"/>
                    </a:lnTo>
                    <a:lnTo>
                      <a:pt x="79" y="47"/>
                    </a:lnTo>
                    <a:lnTo>
                      <a:pt x="81" y="49"/>
                    </a:lnTo>
                    <a:lnTo>
                      <a:pt x="81" y="53"/>
                    </a:lnTo>
                    <a:lnTo>
                      <a:pt x="84" y="51"/>
                    </a:lnTo>
                    <a:lnTo>
                      <a:pt x="88" y="51"/>
                    </a:lnTo>
                    <a:lnTo>
                      <a:pt x="90" y="51"/>
                    </a:lnTo>
                    <a:lnTo>
                      <a:pt x="92" y="49"/>
                    </a:lnTo>
                    <a:lnTo>
                      <a:pt x="99" y="49"/>
                    </a:lnTo>
                    <a:lnTo>
                      <a:pt x="99" y="53"/>
                    </a:lnTo>
                    <a:lnTo>
                      <a:pt x="101" y="55"/>
                    </a:lnTo>
                    <a:lnTo>
                      <a:pt x="101" y="59"/>
                    </a:lnTo>
                    <a:lnTo>
                      <a:pt x="113" y="64"/>
                    </a:lnTo>
                    <a:lnTo>
                      <a:pt x="115" y="64"/>
                    </a:lnTo>
                    <a:lnTo>
                      <a:pt x="120" y="68"/>
                    </a:lnTo>
                    <a:lnTo>
                      <a:pt x="124" y="68"/>
                    </a:lnTo>
                    <a:lnTo>
                      <a:pt x="128" y="64"/>
                    </a:lnTo>
                    <a:lnTo>
                      <a:pt x="131" y="64"/>
                    </a:lnTo>
                    <a:lnTo>
                      <a:pt x="135" y="64"/>
                    </a:lnTo>
                    <a:lnTo>
                      <a:pt x="139" y="64"/>
                    </a:lnTo>
                    <a:lnTo>
                      <a:pt x="139" y="64"/>
                    </a:lnTo>
                    <a:lnTo>
                      <a:pt x="145" y="64"/>
                    </a:lnTo>
                    <a:lnTo>
                      <a:pt x="152" y="64"/>
                    </a:lnTo>
                    <a:lnTo>
                      <a:pt x="154" y="68"/>
                    </a:lnTo>
                    <a:lnTo>
                      <a:pt x="158" y="64"/>
                    </a:lnTo>
                    <a:lnTo>
                      <a:pt x="160" y="64"/>
                    </a:lnTo>
                    <a:lnTo>
                      <a:pt x="163" y="64"/>
                    </a:lnTo>
                    <a:lnTo>
                      <a:pt x="169" y="64"/>
                    </a:lnTo>
                    <a:lnTo>
                      <a:pt x="173" y="61"/>
                    </a:lnTo>
                    <a:lnTo>
                      <a:pt x="169" y="57"/>
                    </a:lnTo>
                    <a:lnTo>
                      <a:pt x="167" y="55"/>
                    </a:lnTo>
                    <a:lnTo>
                      <a:pt x="167" y="49"/>
                    </a:lnTo>
                    <a:lnTo>
                      <a:pt x="169" y="44"/>
                    </a:lnTo>
                    <a:lnTo>
                      <a:pt x="167" y="40"/>
                    </a:lnTo>
                    <a:lnTo>
                      <a:pt x="163" y="40"/>
                    </a:lnTo>
                    <a:lnTo>
                      <a:pt x="162" y="38"/>
                    </a:lnTo>
                    <a:lnTo>
                      <a:pt x="158" y="36"/>
                    </a:lnTo>
                    <a:lnTo>
                      <a:pt x="154" y="32"/>
                    </a:lnTo>
                    <a:lnTo>
                      <a:pt x="154" y="21"/>
                    </a:lnTo>
                    <a:lnTo>
                      <a:pt x="160" y="19"/>
                    </a:lnTo>
                    <a:lnTo>
                      <a:pt x="160" y="14"/>
                    </a:lnTo>
                    <a:lnTo>
                      <a:pt x="162" y="14"/>
                    </a:lnTo>
                    <a:lnTo>
                      <a:pt x="163" y="10"/>
                    </a:lnTo>
                    <a:lnTo>
                      <a:pt x="165" y="10"/>
                    </a:lnTo>
                    <a:lnTo>
                      <a:pt x="167" y="10"/>
                    </a:lnTo>
                    <a:lnTo>
                      <a:pt x="167" y="6"/>
                    </a:lnTo>
                    <a:lnTo>
                      <a:pt x="167" y="2"/>
                    </a:lnTo>
                    <a:lnTo>
                      <a:pt x="169" y="0"/>
                    </a:lnTo>
                    <a:lnTo>
                      <a:pt x="173" y="0"/>
                    </a:lnTo>
                    <a:lnTo>
                      <a:pt x="175" y="2"/>
                    </a:lnTo>
                    <a:lnTo>
                      <a:pt x="179" y="4"/>
                    </a:lnTo>
                    <a:lnTo>
                      <a:pt x="184" y="6"/>
                    </a:lnTo>
                    <a:lnTo>
                      <a:pt x="188" y="8"/>
                    </a:lnTo>
                    <a:lnTo>
                      <a:pt x="190" y="10"/>
                    </a:lnTo>
                    <a:lnTo>
                      <a:pt x="195" y="10"/>
                    </a:lnTo>
                    <a:lnTo>
                      <a:pt x="199" y="10"/>
                    </a:lnTo>
                    <a:lnTo>
                      <a:pt x="205" y="10"/>
                    </a:lnTo>
                    <a:lnTo>
                      <a:pt x="207" y="14"/>
                    </a:lnTo>
                    <a:lnTo>
                      <a:pt x="209" y="14"/>
                    </a:lnTo>
                    <a:lnTo>
                      <a:pt x="212" y="14"/>
                    </a:lnTo>
                    <a:lnTo>
                      <a:pt x="218" y="14"/>
                    </a:lnTo>
                    <a:lnTo>
                      <a:pt x="224" y="14"/>
                    </a:lnTo>
                    <a:lnTo>
                      <a:pt x="227" y="15"/>
                    </a:lnTo>
                    <a:lnTo>
                      <a:pt x="229" y="19"/>
                    </a:lnTo>
                    <a:lnTo>
                      <a:pt x="229" y="21"/>
                    </a:lnTo>
                    <a:lnTo>
                      <a:pt x="231" y="23"/>
                    </a:lnTo>
                    <a:lnTo>
                      <a:pt x="231" y="27"/>
                    </a:lnTo>
                    <a:lnTo>
                      <a:pt x="233" y="29"/>
                    </a:lnTo>
                    <a:lnTo>
                      <a:pt x="235" y="32"/>
                    </a:lnTo>
                    <a:lnTo>
                      <a:pt x="235" y="36"/>
                    </a:lnTo>
                    <a:lnTo>
                      <a:pt x="237" y="38"/>
                    </a:lnTo>
                    <a:lnTo>
                      <a:pt x="239" y="38"/>
                    </a:lnTo>
                    <a:lnTo>
                      <a:pt x="243" y="40"/>
                    </a:lnTo>
                    <a:lnTo>
                      <a:pt x="243" y="44"/>
                    </a:lnTo>
                    <a:lnTo>
                      <a:pt x="248" y="44"/>
                    </a:lnTo>
                    <a:lnTo>
                      <a:pt x="254" y="47"/>
                    </a:lnTo>
                    <a:lnTo>
                      <a:pt x="258" y="47"/>
                    </a:lnTo>
                    <a:lnTo>
                      <a:pt x="258" y="47"/>
                    </a:lnTo>
                    <a:lnTo>
                      <a:pt x="265" y="47"/>
                    </a:lnTo>
                    <a:lnTo>
                      <a:pt x="267" y="44"/>
                    </a:lnTo>
                    <a:lnTo>
                      <a:pt x="269" y="44"/>
                    </a:lnTo>
                    <a:lnTo>
                      <a:pt x="273" y="47"/>
                    </a:lnTo>
                    <a:lnTo>
                      <a:pt x="273" y="44"/>
                    </a:lnTo>
                    <a:lnTo>
                      <a:pt x="278" y="40"/>
                    </a:lnTo>
                    <a:lnTo>
                      <a:pt x="282" y="40"/>
                    </a:lnTo>
                    <a:lnTo>
                      <a:pt x="290" y="40"/>
                    </a:lnTo>
                    <a:lnTo>
                      <a:pt x="293" y="38"/>
                    </a:lnTo>
                    <a:lnTo>
                      <a:pt x="299" y="38"/>
                    </a:lnTo>
                    <a:lnTo>
                      <a:pt x="303" y="36"/>
                    </a:lnTo>
                    <a:lnTo>
                      <a:pt x="308" y="38"/>
                    </a:lnTo>
                    <a:lnTo>
                      <a:pt x="312" y="40"/>
                    </a:lnTo>
                    <a:lnTo>
                      <a:pt x="320" y="38"/>
                    </a:lnTo>
                    <a:lnTo>
                      <a:pt x="323" y="44"/>
                    </a:lnTo>
                    <a:lnTo>
                      <a:pt x="331" y="47"/>
                    </a:lnTo>
                    <a:lnTo>
                      <a:pt x="337" y="47"/>
                    </a:lnTo>
                    <a:lnTo>
                      <a:pt x="339" y="44"/>
                    </a:lnTo>
                    <a:lnTo>
                      <a:pt x="342" y="47"/>
                    </a:lnTo>
                    <a:lnTo>
                      <a:pt x="342" y="53"/>
                    </a:lnTo>
                    <a:lnTo>
                      <a:pt x="346" y="55"/>
                    </a:lnTo>
                    <a:lnTo>
                      <a:pt x="350" y="57"/>
                    </a:lnTo>
                    <a:lnTo>
                      <a:pt x="352" y="57"/>
                    </a:lnTo>
                    <a:lnTo>
                      <a:pt x="355" y="61"/>
                    </a:lnTo>
                    <a:lnTo>
                      <a:pt x="359" y="61"/>
                    </a:lnTo>
                    <a:lnTo>
                      <a:pt x="367" y="61"/>
                    </a:lnTo>
                    <a:lnTo>
                      <a:pt x="372" y="62"/>
                    </a:lnTo>
                    <a:lnTo>
                      <a:pt x="386" y="62"/>
                    </a:lnTo>
                    <a:lnTo>
                      <a:pt x="389" y="61"/>
                    </a:lnTo>
                    <a:lnTo>
                      <a:pt x="391" y="61"/>
                    </a:lnTo>
                    <a:lnTo>
                      <a:pt x="397" y="61"/>
                    </a:lnTo>
                    <a:lnTo>
                      <a:pt x="401" y="62"/>
                    </a:lnTo>
                    <a:lnTo>
                      <a:pt x="403" y="62"/>
                    </a:lnTo>
                    <a:lnTo>
                      <a:pt x="406" y="57"/>
                    </a:lnTo>
                    <a:lnTo>
                      <a:pt x="410" y="53"/>
                    </a:lnTo>
                    <a:lnTo>
                      <a:pt x="416" y="53"/>
                    </a:lnTo>
                    <a:lnTo>
                      <a:pt x="419" y="49"/>
                    </a:lnTo>
                    <a:lnTo>
                      <a:pt x="421" y="49"/>
                    </a:lnTo>
                    <a:lnTo>
                      <a:pt x="431" y="49"/>
                    </a:lnTo>
                    <a:lnTo>
                      <a:pt x="433" y="47"/>
                    </a:lnTo>
                    <a:lnTo>
                      <a:pt x="436" y="44"/>
                    </a:lnTo>
                    <a:lnTo>
                      <a:pt x="436" y="40"/>
                    </a:lnTo>
                    <a:lnTo>
                      <a:pt x="436" y="38"/>
                    </a:lnTo>
                    <a:lnTo>
                      <a:pt x="440" y="36"/>
                    </a:lnTo>
                    <a:lnTo>
                      <a:pt x="446" y="32"/>
                    </a:lnTo>
                    <a:lnTo>
                      <a:pt x="446" y="29"/>
                    </a:lnTo>
                    <a:lnTo>
                      <a:pt x="448" y="25"/>
                    </a:lnTo>
                    <a:lnTo>
                      <a:pt x="451" y="25"/>
                    </a:lnTo>
                    <a:lnTo>
                      <a:pt x="453" y="27"/>
                    </a:lnTo>
                    <a:lnTo>
                      <a:pt x="457" y="25"/>
                    </a:lnTo>
                    <a:lnTo>
                      <a:pt x="463" y="25"/>
                    </a:lnTo>
                    <a:lnTo>
                      <a:pt x="467" y="29"/>
                    </a:lnTo>
                    <a:lnTo>
                      <a:pt x="467" y="32"/>
                    </a:lnTo>
                    <a:lnTo>
                      <a:pt x="470" y="32"/>
                    </a:lnTo>
                    <a:lnTo>
                      <a:pt x="476" y="30"/>
                    </a:lnTo>
                    <a:lnTo>
                      <a:pt x="476" y="32"/>
                    </a:lnTo>
                    <a:lnTo>
                      <a:pt x="480" y="32"/>
                    </a:lnTo>
                    <a:lnTo>
                      <a:pt x="483" y="30"/>
                    </a:lnTo>
                    <a:lnTo>
                      <a:pt x="483" y="29"/>
                    </a:lnTo>
                    <a:lnTo>
                      <a:pt x="491" y="27"/>
                    </a:lnTo>
                    <a:lnTo>
                      <a:pt x="497" y="29"/>
                    </a:lnTo>
                    <a:lnTo>
                      <a:pt x="500" y="32"/>
                    </a:lnTo>
                    <a:lnTo>
                      <a:pt x="497" y="61"/>
                    </a:lnTo>
                    <a:lnTo>
                      <a:pt x="497" y="64"/>
                    </a:lnTo>
                    <a:lnTo>
                      <a:pt x="495" y="72"/>
                    </a:lnTo>
                    <a:lnTo>
                      <a:pt x="495" y="74"/>
                    </a:lnTo>
                    <a:lnTo>
                      <a:pt x="493" y="83"/>
                    </a:lnTo>
                    <a:lnTo>
                      <a:pt x="497" y="89"/>
                    </a:lnTo>
                    <a:lnTo>
                      <a:pt x="506" y="95"/>
                    </a:lnTo>
                    <a:lnTo>
                      <a:pt x="510" y="89"/>
                    </a:lnTo>
                    <a:lnTo>
                      <a:pt x="517" y="89"/>
                    </a:lnTo>
                    <a:lnTo>
                      <a:pt x="527" y="91"/>
                    </a:lnTo>
                    <a:lnTo>
                      <a:pt x="531" y="95"/>
                    </a:lnTo>
                    <a:lnTo>
                      <a:pt x="534" y="87"/>
                    </a:lnTo>
                    <a:lnTo>
                      <a:pt x="534" y="83"/>
                    </a:lnTo>
                    <a:lnTo>
                      <a:pt x="534" y="79"/>
                    </a:lnTo>
                    <a:lnTo>
                      <a:pt x="540" y="78"/>
                    </a:lnTo>
                    <a:lnTo>
                      <a:pt x="540" y="78"/>
                    </a:lnTo>
                    <a:lnTo>
                      <a:pt x="549" y="78"/>
                    </a:lnTo>
                    <a:lnTo>
                      <a:pt x="555" y="85"/>
                    </a:lnTo>
                    <a:lnTo>
                      <a:pt x="561" y="91"/>
                    </a:lnTo>
                    <a:lnTo>
                      <a:pt x="566" y="98"/>
                    </a:lnTo>
                    <a:lnTo>
                      <a:pt x="572" y="102"/>
                    </a:lnTo>
                    <a:lnTo>
                      <a:pt x="572" y="104"/>
                    </a:lnTo>
                    <a:lnTo>
                      <a:pt x="574" y="108"/>
                    </a:lnTo>
                    <a:lnTo>
                      <a:pt x="574" y="111"/>
                    </a:lnTo>
                    <a:lnTo>
                      <a:pt x="572" y="113"/>
                    </a:lnTo>
                    <a:lnTo>
                      <a:pt x="572" y="115"/>
                    </a:lnTo>
                    <a:lnTo>
                      <a:pt x="570" y="119"/>
                    </a:lnTo>
                    <a:lnTo>
                      <a:pt x="570" y="117"/>
                    </a:lnTo>
                    <a:lnTo>
                      <a:pt x="566" y="115"/>
                    </a:lnTo>
                    <a:lnTo>
                      <a:pt x="564" y="117"/>
                    </a:lnTo>
                    <a:lnTo>
                      <a:pt x="561" y="117"/>
                    </a:lnTo>
                    <a:lnTo>
                      <a:pt x="557" y="115"/>
                    </a:lnTo>
                    <a:lnTo>
                      <a:pt x="553" y="115"/>
                    </a:lnTo>
                    <a:lnTo>
                      <a:pt x="549" y="121"/>
                    </a:lnTo>
                    <a:lnTo>
                      <a:pt x="544" y="125"/>
                    </a:lnTo>
                    <a:lnTo>
                      <a:pt x="540" y="127"/>
                    </a:lnTo>
                    <a:lnTo>
                      <a:pt x="536" y="125"/>
                    </a:lnTo>
                    <a:lnTo>
                      <a:pt x="536" y="125"/>
                    </a:lnTo>
                    <a:lnTo>
                      <a:pt x="536" y="128"/>
                    </a:lnTo>
                    <a:lnTo>
                      <a:pt x="536" y="128"/>
                    </a:lnTo>
                    <a:lnTo>
                      <a:pt x="531" y="132"/>
                    </a:lnTo>
                    <a:lnTo>
                      <a:pt x="531" y="128"/>
                    </a:lnTo>
                    <a:lnTo>
                      <a:pt x="527" y="132"/>
                    </a:lnTo>
                    <a:lnTo>
                      <a:pt x="527" y="136"/>
                    </a:lnTo>
                    <a:lnTo>
                      <a:pt x="525" y="143"/>
                    </a:lnTo>
                    <a:lnTo>
                      <a:pt x="525" y="147"/>
                    </a:lnTo>
                    <a:lnTo>
                      <a:pt x="523" y="149"/>
                    </a:lnTo>
                    <a:lnTo>
                      <a:pt x="519" y="151"/>
                    </a:lnTo>
                    <a:lnTo>
                      <a:pt x="510" y="157"/>
                    </a:lnTo>
                    <a:lnTo>
                      <a:pt x="506" y="157"/>
                    </a:lnTo>
                    <a:lnTo>
                      <a:pt x="500" y="153"/>
                    </a:lnTo>
                    <a:lnTo>
                      <a:pt x="500" y="157"/>
                    </a:lnTo>
                    <a:lnTo>
                      <a:pt x="497" y="162"/>
                    </a:lnTo>
                    <a:lnTo>
                      <a:pt x="493" y="166"/>
                    </a:lnTo>
                    <a:lnTo>
                      <a:pt x="489" y="170"/>
                    </a:lnTo>
                    <a:lnTo>
                      <a:pt x="485" y="172"/>
                    </a:lnTo>
                    <a:lnTo>
                      <a:pt x="485" y="175"/>
                    </a:lnTo>
                    <a:lnTo>
                      <a:pt x="483" y="175"/>
                    </a:lnTo>
                    <a:lnTo>
                      <a:pt x="478" y="174"/>
                    </a:lnTo>
                    <a:lnTo>
                      <a:pt x="476" y="172"/>
                    </a:lnTo>
                    <a:lnTo>
                      <a:pt x="470" y="170"/>
                    </a:lnTo>
                    <a:lnTo>
                      <a:pt x="465" y="166"/>
                    </a:lnTo>
                    <a:lnTo>
                      <a:pt x="461" y="166"/>
                    </a:lnTo>
                    <a:lnTo>
                      <a:pt x="453" y="168"/>
                    </a:lnTo>
                    <a:lnTo>
                      <a:pt x="448" y="172"/>
                    </a:lnTo>
                    <a:lnTo>
                      <a:pt x="446" y="175"/>
                    </a:lnTo>
                    <a:lnTo>
                      <a:pt x="446" y="183"/>
                    </a:lnTo>
                    <a:lnTo>
                      <a:pt x="446" y="187"/>
                    </a:lnTo>
                    <a:lnTo>
                      <a:pt x="446" y="191"/>
                    </a:lnTo>
                    <a:lnTo>
                      <a:pt x="453" y="196"/>
                    </a:lnTo>
                    <a:lnTo>
                      <a:pt x="463" y="200"/>
                    </a:lnTo>
                    <a:lnTo>
                      <a:pt x="463" y="202"/>
                    </a:lnTo>
                    <a:lnTo>
                      <a:pt x="457" y="206"/>
                    </a:lnTo>
                    <a:lnTo>
                      <a:pt x="457" y="209"/>
                    </a:lnTo>
                    <a:lnTo>
                      <a:pt x="448" y="221"/>
                    </a:lnTo>
                    <a:lnTo>
                      <a:pt x="446" y="226"/>
                    </a:lnTo>
                    <a:lnTo>
                      <a:pt x="440" y="234"/>
                    </a:lnTo>
                    <a:lnTo>
                      <a:pt x="440" y="234"/>
                    </a:lnTo>
                    <a:lnTo>
                      <a:pt x="433" y="236"/>
                    </a:lnTo>
                    <a:lnTo>
                      <a:pt x="429" y="236"/>
                    </a:lnTo>
                    <a:lnTo>
                      <a:pt x="423" y="240"/>
                    </a:lnTo>
                    <a:lnTo>
                      <a:pt x="418" y="241"/>
                    </a:lnTo>
                    <a:lnTo>
                      <a:pt x="412" y="241"/>
                    </a:lnTo>
                    <a:lnTo>
                      <a:pt x="406" y="241"/>
                    </a:lnTo>
                    <a:lnTo>
                      <a:pt x="401" y="245"/>
                    </a:lnTo>
                    <a:lnTo>
                      <a:pt x="395" y="247"/>
                    </a:lnTo>
                    <a:lnTo>
                      <a:pt x="380" y="251"/>
                    </a:lnTo>
                    <a:lnTo>
                      <a:pt x="371" y="255"/>
                    </a:lnTo>
                    <a:lnTo>
                      <a:pt x="363" y="260"/>
                    </a:lnTo>
                    <a:lnTo>
                      <a:pt x="357" y="268"/>
                    </a:lnTo>
                    <a:lnTo>
                      <a:pt x="354" y="270"/>
                    </a:lnTo>
                    <a:lnTo>
                      <a:pt x="348" y="270"/>
                    </a:lnTo>
                    <a:lnTo>
                      <a:pt x="342" y="270"/>
                    </a:lnTo>
                    <a:lnTo>
                      <a:pt x="342" y="266"/>
                    </a:lnTo>
                    <a:lnTo>
                      <a:pt x="342" y="264"/>
                    </a:lnTo>
                    <a:lnTo>
                      <a:pt x="333" y="266"/>
                    </a:lnTo>
                    <a:lnTo>
                      <a:pt x="329" y="268"/>
                    </a:lnTo>
                    <a:lnTo>
                      <a:pt x="322" y="264"/>
                    </a:lnTo>
                    <a:lnTo>
                      <a:pt x="316" y="262"/>
                    </a:lnTo>
                    <a:lnTo>
                      <a:pt x="303" y="258"/>
                    </a:lnTo>
                    <a:lnTo>
                      <a:pt x="293" y="253"/>
                    </a:lnTo>
                    <a:lnTo>
                      <a:pt x="286" y="247"/>
                    </a:lnTo>
                    <a:lnTo>
                      <a:pt x="282" y="247"/>
                    </a:lnTo>
                    <a:lnTo>
                      <a:pt x="269" y="247"/>
                    </a:lnTo>
                    <a:lnTo>
                      <a:pt x="258" y="247"/>
                    </a:lnTo>
                    <a:lnTo>
                      <a:pt x="254" y="245"/>
                    </a:lnTo>
                    <a:lnTo>
                      <a:pt x="252" y="247"/>
                    </a:lnTo>
                    <a:lnTo>
                      <a:pt x="252" y="247"/>
                    </a:lnTo>
                    <a:lnTo>
                      <a:pt x="244" y="251"/>
                    </a:lnTo>
                    <a:lnTo>
                      <a:pt x="237" y="251"/>
                    </a:lnTo>
                    <a:lnTo>
                      <a:pt x="220" y="251"/>
                    </a:lnTo>
                    <a:lnTo>
                      <a:pt x="209" y="251"/>
                    </a:lnTo>
                    <a:lnTo>
                      <a:pt x="199" y="251"/>
                    </a:lnTo>
                    <a:lnTo>
                      <a:pt x="194" y="251"/>
                    </a:lnTo>
                    <a:lnTo>
                      <a:pt x="190" y="251"/>
                    </a:lnTo>
                    <a:lnTo>
                      <a:pt x="188" y="251"/>
                    </a:lnTo>
                    <a:lnTo>
                      <a:pt x="182" y="241"/>
                    </a:lnTo>
                    <a:lnTo>
                      <a:pt x="182" y="240"/>
                    </a:lnTo>
                    <a:lnTo>
                      <a:pt x="175" y="232"/>
                    </a:lnTo>
                    <a:lnTo>
                      <a:pt x="175" y="228"/>
                    </a:lnTo>
                    <a:lnTo>
                      <a:pt x="169" y="223"/>
                    </a:lnTo>
                    <a:lnTo>
                      <a:pt x="169" y="221"/>
                    </a:lnTo>
                    <a:lnTo>
                      <a:pt x="169" y="217"/>
                    </a:lnTo>
                    <a:lnTo>
                      <a:pt x="165" y="217"/>
                    </a:lnTo>
                    <a:lnTo>
                      <a:pt x="163" y="217"/>
                    </a:lnTo>
                    <a:lnTo>
                      <a:pt x="163" y="215"/>
                    </a:lnTo>
                    <a:lnTo>
                      <a:pt x="162" y="213"/>
                    </a:lnTo>
                    <a:lnTo>
                      <a:pt x="162" y="211"/>
                    </a:lnTo>
                    <a:lnTo>
                      <a:pt x="160" y="211"/>
                    </a:lnTo>
                    <a:lnTo>
                      <a:pt x="154" y="211"/>
                    </a:lnTo>
                    <a:lnTo>
                      <a:pt x="148" y="209"/>
                    </a:lnTo>
                    <a:lnTo>
                      <a:pt x="145" y="204"/>
                    </a:lnTo>
                    <a:lnTo>
                      <a:pt x="139" y="204"/>
                    </a:lnTo>
                    <a:lnTo>
                      <a:pt x="139" y="204"/>
                    </a:lnTo>
                    <a:lnTo>
                      <a:pt x="135" y="204"/>
                    </a:lnTo>
                    <a:lnTo>
                      <a:pt x="135" y="200"/>
                    </a:lnTo>
                    <a:lnTo>
                      <a:pt x="128" y="196"/>
                    </a:lnTo>
                    <a:lnTo>
                      <a:pt x="115" y="196"/>
                    </a:lnTo>
                    <a:lnTo>
                      <a:pt x="115" y="196"/>
                    </a:lnTo>
                    <a:lnTo>
                      <a:pt x="115" y="196"/>
                    </a:lnTo>
                    <a:lnTo>
                      <a:pt x="109" y="196"/>
                    </a:lnTo>
                    <a:lnTo>
                      <a:pt x="99" y="196"/>
                    </a:lnTo>
                    <a:lnTo>
                      <a:pt x="81" y="192"/>
                    </a:lnTo>
                    <a:lnTo>
                      <a:pt x="79" y="192"/>
                    </a:lnTo>
                    <a:lnTo>
                      <a:pt x="73" y="183"/>
                    </a:lnTo>
                    <a:lnTo>
                      <a:pt x="73" y="181"/>
                    </a:lnTo>
                    <a:lnTo>
                      <a:pt x="73" y="179"/>
                    </a:lnTo>
                    <a:lnTo>
                      <a:pt x="75" y="177"/>
                    </a:lnTo>
                    <a:lnTo>
                      <a:pt x="75" y="174"/>
                    </a:lnTo>
                    <a:lnTo>
                      <a:pt x="79" y="172"/>
                    </a:lnTo>
                    <a:lnTo>
                      <a:pt x="75" y="168"/>
                    </a:lnTo>
                    <a:lnTo>
                      <a:pt x="75" y="166"/>
                    </a:lnTo>
                    <a:lnTo>
                      <a:pt x="75" y="162"/>
                    </a:lnTo>
                    <a:lnTo>
                      <a:pt x="75" y="159"/>
                    </a:lnTo>
                    <a:lnTo>
                      <a:pt x="73" y="157"/>
                    </a:lnTo>
                    <a:lnTo>
                      <a:pt x="71" y="153"/>
                    </a:lnTo>
                    <a:lnTo>
                      <a:pt x="69" y="151"/>
                    </a:lnTo>
                    <a:lnTo>
                      <a:pt x="66" y="149"/>
                    </a:lnTo>
                    <a:lnTo>
                      <a:pt x="64" y="145"/>
                    </a:lnTo>
                    <a:lnTo>
                      <a:pt x="62" y="142"/>
                    </a:lnTo>
                    <a:lnTo>
                      <a:pt x="62" y="138"/>
                    </a:lnTo>
                    <a:lnTo>
                      <a:pt x="60" y="136"/>
                    </a:lnTo>
                    <a:lnTo>
                      <a:pt x="58" y="132"/>
                    </a:lnTo>
                    <a:lnTo>
                      <a:pt x="56" y="132"/>
                    </a:lnTo>
                    <a:lnTo>
                      <a:pt x="54" y="128"/>
                    </a:lnTo>
                    <a:lnTo>
                      <a:pt x="51" y="128"/>
                    </a:lnTo>
                    <a:lnTo>
                      <a:pt x="49" y="127"/>
                    </a:lnTo>
                    <a:lnTo>
                      <a:pt x="45" y="127"/>
                    </a:lnTo>
                    <a:lnTo>
                      <a:pt x="45" y="128"/>
                    </a:lnTo>
                    <a:lnTo>
                      <a:pt x="43" y="128"/>
                    </a:lnTo>
                    <a:lnTo>
                      <a:pt x="41" y="128"/>
                    </a:lnTo>
                    <a:lnTo>
                      <a:pt x="37" y="127"/>
                    </a:lnTo>
                    <a:lnTo>
                      <a:pt x="35" y="125"/>
                    </a:lnTo>
                    <a:lnTo>
                      <a:pt x="32" y="125"/>
                    </a:lnTo>
                    <a:lnTo>
                      <a:pt x="28" y="127"/>
                    </a:lnTo>
                    <a:lnTo>
                      <a:pt x="28" y="128"/>
                    </a:lnTo>
                    <a:lnTo>
                      <a:pt x="26" y="128"/>
                    </a:lnTo>
                    <a:lnTo>
                      <a:pt x="24" y="128"/>
                    </a:lnTo>
                    <a:lnTo>
                      <a:pt x="20" y="127"/>
                    </a:lnTo>
                    <a:lnTo>
                      <a:pt x="20" y="125"/>
                    </a:lnTo>
                    <a:lnTo>
                      <a:pt x="20" y="123"/>
                    </a:lnTo>
                    <a:lnTo>
                      <a:pt x="19" y="119"/>
                    </a:lnTo>
                    <a:lnTo>
                      <a:pt x="15" y="117"/>
                    </a:lnTo>
                    <a:lnTo>
                      <a:pt x="11" y="113"/>
                    </a:lnTo>
                    <a:lnTo>
                      <a:pt x="9" y="113"/>
                    </a:lnTo>
                    <a:lnTo>
                      <a:pt x="7" y="111"/>
                    </a:lnTo>
                    <a:lnTo>
                      <a:pt x="7" y="108"/>
                    </a:lnTo>
                    <a:lnTo>
                      <a:pt x="7" y="108"/>
                    </a:lnTo>
                    <a:lnTo>
                      <a:pt x="5" y="104"/>
                    </a:lnTo>
                    <a:lnTo>
                      <a:pt x="5" y="104"/>
                    </a:lnTo>
                    <a:lnTo>
                      <a:pt x="3" y="108"/>
                    </a:lnTo>
                    <a:lnTo>
                      <a:pt x="3" y="108"/>
                    </a:lnTo>
                    <a:lnTo>
                      <a:pt x="2" y="104"/>
                    </a:lnTo>
                    <a:lnTo>
                      <a:pt x="0" y="102"/>
                    </a:lnTo>
                    <a:lnTo>
                      <a:pt x="0" y="98"/>
                    </a:lnTo>
                    <a:lnTo>
                      <a:pt x="0" y="96"/>
                    </a:lnTo>
                    <a:lnTo>
                      <a:pt x="0" y="96"/>
                    </a:lnTo>
                    <a:lnTo>
                      <a:pt x="0" y="9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48"/>
              <p:cNvSpPr>
                <a:spLocks noEditPoints="1"/>
              </p:cNvSpPr>
              <p:nvPr/>
            </p:nvSpPr>
            <p:spPr bwMode="auto">
              <a:xfrm>
                <a:off x="4198" y="2934"/>
                <a:ext cx="42" cy="73"/>
              </a:xfrm>
              <a:custGeom>
                <a:avLst/>
                <a:gdLst/>
                <a:ahLst/>
                <a:cxnLst>
                  <a:cxn ang="0">
                    <a:pos x="0" y="32"/>
                  </a:cxn>
                  <a:cxn ang="0">
                    <a:pos x="2" y="28"/>
                  </a:cxn>
                  <a:cxn ang="0">
                    <a:pos x="0" y="28"/>
                  </a:cxn>
                  <a:cxn ang="0">
                    <a:pos x="0" y="35"/>
                  </a:cxn>
                  <a:cxn ang="0">
                    <a:pos x="0" y="35"/>
                  </a:cxn>
                  <a:cxn ang="0">
                    <a:pos x="6" y="5"/>
                  </a:cxn>
                  <a:cxn ang="0">
                    <a:pos x="2" y="0"/>
                  </a:cxn>
                  <a:cxn ang="0">
                    <a:pos x="10" y="0"/>
                  </a:cxn>
                  <a:cxn ang="0">
                    <a:pos x="6" y="3"/>
                  </a:cxn>
                  <a:cxn ang="0">
                    <a:pos x="6" y="5"/>
                  </a:cxn>
                  <a:cxn ang="0">
                    <a:pos x="6" y="5"/>
                  </a:cxn>
                  <a:cxn ang="0">
                    <a:pos x="12" y="1"/>
                  </a:cxn>
                  <a:cxn ang="0">
                    <a:pos x="17" y="7"/>
                  </a:cxn>
                  <a:cxn ang="0">
                    <a:pos x="17" y="7"/>
                  </a:cxn>
                  <a:cxn ang="0">
                    <a:pos x="12" y="5"/>
                  </a:cxn>
                  <a:cxn ang="0">
                    <a:pos x="10" y="3"/>
                  </a:cxn>
                  <a:cxn ang="0">
                    <a:pos x="12" y="1"/>
                  </a:cxn>
                  <a:cxn ang="0">
                    <a:pos x="12" y="0"/>
                  </a:cxn>
                  <a:cxn ang="0">
                    <a:pos x="12" y="0"/>
                  </a:cxn>
                  <a:cxn ang="0">
                    <a:pos x="6" y="7"/>
                  </a:cxn>
                  <a:cxn ang="0">
                    <a:pos x="6" y="9"/>
                  </a:cxn>
                  <a:cxn ang="0">
                    <a:pos x="6" y="9"/>
                  </a:cxn>
                  <a:cxn ang="0">
                    <a:pos x="6" y="17"/>
                  </a:cxn>
                  <a:cxn ang="0">
                    <a:pos x="2" y="13"/>
                  </a:cxn>
                  <a:cxn ang="0">
                    <a:pos x="0" y="13"/>
                  </a:cxn>
                  <a:cxn ang="0">
                    <a:pos x="2" y="17"/>
                  </a:cxn>
                  <a:cxn ang="0">
                    <a:pos x="2" y="20"/>
                  </a:cxn>
                  <a:cxn ang="0">
                    <a:pos x="2" y="28"/>
                  </a:cxn>
                  <a:cxn ang="0">
                    <a:pos x="2" y="37"/>
                  </a:cxn>
                  <a:cxn ang="0">
                    <a:pos x="2" y="47"/>
                  </a:cxn>
                  <a:cxn ang="0">
                    <a:pos x="2" y="56"/>
                  </a:cxn>
                  <a:cxn ang="0">
                    <a:pos x="10" y="69"/>
                  </a:cxn>
                  <a:cxn ang="0">
                    <a:pos x="17" y="71"/>
                  </a:cxn>
                  <a:cxn ang="0">
                    <a:pos x="30" y="69"/>
                  </a:cxn>
                  <a:cxn ang="0">
                    <a:pos x="42" y="58"/>
                  </a:cxn>
                  <a:cxn ang="0">
                    <a:pos x="42" y="50"/>
                  </a:cxn>
                  <a:cxn ang="0">
                    <a:pos x="42" y="47"/>
                  </a:cxn>
                  <a:cxn ang="0">
                    <a:pos x="42" y="41"/>
                  </a:cxn>
                  <a:cxn ang="0">
                    <a:pos x="36" y="32"/>
                  </a:cxn>
                  <a:cxn ang="0">
                    <a:pos x="29" y="26"/>
                  </a:cxn>
                  <a:cxn ang="0">
                    <a:pos x="27" y="26"/>
                  </a:cxn>
                  <a:cxn ang="0">
                    <a:pos x="29" y="22"/>
                  </a:cxn>
                  <a:cxn ang="0">
                    <a:pos x="27" y="17"/>
                  </a:cxn>
                  <a:cxn ang="0">
                    <a:pos x="21" y="13"/>
                  </a:cxn>
                  <a:cxn ang="0">
                    <a:pos x="21" y="9"/>
                  </a:cxn>
                  <a:cxn ang="0">
                    <a:pos x="15" y="9"/>
                  </a:cxn>
                  <a:cxn ang="0">
                    <a:pos x="12" y="7"/>
                  </a:cxn>
                  <a:cxn ang="0">
                    <a:pos x="6" y="5"/>
                  </a:cxn>
                </a:cxnLst>
                <a:rect l="0" t="0" r="r" b="b"/>
                <a:pathLst>
                  <a:path w="42" h="73">
                    <a:moveTo>
                      <a:pt x="0" y="35"/>
                    </a:moveTo>
                    <a:lnTo>
                      <a:pt x="0" y="32"/>
                    </a:lnTo>
                    <a:lnTo>
                      <a:pt x="0" y="28"/>
                    </a:lnTo>
                    <a:lnTo>
                      <a:pt x="2" y="28"/>
                    </a:lnTo>
                    <a:lnTo>
                      <a:pt x="2" y="28"/>
                    </a:lnTo>
                    <a:lnTo>
                      <a:pt x="0" y="28"/>
                    </a:lnTo>
                    <a:lnTo>
                      <a:pt x="2" y="32"/>
                    </a:lnTo>
                    <a:lnTo>
                      <a:pt x="0" y="35"/>
                    </a:lnTo>
                    <a:lnTo>
                      <a:pt x="0" y="35"/>
                    </a:lnTo>
                    <a:lnTo>
                      <a:pt x="0" y="35"/>
                    </a:lnTo>
                    <a:lnTo>
                      <a:pt x="0" y="35"/>
                    </a:lnTo>
                    <a:close/>
                    <a:moveTo>
                      <a:pt x="6" y="5"/>
                    </a:moveTo>
                    <a:lnTo>
                      <a:pt x="2" y="1"/>
                    </a:lnTo>
                    <a:lnTo>
                      <a:pt x="2" y="0"/>
                    </a:lnTo>
                    <a:lnTo>
                      <a:pt x="6" y="0"/>
                    </a:lnTo>
                    <a:lnTo>
                      <a:pt x="10" y="0"/>
                    </a:lnTo>
                    <a:lnTo>
                      <a:pt x="6" y="3"/>
                    </a:lnTo>
                    <a:lnTo>
                      <a:pt x="6" y="3"/>
                    </a:lnTo>
                    <a:lnTo>
                      <a:pt x="6" y="5"/>
                    </a:lnTo>
                    <a:lnTo>
                      <a:pt x="6" y="5"/>
                    </a:lnTo>
                    <a:lnTo>
                      <a:pt x="6" y="5"/>
                    </a:lnTo>
                    <a:lnTo>
                      <a:pt x="6" y="5"/>
                    </a:lnTo>
                    <a:close/>
                    <a:moveTo>
                      <a:pt x="12" y="0"/>
                    </a:moveTo>
                    <a:lnTo>
                      <a:pt x="12" y="1"/>
                    </a:lnTo>
                    <a:lnTo>
                      <a:pt x="15" y="3"/>
                    </a:lnTo>
                    <a:lnTo>
                      <a:pt x="17" y="7"/>
                    </a:lnTo>
                    <a:lnTo>
                      <a:pt x="21" y="9"/>
                    </a:lnTo>
                    <a:lnTo>
                      <a:pt x="17" y="7"/>
                    </a:lnTo>
                    <a:lnTo>
                      <a:pt x="15" y="7"/>
                    </a:lnTo>
                    <a:lnTo>
                      <a:pt x="12" y="5"/>
                    </a:lnTo>
                    <a:lnTo>
                      <a:pt x="10" y="3"/>
                    </a:lnTo>
                    <a:lnTo>
                      <a:pt x="10" y="3"/>
                    </a:lnTo>
                    <a:lnTo>
                      <a:pt x="12" y="1"/>
                    </a:lnTo>
                    <a:lnTo>
                      <a:pt x="12" y="1"/>
                    </a:lnTo>
                    <a:lnTo>
                      <a:pt x="12" y="0"/>
                    </a:lnTo>
                    <a:lnTo>
                      <a:pt x="12" y="0"/>
                    </a:lnTo>
                    <a:lnTo>
                      <a:pt x="12" y="0"/>
                    </a:lnTo>
                    <a:lnTo>
                      <a:pt x="12" y="0"/>
                    </a:lnTo>
                    <a:close/>
                    <a:moveTo>
                      <a:pt x="6" y="5"/>
                    </a:moveTo>
                    <a:lnTo>
                      <a:pt x="6" y="7"/>
                    </a:lnTo>
                    <a:lnTo>
                      <a:pt x="10" y="9"/>
                    </a:lnTo>
                    <a:lnTo>
                      <a:pt x="6" y="9"/>
                    </a:lnTo>
                    <a:lnTo>
                      <a:pt x="6" y="9"/>
                    </a:lnTo>
                    <a:lnTo>
                      <a:pt x="6" y="9"/>
                    </a:lnTo>
                    <a:lnTo>
                      <a:pt x="6" y="13"/>
                    </a:lnTo>
                    <a:lnTo>
                      <a:pt x="6" y="17"/>
                    </a:lnTo>
                    <a:lnTo>
                      <a:pt x="2" y="17"/>
                    </a:lnTo>
                    <a:lnTo>
                      <a:pt x="2" y="13"/>
                    </a:lnTo>
                    <a:lnTo>
                      <a:pt x="0" y="13"/>
                    </a:lnTo>
                    <a:lnTo>
                      <a:pt x="0" y="13"/>
                    </a:lnTo>
                    <a:lnTo>
                      <a:pt x="2" y="17"/>
                    </a:lnTo>
                    <a:lnTo>
                      <a:pt x="2" y="17"/>
                    </a:lnTo>
                    <a:lnTo>
                      <a:pt x="2" y="17"/>
                    </a:lnTo>
                    <a:lnTo>
                      <a:pt x="2" y="20"/>
                    </a:lnTo>
                    <a:lnTo>
                      <a:pt x="2" y="26"/>
                    </a:lnTo>
                    <a:lnTo>
                      <a:pt x="2" y="28"/>
                    </a:lnTo>
                    <a:lnTo>
                      <a:pt x="2" y="35"/>
                    </a:lnTo>
                    <a:lnTo>
                      <a:pt x="2" y="37"/>
                    </a:lnTo>
                    <a:lnTo>
                      <a:pt x="0" y="39"/>
                    </a:lnTo>
                    <a:lnTo>
                      <a:pt x="2" y="47"/>
                    </a:lnTo>
                    <a:lnTo>
                      <a:pt x="2" y="47"/>
                    </a:lnTo>
                    <a:lnTo>
                      <a:pt x="2" y="56"/>
                    </a:lnTo>
                    <a:lnTo>
                      <a:pt x="6" y="66"/>
                    </a:lnTo>
                    <a:lnTo>
                      <a:pt x="10" y="69"/>
                    </a:lnTo>
                    <a:lnTo>
                      <a:pt x="15" y="73"/>
                    </a:lnTo>
                    <a:lnTo>
                      <a:pt x="17" y="71"/>
                    </a:lnTo>
                    <a:lnTo>
                      <a:pt x="23" y="71"/>
                    </a:lnTo>
                    <a:lnTo>
                      <a:pt x="30" y="69"/>
                    </a:lnTo>
                    <a:lnTo>
                      <a:pt x="36" y="64"/>
                    </a:lnTo>
                    <a:lnTo>
                      <a:pt x="42" y="58"/>
                    </a:lnTo>
                    <a:lnTo>
                      <a:pt x="42" y="54"/>
                    </a:lnTo>
                    <a:lnTo>
                      <a:pt x="42" y="50"/>
                    </a:lnTo>
                    <a:lnTo>
                      <a:pt x="42" y="50"/>
                    </a:lnTo>
                    <a:lnTo>
                      <a:pt x="42" y="47"/>
                    </a:lnTo>
                    <a:lnTo>
                      <a:pt x="42" y="45"/>
                    </a:lnTo>
                    <a:lnTo>
                      <a:pt x="42" y="41"/>
                    </a:lnTo>
                    <a:lnTo>
                      <a:pt x="38" y="39"/>
                    </a:lnTo>
                    <a:lnTo>
                      <a:pt x="36" y="32"/>
                    </a:lnTo>
                    <a:lnTo>
                      <a:pt x="32" y="26"/>
                    </a:lnTo>
                    <a:lnTo>
                      <a:pt x="29" y="26"/>
                    </a:lnTo>
                    <a:lnTo>
                      <a:pt x="29" y="26"/>
                    </a:lnTo>
                    <a:lnTo>
                      <a:pt x="27" y="26"/>
                    </a:lnTo>
                    <a:lnTo>
                      <a:pt x="29" y="22"/>
                    </a:lnTo>
                    <a:lnTo>
                      <a:pt x="29" y="22"/>
                    </a:lnTo>
                    <a:lnTo>
                      <a:pt x="27" y="20"/>
                    </a:lnTo>
                    <a:lnTo>
                      <a:pt x="27" y="17"/>
                    </a:lnTo>
                    <a:lnTo>
                      <a:pt x="23" y="17"/>
                    </a:lnTo>
                    <a:lnTo>
                      <a:pt x="21" y="13"/>
                    </a:lnTo>
                    <a:lnTo>
                      <a:pt x="21" y="13"/>
                    </a:lnTo>
                    <a:lnTo>
                      <a:pt x="21" y="9"/>
                    </a:lnTo>
                    <a:lnTo>
                      <a:pt x="15" y="9"/>
                    </a:lnTo>
                    <a:lnTo>
                      <a:pt x="15" y="9"/>
                    </a:lnTo>
                    <a:lnTo>
                      <a:pt x="12" y="9"/>
                    </a:lnTo>
                    <a:lnTo>
                      <a:pt x="12" y="7"/>
                    </a:lnTo>
                    <a:lnTo>
                      <a:pt x="6" y="5"/>
                    </a:lnTo>
                    <a:lnTo>
                      <a:pt x="6" y="5"/>
                    </a:lnTo>
                    <a:lnTo>
                      <a:pt x="6" y="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7" name="Freeform 49"/>
              <p:cNvSpPr>
                <a:spLocks/>
              </p:cNvSpPr>
              <p:nvPr/>
            </p:nvSpPr>
            <p:spPr bwMode="auto">
              <a:xfrm>
                <a:off x="4208" y="2510"/>
                <a:ext cx="154" cy="81"/>
              </a:xfrm>
              <a:custGeom>
                <a:avLst/>
                <a:gdLst/>
                <a:ahLst/>
                <a:cxnLst>
                  <a:cxn ang="0">
                    <a:pos x="9" y="0"/>
                  </a:cxn>
                  <a:cxn ang="0">
                    <a:pos x="15" y="4"/>
                  </a:cxn>
                  <a:cxn ang="0">
                    <a:pos x="20" y="7"/>
                  </a:cxn>
                  <a:cxn ang="0">
                    <a:pos x="28" y="4"/>
                  </a:cxn>
                  <a:cxn ang="0">
                    <a:pos x="37" y="7"/>
                  </a:cxn>
                  <a:cxn ang="0">
                    <a:pos x="43" y="7"/>
                  </a:cxn>
                  <a:cxn ang="0">
                    <a:pos x="52" y="15"/>
                  </a:cxn>
                  <a:cxn ang="0">
                    <a:pos x="58" y="19"/>
                  </a:cxn>
                  <a:cxn ang="0">
                    <a:pos x="62" y="26"/>
                  </a:cxn>
                  <a:cxn ang="0">
                    <a:pos x="66" y="19"/>
                  </a:cxn>
                  <a:cxn ang="0">
                    <a:pos x="67" y="19"/>
                  </a:cxn>
                  <a:cxn ang="0">
                    <a:pos x="77" y="22"/>
                  </a:cxn>
                  <a:cxn ang="0">
                    <a:pos x="81" y="30"/>
                  </a:cxn>
                  <a:cxn ang="0">
                    <a:pos x="92" y="30"/>
                  </a:cxn>
                  <a:cxn ang="0">
                    <a:pos x="92" y="41"/>
                  </a:cxn>
                  <a:cxn ang="0">
                    <a:pos x="101" y="43"/>
                  </a:cxn>
                  <a:cxn ang="0">
                    <a:pos x="107" y="41"/>
                  </a:cxn>
                  <a:cxn ang="0">
                    <a:pos x="116" y="37"/>
                  </a:cxn>
                  <a:cxn ang="0">
                    <a:pos x="122" y="43"/>
                  </a:cxn>
                  <a:cxn ang="0">
                    <a:pos x="131" y="51"/>
                  </a:cxn>
                  <a:cxn ang="0">
                    <a:pos x="139" y="49"/>
                  </a:cxn>
                  <a:cxn ang="0">
                    <a:pos x="147" y="49"/>
                  </a:cxn>
                  <a:cxn ang="0">
                    <a:pos x="150" y="53"/>
                  </a:cxn>
                  <a:cxn ang="0">
                    <a:pos x="154" y="68"/>
                  </a:cxn>
                  <a:cxn ang="0">
                    <a:pos x="139" y="81"/>
                  </a:cxn>
                  <a:cxn ang="0">
                    <a:pos x="130" y="79"/>
                  </a:cxn>
                  <a:cxn ang="0">
                    <a:pos x="107" y="71"/>
                  </a:cxn>
                  <a:cxn ang="0">
                    <a:pos x="94" y="71"/>
                  </a:cxn>
                  <a:cxn ang="0">
                    <a:pos x="88" y="62"/>
                  </a:cxn>
                  <a:cxn ang="0">
                    <a:pos x="69" y="62"/>
                  </a:cxn>
                  <a:cxn ang="0">
                    <a:pos x="58" y="62"/>
                  </a:cxn>
                  <a:cxn ang="0">
                    <a:pos x="47" y="58"/>
                  </a:cxn>
                  <a:cxn ang="0">
                    <a:pos x="37" y="53"/>
                  </a:cxn>
                  <a:cxn ang="0">
                    <a:pos x="22" y="41"/>
                  </a:cxn>
                  <a:cxn ang="0">
                    <a:pos x="13" y="37"/>
                  </a:cxn>
                  <a:cxn ang="0">
                    <a:pos x="5" y="34"/>
                  </a:cxn>
                  <a:cxn ang="0">
                    <a:pos x="0" y="30"/>
                  </a:cxn>
                  <a:cxn ang="0">
                    <a:pos x="5" y="17"/>
                  </a:cxn>
                  <a:cxn ang="0">
                    <a:pos x="9" y="0"/>
                  </a:cxn>
                  <a:cxn ang="0">
                    <a:pos x="9" y="0"/>
                  </a:cxn>
                </a:cxnLst>
                <a:rect l="0" t="0" r="r" b="b"/>
                <a:pathLst>
                  <a:path w="154" h="81">
                    <a:moveTo>
                      <a:pt x="9" y="0"/>
                    </a:moveTo>
                    <a:lnTo>
                      <a:pt x="9" y="0"/>
                    </a:lnTo>
                    <a:lnTo>
                      <a:pt x="13" y="4"/>
                    </a:lnTo>
                    <a:lnTo>
                      <a:pt x="15" y="4"/>
                    </a:lnTo>
                    <a:lnTo>
                      <a:pt x="19" y="4"/>
                    </a:lnTo>
                    <a:lnTo>
                      <a:pt x="20" y="7"/>
                    </a:lnTo>
                    <a:lnTo>
                      <a:pt x="22" y="4"/>
                    </a:lnTo>
                    <a:lnTo>
                      <a:pt x="28" y="4"/>
                    </a:lnTo>
                    <a:lnTo>
                      <a:pt x="34" y="4"/>
                    </a:lnTo>
                    <a:lnTo>
                      <a:pt x="37" y="7"/>
                    </a:lnTo>
                    <a:lnTo>
                      <a:pt x="39" y="7"/>
                    </a:lnTo>
                    <a:lnTo>
                      <a:pt x="43" y="7"/>
                    </a:lnTo>
                    <a:lnTo>
                      <a:pt x="49" y="15"/>
                    </a:lnTo>
                    <a:lnTo>
                      <a:pt x="52" y="15"/>
                    </a:lnTo>
                    <a:lnTo>
                      <a:pt x="58" y="17"/>
                    </a:lnTo>
                    <a:lnTo>
                      <a:pt x="58" y="19"/>
                    </a:lnTo>
                    <a:lnTo>
                      <a:pt x="62" y="22"/>
                    </a:lnTo>
                    <a:lnTo>
                      <a:pt x="62" y="26"/>
                    </a:lnTo>
                    <a:lnTo>
                      <a:pt x="64" y="24"/>
                    </a:lnTo>
                    <a:lnTo>
                      <a:pt x="66" y="19"/>
                    </a:lnTo>
                    <a:lnTo>
                      <a:pt x="67" y="19"/>
                    </a:lnTo>
                    <a:lnTo>
                      <a:pt x="67" y="19"/>
                    </a:lnTo>
                    <a:lnTo>
                      <a:pt x="73" y="19"/>
                    </a:lnTo>
                    <a:lnTo>
                      <a:pt x="77" y="22"/>
                    </a:lnTo>
                    <a:lnTo>
                      <a:pt x="77" y="26"/>
                    </a:lnTo>
                    <a:lnTo>
                      <a:pt x="81" y="30"/>
                    </a:lnTo>
                    <a:lnTo>
                      <a:pt x="86" y="30"/>
                    </a:lnTo>
                    <a:lnTo>
                      <a:pt x="92" y="30"/>
                    </a:lnTo>
                    <a:lnTo>
                      <a:pt x="90" y="37"/>
                    </a:lnTo>
                    <a:lnTo>
                      <a:pt x="92" y="41"/>
                    </a:lnTo>
                    <a:lnTo>
                      <a:pt x="96" y="41"/>
                    </a:lnTo>
                    <a:lnTo>
                      <a:pt x="101" y="43"/>
                    </a:lnTo>
                    <a:lnTo>
                      <a:pt x="101" y="41"/>
                    </a:lnTo>
                    <a:lnTo>
                      <a:pt x="107" y="41"/>
                    </a:lnTo>
                    <a:lnTo>
                      <a:pt x="109" y="37"/>
                    </a:lnTo>
                    <a:lnTo>
                      <a:pt x="116" y="37"/>
                    </a:lnTo>
                    <a:lnTo>
                      <a:pt x="122" y="41"/>
                    </a:lnTo>
                    <a:lnTo>
                      <a:pt x="122" y="43"/>
                    </a:lnTo>
                    <a:lnTo>
                      <a:pt x="130" y="47"/>
                    </a:lnTo>
                    <a:lnTo>
                      <a:pt x="131" y="51"/>
                    </a:lnTo>
                    <a:lnTo>
                      <a:pt x="133" y="53"/>
                    </a:lnTo>
                    <a:lnTo>
                      <a:pt x="139" y="49"/>
                    </a:lnTo>
                    <a:lnTo>
                      <a:pt x="141" y="51"/>
                    </a:lnTo>
                    <a:lnTo>
                      <a:pt x="147" y="49"/>
                    </a:lnTo>
                    <a:lnTo>
                      <a:pt x="150" y="49"/>
                    </a:lnTo>
                    <a:lnTo>
                      <a:pt x="150" y="53"/>
                    </a:lnTo>
                    <a:lnTo>
                      <a:pt x="150" y="62"/>
                    </a:lnTo>
                    <a:lnTo>
                      <a:pt x="154" y="68"/>
                    </a:lnTo>
                    <a:lnTo>
                      <a:pt x="150" y="77"/>
                    </a:lnTo>
                    <a:lnTo>
                      <a:pt x="139" y="81"/>
                    </a:lnTo>
                    <a:lnTo>
                      <a:pt x="133" y="75"/>
                    </a:lnTo>
                    <a:lnTo>
                      <a:pt x="130" y="79"/>
                    </a:lnTo>
                    <a:lnTo>
                      <a:pt x="113" y="71"/>
                    </a:lnTo>
                    <a:lnTo>
                      <a:pt x="107" y="71"/>
                    </a:lnTo>
                    <a:lnTo>
                      <a:pt x="105" y="75"/>
                    </a:lnTo>
                    <a:lnTo>
                      <a:pt x="94" y="71"/>
                    </a:lnTo>
                    <a:lnTo>
                      <a:pt x="88" y="68"/>
                    </a:lnTo>
                    <a:lnTo>
                      <a:pt x="88" y="62"/>
                    </a:lnTo>
                    <a:lnTo>
                      <a:pt x="79" y="62"/>
                    </a:lnTo>
                    <a:lnTo>
                      <a:pt x="69" y="62"/>
                    </a:lnTo>
                    <a:lnTo>
                      <a:pt x="66" y="62"/>
                    </a:lnTo>
                    <a:lnTo>
                      <a:pt x="58" y="62"/>
                    </a:lnTo>
                    <a:lnTo>
                      <a:pt x="52" y="58"/>
                    </a:lnTo>
                    <a:lnTo>
                      <a:pt x="47" y="58"/>
                    </a:lnTo>
                    <a:lnTo>
                      <a:pt x="43" y="54"/>
                    </a:lnTo>
                    <a:lnTo>
                      <a:pt x="37" y="53"/>
                    </a:lnTo>
                    <a:lnTo>
                      <a:pt x="30" y="47"/>
                    </a:lnTo>
                    <a:lnTo>
                      <a:pt x="22" y="41"/>
                    </a:lnTo>
                    <a:lnTo>
                      <a:pt x="15" y="37"/>
                    </a:lnTo>
                    <a:lnTo>
                      <a:pt x="13" y="37"/>
                    </a:lnTo>
                    <a:lnTo>
                      <a:pt x="9" y="37"/>
                    </a:lnTo>
                    <a:lnTo>
                      <a:pt x="5" y="34"/>
                    </a:lnTo>
                    <a:lnTo>
                      <a:pt x="0" y="34"/>
                    </a:lnTo>
                    <a:lnTo>
                      <a:pt x="0" y="30"/>
                    </a:lnTo>
                    <a:lnTo>
                      <a:pt x="5" y="22"/>
                    </a:lnTo>
                    <a:lnTo>
                      <a:pt x="5" y="17"/>
                    </a:lnTo>
                    <a:lnTo>
                      <a:pt x="9" y="7"/>
                    </a:lnTo>
                    <a:lnTo>
                      <a:pt x="9" y="0"/>
                    </a:lnTo>
                    <a:lnTo>
                      <a:pt x="9" y="0"/>
                    </a:lnTo>
                    <a:lnTo>
                      <a:pt x="9"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8" name="Freeform 50"/>
              <p:cNvSpPr>
                <a:spLocks/>
              </p:cNvSpPr>
              <p:nvPr/>
            </p:nvSpPr>
            <p:spPr bwMode="auto">
              <a:xfrm>
                <a:off x="3566" y="1903"/>
                <a:ext cx="700" cy="364"/>
              </a:xfrm>
              <a:custGeom>
                <a:avLst/>
                <a:gdLst/>
                <a:ahLst/>
                <a:cxnLst>
                  <a:cxn ang="0">
                    <a:pos x="17" y="213"/>
                  </a:cxn>
                  <a:cxn ang="0">
                    <a:pos x="0" y="170"/>
                  </a:cxn>
                  <a:cxn ang="0">
                    <a:pos x="34" y="164"/>
                  </a:cxn>
                  <a:cxn ang="0">
                    <a:pos x="51" y="130"/>
                  </a:cxn>
                  <a:cxn ang="0">
                    <a:pos x="68" y="125"/>
                  </a:cxn>
                  <a:cxn ang="0">
                    <a:pos x="79" y="121"/>
                  </a:cxn>
                  <a:cxn ang="0">
                    <a:pos x="113" y="130"/>
                  </a:cxn>
                  <a:cxn ang="0">
                    <a:pos x="132" y="138"/>
                  </a:cxn>
                  <a:cxn ang="0">
                    <a:pos x="158" y="130"/>
                  </a:cxn>
                  <a:cxn ang="0">
                    <a:pos x="184" y="130"/>
                  </a:cxn>
                  <a:cxn ang="0">
                    <a:pos x="201" y="140"/>
                  </a:cxn>
                  <a:cxn ang="0">
                    <a:pos x="235" y="140"/>
                  </a:cxn>
                  <a:cxn ang="0">
                    <a:pos x="226" y="109"/>
                  </a:cxn>
                  <a:cxn ang="0">
                    <a:pos x="222" y="91"/>
                  </a:cxn>
                  <a:cxn ang="0">
                    <a:pos x="237" y="68"/>
                  </a:cxn>
                  <a:cxn ang="0">
                    <a:pos x="222" y="62"/>
                  </a:cxn>
                  <a:cxn ang="0">
                    <a:pos x="235" y="53"/>
                  </a:cxn>
                  <a:cxn ang="0">
                    <a:pos x="256" y="44"/>
                  </a:cxn>
                  <a:cxn ang="0">
                    <a:pos x="290" y="36"/>
                  </a:cxn>
                  <a:cxn ang="0">
                    <a:pos x="309" y="27"/>
                  </a:cxn>
                  <a:cxn ang="0">
                    <a:pos x="337" y="10"/>
                  </a:cxn>
                  <a:cxn ang="0">
                    <a:pos x="363" y="2"/>
                  </a:cxn>
                  <a:cxn ang="0">
                    <a:pos x="388" y="17"/>
                  </a:cxn>
                  <a:cxn ang="0">
                    <a:pos x="395" y="32"/>
                  </a:cxn>
                  <a:cxn ang="0">
                    <a:pos x="408" y="28"/>
                  </a:cxn>
                  <a:cxn ang="0">
                    <a:pos x="429" y="36"/>
                  </a:cxn>
                  <a:cxn ang="0">
                    <a:pos x="442" y="44"/>
                  </a:cxn>
                  <a:cxn ang="0">
                    <a:pos x="467" y="32"/>
                  </a:cxn>
                  <a:cxn ang="0">
                    <a:pos x="485" y="27"/>
                  </a:cxn>
                  <a:cxn ang="0">
                    <a:pos x="570" y="100"/>
                  </a:cxn>
                  <a:cxn ang="0">
                    <a:pos x="595" y="108"/>
                  </a:cxn>
                  <a:cxn ang="0">
                    <a:pos x="623" y="102"/>
                  </a:cxn>
                  <a:cxn ang="0">
                    <a:pos x="653" y="121"/>
                  </a:cxn>
                  <a:cxn ang="0">
                    <a:pos x="662" y="138"/>
                  </a:cxn>
                  <a:cxn ang="0">
                    <a:pos x="687" y="136"/>
                  </a:cxn>
                  <a:cxn ang="0">
                    <a:pos x="689" y="158"/>
                  </a:cxn>
                  <a:cxn ang="0">
                    <a:pos x="681" y="198"/>
                  </a:cxn>
                  <a:cxn ang="0">
                    <a:pos x="645" y="200"/>
                  </a:cxn>
                  <a:cxn ang="0">
                    <a:pos x="634" y="241"/>
                  </a:cxn>
                  <a:cxn ang="0">
                    <a:pos x="621" y="251"/>
                  </a:cxn>
                  <a:cxn ang="0">
                    <a:pos x="604" y="262"/>
                  </a:cxn>
                  <a:cxn ang="0">
                    <a:pos x="613" y="290"/>
                  </a:cxn>
                  <a:cxn ang="0">
                    <a:pos x="613" y="319"/>
                  </a:cxn>
                  <a:cxn ang="0">
                    <a:pos x="549" y="309"/>
                  </a:cxn>
                  <a:cxn ang="0">
                    <a:pos x="502" y="309"/>
                  </a:cxn>
                  <a:cxn ang="0">
                    <a:pos x="463" y="320"/>
                  </a:cxn>
                  <a:cxn ang="0">
                    <a:pos x="442" y="336"/>
                  </a:cxn>
                  <a:cxn ang="0">
                    <a:pos x="395" y="360"/>
                  </a:cxn>
                  <a:cxn ang="0">
                    <a:pos x="310" y="298"/>
                  </a:cxn>
                  <a:cxn ang="0">
                    <a:pos x="171" y="352"/>
                  </a:cxn>
                  <a:cxn ang="0">
                    <a:pos x="128" y="336"/>
                  </a:cxn>
                  <a:cxn ang="0">
                    <a:pos x="109" y="326"/>
                  </a:cxn>
                  <a:cxn ang="0">
                    <a:pos x="94" y="309"/>
                  </a:cxn>
                  <a:cxn ang="0">
                    <a:pos x="79" y="290"/>
                  </a:cxn>
                  <a:cxn ang="0">
                    <a:pos x="101" y="290"/>
                  </a:cxn>
                  <a:cxn ang="0">
                    <a:pos x="92" y="275"/>
                  </a:cxn>
                  <a:cxn ang="0">
                    <a:pos x="117" y="270"/>
                  </a:cxn>
                  <a:cxn ang="0">
                    <a:pos x="122" y="258"/>
                  </a:cxn>
                  <a:cxn ang="0">
                    <a:pos x="120" y="238"/>
                  </a:cxn>
                  <a:cxn ang="0">
                    <a:pos x="103" y="236"/>
                  </a:cxn>
                  <a:cxn ang="0">
                    <a:pos x="92" y="232"/>
                  </a:cxn>
                  <a:cxn ang="0">
                    <a:pos x="75" y="236"/>
                  </a:cxn>
                  <a:cxn ang="0">
                    <a:pos x="58" y="247"/>
                  </a:cxn>
                </a:cxnLst>
                <a:rect l="0" t="0" r="r" b="b"/>
                <a:pathLst>
                  <a:path w="700" h="364">
                    <a:moveTo>
                      <a:pt x="54" y="247"/>
                    </a:moveTo>
                    <a:lnTo>
                      <a:pt x="49" y="241"/>
                    </a:lnTo>
                    <a:lnTo>
                      <a:pt x="43" y="243"/>
                    </a:lnTo>
                    <a:lnTo>
                      <a:pt x="37" y="238"/>
                    </a:lnTo>
                    <a:lnTo>
                      <a:pt x="37" y="238"/>
                    </a:lnTo>
                    <a:lnTo>
                      <a:pt x="45" y="238"/>
                    </a:lnTo>
                    <a:lnTo>
                      <a:pt x="37" y="222"/>
                    </a:lnTo>
                    <a:lnTo>
                      <a:pt x="30" y="217"/>
                    </a:lnTo>
                    <a:lnTo>
                      <a:pt x="17" y="213"/>
                    </a:lnTo>
                    <a:lnTo>
                      <a:pt x="15" y="217"/>
                    </a:lnTo>
                    <a:lnTo>
                      <a:pt x="9" y="211"/>
                    </a:lnTo>
                    <a:lnTo>
                      <a:pt x="9" y="207"/>
                    </a:lnTo>
                    <a:lnTo>
                      <a:pt x="9" y="202"/>
                    </a:lnTo>
                    <a:lnTo>
                      <a:pt x="0" y="200"/>
                    </a:lnTo>
                    <a:lnTo>
                      <a:pt x="4" y="194"/>
                    </a:lnTo>
                    <a:lnTo>
                      <a:pt x="4" y="181"/>
                    </a:lnTo>
                    <a:lnTo>
                      <a:pt x="0" y="179"/>
                    </a:lnTo>
                    <a:lnTo>
                      <a:pt x="0" y="170"/>
                    </a:lnTo>
                    <a:lnTo>
                      <a:pt x="4" y="170"/>
                    </a:lnTo>
                    <a:lnTo>
                      <a:pt x="9" y="162"/>
                    </a:lnTo>
                    <a:lnTo>
                      <a:pt x="9" y="158"/>
                    </a:lnTo>
                    <a:lnTo>
                      <a:pt x="11" y="155"/>
                    </a:lnTo>
                    <a:lnTo>
                      <a:pt x="21" y="164"/>
                    </a:lnTo>
                    <a:lnTo>
                      <a:pt x="21" y="168"/>
                    </a:lnTo>
                    <a:lnTo>
                      <a:pt x="28" y="170"/>
                    </a:lnTo>
                    <a:lnTo>
                      <a:pt x="34" y="170"/>
                    </a:lnTo>
                    <a:lnTo>
                      <a:pt x="34" y="164"/>
                    </a:lnTo>
                    <a:lnTo>
                      <a:pt x="36" y="162"/>
                    </a:lnTo>
                    <a:lnTo>
                      <a:pt x="30" y="149"/>
                    </a:lnTo>
                    <a:lnTo>
                      <a:pt x="36" y="145"/>
                    </a:lnTo>
                    <a:lnTo>
                      <a:pt x="43" y="145"/>
                    </a:lnTo>
                    <a:lnTo>
                      <a:pt x="43" y="143"/>
                    </a:lnTo>
                    <a:lnTo>
                      <a:pt x="39" y="140"/>
                    </a:lnTo>
                    <a:lnTo>
                      <a:pt x="41" y="136"/>
                    </a:lnTo>
                    <a:lnTo>
                      <a:pt x="47" y="132"/>
                    </a:lnTo>
                    <a:lnTo>
                      <a:pt x="51" y="130"/>
                    </a:lnTo>
                    <a:lnTo>
                      <a:pt x="53" y="126"/>
                    </a:lnTo>
                    <a:lnTo>
                      <a:pt x="54" y="125"/>
                    </a:lnTo>
                    <a:lnTo>
                      <a:pt x="58" y="125"/>
                    </a:lnTo>
                    <a:lnTo>
                      <a:pt x="58" y="121"/>
                    </a:lnTo>
                    <a:lnTo>
                      <a:pt x="58" y="119"/>
                    </a:lnTo>
                    <a:lnTo>
                      <a:pt x="58" y="117"/>
                    </a:lnTo>
                    <a:lnTo>
                      <a:pt x="64" y="121"/>
                    </a:lnTo>
                    <a:lnTo>
                      <a:pt x="68" y="121"/>
                    </a:lnTo>
                    <a:lnTo>
                      <a:pt x="68" y="125"/>
                    </a:lnTo>
                    <a:lnTo>
                      <a:pt x="64" y="126"/>
                    </a:lnTo>
                    <a:lnTo>
                      <a:pt x="68" y="128"/>
                    </a:lnTo>
                    <a:lnTo>
                      <a:pt x="69" y="126"/>
                    </a:lnTo>
                    <a:lnTo>
                      <a:pt x="71" y="125"/>
                    </a:lnTo>
                    <a:lnTo>
                      <a:pt x="73" y="121"/>
                    </a:lnTo>
                    <a:lnTo>
                      <a:pt x="75" y="125"/>
                    </a:lnTo>
                    <a:lnTo>
                      <a:pt x="77" y="125"/>
                    </a:lnTo>
                    <a:lnTo>
                      <a:pt x="77" y="121"/>
                    </a:lnTo>
                    <a:lnTo>
                      <a:pt x="79" y="121"/>
                    </a:lnTo>
                    <a:lnTo>
                      <a:pt x="83" y="119"/>
                    </a:lnTo>
                    <a:lnTo>
                      <a:pt x="88" y="119"/>
                    </a:lnTo>
                    <a:lnTo>
                      <a:pt x="88" y="121"/>
                    </a:lnTo>
                    <a:lnTo>
                      <a:pt x="94" y="125"/>
                    </a:lnTo>
                    <a:lnTo>
                      <a:pt x="101" y="125"/>
                    </a:lnTo>
                    <a:lnTo>
                      <a:pt x="103" y="125"/>
                    </a:lnTo>
                    <a:lnTo>
                      <a:pt x="105" y="125"/>
                    </a:lnTo>
                    <a:lnTo>
                      <a:pt x="109" y="126"/>
                    </a:lnTo>
                    <a:lnTo>
                      <a:pt x="113" y="130"/>
                    </a:lnTo>
                    <a:lnTo>
                      <a:pt x="115" y="130"/>
                    </a:lnTo>
                    <a:lnTo>
                      <a:pt x="118" y="134"/>
                    </a:lnTo>
                    <a:lnTo>
                      <a:pt x="122" y="140"/>
                    </a:lnTo>
                    <a:lnTo>
                      <a:pt x="126" y="140"/>
                    </a:lnTo>
                    <a:lnTo>
                      <a:pt x="128" y="142"/>
                    </a:lnTo>
                    <a:lnTo>
                      <a:pt x="128" y="145"/>
                    </a:lnTo>
                    <a:lnTo>
                      <a:pt x="130" y="145"/>
                    </a:lnTo>
                    <a:lnTo>
                      <a:pt x="133" y="143"/>
                    </a:lnTo>
                    <a:lnTo>
                      <a:pt x="132" y="138"/>
                    </a:lnTo>
                    <a:lnTo>
                      <a:pt x="133" y="136"/>
                    </a:lnTo>
                    <a:lnTo>
                      <a:pt x="137" y="140"/>
                    </a:lnTo>
                    <a:lnTo>
                      <a:pt x="147" y="142"/>
                    </a:lnTo>
                    <a:lnTo>
                      <a:pt x="147" y="145"/>
                    </a:lnTo>
                    <a:lnTo>
                      <a:pt x="150" y="145"/>
                    </a:lnTo>
                    <a:lnTo>
                      <a:pt x="154" y="142"/>
                    </a:lnTo>
                    <a:lnTo>
                      <a:pt x="156" y="136"/>
                    </a:lnTo>
                    <a:lnTo>
                      <a:pt x="158" y="134"/>
                    </a:lnTo>
                    <a:lnTo>
                      <a:pt x="158" y="130"/>
                    </a:lnTo>
                    <a:lnTo>
                      <a:pt x="164" y="130"/>
                    </a:lnTo>
                    <a:lnTo>
                      <a:pt x="165" y="132"/>
                    </a:lnTo>
                    <a:lnTo>
                      <a:pt x="167" y="130"/>
                    </a:lnTo>
                    <a:lnTo>
                      <a:pt x="171" y="128"/>
                    </a:lnTo>
                    <a:lnTo>
                      <a:pt x="175" y="134"/>
                    </a:lnTo>
                    <a:lnTo>
                      <a:pt x="177" y="136"/>
                    </a:lnTo>
                    <a:lnTo>
                      <a:pt x="182" y="136"/>
                    </a:lnTo>
                    <a:lnTo>
                      <a:pt x="181" y="130"/>
                    </a:lnTo>
                    <a:lnTo>
                      <a:pt x="184" y="130"/>
                    </a:lnTo>
                    <a:lnTo>
                      <a:pt x="188" y="130"/>
                    </a:lnTo>
                    <a:lnTo>
                      <a:pt x="190" y="128"/>
                    </a:lnTo>
                    <a:lnTo>
                      <a:pt x="196" y="130"/>
                    </a:lnTo>
                    <a:lnTo>
                      <a:pt x="196" y="132"/>
                    </a:lnTo>
                    <a:lnTo>
                      <a:pt x="196" y="134"/>
                    </a:lnTo>
                    <a:lnTo>
                      <a:pt x="192" y="136"/>
                    </a:lnTo>
                    <a:lnTo>
                      <a:pt x="196" y="140"/>
                    </a:lnTo>
                    <a:lnTo>
                      <a:pt x="199" y="142"/>
                    </a:lnTo>
                    <a:lnTo>
                      <a:pt x="201" y="140"/>
                    </a:lnTo>
                    <a:lnTo>
                      <a:pt x="203" y="142"/>
                    </a:lnTo>
                    <a:lnTo>
                      <a:pt x="211" y="142"/>
                    </a:lnTo>
                    <a:lnTo>
                      <a:pt x="216" y="145"/>
                    </a:lnTo>
                    <a:lnTo>
                      <a:pt x="220" y="145"/>
                    </a:lnTo>
                    <a:lnTo>
                      <a:pt x="222" y="140"/>
                    </a:lnTo>
                    <a:lnTo>
                      <a:pt x="222" y="136"/>
                    </a:lnTo>
                    <a:lnTo>
                      <a:pt x="226" y="134"/>
                    </a:lnTo>
                    <a:lnTo>
                      <a:pt x="229" y="138"/>
                    </a:lnTo>
                    <a:lnTo>
                      <a:pt x="235" y="140"/>
                    </a:lnTo>
                    <a:lnTo>
                      <a:pt x="243" y="138"/>
                    </a:lnTo>
                    <a:lnTo>
                      <a:pt x="245" y="134"/>
                    </a:lnTo>
                    <a:lnTo>
                      <a:pt x="243" y="121"/>
                    </a:lnTo>
                    <a:lnTo>
                      <a:pt x="241" y="119"/>
                    </a:lnTo>
                    <a:lnTo>
                      <a:pt x="235" y="119"/>
                    </a:lnTo>
                    <a:lnTo>
                      <a:pt x="231" y="115"/>
                    </a:lnTo>
                    <a:lnTo>
                      <a:pt x="231" y="113"/>
                    </a:lnTo>
                    <a:lnTo>
                      <a:pt x="226" y="111"/>
                    </a:lnTo>
                    <a:lnTo>
                      <a:pt x="226" y="109"/>
                    </a:lnTo>
                    <a:lnTo>
                      <a:pt x="220" y="109"/>
                    </a:lnTo>
                    <a:lnTo>
                      <a:pt x="220" y="108"/>
                    </a:lnTo>
                    <a:lnTo>
                      <a:pt x="220" y="104"/>
                    </a:lnTo>
                    <a:lnTo>
                      <a:pt x="220" y="102"/>
                    </a:lnTo>
                    <a:lnTo>
                      <a:pt x="222" y="102"/>
                    </a:lnTo>
                    <a:lnTo>
                      <a:pt x="222" y="100"/>
                    </a:lnTo>
                    <a:lnTo>
                      <a:pt x="226" y="96"/>
                    </a:lnTo>
                    <a:lnTo>
                      <a:pt x="226" y="93"/>
                    </a:lnTo>
                    <a:lnTo>
                      <a:pt x="222" y="91"/>
                    </a:lnTo>
                    <a:lnTo>
                      <a:pt x="220" y="87"/>
                    </a:lnTo>
                    <a:lnTo>
                      <a:pt x="226" y="81"/>
                    </a:lnTo>
                    <a:lnTo>
                      <a:pt x="229" y="77"/>
                    </a:lnTo>
                    <a:lnTo>
                      <a:pt x="239" y="76"/>
                    </a:lnTo>
                    <a:lnTo>
                      <a:pt x="241" y="77"/>
                    </a:lnTo>
                    <a:lnTo>
                      <a:pt x="245" y="76"/>
                    </a:lnTo>
                    <a:lnTo>
                      <a:pt x="245" y="72"/>
                    </a:lnTo>
                    <a:lnTo>
                      <a:pt x="241" y="72"/>
                    </a:lnTo>
                    <a:lnTo>
                      <a:pt x="237" y="68"/>
                    </a:lnTo>
                    <a:lnTo>
                      <a:pt x="233" y="68"/>
                    </a:lnTo>
                    <a:lnTo>
                      <a:pt x="231" y="72"/>
                    </a:lnTo>
                    <a:lnTo>
                      <a:pt x="228" y="68"/>
                    </a:lnTo>
                    <a:lnTo>
                      <a:pt x="222" y="68"/>
                    </a:lnTo>
                    <a:lnTo>
                      <a:pt x="222" y="66"/>
                    </a:lnTo>
                    <a:lnTo>
                      <a:pt x="226" y="64"/>
                    </a:lnTo>
                    <a:lnTo>
                      <a:pt x="229" y="64"/>
                    </a:lnTo>
                    <a:lnTo>
                      <a:pt x="228" y="61"/>
                    </a:lnTo>
                    <a:lnTo>
                      <a:pt x="222" y="62"/>
                    </a:lnTo>
                    <a:lnTo>
                      <a:pt x="220" y="61"/>
                    </a:lnTo>
                    <a:lnTo>
                      <a:pt x="220" y="59"/>
                    </a:lnTo>
                    <a:lnTo>
                      <a:pt x="220" y="53"/>
                    </a:lnTo>
                    <a:lnTo>
                      <a:pt x="220" y="53"/>
                    </a:lnTo>
                    <a:lnTo>
                      <a:pt x="226" y="53"/>
                    </a:lnTo>
                    <a:lnTo>
                      <a:pt x="226" y="51"/>
                    </a:lnTo>
                    <a:lnTo>
                      <a:pt x="229" y="51"/>
                    </a:lnTo>
                    <a:lnTo>
                      <a:pt x="229" y="53"/>
                    </a:lnTo>
                    <a:lnTo>
                      <a:pt x="235" y="53"/>
                    </a:lnTo>
                    <a:lnTo>
                      <a:pt x="239" y="57"/>
                    </a:lnTo>
                    <a:lnTo>
                      <a:pt x="241" y="53"/>
                    </a:lnTo>
                    <a:lnTo>
                      <a:pt x="241" y="51"/>
                    </a:lnTo>
                    <a:lnTo>
                      <a:pt x="243" y="47"/>
                    </a:lnTo>
                    <a:lnTo>
                      <a:pt x="246" y="47"/>
                    </a:lnTo>
                    <a:lnTo>
                      <a:pt x="246" y="53"/>
                    </a:lnTo>
                    <a:lnTo>
                      <a:pt x="250" y="51"/>
                    </a:lnTo>
                    <a:lnTo>
                      <a:pt x="250" y="47"/>
                    </a:lnTo>
                    <a:lnTo>
                      <a:pt x="256" y="44"/>
                    </a:lnTo>
                    <a:lnTo>
                      <a:pt x="261" y="44"/>
                    </a:lnTo>
                    <a:lnTo>
                      <a:pt x="265" y="44"/>
                    </a:lnTo>
                    <a:lnTo>
                      <a:pt x="271" y="42"/>
                    </a:lnTo>
                    <a:lnTo>
                      <a:pt x="271" y="40"/>
                    </a:lnTo>
                    <a:lnTo>
                      <a:pt x="275" y="38"/>
                    </a:lnTo>
                    <a:lnTo>
                      <a:pt x="280" y="38"/>
                    </a:lnTo>
                    <a:lnTo>
                      <a:pt x="284" y="36"/>
                    </a:lnTo>
                    <a:lnTo>
                      <a:pt x="286" y="34"/>
                    </a:lnTo>
                    <a:lnTo>
                      <a:pt x="290" y="36"/>
                    </a:lnTo>
                    <a:lnTo>
                      <a:pt x="290" y="34"/>
                    </a:lnTo>
                    <a:lnTo>
                      <a:pt x="290" y="32"/>
                    </a:lnTo>
                    <a:lnTo>
                      <a:pt x="293" y="28"/>
                    </a:lnTo>
                    <a:lnTo>
                      <a:pt x="295" y="28"/>
                    </a:lnTo>
                    <a:lnTo>
                      <a:pt x="295" y="28"/>
                    </a:lnTo>
                    <a:lnTo>
                      <a:pt x="299" y="25"/>
                    </a:lnTo>
                    <a:lnTo>
                      <a:pt x="301" y="28"/>
                    </a:lnTo>
                    <a:lnTo>
                      <a:pt x="305" y="28"/>
                    </a:lnTo>
                    <a:lnTo>
                      <a:pt x="309" y="27"/>
                    </a:lnTo>
                    <a:lnTo>
                      <a:pt x="310" y="25"/>
                    </a:lnTo>
                    <a:lnTo>
                      <a:pt x="320" y="19"/>
                    </a:lnTo>
                    <a:lnTo>
                      <a:pt x="322" y="19"/>
                    </a:lnTo>
                    <a:lnTo>
                      <a:pt x="324" y="17"/>
                    </a:lnTo>
                    <a:lnTo>
                      <a:pt x="327" y="17"/>
                    </a:lnTo>
                    <a:lnTo>
                      <a:pt x="329" y="13"/>
                    </a:lnTo>
                    <a:lnTo>
                      <a:pt x="333" y="13"/>
                    </a:lnTo>
                    <a:lnTo>
                      <a:pt x="337" y="13"/>
                    </a:lnTo>
                    <a:lnTo>
                      <a:pt x="337" y="10"/>
                    </a:lnTo>
                    <a:lnTo>
                      <a:pt x="335" y="8"/>
                    </a:lnTo>
                    <a:lnTo>
                      <a:pt x="337" y="8"/>
                    </a:lnTo>
                    <a:lnTo>
                      <a:pt x="342" y="8"/>
                    </a:lnTo>
                    <a:lnTo>
                      <a:pt x="342" y="4"/>
                    </a:lnTo>
                    <a:lnTo>
                      <a:pt x="346" y="2"/>
                    </a:lnTo>
                    <a:lnTo>
                      <a:pt x="350" y="2"/>
                    </a:lnTo>
                    <a:lnTo>
                      <a:pt x="352" y="0"/>
                    </a:lnTo>
                    <a:lnTo>
                      <a:pt x="357" y="4"/>
                    </a:lnTo>
                    <a:lnTo>
                      <a:pt x="363" y="2"/>
                    </a:lnTo>
                    <a:lnTo>
                      <a:pt x="365" y="4"/>
                    </a:lnTo>
                    <a:lnTo>
                      <a:pt x="371" y="4"/>
                    </a:lnTo>
                    <a:lnTo>
                      <a:pt x="374" y="4"/>
                    </a:lnTo>
                    <a:lnTo>
                      <a:pt x="378" y="4"/>
                    </a:lnTo>
                    <a:lnTo>
                      <a:pt x="380" y="8"/>
                    </a:lnTo>
                    <a:lnTo>
                      <a:pt x="382" y="8"/>
                    </a:lnTo>
                    <a:lnTo>
                      <a:pt x="382" y="12"/>
                    </a:lnTo>
                    <a:lnTo>
                      <a:pt x="384" y="15"/>
                    </a:lnTo>
                    <a:lnTo>
                      <a:pt x="388" y="17"/>
                    </a:lnTo>
                    <a:lnTo>
                      <a:pt x="388" y="19"/>
                    </a:lnTo>
                    <a:lnTo>
                      <a:pt x="388" y="23"/>
                    </a:lnTo>
                    <a:lnTo>
                      <a:pt x="388" y="27"/>
                    </a:lnTo>
                    <a:lnTo>
                      <a:pt x="388" y="28"/>
                    </a:lnTo>
                    <a:lnTo>
                      <a:pt x="384" y="28"/>
                    </a:lnTo>
                    <a:lnTo>
                      <a:pt x="388" y="32"/>
                    </a:lnTo>
                    <a:lnTo>
                      <a:pt x="388" y="32"/>
                    </a:lnTo>
                    <a:lnTo>
                      <a:pt x="391" y="32"/>
                    </a:lnTo>
                    <a:lnTo>
                      <a:pt x="395" y="32"/>
                    </a:lnTo>
                    <a:lnTo>
                      <a:pt x="397" y="32"/>
                    </a:lnTo>
                    <a:lnTo>
                      <a:pt x="397" y="28"/>
                    </a:lnTo>
                    <a:lnTo>
                      <a:pt x="401" y="28"/>
                    </a:lnTo>
                    <a:lnTo>
                      <a:pt x="401" y="32"/>
                    </a:lnTo>
                    <a:lnTo>
                      <a:pt x="405" y="32"/>
                    </a:lnTo>
                    <a:lnTo>
                      <a:pt x="405" y="28"/>
                    </a:lnTo>
                    <a:lnTo>
                      <a:pt x="403" y="25"/>
                    </a:lnTo>
                    <a:lnTo>
                      <a:pt x="405" y="25"/>
                    </a:lnTo>
                    <a:lnTo>
                      <a:pt x="408" y="28"/>
                    </a:lnTo>
                    <a:lnTo>
                      <a:pt x="412" y="34"/>
                    </a:lnTo>
                    <a:lnTo>
                      <a:pt x="412" y="40"/>
                    </a:lnTo>
                    <a:lnTo>
                      <a:pt x="414" y="38"/>
                    </a:lnTo>
                    <a:lnTo>
                      <a:pt x="418" y="36"/>
                    </a:lnTo>
                    <a:lnTo>
                      <a:pt x="416" y="34"/>
                    </a:lnTo>
                    <a:lnTo>
                      <a:pt x="414" y="32"/>
                    </a:lnTo>
                    <a:lnTo>
                      <a:pt x="418" y="32"/>
                    </a:lnTo>
                    <a:lnTo>
                      <a:pt x="425" y="36"/>
                    </a:lnTo>
                    <a:lnTo>
                      <a:pt x="429" y="36"/>
                    </a:lnTo>
                    <a:lnTo>
                      <a:pt x="431" y="32"/>
                    </a:lnTo>
                    <a:lnTo>
                      <a:pt x="433" y="34"/>
                    </a:lnTo>
                    <a:lnTo>
                      <a:pt x="433" y="38"/>
                    </a:lnTo>
                    <a:lnTo>
                      <a:pt x="429" y="40"/>
                    </a:lnTo>
                    <a:lnTo>
                      <a:pt x="429" y="44"/>
                    </a:lnTo>
                    <a:lnTo>
                      <a:pt x="433" y="47"/>
                    </a:lnTo>
                    <a:lnTo>
                      <a:pt x="433" y="47"/>
                    </a:lnTo>
                    <a:lnTo>
                      <a:pt x="437" y="44"/>
                    </a:lnTo>
                    <a:lnTo>
                      <a:pt x="442" y="44"/>
                    </a:lnTo>
                    <a:lnTo>
                      <a:pt x="448" y="44"/>
                    </a:lnTo>
                    <a:lnTo>
                      <a:pt x="450" y="47"/>
                    </a:lnTo>
                    <a:lnTo>
                      <a:pt x="452" y="44"/>
                    </a:lnTo>
                    <a:lnTo>
                      <a:pt x="452" y="42"/>
                    </a:lnTo>
                    <a:lnTo>
                      <a:pt x="455" y="40"/>
                    </a:lnTo>
                    <a:lnTo>
                      <a:pt x="461" y="40"/>
                    </a:lnTo>
                    <a:lnTo>
                      <a:pt x="463" y="36"/>
                    </a:lnTo>
                    <a:lnTo>
                      <a:pt x="467" y="34"/>
                    </a:lnTo>
                    <a:lnTo>
                      <a:pt x="467" y="32"/>
                    </a:lnTo>
                    <a:lnTo>
                      <a:pt x="467" y="28"/>
                    </a:lnTo>
                    <a:lnTo>
                      <a:pt x="472" y="25"/>
                    </a:lnTo>
                    <a:lnTo>
                      <a:pt x="474" y="25"/>
                    </a:lnTo>
                    <a:lnTo>
                      <a:pt x="478" y="19"/>
                    </a:lnTo>
                    <a:lnTo>
                      <a:pt x="482" y="19"/>
                    </a:lnTo>
                    <a:lnTo>
                      <a:pt x="487" y="19"/>
                    </a:lnTo>
                    <a:lnTo>
                      <a:pt x="487" y="19"/>
                    </a:lnTo>
                    <a:lnTo>
                      <a:pt x="487" y="23"/>
                    </a:lnTo>
                    <a:lnTo>
                      <a:pt x="485" y="27"/>
                    </a:lnTo>
                    <a:lnTo>
                      <a:pt x="484" y="28"/>
                    </a:lnTo>
                    <a:lnTo>
                      <a:pt x="484" y="28"/>
                    </a:lnTo>
                    <a:lnTo>
                      <a:pt x="516" y="53"/>
                    </a:lnTo>
                    <a:lnTo>
                      <a:pt x="563" y="109"/>
                    </a:lnTo>
                    <a:lnTo>
                      <a:pt x="568" y="109"/>
                    </a:lnTo>
                    <a:lnTo>
                      <a:pt x="570" y="108"/>
                    </a:lnTo>
                    <a:lnTo>
                      <a:pt x="570" y="106"/>
                    </a:lnTo>
                    <a:lnTo>
                      <a:pt x="570" y="104"/>
                    </a:lnTo>
                    <a:lnTo>
                      <a:pt x="570" y="100"/>
                    </a:lnTo>
                    <a:lnTo>
                      <a:pt x="574" y="100"/>
                    </a:lnTo>
                    <a:lnTo>
                      <a:pt x="580" y="102"/>
                    </a:lnTo>
                    <a:lnTo>
                      <a:pt x="576" y="104"/>
                    </a:lnTo>
                    <a:lnTo>
                      <a:pt x="580" y="106"/>
                    </a:lnTo>
                    <a:lnTo>
                      <a:pt x="583" y="108"/>
                    </a:lnTo>
                    <a:lnTo>
                      <a:pt x="585" y="111"/>
                    </a:lnTo>
                    <a:lnTo>
                      <a:pt x="587" y="111"/>
                    </a:lnTo>
                    <a:lnTo>
                      <a:pt x="591" y="109"/>
                    </a:lnTo>
                    <a:lnTo>
                      <a:pt x="595" y="108"/>
                    </a:lnTo>
                    <a:lnTo>
                      <a:pt x="598" y="111"/>
                    </a:lnTo>
                    <a:lnTo>
                      <a:pt x="604" y="109"/>
                    </a:lnTo>
                    <a:lnTo>
                      <a:pt x="604" y="109"/>
                    </a:lnTo>
                    <a:lnTo>
                      <a:pt x="608" y="108"/>
                    </a:lnTo>
                    <a:lnTo>
                      <a:pt x="610" y="108"/>
                    </a:lnTo>
                    <a:lnTo>
                      <a:pt x="608" y="104"/>
                    </a:lnTo>
                    <a:lnTo>
                      <a:pt x="610" y="102"/>
                    </a:lnTo>
                    <a:lnTo>
                      <a:pt x="615" y="102"/>
                    </a:lnTo>
                    <a:lnTo>
                      <a:pt x="623" y="102"/>
                    </a:lnTo>
                    <a:lnTo>
                      <a:pt x="629" y="104"/>
                    </a:lnTo>
                    <a:lnTo>
                      <a:pt x="632" y="108"/>
                    </a:lnTo>
                    <a:lnTo>
                      <a:pt x="638" y="113"/>
                    </a:lnTo>
                    <a:lnTo>
                      <a:pt x="638" y="117"/>
                    </a:lnTo>
                    <a:lnTo>
                      <a:pt x="640" y="117"/>
                    </a:lnTo>
                    <a:lnTo>
                      <a:pt x="644" y="119"/>
                    </a:lnTo>
                    <a:lnTo>
                      <a:pt x="647" y="121"/>
                    </a:lnTo>
                    <a:lnTo>
                      <a:pt x="649" y="121"/>
                    </a:lnTo>
                    <a:lnTo>
                      <a:pt x="653" y="121"/>
                    </a:lnTo>
                    <a:lnTo>
                      <a:pt x="653" y="125"/>
                    </a:lnTo>
                    <a:lnTo>
                      <a:pt x="649" y="126"/>
                    </a:lnTo>
                    <a:lnTo>
                      <a:pt x="653" y="128"/>
                    </a:lnTo>
                    <a:lnTo>
                      <a:pt x="653" y="132"/>
                    </a:lnTo>
                    <a:lnTo>
                      <a:pt x="653" y="134"/>
                    </a:lnTo>
                    <a:lnTo>
                      <a:pt x="657" y="134"/>
                    </a:lnTo>
                    <a:lnTo>
                      <a:pt x="659" y="134"/>
                    </a:lnTo>
                    <a:lnTo>
                      <a:pt x="662" y="136"/>
                    </a:lnTo>
                    <a:lnTo>
                      <a:pt x="662" y="138"/>
                    </a:lnTo>
                    <a:lnTo>
                      <a:pt x="664" y="136"/>
                    </a:lnTo>
                    <a:lnTo>
                      <a:pt x="666" y="134"/>
                    </a:lnTo>
                    <a:lnTo>
                      <a:pt x="676" y="134"/>
                    </a:lnTo>
                    <a:lnTo>
                      <a:pt x="681" y="132"/>
                    </a:lnTo>
                    <a:lnTo>
                      <a:pt x="683" y="128"/>
                    </a:lnTo>
                    <a:lnTo>
                      <a:pt x="687" y="126"/>
                    </a:lnTo>
                    <a:lnTo>
                      <a:pt x="687" y="126"/>
                    </a:lnTo>
                    <a:lnTo>
                      <a:pt x="687" y="132"/>
                    </a:lnTo>
                    <a:lnTo>
                      <a:pt x="687" y="136"/>
                    </a:lnTo>
                    <a:lnTo>
                      <a:pt x="689" y="136"/>
                    </a:lnTo>
                    <a:lnTo>
                      <a:pt x="693" y="140"/>
                    </a:lnTo>
                    <a:lnTo>
                      <a:pt x="698" y="142"/>
                    </a:lnTo>
                    <a:lnTo>
                      <a:pt x="700" y="143"/>
                    </a:lnTo>
                    <a:lnTo>
                      <a:pt x="696" y="145"/>
                    </a:lnTo>
                    <a:lnTo>
                      <a:pt x="694" y="149"/>
                    </a:lnTo>
                    <a:lnTo>
                      <a:pt x="689" y="153"/>
                    </a:lnTo>
                    <a:lnTo>
                      <a:pt x="689" y="157"/>
                    </a:lnTo>
                    <a:lnTo>
                      <a:pt x="689" y="158"/>
                    </a:lnTo>
                    <a:lnTo>
                      <a:pt x="687" y="162"/>
                    </a:lnTo>
                    <a:lnTo>
                      <a:pt x="683" y="164"/>
                    </a:lnTo>
                    <a:lnTo>
                      <a:pt x="679" y="168"/>
                    </a:lnTo>
                    <a:lnTo>
                      <a:pt x="679" y="170"/>
                    </a:lnTo>
                    <a:lnTo>
                      <a:pt x="679" y="177"/>
                    </a:lnTo>
                    <a:lnTo>
                      <a:pt x="683" y="187"/>
                    </a:lnTo>
                    <a:lnTo>
                      <a:pt x="687" y="190"/>
                    </a:lnTo>
                    <a:lnTo>
                      <a:pt x="687" y="194"/>
                    </a:lnTo>
                    <a:lnTo>
                      <a:pt x="681" y="198"/>
                    </a:lnTo>
                    <a:lnTo>
                      <a:pt x="677" y="198"/>
                    </a:lnTo>
                    <a:lnTo>
                      <a:pt x="674" y="204"/>
                    </a:lnTo>
                    <a:lnTo>
                      <a:pt x="670" y="204"/>
                    </a:lnTo>
                    <a:lnTo>
                      <a:pt x="668" y="204"/>
                    </a:lnTo>
                    <a:lnTo>
                      <a:pt x="668" y="200"/>
                    </a:lnTo>
                    <a:lnTo>
                      <a:pt x="664" y="200"/>
                    </a:lnTo>
                    <a:lnTo>
                      <a:pt x="659" y="202"/>
                    </a:lnTo>
                    <a:lnTo>
                      <a:pt x="653" y="202"/>
                    </a:lnTo>
                    <a:lnTo>
                      <a:pt x="645" y="200"/>
                    </a:lnTo>
                    <a:lnTo>
                      <a:pt x="642" y="198"/>
                    </a:lnTo>
                    <a:lnTo>
                      <a:pt x="640" y="200"/>
                    </a:lnTo>
                    <a:lnTo>
                      <a:pt x="638" y="207"/>
                    </a:lnTo>
                    <a:lnTo>
                      <a:pt x="638" y="213"/>
                    </a:lnTo>
                    <a:lnTo>
                      <a:pt x="638" y="219"/>
                    </a:lnTo>
                    <a:lnTo>
                      <a:pt x="634" y="228"/>
                    </a:lnTo>
                    <a:lnTo>
                      <a:pt x="634" y="236"/>
                    </a:lnTo>
                    <a:lnTo>
                      <a:pt x="632" y="238"/>
                    </a:lnTo>
                    <a:lnTo>
                      <a:pt x="634" y="241"/>
                    </a:lnTo>
                    <a:lnTo>
                      <a:pt x="640" y="241"/>
                    </a:lnTo>
                    <a:lnTo>
                      <a:pt x="638" y="247"/>
                    </a:lnTo>
                    <a:lnTo>
                      <a:pt x="638" y="249"/>
                    </a:lnTo>
                    <a:lnTo>
                      <a:pt x="634" y="249"/>
                    </a:lnTo>
                    <a:lnTo>
                      <a:pt x="632" y="249"/>
                    </a:lnTo>
                    <a:lnTo>
                      <a:pt x="629" y="249"/>
                    </a:lnTo>
                    <a:lnTo>
                      <a:pt x="629" y="247"/>
                    </a:lnTo>
                    <a:lnTo>
                      <a:pt x="625" y="249"/>
                    </a:lnTo>
                    <a:lnTo>
                      <a:pt x="621" y="251"/>
                    </a:lnTo>
                    <a:lnTo>
                      <a:pt x="613" y="253"/>
                    </a:lnTo>
                    <a:lnTo>
                      <a:pt x="608" y="255"/>
                    </a:lnTo>
                    <a:lnTo>
                      <a:pt x="604" y="255"/>
                    </a:lnTo>
                    <a:lnTo>
                      <a:pt x="604" y="253"/>
                    </a:lnTo>
                    <a:lnTo>
                      <a:pt x="600" y="255"/>
                    </a:lnTo>
                    <a:lnTo>
                      <a:pt x="597" y="258"/>
                    </a:lnTo>
                    <a:lnTo>
                      <a:pt x="597" y="260"/>
                    </a:lnTo>
                    <a:lnTo>
                      <a:pt x="600" y="262"/>
                    </a:lnTo>
                    <a:lnTo>
                      <a:pt x="604" y="262"/>
                    </a:lnTo>
                    <a:lnTo>
                      <a:pt x="608" y="262"/>
                    </a:lnTo>
                    <a:lnTo>
                      <a:pt x="608" y="266"/>
                    </a:lnTo>
                    <a:lnTo>
                      <a:pt x="608" y="266"/>
                    </a:lnTo>
                    <a:lnTo>
                      <a:pt x="608" y="271"/>
                    </a:lnTo>
                    <a:lnTo>
                      <a:pt x="608" y="275"/>
                    </a:lnTo>
                    <a:lnTo>
                      <a:pt x="610" y="277"/>
                    </a:lnTo>
                    <a:lnTo>
                      <a:pt x="610" y="281"/>
                    </a:lnTo>
                    <a:lnTo>
                      <a:pt x="613" y="287"/>
                    </a:lnTo>
                    <a:lnTo>
                      <a:pt x="613" y="290"/>
                    </a:lnTo>
                    <a:lnTo>
                      <a:pt x="619" y="292"/>
                    </a:lnTo>
                    <a:lnTo>
                      <a:pt x="619" y="300"/>
                    </a:lnTo>
                    <a:lnTo>
                      <a:pt x="617" y="302"/>
                    </a:lnTo>
                    <a:lnTo>
                      <a:pt x="615" y="305"/>
                    </a:lnTo>
                    <a:lnTo>
                      <a:pt x="619" y="309"/>
                    </a:lnTo>
                    <a:lnTo>
                      <a:pt x="617" y="311"/>
                    </a:lnTo>
                    <a:lnTo>
                      <a:pt x="617" y="311"/>
                    </a:lnTo>
                    <a:lnTo>
                      <a:pt x="613" y="315"/>
                    </a:lnTo>
                    <a:lnTo>
                      <a:pt x="613" y="319"/>
                    </a:lnTo>
                    <a:lnTo>
                      <a:pt x="610" y="320"/>
                    </a:lnTo>
                    <a:lnTo>
                      <a:pt x="604" y="319"/>
                    </a:lnTo>
                    <a:lnTo>
                      <a:pt x="595" y="311"/>
                    </a:lnTo>
                    <a:lnTo>
                      <a:pt x="591" y="311"/>
                    </a:lnTo>
                    <a:lnTo>
                      <a:pt x="583" y="307"/>
                    </a:lnTo>
                    <a:lnTo>
                      <a:pt x="570" y="307"/>
                    </a:lnTo>
                    <a:lnTo>
                      <a:pt x="566" y="309"/>
                    </a:lnTo>
                    <a:lnTo>
                      <a:pt x="557" y="307"/>
                    </a:lnTo>
                    <a:lnTo>
                      <a:pt x="549" y="309"/>
                    </a:lnTo>
                    <a:lnTo>
                      <a:pt x="544" y="309"/>
                    </a:lnTo>
                    <a:lnTo>
                      <a:pt x="540" y="309"/>
                    </a:lnTo>
                    <a:lnTo>
                      <a:pt x="536" y="311"/>
                    </a:lnTo>
                    <a:lnTo>
                      <a:pt x="533" y="311"/>
                    </a:lnTo>
                    <a:lnTo>
                      <a:pt x="521" y="311"/>
                    </a:lnTo>
                    <a:lnTo>
                      <a:pt x="516" y="309"/>
                    </a:lnTo>
                    <a:lnTo>
                      <a:pt x="512" y="307"/>
                    </a:lnTo>
                    <a:lnTo>
                      <a:pt x="506" y="307"/>
                    </a:lnTo>
                    <a:lnTo>
                      <a:pt x="502" y="309"/>
                    </a:lnTo>
                    <a:lnTo>
                      <a:pt x="501" y="307"/>
                    </a:lnTo>
                    <a:lnTo>
                      <a:pt x="495" y="307"/>
                    </a:lnTo>
                    <a:lnTo>
                      <a:pt x="495" y="309"/>
                    </a:lnTo>
                    <a:lnTo>
                      <a:pt x="495" y="311"/>
                    </a:lnTo>
                    <a:lnTo>
                      <a:pt x="495" y="315"/>
                    </a:lnTo>
                    <a:lnTo>
                      <a:pt x="495" y="320"/>
                    </a:lnTo>
                    <a:lnTo>
                      <a:pt x="487" y="322"/>
                    </a:lnTo>
                    <a:lnTo>
                      <a:pt x="478" y="322"/>
                    </a:lnTo>
                    <a:lnTo>
                      <a:pt x="463" y="320"/>
                    </a:lnTo>
                    <a:lnTo>
                      <a:pt x="461" y="319"/>
                    </a:lnTo>
                    <a:lnTo>
                      <a:pt x="455" y="317"/>
                    </a:lnTo>
                    <a:lnTo>
                      <a:pt x="452" y="322"/>
                    </a:lnTo>
                    <a:lnTo>
                      <a:pt x="453" y="324"/>
                    </a:lnTo>
                    <a:lnTo>
                      <a:pt x="448" y="326"/>
                    </a:lnTo>
                    <a:lnTo>
                      <a:pt x="448" y="328"/>
                    </a:lnTo>
                    <a:lnTo>
                      <a:pt x="446" y="328"/>
                    </a:lnTo>
                    <a:lnTo>
                      <a:pt x="442" y="334"/>
                    </a:lnTo>
                    <a:lnTo>
                      <a:pt x="442" y="336"/>
                    </a:lnTo>
                    <a:lnTo>
                      <a:pt x="433" y="343"/>
                    </a:lnTo>
                    <a:lnTo>
                      <a:pt x="431" y="347"/>
                    </a:lnTo>
                    <a:lnTo>
                      <a:pt x="429" y="351"/>
                    </a:lnTo>
                    <a:lnTo>
                      <a:pt x="425" y="358"/>
                    </a:lnTo>
                    <a:lnTo>
                      <a:pt x="418" y="364"/>
                    </a:lnTo>
                    <a:lnTo>
                      <a:pt x="414" y="364"/>
                    </a:lnTo>
                    <a:lnTo>
                      <a:pt x="408" y="360"/>
                    </a:lnTo>
                    <a:lnTo>
                      <a:pt x="401" y="358"/>
                    </a:lnTo>
                    <a:lnTo>
                      <a:pt x="395" y="360"/>
                    </a:lnTo>
                    <a:lnTo>
                      <a:pt x="388" y="364"/>
                    </a:lnTo>
                    <a:lnTo>
                      <a:pt x="384" y="364"/>
                    </a:lnTo>
                    <a:lnTo>
                      <a:pt x="376" y="341"/>
                    </a:lnTo>
                    <a:lnTo>
                      <a:pt x="363" y="339"/>
                    </a:lnTo>
                    <a:lnTo>
                      <a:pt x="363" y="315"/>
                    </a:lnTo>
                    <a:lnTo>
                      <a:pt x="354" y="315"/>
                    </a:lnTo>
                    <a:lnTo>
                      <a:pt x="352" y="305"/>
                    </a:lnTo>
                    <a:lnTo>
                      <a:pt x="341" y="298"/>
                    </a:lnTo>
                    <a:lnTo>
                      <a:pt x="310" y="298"/>
                    </a:lnTo>
                    <a:lnTo>
                      <a:pt x="284" y="302"/>
                    </a:lnTo>
                    <a:lnTo>
                      <a:pt x="269" y="290"/>
                    </a:lnTo>
                    <a:lnTo>
                      <a:pt x="256" y="287"/>
                    </a:lnTo>
                    <a:lnTo>
                      <a:pt x="228" y="266"/>
                    </a:lnTo>
                    <a:lnTo>
                      <a:pt x="179" y="275"/>
                    </a:lnTo>
                    <a:lnTo>
                      <a:pt x="196" y="364"/>
                    </a:lnTo>
                    <a:lnTo>
                      <a:pt x="192" y="364"/>
                    </a:lnTo>
                    <a:lnTo>
                      <a:pt x="184" y="364"/>
                    </a:lnTo>
                    <a:lnTo>
                      <a:pt x="171" y="352"/>
                    </a:lnTo>
                    <a:lnTo>
                      <a:pt x="158" y="343"/>
                    </a:lnTo>
                    <a:lnTo>
                      <a:pt x="147" y="341"/>
                    </a:lnTo>
                    <a:lnTo>
                      <a:pt x="137" y="345"/>
                    </a:lnTo>
                    <a:lnTo>
                      <a:pt x="126" y="356"/>
                    </a:lnTo>
                    <a:lnTo>
                      <a:pt x="126" y="351"/>
                    </a:lnTo>
                    <a:lnTo>
                      <a:pt x="126" y="347"/>
                    </a:lnTo>
                    <a:lnTo>
                      <a:pt x="128" y="341"/>
                    </a:lnTo>
                    <a:lnTo>
                      <a:pt x="128" y="336"/>
                    </a:lnTo>
                    <a:lnTo>
                      <a:pt x="128" y="336"/>
                    </a:lnTo>
                    <a:lnTo>
                      <a:pt x="128" y="334"/>
                    </a:lnTo>
                    <a:lnTo>
                      <a:pt x="128" y="334"/>
                    </a:lnTo>
                    <a:lnTo>
                      <a:pt x="122" y="334"/>
                    </a:lnTo>
                    <a:lnTo>
                      <a:pt x="120" y="332"/>
                    </a:lnTo>
                    <a:lnTo>
                      <a:pt x="117" y="332"/>
                    </a:lnTo>
                    <a:lnTo>
                      <a:pt x="113" y="332"/>
                    </a:lnTo>
                    <a:lnTo>
                      <a:pt x="113" y="332"/>
                    </a:lnTo>
                    <a:lnTo>
                      <a:pt x="109" y="328"/>
                    </a:lnTo>
                    <a:lnTo>
                      <a:pt x="109" y="326"/>
                    </a:lnTo>
                    <a:lnTo>
                      <a:pt x="109" y="324"/>
                    </a:lnTo>
                    <a:lnTo>
                      <a:pt x="107" y="322"/>
                    </a:lnTo>
                    <a:lnTo>
                      <a:pt x="105" y="322"/>
                    </a:lnTo>
                    <a:lnTo>
                      <a:pt x="101" y="324"/>
                    </a:lnTo>
                    <a:lnTo>
                      <a:pt x="100" y="324"/>
                    </a:lnTo>
                    <a:lnTo>
                      <a:pt x="100" y="319"/>
                    </a:lnTo>
                    <a:lnTo>
                      <a:pt x="100" y="315"/>
                    </a:lnTo>
                    <a:lnTo>
                      <a:pt x="94" y="311"/>
                    </a:lnTo>
                    <a:lnTo>
                      <a:pt x="94" y="309"/>
                    </a:lnTo>
                    <a:lnTo>
                      <a:pt x="92" y="307"/>
                    </a:lnTo>
                    <a:lnTo>
                      <a:pt x="90" y="303"/>
                    </a:lnTo>
                    <a:lnTo>
                      <a:pt x="88" y="302"/>
                    </a:lnTo>
                    <a:lnTo>
                      <a:pt x="88" y="300"/>
                    </a:lnTo>
                    <a:lnTo>
                      <a:pt x="83" y="298"/>
                    </a:lnTo>
                    <a:lnTo>
                      <a:pt x="83" y="298"/>
                    </a:lnTo>
                    <a:lnTo>
                      <a:pt x="79" y="294"/>
                    </a:lnTo>
                    <a:lnTo>
                      <a:pt x="79" y="292"/>
                    </a:lnTo>
                    <a:lnTo>
                      <a:pt x="79" y="290"/>
                    </a:lnTo>
                    <a:lnTo>
                      <a:pt x="83" y="292"/>
                    </a:lnTo>
                    <a:lnTo>
                      <a:pt x="88" y="290"/>
                    </a:lnTo>
                    <a:lnTo>
                      <a:pt x="88" y="292"/>
                    </a:lnTo>
                    <a:lnTo>
                      <a:pt x="92" y="292"/>
                    </a:lnTo>
                    <a:lnTo>
                      <a:pt x="94" y="292"/>
                    </a:lnTo>
                    <a:lnTo>
                      <a:pt x="96" y="290"/>
                    </a:lnTo>
                    <a:lnTo>
                      <a:pt x="98" y="290"/>
                    </a:lnTo>
                    <a:lnTo>
                      <a:pt x="100" y="292"/>
                    </a:lnTo>
                    <a:lnTo>
                      <a:pt x="101" y="290"/>
                    </a:lnTo>
                    <a:lnTo>
                      <a:pt x="100" y="290"/>
                    </a:lnTo>
                    <a:lnTo>
                      <a:pt x="96" y="290"/>
                    </a:lnTo>
                    <a:lnTo>
                      <a:pt x="96" y="290"/>
                    </a:lnTo>
                    <a:lnTo>
                      <a:pt x="96" y="287"/>
                    </a:lnTo>
                    <a:lnTo>
                      <a:pt x="92" y="283"/>
                    </a:lnTo>
                    <a:lnTo>
                      <a:pt x="92" y="281"/>
                    </a:lnTo>
                    <a:lnTo>
                      <a:pt x="94" y="279"/>
                    </a:lnTo>
                    <a:lnTo>
                      <a:pt x="94" y="275"/>
                    </a:lnTo>
                    <a:lnTo>
                      <a:pt x="92" y="275"/>
                    </a:lnTo>
                    <a:lnTo>
                      <a:pt x="94" y="271"/>
                    </a:lnTo>
                    <a:lnTo>
                      <a:pt x="100" y="271"/>
                    </a:lnTo>
                    <a:lnTo>
                      <a:pt x="103" y="270"/>
                    </a:lnTo>
                    <a:lnTo>
                      <a:pt x="105" y="271"/>
                    </a:lnTo>
                    <a:lnTo>
                      <a:pt x="109" y="270"/>
                    </a:lnTo>
                    <a:lnTo>
                      <a:pt x="113" y="270"/>
                    </a:lnTo>
                    <a:lnTo>
                      <a:pt x="113" y="271"/>
                    </a:lnTo>
                    <a:lnTo>
                      <a:pt x="115" y="270"/>
                    </a:lnTo>
                    <a:lnTo>
                      <a:pt x="117" y="270"/>
                    </a:lnTo>
                    <a:lnTo>
                      <a:pt x="120" y="273"/>
                    </a:lnTo>
                    <a:lnTo>
                      <a:pt x="124" y="273"/>
                    </a:lnTo>
                    <a:lnTo>
                      <a:pt x="128" y="271"/>
                    </a:lnTo>
                    <a:lnTo>
                      <a:pt x="128" y="270"/>
                    </a:lnTo>
                    <a:lnTo>
                      <a:pt x="126" y="268"/>
                    </a:lnTo>
                    <a:lnTo>
                      <a:pt x="122" y="268"/>
                    </a:lnTo>
                    <a:lnTo>
                      <a:pt x="118" y="262"/>
                    </a:lnTo>
                    <a:lnTo>
                      <a:pt x="120" y="260"/>
                    </a:lnTo>
                    <a:lnTo>
                      <a:pt x="122" y="258"/>
                    </a:lnTo>
                    <a:lnTo>
                      <a:pt x="124" y="256"/>
                    </a:lnTo>
                    <a:lnTo>
                      <a:pt x="122" y="256"/>
                    </a:lnTo>
                    <a:lnTo>
                      <a:pt x="120" y="255"/>
                    </a:lnTo>
                    <a:lnTo>
                      <a:pt x="120" y="253"/>
                    </a:lnTo>
                    <a:lnTo>
                      <a:pt x="122" y="249"/>
                    </a:lnTo>
                    <a:lnTo>
                      <a:pt x="122" y="247"/>
                    </a:lnTo>
                    <a:lnTo>
                      <a:pt x="120" y="241"/>
                    </a:lnTo>
                    <a:lnTo>
                      <a:pt x="118" y="241"/>
                    </a:lnTo>
                    <a:lnTo>
                      <a:pt x="120" y="238"/>
                    </a:lnTo>
                    <a:lnTo>
                      <a:pt x="120" y="238"/>
                    </a:lnTo>
                    <a:lnTo>
                      <a:pt x="118" y="238"/>
                    </a:lnTo>
                    <a:lnTo>
                      <a:pt x="117" y="236"/>
                    </a:lnTo>
                    <a:lnTo>
                      <a:pt x="117" y="234"/>
                    </a:lnTo>
                    <a:lnTo>
                      <a:pt x="109" y="232"/>
                    </a:lnTo>
                    <a:lnTo>
                      <a:pt x="109" y="232"/>
                    </a:lnTo>
                    <a:lnTo>
                      <a:pt x="105" y="234"/>
                    </a:lnTo>
                    <a:lnTo>
                      <a:pt x="105" y="234"/>
                    </a:lnTo>
                    <a:lnTo>
                      <a:pt x="103" y="236"/>
                    </a:lnTo>
                    <a:lnTo>
                      <a:pt x="103" y="238"/>
                    </a:lnTo>
                    <a:lnTo>
                      <a:pt x="101" y="238"/>
                    </a:lnTo>
                    <a:lnTo>
                      <a:pt x="98" y="238"/>
                    </a:lnTo>
                    <a:lnTo>
                      <a:pt x="98" y="236"/>
                    </a:lnTo>
                    <a:lnTo>
                      <a:pt x="96" y="236"/>
                    </a:lnTo>
                    <a:lnTo>
                      <a:pt x="94" y="238"/>
                    </a:lnTo>
                    <a:lnTo>
                      <a:pt x="92" y="236"/>
                    </a:lnTo>
                    <a:lnTo>
                      <a:pt x="92" y="232"/>
                    </a:lnTo>
                    <a:lnTo>
                      <a:pt x="92" y="232"/>
                    </a:lnTo>
                    <a:lnTo>
                      <a:pt x="90" y="232"/>
                    </a:lnTo>
                    <a:lnTo>
                      <a:pt x="88" y="232"/>
                    </a:lnTo>
                    <a:lnTo>
                      <a:pt x="88" y="232"/>
                    </a:lnTo>
                    <a:lnTo>
                      <a:pt x="83" y="232"/>
                    </a:lnTo>
                    <a:lnTo>
                      <a:pt x="79" y="234"/>
                    </a:lnTo>
                    <a:lnTo>
                      <a:pt x="79" y="238"/>
                    </a:lnTo>
                    <a:lnTo>
                      <a:pt x="79" y="238"/>
                    </a:lnTo>
                    <a:lnTo>
                      <a:pt x="77" y="236"/>
                    </a:lnTo>
                    <a:lnTo>
                      <a:pt x="75" y="236"/>
                    </a:lnTo>
                    <a:lnTo>
                      <a:pt x="73" y="238"/>
                    </a:lnTo>
                    <a:lnTo>
                      <a:pt x="71" y="238"/>
                    </a:lnTo>
                    <a:lnTo>
                      <a:pt x="69" y="241"/>
                    </a:lnTo>
                    <a:lnTo>
                      <a:pt x="66" y="243"/>
                    </a:lnTo>
                    <a:lnTo>
                      <a:pt x="64" y="241"/>
                    </a:lnTo>
                    <a:lnTo>
                      <a:pt x="64" y="247"/>
                    </a:lnTo>
                    <a:lnTo>
                      <a:pt x="62" y="247"/>
                    </a:lnTo>
                    <a:lnTo>
                      <a:pt x="60" y="247"/>
                    </a:lnTo>
                    <a:lnTo>
                      <a:pt x="58" y="247"/>
                    </a:lnTo>
                    <a:lnTo>
                      <a:pt x="58" y="247"/>
                    </a:lnTo>
                    <a:lnTo>
                      <a:pt x="54" y="247"/>
                    </a:lnTo>
                    <a:lnTo>
                      <a:pt x="54" y="247"/>
                    </a:lnTo>
                    <a:lnTo>
                      <a:pt x="54" y="247"/>
                    </a:lnTo>
                    <a:lnTo>
                      <a:pt x="54" y="247"/>
                    </a:lnTo>
                    <a:lnTo>
                      <a:pt x="54" y="24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9" name="Freeform 51"/>
              <p:cNvSpPr>
                <a:spLocks/>
              </p:cNvSpPr>
              <p:nvPr/>
            </p:nvSpPr>
            <p:spPr bwMode="auto">
              <a:xfrm>
                <a:off x="3745" y="2173"/>
                <a:ext cx="301" cy="184"/>
              </a:xfrm>
              <a:custGeom>
                <a:avLst/>
                <a:gdLst/>
                <a:ahLst/>
                <a:cxnLst>
                  <a:cxn ang="0">
                    <a:pos x="237" y="171"/>
                  </a:cxn>
                  <a:cxn ang="0">
                    <a:pos x="244" y="162"/>
                  </a:cxn>
                  <a:cxn ang="0">
                    <a:pos x="241" y="154"/>
                  </a:cxn>
                  <a:cxn ang="0">
                    <a:pos x="241" y="145"/>
                  </a:cxn>
                  <a:cxn ang="0">
                    <a:pos x="233" y="141"/>
                  </a:cxn>
                  <a:cxn ang="0">
                    <a:pos x="226" y="137"/>
                  </a:cxn>
                  <a:cxn ang="0">
                    <a:pos x="229" y="128"/>
                  </a:cxn>
                  <a:cxn ang="0">
                    <a:pos x="241" y="128"/>
                  </a:cxn>
                  <a:cxn ang="0">
                    <a:pos x="250" y="120"/>
                  </a:cxn>
                  <a:cxn ang="0">
                    <a:pos x="244" y="116"/>
                  </a:cxn>
                  <a:cxn ang="0">
                    <a:pos x="259" y="113"/>
                  </a:cxn>
                  <a:cxn ang="0">
                    <a:pos x="254" y="107"/>
                  </a:cxn>
                  <a:cxn ang="0">
                    <a:pos x="259" y="99"/>
                  </a:cxn>
                  <a:cxn ang="0">
                    <a:pos x="269" y="96"/>
                  </a:cxn>
                  <a:cxn ang="0">
                    <a:pos x="276" y="94"/>
                  </a:cxn>
                  <a:cxn ang="0">
                    <a:pos x="288" y="96"/>
                  </a:cxn>
                  <a:cxn ang="0">
                    <a:pos x="301" y="92"/>
                  </a:cxn>
                  <a:cxn ang="0">
                    <a:pos x="290" y="81"/>
                  </a:cxn>
                  <a:cxn ang="0">
                    <a:pos x="288" y="82"/>
                  </a:cxn>
                  <a:cxn ang="0">
                    <a:pos x="280" y="86"/>
                  </a:cxn>
                  <a:cxn ang="0">
                    <a:pos x="269" y="82"/>
                  </a:cxn>
                  <a:cxn ang="0">
                    <a:pos x="269" y="75"/>
                  </a:cxn>
                  <a:cxn ang="0">
                    <a:pos x="274" y="62"/>
                  </a:cxn>
                  <a:cxn ang="0">
                    <a:pos x="267" y="66"/>
                  </a:cxn>
                  <a:cxn ang="0">
                    <a:pos x="256" y="77"/>
                  </a:cxn>
                  <a:cxn ang="0">
                    <a:pos x="252" y="82"/>
                  </a:cxn>
                  <a:cxn ang="0">
                    <a:pos x="241" y="98"/>
                  </a:cxn>
                  <a:cxn ang="0">
                    <a:pos x="231" y="92"/>
                  </a:cxn>
                  <a:cxn ang="0">
                    <a:pos x="218" y="92"/>
                  </a:cxn>
                  <a:cxn ang="0">
                    <a:pos x="207" y="96"/>
                  </a:cxn>
                  <a:cxn ang="0">
                    <a:pos x="186" y="73"/>
                  </a:cxn>
                  <a:cxn ang="0">
                    <a:pos x="177" y="49"/>
                  </a:cxn>
                  <a:cxn ang="0">
                    <a:pos x="163" y="30"/>
                  </a:cxn>
                  <a:cxn ang="0">
                    <a:pos x="107" y="33"/>
                  </a:cxn>
                  <a:cxn ang="0">
                    <a:pos x="79" y="20"/>
                  </a:cxn>
                  <a:cxn ang="0">
                    <a:pos x="0" y="9"/>
                  </a:cxn>
                  <a:cxn ang="0">
                    <a:pos x="22" y="96"/>
                  </a:cxn>
                  <a:cxn ang="0">
                    <a:pos x="34" y="92"/>
                  </a:cxn>
                  <a:cxn ang="0">
                    <a:pos x="28" y="82"/>
                  </a:cxn>
                  <a:cxn ang="0">
                    <a:pos x="39" y="75"/>
                  </a:cxn>
                  <a:cxn ang="0">
                    <a:pos x="47" y="67"/>
                  </a:cxn>
                  <a:cxn ang="0">
                    <a:pos x="52" y="67"/>
                  </a:cxn>
                  <a:cxn ang="0">
                    <a:pos x="58" y="64"/>
                  </a:cxn>
                  <a:cxn ang="0">
                    <a:pos x="82" y="77"/>
                  </a:cxn>
                  <a:cxn ang="0">
                    <a:pos x="96" y="88"/>
                  </a:cxn>
                  <a:cxn ang="0">
                    <a:pos x="111" y="92"/>
                  </a:cxn>
                  <a:cxn ang="0">
                    <a:pos x="122" y="99"/>
                  </a:cxn>
                  <a:cxn ang="0">
                    <a:pos x="130" y="113"/>
                  </a:cxn>
                  <a:cxn ang="0">
                    <a:pos x="135" y="124"/>
                  </a:cxn>
                  <a:cxn ang="0">
                    <a:pos x="152" y="137"/>
                  </a:cxn>
                  <a:cxn ang="0">
                    <a:pos x="180" y="150"/>
                  </a:cxn>
                  <a:cxn ang="0">
                    <a:pos x="203" y="162"/>
                  </a:cxn>
                  <a:cxn ang="0">
                    <a:pos x="207" y="162"/>
                  </a:cxn>
                  <a:cxn ang="0">
                    <a:pos x="216" y="171"/>
                  </a:cxn>
                  <a:cxn ang="0">
                    <a:pos x="220" y="179"/>
                  </a:cxn>
                  <a:cxn ang="0">
                    <a:pos x="227" y="184"/>
                  </a:cxn>
                  <a:cxn ang="0">
                    <a:pos x="233" y="182"/>
                  </a:cxn>
                  <a:cxn ang="0">
                    <a:pos x="237" y="184"/>
                  </a:cxn>
                  <a:cxn ang="0">
                    <a:pos x="237" y="184"/>
                  </a:cxn>
                </a:cxnLst>
                <a:rect l="0" t="0" r="r" b="b"/>
                <a:pathLst>
                  <a:path w="301" h="184">
                    <a:moveTo>
                      <a:pt x="237" y="184"/>
                    </a:moveTo>
                    <a:lnTo>
                      <a:pt x="237" y="171"/>
                    </a:lnTo>
                    <a:lnTo>
                      <a:pt x="244" y="162"/>
                    </a:lnTo>
                    <a:lnTo>
                      <a:pt x="244" y="162"/>
                    </a:lnTo>
                    <a:lnTo>
                      <a:pt x="244" y="156"/>
                    </a:lnTo>
                    <a:lnTo>
                      <a:pt x="241" y="154"/>
                    </a:lnTo>
                    <a:lnTo>
                      <a:pt x="237" y="148"/>
                    </a:lnTo>
                    <a:lnTo>
                      <a:pt x="241" y="145"/>
                    </a:lnTo>
                    <a:lnTo>
                      <a:pt x="237" y="141"/>
                    </a:lnTo>
                    <a:lnTo>
                      <a:pt x="233" y="141"/>
                    </a:lnTo>
                    <a:lnTo>
                      <a:pt x="231" y="143"/>
                    </a:lnTo>
                    <a:lnTo>
                      <a:pt x="226" y="137"/>
                    </a:lnTo>
                    <a:lnTo>
                      <a:pt x="226" y="131"/>
                    </a:lnTo>
                    <a:lnTo>
                      <a:pt x="229" y="128"/>
                    </a:lnTo>
                    <a:lnTo>
                      <a:pt x="237" y="130"/>
                    </a:lnTo>
                    <a:lnTo>
                      <a:pt x="241" y="128"/>
                    </a:lnTo>
                    <a:lnTo>
                      <a:pt x="241" y="124"/>
                    </a:lnTo>
                    <a:lnTo>
                      <a:pt x="250" y="120"/>
                    </a:lnTo>
                    <a:lnTo>
                      <a:pt x="246" y="118"/>
                    </a:lnTo>
                    <a:lnTo>
                      <a:pt x="244" y="116"/>
                    </a:lnTo>
                    <a:lnTo>
                      <a:pt x="254" y="116"/>
                    </a:lnTo>
                    <a:lnTo>
                      <a:pt x="259" y="113"/>
                    </a:lnTo>
                    <a:lnTo>
                      <a:pt x="259" y="107"/>
                    </a:lnTo>
                    <a:lnTo>
                      <a:pt x="254" y="107"/>
                    </a:lnTo>
                    <a:lnTo>
                      <a:pt x="254" y="101"/>
                    </a:lnTo>
                    <a:lnTo>
                      <a:pt x="259" y="99"/>
                    </a:lnTo>
                    <a:lnTo>
                      <a:pt x="265" y="96"/>
                    </a:lnTo>
                    <a:lnTo>
                      <a:pt x="269" y="96"/>
                    </a:lnTo>
                    <a:lnTo>
                      <a:pt x="274" y="92"/>
                    </a:lnTo>
                    <a:lnTo>
                      <a:pt x="276" y="94"/>
                    </a:lnTo>
                    <a:lnTo>
                      <a:pt x="280" y="98"/>
                    </a:lnTo>
                    <a:lnTo>
                      <a:pt x="288" y="96"/>
                    </a:lnTo>
                    <a:lnTo>
                      <a:pt x="295" y="96"/>
                    </a:lnTo>
                    <a:lnTo>
                      <a:pt x="301" y="92"/>
                    </a:lnTo>
                    <a:lnTo>
                      <a:pt x="299" y="86"/>
                    </a:lnTo>
                    <a:lnTo>
                      <a:pt x="290" y="81"/>
                    </a:lnTo>
                    <a:lnTo>
                      <a:pt x="288" y="79"/>
                    </a:lnTo>
                    <a:lnTo>
                      <a:pt x="288" y="82"/>
                    </a:lnTo>
                    <a:lnTo>
                      <a:pt x="284" y="86"/>
                    </a:lnTo>
                    <a:lnTo>
                      <a:pt x="280" y="86"/>
                    </a:lnTo>
                    <a:lnTo>
                      <a:pt x="276" y="82"/>
                    </a:lnTo>
                    <a:lnTo>
                      <a:pt x="269" y="82"/>
                    </a:lnTo>
                    <a:lnTo>
                      <a:pt x="265" y="79"/>
                    </a:lnTo>
                    <a:lnTo>
                      <a:pt x="269" y="75"/>
                    </a:lnTo>
                    <a:lnTo>
                      <a:pt x="274" y="66"/>
                    </a:lnTo>
                    <a:lnTo>
                      <a:pt x="274" y="62"/>
                    </a:lnTo>
                    <a:lnTo>
                      <a:pt x="271" y="62"/>
                    </a:lnTo>
                    <a:lnTo>
                      <a:pt x="267" y="66"/>
                    </a:lnTo>
                    <a:lnTo>
                      <a:pt x="265" y="67"/>
                    </a:lnTo>
                    <a:lnTo>
                      <a:pt x="256" y="77"/>
                    </a:lnTo>
                    <a:lnTo>
                      <a:pt x="254" y="81"/>
                    </a:lnTo>
                    <a:lnTo>
                      <a:pt x="252" y="82"/>
                    </a:lnTo>
                    <a:lnTo>
                      <a:pt x="250" y="92"/>
                    </a:lnTo>
                    <a:lnTo>
                      <a:pt x="241" y="98"/>
                    </a:lnTo>
                    <a:lnTo>
                      <a:pt x="237" y="96"/>
                    </a:lnTo>
                    <a:lnTo>
                      <a:pt x="231" y="92"/>
                    </a:lnTo>
                    <a:lnTo>
                      <a:pt x="224" y="92"/>
                    </a:lnTo>
                    <a:lnTo>
                      <a:pt x="218" y="92"/>
                    </a:lnTo>
                    <a:lnTo>
                      <a:pt x="210" y="96"/>
                    </a:lnTo>
                    <a:lnTo>
                      <a:pt x="207" y="96"/>
                    </a:lnTo>
                    <a:lnTo>
                      <a:pt x="199" y="75"/>
                    </a:lnTo>
                    <a:lnTo>
                      <a:pt x="186" y="73"/>
                    </a:lnTo>
                    <a:lnTo>
                      <a:pt x="186" y="47"/>
                    </a:lnTo>
                    <a:lnTo>
                      <a:pt x="177" y="49"/>
                    </a:lnTo>
                    <a:lnTo>
                      <a:pt x="175" y="37"/>
                    </a:lnTo>
                    <a:lnTo>
                      <a:pt x="163" y="30"/>
                    </a:lnTo>
                    <a:lnTo>
                      <a:pt x="133" y="30"/>
                    </a:lnTo>
                    <a:lnTo>
                      <a:pt x="107" y="33"/>
                    </a:lnTo>
                    <a:lnTo>
                      <a:pt x="92" y="24"/>
                    </a:lnTo>
                    <a:lnTo>
                      <a:pt x="79" y="20"/>
                    </a:lnTo>
                    <a:lnTo>
                      <a:pt x="49" y="0"/>
                    </a:lnTo>
                    <a:lnTo>
                      <a:pt x="0" y="9"/>
                    </a:lnTo>
                    <a:lnTo>
                      <a:pt x="17" y="96"/>
                    </a:lnTo>
                    <a:lnTo>
                      <a:pt x="22" y="96"/>
                    </a:lnTo>
                    <a:lnTo>
                      <a:pt x="32" y="98"/>
                    </a:lnTo>
                    <a:lnTo>
                      <a:pt x="34" y="92"/>
                    </a:lnTo>
                    <a:lnTo>
                      <a:pt x="30" y="88"/>
                    </a:lnTo>
                    <a:lnTo>
                      <a:pt x="28" y="82"/>
                    </a:lnTo>
                    <a:lnTo>
                      <a:pt x="34" y="75"/>
                    </a:lnTo>
                    <a:lnTo>
                      <a:pt x="39" y="75"/>
                    </a:lnTo>
                    <a:lnTo>
                      <a:pt x="41" y="69"/>
                    </a:lnTo>
                    <a:lnTo>
                      <a:pt x="47" y="67"/>
                    </a:lnTo>
                    <a:lnTo>
                      <a:pt x="49" y="69"/>
                    </a:lnTo>
                    <a:lnTo>
                      <a:pt x="52" y="67"/>
                    </a:lnTo>
                    <a:lnTo>
                      <a:pt x="49" y="64"/>
                    </a:lnTo>
                    <a:lnTo>
                      <a:pt x="58" y="64"/>
                    </a:lnTo>
                    <a:lnTo>
                      <a:pt x="71" y="71"/>
                    </a:lnTo>
                    <a:lnTo>
                      <a:pt x="82" y="77"/>
                    </a:lnTo>
                    <a:lnTo>
                      <a:pt x="82" y="82"/>
                    </a:lnTo>
                    <a:lnTo>
                      <a:pt x="96" y="88"/>
                    </a:lnTo>
                    <a:lnTo>
                      <a:pt x="109" y="94"/>
                    </a:lnTo>
                    <a:lnTo>
                      <a:pt x="111" y="92"/>
                    </a:lnTo>
                    <a:lnTo>
                      <a:pt x="113" y="94"/>
                    </a:lnTo>
                    <a:lnTo>
                      <a:pt x="122" y="99"/>
                    </a:lnTo>
                    <a:lnTo>
                      <a:pt x="126" y="111"/>
                    </a:lnTo>
                    <a:lnTo>
                      <a:pt x="130" y="113"/>
                    </a:lnTo>
                    <a:lnTo>
                      <a:pt x="130" y="116"/>
                    </a:lnTo>
                    <a:lnTo>
                      <a:pt x="135" y="124"/>
                    </a:lnTo>
                    <a:lnTo>
                      <a:pt x="141" y="128"/>
                    </a:lnTo>
                    <a:lnTo>
                      <a:pt x="152" y="137"/>
                    </a:lnTo>
                    <a:lnTo>
                      <a:pt x="165" y="145"/>
                    </a:lnTo>
                    <a:lnTo>
                      <a:pt x="180" y="150"/>
                    </a:lnTo>
                    <a:lnTo>
                      <a:pt x="192" y="160"/>
                    </a:lnTo>
                    <a:lnTo>
                      <a:pt x="203" y="162"/>
                    </a:lnTo>
                    <a:lnTo>
                      <a:pt x="205" y="162"/>
                    </a:lnTo>
                    <a:lnTo>
                      <a:pt x="207" y="162"/>
                    </a:lnTo>
                    <a:lnTo>
                      <a:pt x="216" y="167"/>
                    </a:lnTo>
                    <a:lnTo>
                      <a:pt x="216" y="171"/>
                    </a:lnTo>
                    <a:lnTo>
                      <a:pt x="216" y="180"/>
                    </a:lnTo>
                    <a:lnTo>
                      <a:pt x="220" y="179"/>
                    </a:lnTo>
                    <a:lnTo>
                      <a:pt x="224" y="180"/>
                    </a:lnTo>
                    <a:lnTo>
                      <a:pt x="227" y="184"/>
                    </a:lnTo>
                    <a:lnTo>
                      <a:pt x="229" y="184"/>
                    </a:lnTo>
                    <a:lnTo>
                      <a:pt x="233" y="182"/>
                    </a:lnTo>
                    <a:lnTo>
                      <a:pt x="237" y="182"/>
                    </a:lnTo>
                    <a:lnTo>
                      <a:pt x="237" y="184"/>
                    </a:lnTo>
                    <a:lnTo>
                      <a:pt x="237" y="184"/>
                    </a:lnTo>
                    <a:lnTo>
                      <a:pt x="237" y="18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0" name="Freeform 52"/>
              <p:cNvSpPr>
                <a:spLocks/>
              </p:cNvSpPr>
              <p:nvPr/>
            </p:nvSpPr>
            <p:spPr bwMode="auto">
              <a:xfrm>
                <a:off x="3692" y="2235"/>
                <a:ext cx="269" cy="169"/>
              </a:xfrm>
              <a:custGeom>
                <a:avLst/>
                <a:gdLst/>
                <a:ahLst/>
                <a:cxnLst>
                  <a:cxn ang="0">
                    <a:pos x="269" y="105"/>
                  </a:cxn>
                  <a:cxn ang="0">
                    <a:pos x="256" y="100"/>
                  </a:cxn>
                  <a:cxn ang="0">
                    <a:pos x="218" y="83"/>
                  </a:cxn>
                  <a:cxn ang="0">
                    <a:pos x="188" y="60"/>
                  </a:cxn>
                  <a:cxn ang="0">
                    <a:pos x="179" y="49"/>
                  </a:cxn>
                  <a:cxn ang="0">
                    <a:pos x="164" y="30"/>
                  </a:cxn>
                  <a:cxn ang="0">
                    <a:pos x="135" y="19"/>
                  </a:cxn>
                  <a:cxn ang="0">
                    <a:pos x="111" y="0"/>
                  </a:cxn>
                  <a:cxn ang="0">
                    <a:pos x="102" y="5"/>
                  </a:cxn>
                  <a:cxn ang="0">
                    <a:pos x="92" y="11"/>
                  </a:cxn>
                  <a:cxn ang="0">
                    <a:pos x="83" y="26"/>
                  </a:cxn>
                  <a:cxn ang="0">
                    <a:pos x="75" y="34"/>
                  </a:cxn>
                  <a:cxn ang="0">
                    <a:pos x="45" y="22"/>
                  </a:cxn>
                  <a:cxn ang="0">
                    <a:pos x="11" y="15"/>
                  </a:cxn>
                  <a:cxn ang="0">
                    <a:pos x="2" y="30"/>
                  </a:cxn>
                  <a:cxn ang="0">
                    <a:pos x="7" y="39"/>
                  </a:cxn>
                  <a:cxn ang="0">
                    <a:pos x="11" y="54"/>
                  </a:cxn>
                  <a:cxn ang="0">
                    <a:pos x="13" y="69"/>
                  </a:cxn>
                  <a:cxn ang="0">
                    <a:pos x="17" y="69"/>
                  </a:cxn>
                  <a:cxn ang="0">
                    <a:pos x="26" y="69"/>
                  </a:cxn>
                  <a:cxn ang="0">
                    <a:pos x="28" y="79"/>
                  </a:cxn>
                  <a:cxn ang="0">
                    <a:pos x="32" y="81"/>
                  </a:cxn>
                  <a:cxn ang="0">
                    <a:pos x="24" y="79"/>
                  </a:cxn>
                  <a:cxn ang="0">
                    <a:pos x="24" y="88"/>
                  </a:cxn>
                  <a:cxn ang="0">
                    <a:pos x="26" y="85"/>
                  </a:cxn>
                  <a:cxn ang="0">
                    <a:pos x="36" y="92"/>
                  </a:cxn>
                  <a:cxn ang="0">
                    <a:pos x="39" y="103"/>
                  </a:cxn>
                  <a:cxn ang="0">
                    <a:pos x="45" y="130"/>
                  </a:cxn>
                  <a:cxn ang="0">
                    <a:pos x="58" y="120"/>
                  </a:cxn>
                  <a:cxn ang="0">
                    <a:pos x="71" y="113"/>
                  </a:cxn>
                  <a:cxn ang="0">
                    <a:pos x="87" y="105"/>
                  </a:cxn>
                  <a:cxn ang="0">
                    <a:pos x="100" y="109"/>
                  </a:cxn>
                  <a:cxn ang="0">
                    <a:pos x="122" y="120"/>
                  </a:cxn>
                  <a:cxn ang="0">
                    <a:pos x="135" y="122"/>
                  </a:cxn>
                  <a:cxn ang="0">
                    <a:pos x="141" y="130"/>
                  </a:cxn>
                  <a:cxn ang="0">
                    <a:pos x="162" y="139"/>
                  </a:cxn>
                  <a:cxn ang="0">
                    <a:pos x="177" y="149"/>
                  </a:cxn>
                  <a:cxn ang="0">
                    <a:pos x="177" y="160"/>
                  </a:cxn>
                  <a:cxn ang="0">
                    <a:pos x="184" y="162"/>
                  </a:cxn>
                  <a:cxn ang="0">
                    <a:pos x="194" y="162"/>
                  </a:cxn>
                  <a:cxn ang="0">
                    <a:pos x="201" y="169"/>
                  </a:cxn>
                  <a:cxn ang="0">
                    <a:pos x="209" y="167"/>
                  </a:cxn>
                  <a:cxn ang="0">
                    <a:pos x="215" y="160"/>
                  </a:cxn>
                  <a:cxn ang="0">
                    <a:pos x="228" y="152"/>
                  </a:cxn>
                  <a:cxn ang="0">
                    <a:pos x="235" y="147"/>
                  </a:cxn>
                  <a:cxn ang="0">
                    <a:pos x="239" y="133"/>
                  </a:cxn>
                  <a:cxn ang="0">
                    <a:pos x="239" y="126"/>
                  </a:cxn>
                  <a:cxn ang="0">
                    <a:pos x="247" y="122"/>
                  </a:cxn>
                  <a:cxn ang="0">
                    <a:pos x="260" y="117"/>
                  </a:cxn>
                  <a:cxn ang="0">
                    <a:pos x="269" y="118"/>
                  </a:cxn>
                  <a:cxn ang="0">
                    <a:pos x="269" y="118"/>
                  </a:cxn>
                </a:cxnLst>
                <a:rect l="0" t="0" r="r" b="b"/>
                <a:pathLst>
                  <a:path w="269" h="169">
                    <a:moveTo>
                      <a:pt x="269" y="118"/>
                    </a:moveTo>
                    <a:lnTo>
                      <a:pt x="269" y="109"/>
                    </a:lnTo>
                    <a:lnTo>
                      <a:pt x="269" y="105"/>
                    </a:lnTo>
                    <a:lnTo>
                      <a:pt x="262" y="100"/>
                    </a:lnTo>
                    <a:lnTo>
                      <a:pt x="258" y="100"/>
                    </a:lnTo>
                    <a:lnTo>
                      <a:pt x="256" y="100"/>
                    </a:lnTo>
                    <a:lnTo>
                      <a:pt x="245" y="98"/>
                    </a:lnTo>
                    <a:lnTo>
                      <a:pt x="233" y="88"/>
                    </a:lnTo>
                    <a:lnTo>
                      <a:pt x="218" y="83"/>
                    </a:lnTo>
                    <a:lnTo>
                      <a:pt x="205" y="73"/>
                    </a:lnTo>
                    <a:lnTo>
                      <a:pt x="194" y="66"/>
                    </a:lnTo>
                    <a:lnTo>
                      <a:pt x="188" y="60"/>
                    </a:lnTo>
                    <a:lnTo>
                      <a:pt x="184" y="54"/>
                    </a:lnTo>
                    <a:lnTo>
                      <a:pt x="184" y="49"/>
                    </a:lnTo>
                    <a:lnTo>
                      <a:pt x="179" y="49"/>
                    </a:lnTo>
                    <a:lnTo>
                      <a:pt x="175" y="36"/>
                    </a:lnTo>
                    <a:lnTo>
                      <a:pt x="166" y="30"/>
                    </a:lnTo>
                    <a:lnTo>
                      <a:pt x="164" y="30"/>
                    </a:lnTo>
                    <a:lnTo>
                      <a:pt x="162" y="30"/>
                    </a:lnTo>
                    <a:lnTo>
                      <a:pt x="149" y="26"/>
                    </a:lnTo>
                    <a:lnTo>
                      <a:pt x="135" y="19"/>
                    </a:lnTo>
                    <a:lnTo>
                      <a:pt x="135" y="13"/>
                    </a:lnTo>
                    <a:lnTo>
                      <a:pt x="124" y="9"/>
                    </a:lnTo>
                    <a:lnTo>
                      <a:pt x="111" y="0"/>
                    </a:lnTo>
                    <a:lnTo>
                      <a:pt x="102" y="0"/>
                    </a:lnTo>
                    <a:lnTo>
                      <a:pt x="105" y="5"/>
                    </a:lnTo>
                    <a:lnTo>
                      <a:pt x="102" y="5"/>
                    </a:lnTo>
                    <a:lnTo>
                      <a:pt x="100" y="5"/>
                    </a:lnTo>
                    <a:lnTo>
                      <a:pt x="94" y="5"/>
                    </a:lnTo>
                    <a:lnTo>
                      <a:pt x="92" y="11"/>
                    </a:lnTo>
                    <a:lnTo>
                      <a:pt x="87" y="11"/>
                    </a:lnTo>
                    <a:lnTo>
                      <a:pt x="81" y="20"/>
                    </a:lnTo>
                    <a:lnTo>
                      <a:pt x="83" y="26"/>
                    </a:lnTo>
                    <a:lnTo>
                      <a:pt x="87" y="30"/>
                    </a:lnTo>
                    <a:lnTo>
                      <a:pt x="85" y="36"/>
                    </a:lnTo>
                    <a:lnTo>
                      <a:pt x="75" y="34"/>
                    </a:lnTo>
                    <a:lnTo>
                      <a:pt x="66" y="34"/>
                    </a:lnTo>
                    <a:lnTo>
                      <a:pt x="58" y="36"/>
                    </a:lnTo>
                    <a:lnTo>
                      <a:pt x="45" y="22"/>
                    </a:lnTo>
                    <a:lnTo>
                      <a:pt x="32" y="13"/>
                    </a:lnTo>
                    <a:lnTo>
                      <a:pt x="21" y="11"/>
                    </a:lnTo>
                    <a:lnTo>
                      <a:pt x="11" y="15"/>
                    </a:lnTo>
                    <a:lnTo>
                      <a:pt x="0" y="26"/>
                    </a:lnTo>
                    <a:lnTo>
                      <a:pt x="0" y="28"/>
                    </a:lnTo>
                    <a:lnTo>
                      <a:pt x="2" y="30"/>
                    </a:lnTo>
                    <a:lnTo>
                      <a:pt x="6" y="34"/>
                    </a:lnTo>
                    <a:lnTo>
                      <a:pt x="6" y="36"/>
                    </a:lnTo>
                    <a:lnTo>
                      <a:pt x="7" y="39"/>
                    </a:lnTo>
                    <a:lnTo>
                      <a:pt x="11" y="45"/>
                    </a:lnTo>
                    <a:lnTo>
                      <a:pt x="11" y="51"/>
                    </a:lnTo>
                    <a:lnTo>
                      <a:pt x="11" y="54"/>
                    </a:lnTo>
                    <a:lnTo>
                      <a:pt x="11" y="64"/>
                    </a:lnTo>
                    <a:lnTo>
                      <a:pt x="11" y="68"/>
                    </a:lnTo>
                    <a:lnTo>
                      <a:pt x="13" y="69"/>
                    </a:lnTo>
                    <a:lnTo>
                      <a:pt x="19" y="75"/>
                    </a:lnTo>
                    <a:lnTo>
                      <a:pt x="19" y="73"/>
                    </a:lnTo>
                    <a:lnTo>
                      <a:pt x="17" y="69"/>
                    </a:lnTo>
                    <a:lnTo>
                      <a:pt x="19" y="69"/>
                    </a:lnTo>
                    <a:lnTo>
                      <a:pt x="24" y="69"/>
                    </a:lnTo>
                    <a:lnTo>
                      <a:pt x="26" y="69"/>
                    </a:lnTo>
                    <a:lnTo>
                      <a:pt x="28" y="69"/>
                    </a:lnTo>
                    <a:lnTo>
                      <a:pt x="26" y="73"/>
                    </a:lnTo>
                    <a:lnTo>
                      <a:pt x="28" y="79"/>
                    </a:lnTo>
                    <a:lnTo>
                      <a:pt x="30" y="75"/>
                    </a:lnTo>
                    <a:lnTo>
                      <a:pt x="32" y="79"/>
                    </a:lnTo>
                    <a:lnTo>
                      <a:pt x="32" y="81"/>
                    </a:lnTo>
                    <a:lnTo>
                      <a:pt x="28" y="81"/>
                    </a:lnTo>
                    <a:lnTo>
                      <a:pt x="26" y="81"/>
                    </a:lnTo>
                    <a:lnTo>
                      <a:pt x="24" y="79"/>
                    </a:lnTo>
                    <a:lnTo>
                      <a:pt x="21" y="83"/>
                    </a:lnTo>
                    <a:lnTo>
                      <a:pt x="21" y="85"/>
                    </a:lnTo>
                    <a:lnTo>
                      <a:pt x="24" y="88"/>
                    </a:lnTo>
                    <a:lnTo>
                      <a:pt x="23" y="85"/>
                    </a:lnTo>
                    <a:lnTo>
                      <a:pt x="26" y="83"/>
                    </a:lnTo>
                    <a:lnTo>
                      <a:pt x="26" y="85"/>
                    </a:lnTo>
                    <a:lnTo>
                      <a:pt x="30" y="85"/>
                    </a:lnTo>
                    <a:lnTo>
                      <a:pt x="32" y="88"/>
                    </a:lnTo>
                    <a:lnTo>
                      <a:pt x="36" y="92"/>
                    </a:lnTo>
                    <a:lnTo>
                      <a:pt x="39" y="96"/>
                    </a:lnTo>
                    <a:lnTo>
                      <a:pt x="39" y="100"/>
                    </a:lnTo>
                    <a:lnTo>
                      <a:pt x="39" y="103"/>
                    </a:lnTo>
                    <a:lnTo>
                      <a:pt x="39" y="113"/>
                    </a:lnTo>
                    <a:lnTo>
                      <a:pt x="41" y="120"/>
                    </a:lnTo>
                    <a:lnTo>
                      <a:pt x="45" y="130"/>
                    </a:lnTo>
                    <a:lnTo>
                      <a:pt x="47" y="128"/>
                    </a:lnTo>
                    <a:lnTo>
                      <a:pt x="56" y="126"/>
                    </a:lnTo>
                    <a:lnTo>
                      <a:pt x="58" y="120"/>
                    </a:lnTo>
                    <a:lnTo>
                      <a:pt x="60" y="118"/>
                    </a:lnTo>
                    <a:lnTo>
                      <a:pt x="64" y="118"/>
                    </a:lnTo>
                    <a:lnTo>
                      <a:pt x="71" y="113"/>
                    </a:lnTo>
                    <a:lnTo>
                      <a:pt x="79" y="109"/>
                    </a:lnTo>
                    <a:lnTo>
                      <a:pt x="87" y="113"/>
                    </a:lnTo>
                    <a:lnTo>
                      <a:pt x="87" y="105"/>
                    </a:lnTo>
                    <a:lnTo>
                      <a:pt x="90" y="105"/>
                    </a:lnTo>
                    <a:lnTo>
                      <a:pt x="96" y="109"/>
                    </a:lnTo>
                    <a:lnTo>
                      <a:pt x="100" y="109"/>
                    </a:lnTo>
                    <a:lnTo>
                      <a:pt x="105" y="113"/>
                    </a:lnTo>
                    <a:lnTo>
                      <a:pt x="111" y="115"/>
                    </a:lnTo>
                    <a:lnTo>
                      <a:pt x="122" y="120"/>
                    </a:lnTo>
                    <a:lnTo>
                      <a:pt x="126" y="120"/>
                    </a:lnTo>
                    <a:lnTo>
                      <a:pt x="128" y="118"/>
                    </a:lnTo>
                    <a:lnTo>
                      <a:pt x="135" y="122"/>
                    </a:lnTo>
                    <a:lnTo>
                      <a:pt x="141" y="122"/>
                    </a:lnTo>
                    <a:lnTo>
                      <a:pt x="141" y="128"/>
                    </a:lnTo>
                    <a:lnTo>
                      <a:pt x="141" y="130"/>
                    </a:lnTo>
                    <a:lnTo>
                      <a:pt x="145" y="130"/>
                    </a:lnTo>
                    <a:lnTo>
                      <a:pt x="152" y="130"/>
                    </a:lnTo>
                    <a:lnTo>
                      <a:pt x="162" y="139"/>
                    </a:lnTo>
                    <a:lnTo>
                      <a:pt x="169" y="143"/>
                    </a:lnTo>
                    <a:lnTo>
                      <a:pt x="175" y="143"/>
                    </a:lnTo>
                    <a:lnTo>
                      <a:pt x="177" y="149"/>
                    </a:lnTo>
                    <a:lnTo>
                      <a:pt x="175" y="150"/>
                    </a:lnTo>
                    <a:lnTo>
                      <a:pt x="177" y="156"/>
                    </a:lnTo>
                    <a:lnTo>
                      <a:pt x="177" y="160"/>
                    </a:lnTo>
                    <a:lnTo>
                      <a:pt x="177" y="162"/>
                    </a:lnTo>
                    <a:lnTo>
                      <a:pt x="179" y="162"/>
                    </a:lnTo>
                    <a:lnTo>
                      <a:pt x="184" y="162"/>
                    </a:lnTo>
                    <a:lnTo>
                      <a:pt x="186" y="164"/>
                    </a:lnTo>
                    <a:lnTo>
                      <a:pt x="190" y="164"/>
                    </a:lnTo>
                    <a:lnTo>
                      <a:pt x="194" y="162"/>
                    </a:lnTo>
                    <a:lnTo>
                      <a:pt x="196" y="162"/>
                    </a:lnTo>
                    <a:lnTo>
                      <a:pt x="201" y="164"/>
                    </a:lnTo>
                    <a:lnTo>
                      <a:pt x="201" y="169"/>
                    </a:lnTo>
                    <a:lnTo>
                      <a:pt x="203" y="169"/>
                    </a:lnTo>
                    <a:lnTo>
                      <a:pt x="205" y="167"/>
                    </a:lnTo>
                    <a:lnTo>
                      <a:pt x="209" y="167"/>
                    </a:lnTo>
                    <a:lnTo>
                      <a:pt x="215" y="164"/>
                    </a:lnTo>
                    <a:lnTo>
                      <a:pt x="215" y="162"/>
                    </a:lnTo>
                    <a:lnTo>
                      <a:pt x="215" y="160"/>
                    </a:lnTo>
                    <a:lnTo>
                      <a:pt x="215" y="156"/>
                    </a:lnTo>
                    <a:lnTo>
                      <a:pt x="220" y="152"/>
                    </a:lnTo>
                    <a:lnTo>
                      <a:pt x="228" y="152"/>
                    </a:lnTo>
                    <a:lnTo>
                      <a:pt x="230" y="150"/>
                    </a:lnTo>
                    <a:lnTo>
                      <a:pt x="231" y="147"/>
                    </a:lnTo>
                    <a:lnTo>
                      <a:pt x="235" y="147"/>
                    </a:lnTo>
                    <a:lnTo>
                      <a:pt x="235" y="143"/>
                    </a:lnTo>
                    <a:lnTo>
                      <a:pt x="235" y="139"/>
                    </a:lnTo>
                    <a:lnTo>
                      <a:pt x="239" y="133"/>
                    </a:lnTo>
                    <a:lnTo>
                      <a:pt x="239" y="130"/>
                    </a:lnTo>
                    <a:lnTo>
                      <a:pt x="239" y="128"/>
                    </a:lnTo>
                    <a:lnTo>
                      <a:pt x="239" y="126"/>
                    </a:lnTo>
                    <a:lnTo>
                      <a:pt x="239" y="124"/>
                    </a:lnTo>
                    <a:lnTo>
                      <a:pt x="241" y="122"/>
                    </a:lnTo>
                    <a:lnTo>
                      <a:pt x="247" y="122"/>
                    </a:lnTo>
                    <a:lnTo>
                      <a:pt x="248" y="122"/>
                    </a:lnTo>
                    <a:lnTo>
                      <a:pt x="254" y="117"/>
                    </a:lnTo>
                    <a:lnTo>
                      <a:pt x="260" y="117"/>
                    </a:lnTo>
                    <a:lnTo>
                      <a:pt x="263" y="118"/>
                    </a:lnTo>
                    <a:lnTo>
                      <a:pt x="265" y="117"/>
                    </a:lnTo>
                    <a:lnTo>
                      <a:pt x="269" y="118"/>
                    </a:lnTo>
                    <a:lnTo>
                      <a:pt x="269" y="118"/>
                    </a:lnTo>
                    <a:lnTo>
                      <a:pt x="269" y="118"/>
                    </a:lnTo>
                    <a:lnTo>
                      <a:pt x="269" y="11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1" name="Freeform 53"/>
              <p:cNvSpPr>
                <a:spLocks/>
              </p:cNvSpPr>
              <p:nvPr/>
            </p:nvSpPr>
            <p:spPr bwMode="auto">
              <a:xfrm>
                <a:off x="3882" y="2363"/>
                <a:ext cx="252" cy="284"/>
              </a:xfrm>
              <a:custGeom>
                <a:avLst/>
                <a:gdLst/>
                <a:ahLst/>
                <a:cxnLst>
                  <a:cxn ang="0">
                    <a:pos x="153" y="275"/>
                  </a:cxn>
                  <a:cxn ang="0">
                    <a:pos x="171" y="269"/>
                  </a:cxn>
                  <a:cxn ang="0">
                    <a:pos x="185" y="267"/>
                  </a:cxn>
                  <a:cxn ang="0">
                    <a:pos x="192" y="264"/>
                  </a:cxn>
                  <a:cxn ang="0">
                    <a:pos x="185" y="241"/>
                  </a:cxn>
                  <a:cxn ang="0">
                    <a:pos x="171" y="230"/>
                  </a:cxn>
                  <a:cxn ang="0">
                    <a:pos x="164" y="220"/>
                  </a:cxn>
                  <a:cxn ang="0">
                    <a:pos x="160" y="207"/>
                  </a:cxn>
                  <a:cxn ang="0">
                    <a:pos x="171" y="192"/>
                  </a:cxn>
                  <a:cxn ang="0">
                    <a:pos x="181" y="198"/>
                  </a:cxn>
                  <a:cxn ang="0">
                    <a:pos x="207" y="175"/>
                  </a:cxn>
                  <a:cxn ang="0">
                    <a:pos x="224" y="152"/>
                  </a:cxn>
                  <a:cxn ang="0">
                    <a:pos x="228" y="141"/>
                  </a:cxn>
                  <a:cxn ang="0">
                    <a:pos x="237" y="119"/>
                  </a:cxn>
                  <a:cxn ang="0">
                    <a:pos x="243" y="103"/>
                  </a:cxn>
                  <a:cxn ang="0">
                    <a:pos x="252" y="92"/>
                  </a:cxn>
                  <a:cxn ang="0">
                    <a:pos x="235" y="86"/>
                  </a:cxn>
                  <a:cxn ang="0">
                    <a:pos x="217" y="71"/>
                  </a:cxn>
                  <a:cxn ang="0">
                    <a:pos x="213" y="47"/>
                  </a:cxn>
                  <a:cxn ang="0">
                    <a:pos x="213" y="34"/>
                  </a:cxn>
                  <a:cxn ang="0">
                    <a:pos x="198" y="19"/>
                  </a:cxn>
                  <a:cxn ang="0">
                    <a:pos x="188" y="11"/>
                  </a:cxn>
                  <a:cxn ang="0">
                    <a:pos x="186" y="0"/>
                  </a:cxn>
                  <a:cxn ang="0">
                    <a:pos x="168" y="11"/>
                  </a:cxn>
                  <a:cxn ang="0">
                    <a:pos x="164" y="47"/>
                  </a:cxn>
                  <a:cxn ang="0">
                    <a:pos x="156" y="62"/>
                  </a:cxn>
                  <a:cxn ang="0">
                    <a:pos x="153" y="70"/>
                  </a:cxn>
                  <a:cxn ang="0">
                    <a:pos x="145" y="83"/>
                  </a:cxn>
                  <a:cxn ang="0">
                    <a:pos x="141" y="98"/>
                  </a:cxn>
                  <a:cxn ang="0">
                    <a:pos x="136" y="109"/>
                  </a:cxn>
                  <a:cxn ang="0">
                    <a:pos x="126" y="111"/>
                  </a:cxn>
                  <a:cxn ang="0">
                    <a:pos x="117" y="119"/>
                  </a:cxn>
                  <a:cxn ang="0">
                    <a:pos x="102" y="126"/>
                  </a:cxn>
                  <a:cxn ang="0">
                    <a:pos x="92" y="134"/>
                  </a:cxn>
                  <a:cxn ang="0">
                    <a:pos x="96" y="152"/>
                  </a:cxn>
                  <a:cxn ang="0">
                    <a:pos x="75" y="160"/>
                  </a:cxn>
                  <a:cxn ang="0">
                    <a:pos x="51" y="164"/>
                  </a:cxn>
                  <a:cxn ang="0">
                    <a:pos x="0" y="158"/>
                  </a:cxn>
                  <a:cxn ang="0">
                    <a:pos x="21" y="183"/>
                  </a:cxn>
                  <a:cxn ang="0">
                    <a:pos x="32" y="188"/>
                  </a:cxn>
                  <a:cxn ang="0">
                    <a:pos x="40" y="207"/>
                  </a:cxn>
                  <a:cxn ang="0">
                    <a:pos x="49" y="220"/>
                  </a:cxn>
                  <a:cxn ang="0">
                    <a:pos x="32" y="224"/>
                  </a:cxn>
                  <a:cxn ang="0">
                    <a:pos x="21" y="237"/>
                  </a:cxn>
                  <a:cxn ang="0">
                    <a:pos x="25" y="250"/>
                  </a:cxn>
                  <a:cxn ang="0">
                    <a:pos x="36" y="250"/>
                  </a:cxn>
                  <a:cxn ang="0">
                    <a:pos x="45" y="250"/>
                  </a:cxn>
                  <a:cxn ang="0">
                    <a:pos x="53" y="250"/>
                  </a:cxn>
                  <a:cxn ang="0">
                    <a:pos x="62" y="250"/>
                  </a:cxn>
                  <a:cxn ang="0">
                    <a:pos x="68" y="250"/>
                  </a:cxn>
                  <a:cxn ang="0">
                    <a:pos x="83" y="247"/>
                  </a:cxn>
                  <a:cxn ang="0">
                    <a:pos x="92" y="247"/>
                  </a:cxn>
                  <a:cxn ang="0">
                    <a:pos x="109" y="247"/>
                  </a:cxn>
                  <a:cxn ang="0">
                    <a:pos x="113" y="256"/>
                  </a:cxn>
                  <a:cxn ang="0">
                    <a:pos x="121" y="256"/>
                  </a:cxn>
                  <a:cxn ang="0">
                    <a:pos x="126" y="271"/>
                  </a:cxn>
                  <a:cxn ang="0">
                    <a:pos x="128" y="277"/>
                  </a:cxn>
                  <a:cxn ang="0">
                    <a:pos x="143" y="282"/>
                  </a:cxn>
                  <a:cxn ang="0">
                    <a:pos x="147" y="282"/>
                  </a:cxn>
                </a:cxnLst>
                <a:rect l="0" t="0" r="r" b="b"/>
                <a:pathLst>
                  <a:path w="252" h="284">
                    <a:moveTo>
                      <a:pt x="147" y="282"/>
                    </a:moveTo>
                    <a:lnTo>
                      <a:pt x="147" y="277"/>
                    </a:lnTo>
                    <a:lnTo>
                      <a:pt x="151" y="277"/>
                    </a:lnTo>
                    <a:lnTo>
                      <a:pt x="153" y="275"/>
                    </a:lnTo>
                    <a:lnTo>
                      <a:pt x="154" y="271"/>
                    </a:lnTo>
                    <a:lnTo>
                      <a:pt x="156" y="271"/>
                    </a:lnTo>
                    <a:lnTo>
                      <a:pt x="160" y="269"/>
                    </a:lnTo>
                    <a:lnTo>
                      <a:pt x="171" y="269"/>
                    </a:lnTo>
                    <a:lnTo>
                      <a:pt x="181" y="267"/>
                    </a:lnTo>
                    <a:lnTo>
                      <a:pt x="181" y="265"/>
                    </a:lnTo>
                    <a:lnTo>
                      <a:pt x="185" y="264"/>
                    </a:lnTo>
                    <a:lnTo>
                      <a:pt x="185" y="267"/>
                    </a:lnTo>
                    <a:lnTo>
                      <a:pt x="185" y="269"/>
                    </a:lnTo>
                    <a:lnTo>
                      <a:pt x="190" y="267"/>
                    </a:lnTo>
                    <a:lnTo>
                      <a:pt x="194" y="265"/>
                    </a:lnTo>
                    <a:lnTo>
                      <a:pt x="192" y="264"/>
                    </a:lnTo>
                    <a:lnTo>
                      <a:pt x="192" y="260"/>
                    </a:lnTo>
                    <a:lnTo>
                      <a:pt x="188" y="250"/>
                    </a:lnTo>
                    <a:lnTo>
                      <a:pt x="185" y="245"/>
                    </a:lnTo>
                    <a:lnTo>
                      <a:pt x="185" y="241"/>
                    </a:lnTo>
                    <a:lnTo>
                      <a:pt x="185" y="239"/>
                    </a:lnTo>
                    <a:lnTo>
                      <a:pt x="181" y="241"/>
                    </a:lnTo>
                    <a:lnTo>
                      <a:pt x="171" y="235"/>
                    </a:lnTo>
                    <a:lnTo>
                      <a:pt x="171" y="230"/>
                    </a:lnTo>
                    <a:lnTo>
                      <a:pt x="171" y="224"/>
                    </a:lnTo>
                    <a:lnTo>
                      <a:pt x="171" y="220"/>
                    </a:lnTo>
                    <a:lnTo>
                      <a:pt x="168" y="220"/>
                    </a:lnTo>
                    <a:lnTo>
                      <a:pt x="164" y="220"/>
                    </a:lnTo>
                    <a:lnTo>
                      <a:pt x="160" y="216"/>
                    </a:lnTo>
                    <a:lnTo>
                      <a:pt x="156" y="220"/>
                    </a:lnTo>
                    <a:lnTo>
                      <a:pt x="156" y="213"/>
                    </a:lnTo>
                    <a:lnTo>
                      <a:pt x="160" y="207"/>
                    </a:lnTo>
                    <a:lnTo>
                      <a:pt x="162" y="205"/>
                    </a:lnTo>
                    <a:lnTo>
                      <a:pt x="168" y="198"/>
                    </a:lnTo>
                    <a:lnTo>
                      <a:pt x="169" y="194"/>
                    </a:lnTo>
                    <a:lnTo>
                      <a:pt x="171" y="192"/>
                    </a:lnTo>
                    <a:lnTo>
                      <a:pt x="175" y="190"/>
                    </a:lnTo>
                    <a:lnTo>
                      <a:pt x="179" y="192"/>
                    </a:lnTo>
                    <a:lnTo>
                      <a:pt x="181" y="196"/>
                    </a:lnTo>
                    <a:lnTo>
                      <a:pt x="181" y="198"/>
                    </a:lnTo>
                    <a:lnTo>
                      <a:pt x="188" y="194"/>
                    </a:lnTo>
                    <a:lnTo>
                      <a:pt x="200" y="192"/>
                    </a:lnTo>
                    <a:lnTo>
                      <a:pt x="203" y="186"/>
                    </a:lnTo>
                    <a:lnTo>
                      <a:pt x="207" y="175"/>
                    </a:lnTo>
                    <a:lnTo>
                      <a:pt x="217" y="169"/>
                    </a:lnTo>
                    <a:lnTo>
                      <a:pt x="218" y="166"/>
                    </a:lnTo>
                    <a:lnTo>
                      <a:pt x="218" y="158"/>
                    </a:lnTo>
                    <a:lnTo>
                      <a:pt x="224" y="152"/>
                    </a:lnTo>
                    <a:lnTo>
                      <a:pt x="228" y="151"/>
                    </a:lnTo>
                    <a:lnTo>
                      <a:pt x="230" y="147"/>
                    </a:lnTo>
                    <a:lnTo>
                      <a:pt x="230" y="143"/>
                    </a:lnTo>
                    <a:lnTo>
                      <a:pt x="228" y="141"/>
                    </a:lnTo>
                    <a:lnTo>
                      <a:pt x="233" y="135"/>
                    </a:lnTo>
                    <a:lnTo>
                      <a:pt x="237" y="132"/>
                    </a:lnTo>
                    <a:lnTo>
                      <a:pt x="237" y="128"/>
                    </a:lnTo>
                    <a:lnTo>
                      <a:pt x="237" y="119"/>
                    </a:lnTo>
                    <a:lnTo>
                      <a:pt x="235" y="113"/>
                    </a:lnTo>
                    <a:lnTo>
                      <a:pt x="235" y="111"/>
                    </a:lnTo>
                    <a:lnTo>
                      <a:pt x="239" y="105"/>
                    </a:lnTo>
                    <a:lnTo>
                      <a:pt x="243" y="103"/>
                    </a:lnTo>
                    <a:lnTo>
                      <a:pt x="249" y="102"/>
                    </a:lnTo>
                    <a:lnTo>
                      <a:pt x="249" y="102"/>
                    </a:lnTo>
                    <a:lnTo>
                      <a:pt x="252" y="98"/>
                    </a:lnTo>
                    <a:lnTo>
                      <a:pt x="252" y="92"/>
                    </a:lnTo>
                    <a:lnTo>
                      <a:pt x="249" y="92"/>
                    </a:lnTo>
                    <a:lnTo>
                      <a:pt x="243" y="94"/>
                    </a:lnTo>
                    <a:lnTo>
                      <a:pt x="239" y="92"/>
                    </a:lnTo>
                    <a:lnTo>
                      <a:pt x="235" y="86"/>
                    </a:lnTo>
                    <a:lnTo>
                      <a:pt x="230" y="86"/>
                    </a:lnTo>
                    <a:lnTo>
                      <a:pt x="224" y="83"/>
                    </a:lnTo>
                    <a:lnTo>
                      <a:pt x="217" y="77"/>
                    </a:lnTo>
                    <a:lnTo>
                      <a:pt x="217" y="71"/>
                    </a:lnTo>
                    <a:lnTo>
                      <a:pt x="213" y="58"/>
                    </a:lnTo>
                    <a:lnTo>
                      <a:pt x="209" y="53"/>
                    </a:lnTo>
                    <a:lnTo>
                      <a:pt x="209" y="49"/>
                    </a:lnTo>
                    <a:lnTo>
                      <a:pt x="213" y="47"/>
                    </a:lnTo>
                    <a:lnTo>
                      <a:pt x="213" y="43"/>
                    </a:lnTo>
                    <a:lnTo>
                      <a:pt x="218" y="39"/>
                    </a:lnTo>
                    <a:lnTo>
                      <a:pt x="218" y="36"/>
                    </a:lnTo>
                    <a:lnTo>
                      <a:pt x="213" y="34"/>
                    </a:lnTo>
                    <a:lnTo>
                      <a:pt x="211" y="32"/>
                    </a:lnTo>
                    <a:lnTo>
                      <a:pt x="205" y="26"/>
                    </a:lnTo>
                    <a:lnTo>
                      <a:pt x="203" y="22"/>
                    </a:lnTo>
                    <a:lnTo>
                      <a:pt x="198" y="19"/>
                    </a:lnTo>
                    <a:lnTo>
                      <a:pt x="194" y="19"/>
                    </a:lnTo>
                    <a:lnTo>
                      <a:pt x="192" y="19"/>
                    </a:lnTo>
                    <a:lnTo>
                      <a:pt x="188" y="19"/>
                    </a:lnTo>
                    <a:lnTo>
                      <a:pt x="188" y="11"/>
                    </a:lnTo>
                    <a:lnTo>
                      <a:pt x="198" y="4"/>
                    </a:lnTo>
                    <a:lnTo>
                      <a:pt x="196" y="0"/>
                    </a:lnTo>
                    <a:lnTo>
                      <a:pt x="190" y="2"/>
                    </a:lnTo>
                    <a:lnTo>
                      <a:pt x="186" y="0"/>
                    </a:lnTo>
                    <a:lnTo>
                      <a:pt x="181" y="4"/>
                    </a:lnTo>
                    <a:lnTo>
                      <a:pt x="177" y="7"/>
                    </a:lnTo>
                    <a:lnTo>
                      <a:pt x="171" y="7"/>
                    </a:lnTo>
                    <a:lnTo>
                      <a:pt x="168" y="11"/>
                    </a:lnTo>
                    <a:lnTo>
                      <a:pt x="164" y="13"/>
                    </a:lnTo>
                    <a:lnTo>
                      <a:pt x="171" y="26"/>
                    </a:lnTo>
                    <a:lnTo>
                      <a:pt x="171" y="34"/>
                    </a:lnTo>
                    <a:lnTo>
                      <a:pt x="164" y="47"/>
                    </a:lnTo>
                    <a:lnTo>
                      <a:pt x="169" y="51"/>
                    </a:lnTo>
                    <a:lnTo>
                      <a:pt x="169" y="56"/>
                    </a:lnTo>
                    <a:lnTo>
                      <a:pt x="164" y="62"/>
                    </a:lnTo>
                    <a:lnTo>
                      <a:pt x="156" y="62"/>
                    </a:lnTo>
                    <a:lnTo>
                      <a:pt x="151" y="62"/>
                    </a:lnTo>
                    <a:lnTo>
                      <a:pt x="147" y="64"/>
                    </a:lnTo>
                    <a:lnTo>
                      <a:pt x="149" y="68"/>
                    </a:lnTo>
                    <a:lnTo>
                      <a:pt x="153" y="70"/>
                    </a:lnTo>
                    <a:lnTo>
                      <a:pt x="154" y="75"/>
                    </a:lnTo>
                    <a:lnTo>
                      <a:pt x="154" y="79"/>
                    </a:lnTo>
                    <a:lnTo>
                      <a:pt x="149" y="81"/>
                    </a:lnTo>
                    <a:lnTo>
                      <a:pt x="145" y="83"/>
                    </a:lnTo>
                    <a:lnTo>
                      <a:pt x="143" y="83"/>
                    </a:lnTo>
                    <a:lnTo>
                      <a:pt x="143" y="92"/>
                    </a:lnTo>
                    <a:lnTo>
                      <a:pt x="141" y="94"/>
                    </a:lnTo>
                    <a:lnTo>
                      <a:pt x="141" y="98"/>
                    </a:lnTo>
                    <a:lnTo>
                      <a:pt x="139" y="100"/>
                    </a:lnTo>
                    <a:lnTo>
                      <a:pt x="141" y="107"/>
                    </a:lnTo>
                    <a:lnTo>
                      <a:pt x="137" y="113"/>
                    </a:lnTo>
                    <a:lnTo>
                      <a:pt x="136" y="109"/>
                    </a:lnTo>
                    <a:lnTo>
                      <a:pt x="132" y="109"/>
                    </a:lnTo>
                    <a:lnTo>
                      <a:pt x="132" y="111"/>
                    </a:lnTo>
                    <a:lnTo>
                      <a:pt x="128" y="111"/>
                    </a:lnTo>
                    <a:lnTo>
                      <a:pt x="126" y="111"/>
                    </a:lnTo>
                    <a:lnTo>
                      <a:pt x="121" y="111"/>
                    </a:lnTo>
                    <a:lnTo>
                      <a:pt x="121" y="113"/>
                    </a:lnTo>
                    <a:lnTo>
                      <a:pt x="113" y="117"/>
                    </a:lnTo>
                    <a:lnTo>
                      <a:pt x="117" y="119"/>
                    </a:lnTo>
                    <a:lnTo>
                      <a:pt x="113" y="122"/>
                    </a:lnTo>
                    <a:lnTo>
                      <a:pt x="107" y="126"/>
                    </a:lnTo>
                    <a:lnTo>
                      <a:pt x="105" y="122"/>
                    </a:lnTo>
                    <a:lnTo>
                      <a:pt x="102" y="126"/>
                    </a:lnTo>
                    <a:lnTo>
                      <a:pt x="100" y="126"/>
                    </a:lnTo>
                    <a:lnTo>
                      <a:pt x="98" y="130"/>
                    </a:lnTo>
                    <a:lnTo>
                      <a:pt x="94" y="132"/>
                    </a:lnTo>
                    <a:lnTo>
                      <a:pt x="92" y="134"/>
                    </a:lnTo>
                    <a:lnTo>
                      <a:pt x="92" y="139"/>
                    </a:lnTo>
                    <a:lnTo>
                      <a:pt x="94" y="145"/>
                    </a:lnTo>
                    <a:lnTo>
                      <a:pt x="94" y="151"/>
                    </a:lnTo>
                    <a:lnTo>
                      <a:pt x="96" y="152"/>
                    </a:lnTo>
                    <a:lnTo>
                      <a:pt x="94" y="156"/>
                    </a:lnTo>
                    <a:lnTo>
                      <a:pt x="89" y="158"/>
                    </a:lnTo>
                    <a:lnTo>
                      <a:pt x="81" y="158"/>
                    </a:lnTo>
                    <a:lnTo>
                      <a:pt x="75" y="160"/>
                    </a:lnTo>
                    <a:lnTo>
                      <a:pt x="68" y="160"/>
                    </a:lnTo>
                    <a:lnTo>
                      <a:pt x="60" y="162"/>
                    </a:lnTo>
                    <a:lnTo>
                      <a:pt x="58" y="164"/>
                    </a:lnTo>
                    <a:lnTo>
                      <a:pt x="51" y="164"/>
                    </a:lnTo>
                    <a:lnTo>
                      <a:pt x="45" y="166"/>
                    </a:lnTo>
                    <a:lnTo>
                      <a:pt x="25" y="166"/>
                    </a:lnTo>
                    <a:lnTo>
                      <a:pt x="0" y="158"/>
                    </a:lnTo>
                    <a:lnTo>
                      <a:pt x="0" y="158"/>
                    </a:lnTo>
                    <a:lnTo>
                      <a:pt x="9" y="171"/>
                    </a:lnTo>
                    <a:lnTo>
                      <a:pt x="11" y="177"/>
                    </a:lnTo>
                    <a:lnTo>
                      <a:pt x="17" y="181"/>
                    </a:lnTo>
                    <a:lnTo>
                      <a:pt x="21" y="183"/>
                    </a:lnTo>
                    <a:lnTo>
                      <a:pt x="21" y="186"/>
                    </a:lnTo>
                    <a:lnTo>
                      <a:pt x="28" y="186"/>
                    </a:lnTo>
                    <a:lnTo>
                      <a:pt x="32" y="186"/>
                    </a:lnTo>
                    <a:lnTo>
                      <a:pt x="32" y="188"/>
                    </a:lnTo>
                    <a:lnTo>
                      <a:pt x="38" y="190"/>
                    </a:lnTo>
                    <a:lnTo>
                      <a:pt x="38" y="196"/>
                    </a:lnTo>
                    <a:lnTo>
                      <a:pt x="40" y="201"/>
                    </a:lnTo>
                    <a:lnTo>
                      <a:pt x="40" y="207"/>
                    </a:lnTo>
                    <a:lnTo>
                      <a:pt x="40" y="207"/>
                    </a:lnTo>
                    <a:lnTo>
                      <a:pt x="45" y="207"/>
                    </a:lnTo>
                    <a:lnTo>
                      <a:pt x="49" y="211"/>
                    </a:lnTo>
                    <a:lnTo>
                      <a:pt x="49" y="220"/>
                    </a:lnTo>
                    <a:lnTo>
                      <a:pt x="45" y="222"/>
                    </a:lnTo>
                    <a:lnTo>
                      <a:pt x="43" y="220"/>
                    </a:lnTo>
                    <a:lnTo>
                      <a:pt x="34" y="222"/>
                    </a:lnTo>
                    <a:lnTo>
                      <a:pt x="32" y="224"/>
                    </a:lnTo>
                    <a:lnTo>
                      <a:pt x="25" y="226"/>
                    </a:lnTo>
                    <a:lnTo>
                      <a:pt x="25" y="230"/>
                    </a:lnTo>
                    <a:lnTo>
                      <a:pt x="25" y="233"/>
                    </a:lnTo>
                    <a:lnTo>
                      <a:pt x="21" y="237"/>
                    </a:lnTo>
                    <a:lnTo>
                      <a:pt x="25" y="241"/>
                    </a:lnTo>
                    <a:lnTo>
                      <a:pt x="25" y="250"/>
                    </a:lnTo>
                    <a:lnTo>
                      <a:pt x="25" y="250"/>
                    </a:lnTo>
                    <a:lnTo>
                      <a:pt x="25" y="250"/>
                    </a:lnTo>
                    <a:lnTo>
                      <a:pt x="25" y="254"/>
                    </a:lnTo>
                    <a:lnTo>
                      <a:pt x="26" y="254"/>
                    </a:lnTo>
                    <a:lnTo>
                      <a:pt x="32" y="250"/>
                    </a:lnTo>
                    <a:lnTo>
                      <a:pt x="36" y="250"/>
                    </a:lnTo>
                    <a:lnTo>
                      <a:pt x="38" y="252"/>
                    </a:lnTo>
                    <a:lnTo>
                      <a:pt x="38" y="252"/>
                    </a:lnTo>
                    <a:lnTo>
                      <a:pt x="41" y="250"/>
                    </a:lnTo>
                    <a:lnTo>
                      <a:pt x="45" y="250"/>
                    </a:lnTo>
                    <a:lnTo>
                      <a:pt x="45" y="250"/>
                    </a:lnTo>
                    <a:lnTo>
                      <a:pt x="49" y="250"/>
                    </a:lnTo>
                    <a:lnTo>
                      <a:pt x="51" y="250"/>
                    </a:lnTo>
                    <a:lnTo>
                      <a:pt x="53" y="250"/>
                    </a:lnTo>
                    <a:lnTo>
                      <a:pt x="55" y="250"/>
                    </a:lnTo>
                    <a:lnTo>
                      <a:pt x="57" y="247"/>
                    </a:lnTo>
                    <a:lnTo>
                      <a:pt x="60" y="250"/>
                    </a:lnTo>
                    <a:lnTo>
                      <a:pt x="62" y="250"/>
                    </a:lnTo>
                    <a:lnTo>
                      <a:pt x="62" y="247"/>
                    </a:lnTo>
                    <a:lnTo>
                      <a:pt x="64" y="247"/>
                    </a:lnTo>
                    <a:lnTo>
                      <a:pt x="64" y="250"/>
                    </a:lnTo>
                    <a:lnTo>
                      <a:pt x="68" y="250"/>
                    </a:lnTo>
                    <a:lnTo>
                      <a:pt x="70" y="252"/>
                    </a:lnTo>
                    <a:lnTo>
                      <a:pt x="73" y="252"/>
                    </a:lnTo>
                    <a:lnTo>
                      <a:pt x="77" y="247"/>
                    </a:lnTo>
                    <a:lnTo>
                      <a:pt x="83" y="247"/>
                    </a:lnTo>
                    <a:lnTo>
                      <a:pt x="87" y="250"/>
                    </a:lnTo>
                    <a:lnTo>
                      <a:pt x="89" y="247"/>
                    </a:lnTo>
                    <a:lnTo>
                      <a:pt x="92" y="247"/>
                    </a:lnTo>
                    <a:lnTo>
                      <a:pt x="92" y="247"/>
                    </a:lnTo>
                    <a:lnTo>
                      <a:pt x="92" y="247"/>
                    </a:lnTo>
                    <a:lnTo>
                      <a:pt x="98" y="247"/>
                    </a:lnTo>
                    <a:lnTo>
                      <a:pt x="102" y="247"/>
                    </a:lnTo>
                    <a:lnTo>
                      <a:pt x="109" y="247"/>
                    </a:lnTo>
                    <a:lnTo>
                      <a:pt x="113" y="250"/>
                    </a:lnTo>
                    <a:lnTo>
                      <a:pt x="113" y="252"/>
                    </a:lnTo>
                    <a:lnTo>
                      <a:pt x="113" y="256"/>
                    </a:lnTo>
                    <a:lnTo>
                      <a:pt x="113" y="256"/>
                    </a:lnTo>
                    <a:lnTo>
                      <a:pt x="113" y="256"/>
                    </a:lnTo>
                    <a:lnTo>
                      <a:pt x="113" y="258"/>
                    </a:lnTo>
                    <a:lnTo>
                      <a:pt x="117" y="258"/>
                    </a:lnTo>
                    <a:lnTo>
                      <a:pt x="121" y="256"/>
                    </a:lnTo>
                    <a:lnTo>
                      <a:pt x="121" y="260"/>
                    </a:lnTo>
                    <a:lnTo>
                      <a:pt x="124" y="264"/>
                    </a:lnTo>
                    <a:lnTo>
                      <a:pt x="126" y="271"/>
                    </a:lnTo>
                    <a:lnTo>
                      <a:pt x="126" y="271"/>
                    </a:lnTo>
                    <a:lnTo>
                      <a:pt x="126" y="275"/>
                    </a:lnTo>
                    <a:lnTo>
                      <a:pt x="124" y="277"/>
                    </a:lnTo>
                    <a:lnTo>
                      <a:pt x="126" y="277"/>
                    </a:lnTo>
                    <a:lnTo>
                      <a:pt x="128" y="277"/>
                    </a:lnTo>
                    <a:lnTo>
                      <a:pt x="130" y="281"/>
                    </a:lnTo>
                    <a:lnTo>
                      <a:pt x="132" y="281"/>
                    </a:lnTo>
                    <a:lnTo>
                      <a:pt x="136" y="281"/>
                    </a:lnTo>
                    <a:lnTo>
                      <a:pt x="143" y="282"/>
                    </a:lnTo>
                    <a:lnTo>
                      <a:pt x="143" y="284"/>
                    </a:lnTo>
                    <a:lnTo>
                      <a:pt x="147" y="282"/>
                    </a:lnTo>
                    <a:lnTo>
                      <a:pt x="147" y="282"/>
                    </a:lnTo>
                    <a:lnTo>
                      <a:pt x="147" y="28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2" name="Freeform 54"/>
              <p:cNvSpPr>
                <a:spLocks/>
              </p:cNvSpPr>
              <p:nvPr/>
            </p:nvSpPr>
            <p:spPr bwMode="auto">
              <a:xfrm>
                <a:off x="3861" y="2325"/>
                <a:ext cx="247" cy="207"/>
              </a:xfrm>
              <a:custGeom>
                <a:avLst/>
                <a:gdLst/>
                <a:ahLst/>
                <a:cxnLst>
                  <a:cxn ang="0">
                    <a:pos x="228" y="17"/>
                  </a:cxn>
                  <a:cxn ang="0">
                    <a:pos x="238" y="17"/>
                  </a:cxn>
                  <a:cxn ang="0">
                    <a:pos x="241" y="27"/>
                  </a:cxn>
                  <a:cxn ang="0">
                    <a:pos x="234" y="38"/>
                  </a:cxn>
                  <a:cxn ang="0">
                    <a:pos x="204" y="43"/>
                  </a:cxn>
                  <a:cxn ang="0">
                    <a:pos x="190" y="51"/>
                  </a:cxn>
                  <a:cxn ang="0">
                    <a:pos x="194" y="74"/>
                  </a:cxn>
                  <a:cxn ang="0">
                    <a:pos x="192" y="96"/>
                  </a:cxn>
                  <a:cxn ang="0">
                    <a:pos x="174" y="102"/>
                  </a:cxn>
                  <a:cxn ang="0">
                    <a:pos x="174" y="109"/>
                  </a:cxn>
                  <a:cxn ang="0">
                    <a:pos x="170" y="121"/>
                  </a:cxn>
                  <a:cxn ang="0">
                    <a:pos x="164" y="132"/>
                  </a:cxn>
                  <a:cxn ang="0">
                    <a:pos x="162" y="141"/>
                  </a:cxn>
                  <a:cxn ang="0">
                    <a:pos x="157" y="149"/>
                  </a:cxn>
                  <a:cxn ang="0">
                    <a:pos x="149" y="151"/>
                  </a:cxn>
                  <a:cxn ang="0">
                    <a:pos x="143" y="153"/>
                  </a:cxn>
                  <a:cxn ang="0">
                    <a:pos x="134" y="162"/>
                  </a:cxn>
                  <a:cxn ang="0">
                    <a:pos x="123" y="166"/>
                  </a:cxn>
                  <a:cxn ang="0">
                    <a:pos x="115" y="172"/>
                  </a:cxn>
                  <a:cxn ang="0">
                    <a:pos x="115" y="185"/>
                  </a:cxn>
                  <a:cxn ang="0">
                    <a:pos x="115" y="198"/>
                  </a:cxn>
                  <a:cxn ang="0">
                    <a:pos x="94" y="202"/>
                  </a:cxn>
                  <a:cxn ang="0">
                    <a:pos x="78" y="204"/>
                  </a:cxn>
                  <a:cxn ang="0">
                    <a:pos x="44" y="207"/>
                  </a:cxn>
                  <a:cxn ang="0">
                    <a:pos x="34" y="177"/>
                  </a:cxn>
                  <a:cxn ang="0">
                    <a:pos x="30" y="158"/>
                  </a:cxn>
                  <a:cxn ang="0">
                    <a:pos x="10" y="149"/>
                  </a:cxn>
                  <a:cxn ang="0">
                    <a:pos x="4" y="128"/>
                  </a:cxn>
                  <a:cxn ang="0">
                    <a:pos x="8" y="115"/>
                  </a:cxn>
                  <a:cxn ang="0">
                    <a:pos x="0" y="104"/>
                  </a:cxn>
                  <a:cxn ang="0">
                    <a:pos x="0" y="96"/>
                  </a:cxn>
                  <a:cxn ang="0">
                    <a:pos x="8" y="87"/>
                  </a:cxn>
                  <a:cxn ang="0">
                    <a:pos x="6" y="81"/>
                  </a:cxn>
                  <a:cxn ang="0">
                    <a:pos x="8" y="70"/>
                  </a:cxn>
                  <a:cxn ang="0">
                    <a:pos x="14" y="70"/>
                  </a:cxn>
                  <a:cxn ang="0">
                    <a:pos x="23" y="70"/>
                  </a:cxn>
                  <a:cxn ang="0">
                    <a:pos x="30" y="77"/>
                  </a:cxn>
                  <a:cxn ang="0">
                    <a:pos x="38" y="76"/>
                  </a:cxn>
                  <a:cxn ang="0">
                    <a:pos x="44" y="68"/>
                  </a:cxn>
                  <a:cxn ang="0">
                    <a:pos x="57" y="60"/>
                  </a:cxn>
                  <a:cxn ang="0">
                    <a:pos x="64" y="57"/>
                  </a:cxn>
                  <a:cxn ang="0">
                    <a:pos x="70" y="42"/>
                  </a:cxn>
                  <a:cxn ang="0">
                    <a:pos x="68" y="34"/>
                  </a:cxn>
                  <a:cxn ang="0">
                    <a:pos x="76" y="30"/>
                  </a:cxn>
                  <a:cxn ang="0">
                    <a:pos x="89" y="27"/>
                  </a:cxn>
                  <a:cxn ang="0">
                    <a:pos x="98" y="27"/>
                  </a:cxn>
                  <a:cxn ang="0">
                    <a:pos x="110" y="30"/>
                  </a:cxn>
                  <a:cxn ang="0">
                    <a:pos x="119" y="28"/>
                  </a:cxn>
                  <a:cxn ang="0">
                    <a:pos x="132" y="34"/>
                  </a:cxn>
                  <a:cxn ang="0">
                    <a:pos x="140" y="28"/>
                  </a:cxn>
                  <a:cxn ang="0">
                    <a:pos x="145" y="30"/>
                  </a:cxn>
                  <a:cxn ang="0">
                    <a:pos x="151" y="27"/>
                  </a:cxn>
                  <a:cxn ang="0">
                    <a:pos x="157" y="21"/>
                  </a:cxn>
                  <a:cxn ang="0">
                    <a:pos x="162" y="21"/>
                  </a:cxn>
                  <a:cxn ang="0">
                    <a:pos x="164" y="11"/>
                  </a:cxn>
                  <a:cxn ang="0">
                    <a:pos x="170" y="0"/>
                  </a:cxn>
                  <a:cxn ang="0">
                    <a:pos x="181" y="4"/>
                  </a:cxn>
                  <a:cxn ang="0">
                    <a:pos x="181" y="13"/>
                  </a:cxn>
                  <a:cxn ang="0">
                    <a:pos x="187" y="21"/>
                  </a:cxn>
                  <a:cxn ang="0">
                    <a:pos x="190" y="38"/>
                  </a:cxn>
                  <a:cxn ang="0">
                    <a:pos x="198" y="42"/>
                  </a:cxn>
                  <a:cxn ang="0">
                    <a:pos x="207" y="34"/>
                  </a:cxn>
                  <a:cxn ang="0">
                    <a:pos x="215" y="27"/>
                  </a:cxn>
                </a:cxnLst>
                <a:rect l="0" t="0" r="r" b="b"/>
                <a:pathLst>
                  <a:path w="247" h="207">
                    <a:moveTo>
                      <a:pt x="215" y="27"/>
                    </a:moveTo>
                    <a:lnTo>
                      <a:pt x="222" y="21"/>
                    </a:lnTo>
                    <a:lnTo>
                      <a:pt x="228" y="17"/>
                    </a:lnTo>
                    <a:lnTo>
                      <a:pt x="228" y="23"/>
                    </a:lnTo>
                    <a:lnTo>
                      <a:pt x="238" y="21"/>
                    </a:lnTo>
                    <a:lnTo>
                      <a:pt x="238" y="17"/>
                    </a:lnTo>
                    <a:lnTo>
                      <a:pt x="247" y="17"/>
                    </a:lnTo>
                    <a:lnTo>
                      <a:pt x="247" y="21"/>
                    </a:lnTo>
                    <a:lnTo>
                      <a:pt x="241" y="27"/>
                    </a:lnTo>
                    <a:lnTo>
                      <a:pt x="247" y="27"/>
                    </a:lnTo>
                    <a:lnTo>
                      <a:pt x="239" y="34"/>
                    </a:lnTo>
                    <a:lnTo>
                      <a:pt x="234" y="38"/>
                    </a:lnTo>
                    <a:lnTo>
                      <a:pt x="213" y="42"/>
                    </a:lnTo>
                    <a:lnTo>
                      <a:pt x="209" y="40"/>
                    </a:lnTo>
                    <a:lnTo>
                      <a:pt x="204" y="43"/>
                    </a:lnTo>
                    <a:lnTo>
                      <a:pt x="198" y="47"/>
                    </a:lnTo>
                    <a:lnTo>
                      <a:pt x="194" y="47"/>
                    </a:lnTo>
                    <a:lnTo>
                      <a:pt x="190" y="51"/>
                    </a:lnTo>
                    <a:lnTo>
                      <a:pt x="187" y="53"/>
                    </a:lnTo>
                    <a:lnTo>
                      <a:pt x="194" y="66"/>
                    </a:lnTo>
                    <a:lnTo>
                      <a:pt x="194" y="74"/>
                    </a:lnTo>
                    <a:lnTo>
                      <a:pt x="187" y="87"/>
                    </a:lnTo>
                    <a:lnTo>
                      <a:pt x="192" y="91"/>
                    </a:lnTo>
                    <a:lnTo>
                      <a:pt x="192" y="96"/>
                    </a:lnTo>
                    <a:lnTo>
                      <a:pt x="187" y="102"/>
                    </a:lnTo>
                    <a:lnTo>
                      <a:pt x="179" y="102"/>
                    </a:lnTo>
                    <a:lnTo>
                      <a:pt x="174" y="102"/>
                    </a:lnTo>
                    <a:lnTo>
                      <a:pt x="168" y="104"/>
                    </a:lnTo>
                    <a:lnTo>
                      <a:pt x="170" y="108"/>
                    </a:lnTo>
                    <a:lnTo>
                      <a:pt x="174" y="109"/>
                    </a:lnTo>
                    <a:lnTo>
                      <a:pt x="177" y="115"/>
                    </a:lnTo>
                    <a:lnTo>
                      <a:pt x="177" y="119"/>
                    </a:lnTo>
                    <a:lnTo>
                      <a:pt x="170" y="121"/>
                    </a:lnTo>
                    <a:lnTo>
                      <a:pt x="168" y="123"/>
                    </a:lnTo>
                    <a:lnTo>
                      <a:pt x="164" y="123"/>
                    </a:lnTo>
                    <a:lnTo>
                      <a:pt x="164" y="132"/>
                    </a:lnTo>
                    <a:lnTo>
                      <a:pt x="164" y="134"/>
                    </a:lnTo>
                    <a:lnTo>
                      <a:pt x="164" y="138"/>
                    </a:lnTo>
                    <a:lnTo>
                      <a:pt x="162" y="141"/>
                    </a:lnTo>
                    <a:lnTo>
                      <a:pt x="164" y="147"/>
                    </a:lnTo>
                    <a:lnTo>
                      <a:pt x="160" y="155"/>
                    </a:lnTo>
                    <a:lnTo>
                      <a:pt x="157" y="149"/>
                    </a:lnTo>
                    <a:lnTo>
                      <a:pt x="155" y="149"/>
                    </a:lnTo>
                    <a:lnTo>
                      <a:pt x="155" y="151"/>
                    </a:lnTo>
                    <a:lnTo>
                      <a:pt x="149" y="151"/>
                    </a:lnTo>
                    <a:lnTo>
                      <a:pt x="147" y="151"/>
                    </a:lnTo>
                    <a:lnTo>
                      <a:pt x="143" y="151"/>
                    </a:lnTo>
                    <a:lnTo>
                      <a:pt x="143" y="153"/>
                    </a:lnTo>
                    <a:lnTo>
                      <a:pt x="134" y="158"/>
                    </a:lnTo>
                    <a:lnTo>
                      <a:pt x="138" y="158"/>
                    </a:lnTo>
                    <a:lnTo>
                      <a:pt x="134" y="162"/>
                    </a:lnTo>
                    <a:lnTo>
                      <a:pt x="128" y="166"/>
                    </a:lnTo>
                    <a:lnTo>
                      <a:pt x="126" y="164"/>
                    </a:lnTo>
                    <a:lnTo>
                      <a:pt x="123" y="166"/>
                    </a:lnTo>
                    <a:lnTo>
                      <a:pt x="121" y="168"/>
                    </a:lnTo>
                    <a:lnTo>
                      <a:pt x="119" y="172"/>
                    </a:lnTo>
                    <a:lnTo>
                      <a:pt x="115" y="172"/>
                    </a:lnTo>
                    <a:lnTo>
                      <a:pt x="113" y="173"/>
                    </a:lnTo>
                    <a:lnTo>
                      <a:pt x="113" y="179"/>
                    </a:lnTo>
                    <a:lnTo>
                      <a:pt x="115" y="185"/>
                    </a:lnTo>
                    <a:lnTo>
                      <a:pt x="115" y="190"/>
                    </a:lnTo>
                    <a:lnTo>
                      <a:pt x="117" y="194"/>
                    </a:lnTo>
                    <a:lnTo>
                      <a:pt x="115" y="198"/>
                    </a:lnTo>
                    <a:lnTo>
                      <a:pt x="108" y="198"/>
                    </a:lnTo>
                    <a:lnTo>
                      <a:pt x="100" y="198"/>
                    </a:lnTo>
                    <a:lnTo>
                      <a:pt x="94" y="202"/>
                    </a:lnTo>
                    <a:lnTo>
                      <a:pt x="87" y="202"/>
                    </a:lnTo>
                    <a:lnTo>
                      <a:pt x="79" y="204"/>
                    </a:lnTo>
                    <a:lnTo>
                      <a:pt x="78" y="204"/>
                    </a:lnTo>
                    <a:lnTo>
                      <a:pt x="70" y="204"/>
                    </a:lnTo>
                    <a:lnTo>
                      <a:pt x="64" y="207"/>
                    </a:lnTo>
                    <a:lnTo>
                      <a:pt x="44" y="207"/>
                    </a:lnTo>
                    <a:lnTo>
                      <a:pt x="17" y="198"/>
                    </a:lnTo>
                    <a:lnTo>
                      <a:pt x="32" y="179"/>
                    </a:lnTo>
                    <a:lnTo>
                      <a:pt x="34" y="177"/>
                    </a:lnTo>
                    <a:lnTo>
                      <a:pt x="32" y="172"/>
                    </a:lnTo>
                    <a:lnTo>
                      <a:pt x="32" y="166"/>
                    </a:lnTo>
                    <a:lnTo>
                      <a:pt x="30" y="158"/>
                    </a:lnTo>
                    <a:lnTo>
                      <a:pt x="14" y="158"/>
                    </a:lnTo>
                    <a:lnTo>
                      <a:pt x="14" y="153"/>
                    </a:lnTo>
                    <a:lnTo>
                      <a:pt x="10" y="149"/>
                    </a:lnTo>
                    <a:lnTo>
                      <a:pt x="14" y="145"/>
                    </a:lnTo>
                    <a:lnTo>
                      <a:pt x="8" y="136"/>
                    </a:lnTo>
                    <a:lnTo>
                      <a:pt x="4" y="128"/>
                    </a:lnTo>
                    <a:lnTo>
                      <a:pt x="4" y="123"/>
                    </a:lnTo>
                    <a:lnTo>
                      <a:pt x="10" y="115"/>
                    </a:lnTo>
                    <a:lnTo>
                      <a:pt x="8" y="115"/>
                    </a:lnTo>
                    <a:lnTo>
                      <a:pt x="4" y="113"/>
                    </a:lnTo>
                    <a:lnTo>
                      <a:pt x="4" y="109"/>
                    </a:lnTo>
                    <a:lnTo>
                      <a:pt x="0" y="104"/>
                    </a:lnTo>
                    <a:lnTo>
                      <a:pt x="0" y="102"/>
                    </a:lnTo>
                    <a:lnTo>
                      <a:pt x="4" y="96"/>
                    </a:lnTo>
                    <a:lnTo>
                      <a:pt x="0" y="96"/>
                    </a:lnTo>
                    <a:lnTo>
                      <a:pt x="0" y="92"/>
                    </a:lnTo>
                    <a:lnTo>
                      <a:pt x="4" y="92"/>
                    </a:lnTo>
                    <a:lnTo>
                      <a:pt x="8" y="87"/>
                    </a:lnTo>
                    <a:lnTo>
                      <a:pt x="8" y="87"/>
                    </a:lnTo>
                    <a:lnTo>
                      <a:pt x="8" y="83"/>
                    </a:lnTo>
                    <a:lnTo>
                      <a:pt x="6" y="81"/>
                    </a:lnTo>
                    <a:lnTo>
                      <a:pt x="8" y="79"/>
                    </a:lnTo>
                    <a:lnTo>
                      <a:pt x="6" y="76"/>
                    </a:lnTo>
                    <a:lnTo>
                      <a:pt x="8" y="70"/>
                    </a:lnTo>
                    <a:lnTo>
                      <a:pt x="6" y="70"/>
                    </a:lnTo>
                    <a:lnTo>
                      <a:pt x="8" y="70"/>
                    </a:lnTo>
                    <a:lnTo>
                      <a:pt x="14" y="70"/>
                    </a:lnTo>
                    <a:lnTo>
                      <a:pt x="15" y="74"/>
                    </a:lnTo>
                    <a:lnTo>
                      <a:pt x="19" y="74"/>
                    </a:lnTo>
                    <a:lnTo>
                      <a:pt x="23" y="70"/>
                    </a:lnTo>
                    <a:lnTo>
                      <a:pt x="25" y="70"/>
                    </a:lnTo>
                    <a:lnTo>
                      <a:pt x="30" y="74"/>
                    </a:lnTo>
                    <a:lnTo>
                      <a:pt x="30" y="77"/>
                    </a:lnTo>
                    <a:lnTo>
                      <a:pt x="32" y="79"/>
                    </a:lnTo>
                    <a:lnTo>
                      <a:pt x="34" y="76"/>
                    </a:lnTo>
                    <a:lnTo>
                      <a:pt x="38" y="76"/>
                    </a:lnTo>
                    <a:lnTo>
                      <a:pt x="44" y="72"/>
                    </a:lnTo>
                    <a:lnTo>
                      <a:pt x="44" y="70"/>
                    </a:lnTo>
                    <a:lnTo>
                      <a:pt x="44" y="68"/>
                    </a:lnTo>
                    <a:lnTo>
                      <a:pt x="44" y="64"/>
                    </a:lnTo>
                    <a:lnTo>
                      <a:pt x="49" y="60"/>
                    </a:lnTo>
                    <a:lnTo>
                      <a:pt x="57" y="60"/>
                    </a:lnTo>
                    <a:lnTo>
                      <a:pt x="59" y="59"/>
                    </a:lnTo>
                    <a:lnTo>
                      <a:pt x="61" y="57"/>
                    </a:lnTo>
                    <a:lnTo>
                      <a:pt x="64" y="57"/>
                    </a:lnTo>
                    <a:lnTo>
                      <a:pt x="64" y="51"/>
                    </a:lnTo>
                    <a:lnTo>
                      <a:pt x="64" y="47"/>
                    </a:lnTo>
                    <a:lnTo>
                      <a:pt x="70" y="42"/>
                    </a:lnTo>
                    <a:lnTo>
                      <a:pt x="70" y="38"/>
                    </a:lnTo>
                    <a:lnTo>
                      <a:pt x="68" y="36"/>
                    </a:lnTo>
                    <a:lnTo>
                      <a:pt x="68" y="34"/>
                    </a:lnTo>
                    <a:lnTo>
                      <a:pt x="70" y="32"/>
                    </a:lnTo>
                    <a:lnTo>
                      <a:pt x="70" y="30"/>
                    </a:lnTo>
                    <a:lnTo>
                      <a:pt x="76" y="30"/>
                    </a:lnTo>
                    <a:lnTo>
                      <a:pt x="78" y="30"/>
                    </a:lnTo>
                    <a:lnTo>
                      <a:pt x="83" y="27"/>
                    </a:lnTo>
                    <a:lnTo>
                      <a:pt x="89" y="27"/>
                    </a:lnTo>
                    <a:lnTo>
                      <a:pt x="93" y="27"/>
                    </a:lnTo>
                    <a:lnTo>
                      <a:pt x="94" y="27"/>
                    </a:lnTo>
                    <a:lnTo>
                      <a:pt x="98" y="27"/>
                    </a:lnTo>
                    <a:lnTo>
                      <a:pt x="104" y="27"/>
                    </a:lnTo>
                    <a:lnTo>
                      <a:pt x="108" y="27"/>
                    </a:lnTo>
                    <a:lnTo>
                      <a:pt x="110" y="30"/>
                    </a:lnTo>
                    <a:lnTo>
                      <a:pt x="111" y="30"/>
                    </a:lnTo>
                    <a:lnTo>
                      <a:pt x="115" y="28"/>
                    </a:lnTo>
                    <a:lnTo>
                      <a:pt x="119" y="28"/>
                    </a:lnTo>
                    <a:lnTo>
                      <a:pt x="123" y="34"/>
                    </a:lnTo>
                    <a:lnTo>
                      <a:pt x="126" y="34"/>
                    </a:lnTo>
                    <a:lnTo>
                      <a:pt x="132" y="34"/>
                    </a:lnTo>
                    <a:lnTo>
                      <a:pt x="134" y="30"/>
                    </a:lnTo>
                    <a:lnTo>
                      <a:pt x="138" y="28"/>
                    </a:lnTo>
                    <a:lnTo>
                      <a:pt x="140" y="28"/>
                    </a:lnTo>
                    <a:lnTo>
                      <a:pt x="143" y="27"/>
                    </a:lnTo>
                    <a:lnTo>
                      <a:pt x="143" y="27"/>
                    </a:lnTo>
                    <a:lnTo>
                      <a:pt x="145" y="30"/>
                    </a:lnTo>
                    <a:lnTo>
                      <a:pt x="153" y="30"/>
                    </a:lnTo>
                    <a:lnTo>
                      <a:pt x="153" y="27"/>
                    </a:lnTo>
                    <a:lnTo>
                      <a:pt x="151" y="27"/>
                    </a:lnTo>
                    <a:lnTo>
                      <a:pt x="151" y="23"/>
                    </a:lnTo>
                    <a:lnTo>
                      <a:pt x="155" y="21"/>
                    </a:lnTo>
                    <a:lnTo>
                      <a:pt x="157" y="21"/>
                    </a:lnTo>
                    <a:lnTo>
                      <a:pt x="158" y="21"/>
                    </a:lnTo>
                    <a:lnTo>
                      <a:pt x="158" y="21"/>
                    </a:lnTo>
                    <a:lnTo>
                      <a:pt x="162" y="21"/>
                    </a:lnTo>
                    <a:lnTo>
                      <a:pt x="164" y="17"/>
                    </a:lnTo>
                    <a:lnTo>
                      <a:pt x="164" y="11"/>
                    </a:lnTo>
                    <a:lnTo>
                      <a:pt x="164" y="11"/>
                    </a:lnTo>
                    <a:lnTo>
                      <a:pt x="168" y="8"/>
                    </a:lnTo>
                    <a:lnTo>
                      <a:pt x="168" y="2"/>
                    </a:lnTo>
                    <a:lnTo>
                      <a:pt x="170" y="0"/>
                    </a:lnTo>
                    <a:lnTo>
                      <a:pt x="174" y="0"/>
                    </a:lnTo>
                    <a:lnTo>
                      <a:pt x="177" y="2"/>
                    </a:lnTo>
                    <a:lnTo>
                      <a:pt x="181" y="4"/>
                    </a:lnTo>
                    <a:lnTo>
                      <a:pt x="181" y="6"/>
                    </a:lnTo>
                    <a:lnTo>
                      <a:pt x="181" y="11"/>
                    </a:lnTo>
                    <a:lnTo>
                      <a:pt x="181" y="13"/>
                    </a:lnTo>
                    <a:lnTo>
                      <a:pt x="185" y="13"/>
                    </a:lnTo>
                    <a:lnTo>
                      <a:pt x="187" y="17"/>
                    </a:lnTo>
                    <a:lnTo>
                      <a:pt x="187" y="21"/>
                    </a:lnTo>
                    <a:lnTo>
                      <a:pt x="187" y="27"/>
                    </a:lnTo>
                    <a:lnTo>
                      <a:pt x="187" y="34"/>
                    </a:lnTo>
                    <a:lnTo>
                      <a:pt x="190" y="38"/>
                    </a:lnTo>
                    <a:lnTo>
                      <a:pt x="190" y="40"/>
                    </a:lnTo>
                    <a:lnTo>
                      <a:pt x="194" y="42"/>
                    </a:lnTo>
                    <a:lnTo>
                      <a:pt x="198" y="42"/>
                    </a:lnTo>
                    <a:lnTo>
                      <a:pt x="202" y="38"/>
                    </a:lnTo>
                    <a:lnTo>
                      <a:pt x="202" y="36"/>
                    </a:lnTo>
                    <a:lnTo>
                      <a:pt x="207" y="34"/>
                    </a:lnTo>
                    <a:lnTo>
                      <a:pt x="211" y="30"/>
                    </a:lnTo>
                    <a:lnTo>
                      <a:pt x="211" y="27"/>
                    </a:lnTo>
                    <a:lnTo>
                      <a:pt x="215" y="27"/>
                    </a:lnTo>
                    <a:lnTo>
                      <a:pt x="215" y="27"/>
                    </a:lnTo>
                    <a:lnTo>
                      <a:pt x="215" y="2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3" name="Freeform 55"/>
              <p:cNvSpPr>
                <a:spLocks noEditPoints="1"/>
              </p:cNvSpPr>
              <p:nvPr/>
            </p:nvSpPr>
            <p:spPr bwMode="auto">
              <a:xfrm>
                <a:off x="3560" y="2261"/>
                <a:ext cx="100" cy="85"/>
              </a:xfrm>
              <a:custGeom>
                <a:avLst/>
                <a:gdLst/>
                <a:ahLst/>
                <a:cxnLst>
                  <a:cxn ang="0">
                    <a:pos x="2" y="15"/>
                  </a:cxn>
                  <a:cxn ang="0">
                    <a:pos x="19" y="19"/>
                  </a:cxn>
                  <a:cxn ang="0">
                    <a:pos x="30" y="23"/>
                  </a:cxn>
                  <a:cxn ang="0">
                    <a:pos x="30" y="11"/>
                  </a:cxn>
                  <a:cxn ang="0">
                    <a:pos x="27" y="0"/>
                  </a:cxn>
                  <a:cxn ang="0">
                    <a:pos x="40" y="10"/>
                  </a:cxn>
                  <a:cxn ang="0">
                    <a:pos x="51" y="13"/>
                  </a:cxn>
                  <a:cxn ang="0">
                    <a:pos x="59" y="10"/>
                  </a:cxn>
                  <a:cxn ang="0">
                    <a:pos x="68" y="4"/>
                  </a:cxn>
                  <a:cxn ang="0">
                    <a:pos x="74" y="13"/>
                  </a:cxn>
                  <a:cxn ang="0">
                    <a:pos x="83" y="25"/>
                  </a:cxn>
                  <a:cxn ang="0">
                    <a:pos x="87" y="30"/>
                  </a:cxn>
                  <a:cxn ang="0">
                    <a:pos x="96" y="32"/>
                  </a:cxn>
                  <a:cxn ang="0">
                    <a:pos x="96" y="36"/>
                  </a:cxn>
                  <a:cxn ang="0">
                    <a:pos x="89" y="36"/>
                  </a:cxn>
                  <a:cxn ang="0">
                    <a:pos x="83" y="49"/>
                  </a:cxn>
                  <a:cxn ang="0">
                    <a:pos x="83" y="55"/>
                  </a:cxn>
                  <a:cxn ang="0">
                    <a:pos x="83" y="59"/>
                  </a:cxn>
                  <a:cxn ang="0">
                    <a:pos x="83" y="64"/>
                  </a:cxn>
                  <a:cxn ang="0">
                    <a:pos x="81" y="74"/>
                  </a:cxn>
                  <a:cxn ang="0">
                    <a:pos x="81" y="66"/>
                  </a:cxn>
                  <a:cxn ang="0">
                    <a:pos x="77" y="66"/>
                  </a:cxn>
                  <a:cxn ang="0">
                    <a:pos x="77" y="74"/>
                  </a:cxn>
                  <a:cxn ang="0">
                    <a:pos x="77" y="75"/>
                  </a:cxn>
                  <a:cxn ang="0">
                    <a:pos x="75" y="85"/>
                  </a:cxn>
                  <a:cxn ang="0">
                    <a:pos x="72" y="81"/>
                  </a:cxn>
                  <a:cxn ang="0">
                    <a:pos x="64" y="75"/>
                  </a:cxn>
                  <a:cxn ang="0">
                    <a:pos x="64" y="68"/>
                  </a:cxn>
                  <a:cxn ang="0">
                    <a:pos x="68" y="64"/>
                  </a:cxn>
                  <a:cxn ang="0">
                    <a:pos x="62" y="59"/>
                  </a:cxn>
                  <a:cxn ang="0">
                    <a:pos x="60" y="57"/>
                  </a:cxn>
                  <a:cxn ang="0">
                    <a:pos x="55" y="59"/>
                  </a:cxn>
                  <a:cxn ang="0">
                    <a:pos x="49" y="64"/>
                  </a:cxn>
                  <a:cxn ang="0">
                    <a:pos x="45" y="70"/>
                  </a:cxn>
                  <a:cxn ang="0">
                    <a:pos x="40" y="72"/>
                  </a:cxn>
                  <a:cxn ang="0">
                    <a:pos x="38" y="75"/>
                  </a:cxn>
                  <a:cxn ang="0">
                    <a:pos x="36" y="74"/>
                  </a:cxn>
                  <a:cxn ang="0">
                    <a:pos x="38" y="68"/>
                  </a:cxn>
                  <a:cxn ang="0">
                    <a:pos x="40" y="62"/>
                  </a:cxn>
                  <a:cxn ang="0">
                    <a:pos x="28" y="57"/>
                  </a:cxn>
                  <a:cxn ang="0">
                    <a:pos x="19" y="45"/>
                  </a:cxn>
                  <a:cxn ang="0">
                    <a:pos x="21" y="42"/>
                  </a:cxn>
                  <a:cxn ang="0">
                    <a:pos x="13" y="30"/>
                  </a:cxn>
                  <a:cxn ang="0">
                    <a:pos x="11" y="23"/>
                  </a:cxn>
                  <a:cxn ang="0">
                    <a:pos x="2" y="19"/>
                  </a:cxn>
                  <a:cxn ang="0">
                    <a:pos x="2" y="19"/>
                  </a:cxn>
                  <a:cxn ang="0">
                    <a:pos x="30" y="75"/>
                  </a:cxn>
                  <a:cxn ang="0">
                    <a:pos x="19" y="60"/>
                  </a:cxn>
                  <a:cxn ang="0">
                    <a:pos x="13" y="55"/>
                  </a:cxn>
                  <a:cxn ang="0">
                    <a:pos x="6" y="51"/>
                  </a:cxn>
                  <a:cxn ang="0">
                    <a:pos x="0" y="55"/>
                  </a:cxn>
                  <a:cxn ang="0">
                    <a:pos x="2" y="55"/>
                  </a:cxn>
                  <a:cxn ang="0">
                    <a:pos x="6" y="57"/>
                  </a:cxn>
                  <a:cxn ang="0">
                    <a:pos x="6" y="64"/>
                  </a:cxn>
                  <a:cxn ang="0">
                    <a:pos x="15" y="72"/>
                  </a:cxn>
                  <a:cxn ang="0">
                    <a:pos x="25" y="75"/>
                  </a:cxn>
                  <a:cxn ang="0">
                    <a:pos x="30" y="75"/>
                  </a:cxn>
                  <a:cxn ang="0">
                    <a:pos x="30" y="75"/>
                  </a:cxn>
                </a:cxnLst>
                <a:rect l="0" t="0" r="r" b="b"/>
                <a:pathLst>
                  <a:path w="100" h="85">
                    <a:moveTo>
                      <a:pt x="2" y="19"/>
                    </a:moveTo>
                    <a:lnTo>
                      <a:pt x="2" y="15"/>
                    </a:lnTo>
                    <a:lnTo>
                      <a:pt x="10" y="11"/>
                    </a:lnTo>
                    <a:lnTo>
                      <a:pt x="19" y="19"/>
                    </a:lnTo>
                    <a:lnTo>
                      <a:pt x="25" y="19"/>
                    </a:lnTo>
                    <a:lnTo>
                      <a:pt x="30" y="23"/>
                    </a:lnTo>
                    <a:lnTo>
                      <a:pt x="32" y="15"/>
                    </a:lnTo>
                    <a:lnTo>
                      <a:pt x="30" y="11"/>
                    </a:lnTo>
                    <a:lnTo>
                      <a:pt x="25" y="10"/>
                    </a:lnTo>
                    <a:lnTo>
                      <a:pt x="27" y="0"/>
                    </a:lnTo>
                    <a:lnTo>
                      <a:pt x="32" y="4"/>
                    </a:lnTo>
                    <a:lnTo>
                      <a:pt x="40" y="10"/>
                    </a:lnTo>
                    <a:lnTo>
                      <a:pt x="43" y="13"/>
                    </a:lnTo>
                    <a:lnTo>
                      <a:pt x="51" y="13"/>
                    </a:lnTo>
                    <a:lnTo>
                      <a:pt x="53" y="11"/>
                    </a:lnTo>
                    <a:lnTo>
                      <a:pt x="59" y="10"/>
                    </a:lnTo>
                    <a:lnTo>
                      <a:pt x="64" y="0"/>
                    </a:lnTo>
                    <a:lnTo>
                      <a:pt x="68" y="4"/>
                    </a:lnTo>
                    <a:lnTo>
                      <a:pt x="74" y="10"/>
                    </a:lnTo>
                    <a:lnTo>
                      <a:pt x="74" y="13"/>
                    </a:lnTo>
                    <a:lnTo>
                      <a:pt x="77" y="19"/>
                    </a:lnTo>
                    <a:lnTo>
                      <a:pt x="83" y="25"/>
                    </a:lnTo>
                    <a:lnTo>
                      <a:pt x="83" y="28"/>
                    </a:lnTo>
                    <a:lnTo>
                      <a:pt x="87" y="30"/>
                    </a:lnTo>
                    <a:lnTo>
                      <a:pt x="91" y="30"/>
                    </a:lnTo>
                    <a:lnTo>
                      <a:pt x="96" y="32"/>
                    </a:lnTo>
                    <a:lnTo>
                      <a:pt x="100" y="36"/>
                    </a:lnTo>
                    <a:lnTo>
                      <a:pt x="96" y="36"/>
                    </a:lnTo>
                    <a:lnTo>
                      <a:pt x="94" y="36"/>
                    </a:lnTo>
                    <a:lnTo>
                      <a:pt x="89" y="36"/>
                    </a:lnTo>
                    <a:lnTo>
                      <a:pt x="83" y="43"/>
                    </a:lnTo>
                    <a:lnTo>
                      <a:pt x="83" y="49"/>
                    </a:lnTo>
                    <a:lnTo>
                      <a:pt x="83" y="51"/>
                    </a:lnTo>
                    <a:lnTo>
                      <a:pt x="83" y="55"/>
                    </a:lnTo>
                    <a:lnTo>
                      <a:pt x="83" y="57"/>
                    </a:lnTo>
                    <a:lnTo>
                      <a:pt x="83" y="59"/>
                    </a:lnTo>
                    <a:lnTo>
                      <a:pt x="83" y="62"/>
                    </a:lnTo>
                    <a:lnTo>
                      <a:pt x="83" y="64"/>
                    </a:lnTo>
                    <a:lnTo>
                      <a:pt x="83" y="70"/>
                    </a:lnTo>
                    <a:lnTo>
                      <a:pt x="81" y="74"/>
                    </a:lnTo>
                    <a:lnTo>
                      <a:pt x="81" y="72"/>
                    </a:lnTo>
                    <a:lnTo>
                      <a:pt x="81" y="66"/>
                    </a:lnTo>
                    <a:lnTo>
                      <a:pt x="79" y="64"/>
                    </a:lnTo>
                    <a:lnTo>
                      <a:pt x="77" y="66"/>
                    </a:lnTo>
                    <a:lnTo>
                      <a:pt x="75" y="68"/>
                    </a:lnTo>
                    <a:lnTo>
                      <a:pt x="77" y="74"/>
                    </a:lnTo>
                    <a:lnTo>
                      <a:pt x="77" y="75"/>
                    </a:lnTo>
                    <a:lnTo>
                      <a:pt x="77" y="75"/>
                    </a:lnTo>
                    <a:lnTo>
                      <a:pt x="77" y="85"/>
                    </a:lnTo>
                    <a:lnTo>
                      <a:pt x="75" y="85"/>
                    </a:lnTo>
                    <a:lnTo>
                      <a:pt x="74" y="85"/>
                    </a:lnTo>
                    <a:lnTo>
                      <a:pt x="72" y="81"/>
                    </a:lnTo>
                    <a:lnTo>
                      <a:pt x="68" y="81"/>
                    </a:lnTo>
                    <a:lnTo>
                      <a:pt x="64" y="75"/>
                    </a:lnTo>
                    <a:lnTo>
                      <a:pt x="68" y="70"/>
                    </a:lnTo>
                    <a:lnTo>
                      <a:pt x="64" y="68"/>
                    </a:lnTo>
                    <a:lnTo>
                      <a:pt x="64" y="66"/>
                    </a:lnTo>
                    <a:lnTo>
                      <a:pt x="68" y="64"/>
                    </a:lnTo>
                    <a:lnTo>
                      <a:pt x="64" y="60"/>
                    </a:lnTo>
                    <a:lnTo>
                      <a:pt x="62" y="59"/>
                    </a:lnTo>
                    <a:lnTo>
                      <a:pt x="60" y="59"/>
                    </a:lnTo>
                    <a:lnTo>
                      <a:pt x="60" y="57"/>
                    </a:lnTo>
                    <a:lnTo>
                      <a:pt x="59" y="57"/>
                    </a:lnTo>
                    <a:lnTo>
                      <a:pt x="55" y="59"/>
                    </a:lnTo>
                    <a:lnTo>
                      <a:pt x="51" y="60"/>
                    </a:lnTo>
                    <a:lnTo>
                      <a:pt x="49" y="64"/>
                    </a:lnTo>
                    <a:lnTo>
                      <a:pt x="49" y="64"/>
                    </a:lnTo>
                    <a:lnTo>
                      <a:pt x="45" y="70"/>
                    </a:lnTo>
                    <a:lnTo>
                      <a:pt x="43" y="70"/>
                    </a:lnTo>
                    <a:lnTo>
                      <a:pt x="40" y="72"/>
                    </a:lnTo>
                    <a:lnTo>
                      <a:pt x="40" y="74"/>
                    </a:lnTo>
                    <a:lnTo>
                      <a:pt x="38" y="75"/>
                    </a:lnTo>
                    <a:lnTo>
                      <a:pt x="36" y="74"/>
                    </a:lnTo>
                    <a:lnTo>
                      <a:pt x="36" y="74"/>
                    </a:lnTo>
                    <a:lnTo>
                      <a:pt x="36" y="70"/>
                    </a:lnTo>
                    <a:lnTo>
                      <a:pt x="38" y="68"/>
                    </a:lnTo>
                    <a:lnTo>
                      <a:pt x="34" y="62"/>
                    </a:lnTo>
                    <a:lnTo>
                      <a:pt x="40" y="62"/>
                    </a:lnTo>
                    <a:lnTo>
                      <a:pt x="34" y="57"/>
                    </a:lnTo>
                    <a:lnTo>
                      <a:pt x="28" y="57"/>
                    </a:lnTo>
                    <a:lnTo>
                      <a:pt x="21" y="55"/>
                    </a:lnTo>
                    <a:lnTo>
                      <a:pt x="19" y="45"/>
                    </a:lnTo>
                    <a:lnTo>
                      <a:pt x="21" y="45"/>
                    </a:lnTo>
                    <a:lnTo>
                      <a:pt x="21" y="42"/>
                    </a:lnTo>
                    <a:lnTo>
                      <a:pt x="13" y="34"/>
                    </a:lnTo>
                    <a:lnTo>
                      <a:pt x="13" y="30"/>
                    </a:lnTo>
                    <a:lnTo>
                      <a:pt x="15" y="26"/>
                    </a:lnTo>
                    <a:lnTo>
                      <a:pt x="11" y="23"/>
                    </a:lnTo>
                    <a:lnTo>
                      <a:pt x="6" y="21"/>
                    </a:lnTo>
                    <a:lnTo>
                      <a:pt x="2" y="19"/>
                    </a:lnTo>
                    <a:lnTo>
                      <a:pt x="2" y="19"/>
                    </a:lnTo>
                    <a:lnTo>
                      <a:pt x="2" y="19"/>
                    </a:lnTo>
                    <a:lnTo>
                      <a:pt x="2" y="19"/>
                    </a:lnTo>
                    <a:close/>
                    <a:moveTo>
                      <a:pt x="30" y="75"/>
                    </a:moveTo>
                    <a:lnTo>
                      <a:pt x="25" y="60"/>
                    </a:lnTo>
                    <a:lnTo>
                      <a:pt x="19" y="60"/>
                    </a:lnTo>
                    <a:lnTo>
                      <a:pt x="15" y="55"/>
                    </a:lnTo>
                    <a:lnTo>
                      <a:pt x="13" y="55"/>
                    </a:lnTo>
                    <a:lnTo>
                      <a:pt x="10" y="55"/>
                    </a:lnTo>
                    <a:lnTo>
                      <a:pt x="6" y="51"/>
                    </a:lnTo>
                    <a:lnTo>
                      <a:pt x="2" y="55"/>
                    </a:lnTo>
                    <a:lnTo>
                      <a:pt x="0" y="55"/>
                    </a:lnTo>
                    <a:lnTo>
                      <a:pt x="2" y="55"/>
                    </a:lnTo>
                    <a:lnTo>
                      <a:pt x="2" y="55"/>
                    </a:lnTo>
                    <a:lnTo>
                      <a:pt x="6" y="57"/>
                    </a:lnTo>
                    <a:lnTo>
                      <a:pt x="6" y="57"/>
                    </a:lnTo>
                    <a:lnTo>
                      <a:pt x="10" y="60"/>
                    </a:lnTo>
                    <a:lnTo>
                      <a:pt x="6" y="64"/>
                    </a:lnTo>
                    <a:lnTo>
                      <a:pt x="15" y="68"/>
                    </a:lnTo>
                    <a:lnTo>
                      <a:pt x="15" y="72"/>
                    </a:lnTo>
                    <a:lnTo>
                      <a:pt x="21" y="74"/>
                    </a:lnTo>
                    <a:lnTo>
                      <a:pt x="25" y="75"/>
                    </a:lnTo>
                    <a:lnTo>
                      <a:pt x="30" y="75"/>
                    </a:lnTo>
                    <a:lnTo>
                      <a:pt x="30" y="75"/>
                    </a:lnTo>
                    <a:lnTo>
                      <a:pt x="30" y="75"/>
                    </a:lnTo>
                    <a:lnTo>
                      <a:pt x="30" y="7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4" name="Freeform 56"/>
              <p:cNvSpPr>
                <a:spLocks noEditPoints="1"/>
              </p:cNvSpPr>
              <p:nvPr/>
            </p:nvSpPr>
            <p:spPr bwMode="auto">
              <a:xfrm>
                <a:off x="3560" y="2261"/>
                <a:ext cx="100" cy="85"/>
              </a:xfrm>
              <a:custGeom>
                <a:avLst/>
                <a:gdLst/>
                <a:ahLst/>
                <a:cxnLst>
                  <a:cxn ang="0">
                    <a:pos x="2" y="15"/>
                  </a:cxn>
                  <a:cxn ang="0">
                    <a:pos x="19" y="19"/>
                  </a:cxn>
                  <a:cxn ang="0">
                    <a:pos x="30" y="23"/>
                  </a:cxn>
                  <a:cxn ang="0">
                    <a:pos x="30" y="11"/>
                  </a:cxn>
                  <a:cxn ang="0">
                    <a:pos x="27" y="0"/>
                  </a:cxn>
                  <a:cxn ang="0">
                    <a:pos x="40" y="10"/>
                  </a:cxn>
                  <a:cxn ang="0">
                    <a:pos x="51" y="13"/>
                  </a:cxn>
                  <a:cxn ang="0">
                    <a:pos x="59" y="10"/>
                  </a:cxn>
                  <a:cxn ang="0">
                    <a:pos x="68" y="4"/>
                  </a:cxn>
                  <a:cxn ang="0">
                    <a:pos x="74" y="13"/>
                  </a:cxn>
                  <a:cxn ang="0">
                    <a:pos x="83" y="25"/>
                  </a:cxn>
                  <a:cxn ang="0">
                    <a:pos x="87" y="30"/>
                  </a:cxn>
                  <a:cxn ang="0">
                    <a:pos x="96" y="32"/>
                  </a:cxn>
                  <a:cxn ang="0">
                    <a:pos x="96" y="36"/>
                  </a:cxn>
                  <a:cxn ang="0">
                    <a:pos x="89" y="36"/>
                  </a:cxn>
                  <a:cxn ang="0">
                    <a:pos x="83" y="49"/>
                  </a:cxn>
                  <a:cxn ang="0">
                    <a:pos x="83" y="55"/>
                  </a:cxn>
                  <a:cxn ang="0">
                    <a:pos x="83" y="59"/>
                  </a:cxn>
                  <a:cxn ang="0">
                    <a:pos x="83" y="64"/>
                  </a:cxn>
                  <a:cxn ang="0">
                    <a:pos x="81" y="74"/>
                  </a:cxn>
                  <a:cxn ang="0">
                    <a:pos x="81" y="66"/>
                  </a:cxn>
                  <a:cxn ang="0">
                    <a:pos x="77" y="66"/>
                  </a:cxn>
                  <a:cxn ang="0">
                    <a:pos x="77" y="74"/>
                  </a:cxn>
                  <a:cxn ang="0">
                    <a:pos x="77" y="75"/>
                  </a:cxn>
                  <a:cxn ang="0">
                    <a:pos x="75" y="85"/>
                  </a:cxn>
                  <a:cxn ang="0">
                    <a:pos x="72" y="81"/>
                  </a:cxn>
                  <a:cxn ang="0">
                    <a:pos x="64" y="75"/>
                  </a:cxn>
                  <a:cxn ang="0">
                    <a:pos x="64" y="68"/>
                  </a:cxn>
                  <a:cxn ang="0">
                    <a:pos x="68" y="64"/>
                  </a:cxn>
                  <a:cxn ang="0">
                    <a:pos x="62" y="59"/>
                  </a:cxn>
                  <a:cxn ang="0">
                    <a:pos x="60" y="57"/>
                  </a:cxn>
                  <a:cxn ang="0">
                    <a:pos x="55" y="59"/>
                  </a:cxn>
                  <a:cxn ang="0">
                    <a:pos x="49" y="64"/>
                  </a:cxn>
                  <a:cxn ang="0">
                    <a:pos x="45" y="70"/>
                  </a:cxn>
                  <a:cxn ang="0">
                    <a:pos x="40" y="72"/>
                  </a:cxn>
                  <a:cxn ang="0">
                    <a:pos x="38" y="75"/>
                  </a:cxn>
                  <a:cxn ang="0">
                    <a:pos x="36" y="74"/>
                  </a:cxn>
                  <a:cxn ang="0">
                    <a:pos x="38" y="68"/>
                  </a:cxn>
                  <a:cxn ang="0">
                    <a:pos x="40" y="62"/>
                  </a:cxn>
                  <a:cxn ang="0">
                    <a:pos x="28" y="57"/>
                  </a:cxn>
                  <a:cxn ang="0">
                    <a:pos x="19" y="45"/>
                  </a:cxn>
                  <a:cxn ang="0">
                    <a:pos x="21" y="42"/>
                  </a:cxn>
                  <a:cxn ang="0">
                    <a:pos x="13" y="30"/>
                  </a:cxn>
                  <a:cxn ang="0">
                    <a:pos x="11" y="23"/>
                  </a:cxn>
                  <a:cxn ang="0">
                    <a:pos x="2" y="19"/>
                  </a:cxn>
                  <a:cxn ang="0">
                    <a:pos x="2" y="19"/>
                  </a:cxn>
                  <a:cxn ang="0">
                    <a:pos x="30" y="75"/>
                  </a:cxn>
                  <a:cxn ang="0">
                    <a:pos x="19" y="60"/>
                  </a:cxn>
                  <a:cxn ang="0">
                    <a:pos x="13" y="55"/>
                  </a:cxn>
                  <a:cxn ang="0">
                    <a:pos x="6" y="51"/>
                  </a:cxn>
                  <a:cxn ang="0">
                    <a:pos x="0" y="55"/>
                  </a:cxn>
                  <a:cxn ang="0">
                    <a:pos x="2" y="55"/>
                  </a:cxn>
                  <a:cxn ang="0">
                    <a:pos x="6" y="57"/>
                  </a:cxn>
                  <a:cxn ang="0">
                    <a:pos x="6" y="64"/>
                  </a:cxn>
                  <a:cxn ang="0">
                    <a:pos x="15" y="72"/>
                  </a:cxn>
                  <a:cxn ang="0">
                    <a:pos x="25" y="75"/>
                  </a:cxn>
                  <a:cxn ang="0">
                    <a:pos x="30" y="75"/>
                  </a:cxn>
                  <a:cxn ang="0">
                    <a:pos x="30" y="75"/>
                  </a:cxn>
                </a:cxnLst>
                <a:rect l="0" t="0" r="r" b="b"/>
                <a:pathLst>
                  <a:path w="100" h="85">
                    <a:moveTo>
                      <a:pt x="2" y="19"/>
                    </a:moveTo>
                    <a:lnTo>
                      <a:pt x="2" y="15"/>
                    </a:lnTo>
                    <a:lnTo>
                      <a:pt x="10" y="11"/>
                    </a:lnTo>
                    <a:lnTo>
                      <a:pt x="19" y="19"/>
                    </a:lnTo>
                    <a:lnTo>
                      <a:pt x="25" y="19"/>
                    </a:lnTo>
                    <a:lnTo>
                      <a:pt x="30" y="23"/>
                    </a:lnTo>
                    <a:lnTo>
                      <a:pt x="32" y="15"/>
                    </a:lnTo>
                    <a:lnTo>
                      <a:pt x="30" y="11"/>
                    </a:lnTo>
                    <a:lnTo>
                      <a:pt x="25" y="10"/>
                    </a:lnTo>
                    <a:lnTo>
                      <a:pt x="27" y="0"/>
                    </a:lnTo>
                    <a:lnTo>
                      <a:pt x="32" y="4"/>
                    </a:lnTo>
                    <a:lnTo>
                      <a:pt x="40" y="10"/>
                    </a:lnTo>
                    <a:lnTo>
                      <a:pt x="43" y="13"/>
                    </a:lnTo>
                    <a:lnTo>
                      <a:pt x="51" y="13"/>
                    </a:lnTo>
                    <a:lnTo>
                      <a:pt x="53" y="11"/>
                    </a:lnTo>
                    <a:lnTo>
                      <a:pt x="59" y="10"/>
                    </a:lnTo>
                    <a:lnTo>
                      <a:pt x="64" y="0"/>
                    </a:lnTo>
                    <a:lnTo>
                      <a:pt x="68" y="4"/>
                    </a:lnTo>
                    <a:lnTo>
                      <a:pt x="74" y="10"/>
                    </a:lnTo>
                    <a:lnTo>
                      <a:pt x="74" y="13"/>
                    </a:lnTo>
                    <a:lnTo>
                      <a:pt x="77" y="19"/>
                    </a:lnTo>
                    <a:lnTo>
                      <a:pt x="83" y="25"/>
                    </a:lnTo>
                    <a:lnTo>
                      <a:pt x="83" y="28"/>
                    </a:lnTo>
                    <a:lnTo>
                      <a:pt x="87" y="30"/>
                    </a:lnTo>
                    <a:lnTo>
                      <a:pt x="91" y="30"/>
                    </a:lnTo>
                    <a:lnTo>
                      <a:pt x="96" y="32"/>
                    </a:lnTo>
                    <a:lnTo>
                      <a:pt x="100" y="36"/>
                    </a:lnTo>
                    <a:lnTo>
                      <a:pt x="96" y="36"/>
                    </a:lnTo>
                    <a:lnTo>
                      <a:pt x="94" y="36"/>
                    </a:lnTo>
                    <a:lnTo>
                      <a:pt x="89" y="36"/>
                    </a:lnTo>
                    <a:lnTo>
                      <a:pt x="83" y="43"/>
                    </a:lnTo>
                    <a:lnTo>
                      <a:pt x="83" y="49"/>
                    </a:lnTo>
                    <a:lnTo>
                      <a:pt x="83" y="51"/>
                    </a:lnTo>
                    <a:lnTo>
                      <a:pt x="83" y="55"/>
                    </a:lnTo>
                    <a:lnTo>
                      <a:pt x="83" y="57"/>
                    </a:lnTo>
                    <a:lnTo>
                      <a:pt x="83" y="59"/>
                    </a:lnTo>
                    <a:lnTo>
                      <a:pt x="83" y="62"/>
                    </a:lnTo>
                    <a:lnTo>
                      <a:pt x="83" y="64"/>
                    </a:lnTo>
                    <a:lnTo>
                      <a:pt x="83" y="70"/>
                    </a:lnTo>
                    <a:lnTo>
                      <a:pt x="81" y="74"/>
                    </a:lnTo>
                    <a:lnTo>
                      <a:pt x="81" y="72"/>
                    </a:lnTo>
                    <a:lnTo>
                      <a:pt x="81" y="66"/>
                    </a:lnTo>
                    <a:lnTo>
                      <a:pt x="79" y="64"/>
                    </a:lnTo>
                    <a:lnTo>
                      <a:pt x="77" y="66"/>
                    </a:lnTo>
                    <a:lnTo>
                      <a:pt x="75" y="68"/>
                    </a:lnTo>
                    <a:lnTo>
                      <a:pt x="77" y="74"/>
                    </a:lnTo>
                    <a:lnTo>
                      <a:pt x="77" y="75"/>
                    </a:lnTo>
                    <a:lnTo>
                      <a:pt x="77" y="75"/>
                    </a:lnTo>
                    <a:lnTo>
                      <a:pt x="77" y="85"/>
                    </a:lnTo>
                    <a:lnTo>
                      <a:pt x="75" y="85"/>
                    </a:lnTo>
                    <a:lnTo>
                      <a:pt x="74" y="85"/>
                    </a:lnTo>
                    <a:lnTo>
                      <a:pt x="72" y="81"/>
                    </a:lnTo>
                    <a:lnTo>
                      <a:pt x="68" y="81"/>
                    </a:lnTo>
                    <a:lnTo>
                      <a:pt x="64" y="75"/>
                    </a:lnTo>
                    <a:lnTo>
                      <a:pt x="68" y="70"/>
                    </a:lnTo>
                    <a:lnTo>
                      <a:pt x="64" y="68"/>
                    </a:lnTo>
                    <a:lnTo>
                      <a:pt x="64" y="66"/>
                    </a:lnTo>
                    <a:lnTo>
                      <a:pt x="68" y="64"/>
                    </a:lnTo>
                    <a:lnTo>
                      <a:pt x="64" y="60"/>
                    </a:lnTo>
                    <a:lnTo>
                      <a:pt x="62" y="59"/>
                    </a:lnTo>
                    <a:lnTo>
                      <a:pt x="60" y="59"/>
                    </a:lnTo>
                    <a:lnTo>
                      <a:pt x="60" y="57"/>
                    </a:lnTo>
                    <a:lnTo>
                      <a:pt x="59" y="57"/>
                    </a:lnTo>
                    <a:lnTo>
                      <a:pt x="55" y="59"/>
                    </a:lnTo>
                    <a:lnTo>
                      <a:pt x="51" y="60"/>
                    </a:lnTo>
                    <a:lnTo>
                      <a:pt x="49" y="64"/>
                    </a:lnTo>
                    <a:lnTo>
                      <a:pt x="49" y="64"/>
                    </a:lnTo>
                    <a:lnTo>
                      <a:pt x="45" y="70"/>
                    </a:lnTo>
                    <a:lnTo>
                      <a:pt x="43" y="70"/>
                    </a:lnTo>
                    <a:lnTo>
                      <a:pt x="40" y="72"/>
                    </a:lnTo>
                    <a:lnTo>
                      <a:pt x="40" y="74"/>
                    </a:lnTo>
                    <a:lnTo>
                      <a:pt x="38" y="75"/>
                    </a:lnTo>
                    <a:lnTo>
                      <a:pt x="36" y="74"/>
                    </a:lnTo>
                    <a:lnTo>
                      <a:pt x="36" y="74"/>
                    </a:lnTo>
                    <a:lnTo>
                      <a:pt x="36" y="70"/>
                    </a:lnTo>
                    <a:lnTo>
                      <a:pt x="38" y="68"/>
                    </a:lnTo>
                    <a:lnTo>
                      <a:pt x="34" y="62"/>
                    </a:lnTo>
                    <a:lnTo>
                      <a:pt x="40" y="62"/>
                    </a:lnTo>
                    <a:lnTo>
                      <a:pt x="34" y="57"/>
                    </a:lnTo>
                    <a:lnTo>
                      <a:pt x="28" y="57"/>
                    </a:lnTo>
                    <a:lnTo>
                      <a:pt x="21" y="55"/>
                    </a:lnTo>
                    <a:lnTo>
                      <a:pt x="19" y="45"/>
                    </a:lnTo>
                    <a:lnTo>
                      <a:pt x="21" y="45"/>
                    </a:lnTo>
                    <a:lnTo>
                      <a:pt x="21" y="42"/>
                    </a:lnTo>
                    <a:lnTo>
                      <a:pt x="13" y="34"/>
                    </a:lnTo>
                    <a:lnTo>
                      <a:pt x="13" y="30"/>
                    </a:lnTo>
                    <a:lnTo>
                      <a:pt x="15" y="26"/>
                    </a:lnTo>
                    <a:lnTo>
                      <a:pt x="11" y="23"/>
                    </a:lnTo>
                    <a:lnTo>
                      <a:pt x="6" y="21"/>
                    </a:lnTo>
                    <a:lnTo>
                      <a:pt x="2" y="19"/>
                    </a:lnTo>
                    <a:lnTo>
                      <a:pt x="2" y="19"/>
                    </a:lnTo>
                    <a:lnTo>
                      <a:pt x="2" y="19"/>
                    </a:lnTo>
                    <a:lnTo>
                      <a:pt x="2" y="19"/>
                    </a:lnTo>
                    <a:close/>
                    <a:moveTo>
                      <a:pt x="30" y="75"/>
                    </a:moveTo>
                    <a:lnTo>
                      <a:pt x="25" y="60"/>
                    </a:lnTo>
                    <a:lnTo>
                      <a:pt x="19" y="60"/>
                    </a:lnTo>
                    <a:lnTo>
                      <a:pt x="15" y="55"/>
                    </a:lnTo>
                    <a:lnTo>
                      <a:pt x="13" y="55"/>
                    </a:lnTo>
                    <a:lnTo>
                      <a:pt x="10" y="55"/>
                    </a:lnTo>
                    <a:lnTo>
                      <a:pt x="6" y="51"/>
                    </a:lnTo>
                    <a:lnTo>
                      <a:pt x="2" y="55"/>
                    </a:lnTo>
                    <a:lnTo>
                      <a:pt x="0" y="55"/>
                    </a:lnTo>
                    <a:lnTo>
                      <a:pt x="2" y="55"/>
                    </a:lnTo>
                    <a:lnTo>
                      <a:pt x="2" y="55"/>
                    </a:lnTo>
                    <a:lnTo>
                      <a:pt x="6" y="57"/>
                    </a:lnTo>
                    <a:lnTo>
                      <a:pt x="6" y="57"/>
                    </a:lnTo>
                    <a:lnTo>
                      <a:pt x="10" y="60"/>
                    </a:lnTo>
                    <a:lnTo>
                      <a:pt x="6" y="64"/>
                    </a:lnTo>
                    <a:lnTo>
                      <a:pt x="15" y="68"/>
                    </a:lnTo>
                    <a:lnTo>
                      <a:pt x="15" y="72"/>
                    </a:lnTo>
                    <a:lnTo>
                      <a:pt x="21" y="74"/>
                    </a:lnTo>
                    <a:lnTo>
                      <a:pt x="25" y="75"/>
                    </a:lnTo>
                    <a:lnTo>
                      <a:pt x="30" y="75"/>
                    </a:lnTo>
                    <a:lnTo>
                      <a:pt x="30" y="75"/>
                    </a:lnTo>
                    <a:lnTo>
                      <a:pt x="30" y="75"/>
                    </a:lnTo>
                    <a:lnTo>
                      <a:pt x="30" y="7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5" name="Freeform 57"/>
              <p:cNvSpPr>
                <a:spLocks/>
              </p:cNvSpPr>
              <p:nvPr/>
            </p:nvSpPr>
            <p:spPr bwMode="auto">
              <a:xfrm>
                <a:off x="3549" y="2316"/>
                <a:ext cx="380" cy="301"/>
              </a:xfrm>
              <a:custGeom>
                <a:avLst/>
                <a:gdLst/>
                <a:ahLst/>
                <a:cxnLst>
                  <a:cxn ang="0">
                    <a:pos x="19" y="4"/>
                  </a:cxn>
                  <a:cxn ang="0">
                    <a:pos x="36" y="19"/>
                  </a:cxn>
                  <a:cxn ang="0">
                    <a:pos x="49" y="19"/>
                  </a:cxn>
                  <a:cxn ang="0">
                    <a:pos x="58" y="7"/>
                  </a:cxn>
                  <a:cxn ang="0">
                    <a:pos x="71" y="0"/>
                  </a:cxn>
                  <a:cxn ang="0">
                    <a:pos x="75" y="9"/>
                  </a:cxn>
                  <a:cxn ang="0">
                    <a:pos x="85" y="24"/>
                  </a:cxn>
                  <a:cxn ang="0">
                    <a:pos x="92" y="32"/>
                  </a:cxn>
                  <a:cxn ang="0">
                    <a:pos x="100" y="49"/>
                  </a:cxn>
                  <a:cxn ang="0">
                    <a:pos x="118" y="49"/>
                  </a:cxn>
                  <a:cxn ang="0">
                    <a:pos x="147" y="64"/>
                  </a:cxn>
                  <a:cxn ang="0">
                    <a:pos x="188" y="62"/>
                  </a:cxn>
                  <a:cxn ang="0">
                    <a:pos x="198" y="43"/>
                  </a:cxn>
                  <a:cxn ang="0">
                    <a:pos x="222" y="28"/>
                  </a:cxn>
                  <a:cxn ang="0">
                    <a:pos x="241" y="28"/>
                  </a:cxn>
                  <a:cxn ang="0">
                    <a:pos x="269" y="37"/>
                  </a:cxn>
                  <a:cxn ang="0">
                    <a:pos x="286" y="49"/>
                  </a:cxn>
                  <a:cxn ang="0">
                    <a:pos x="318" y="68"/>
                  </a:cxn>
                  <a:cxn ang="0">
                    <a:pos x="318" y="85"/>
                  </a:cxn>
                  <a:cxn ang="0">
                    <a:pos x="320" y="98"/>
                  </a:cxn>
                  <a:cxn ang="0">
                    <a:pos x="312" y="111"/>
                  </a:cxn>
                  <a:cxn ang="0">
                    <a:pos x="322" y="124"/>
                  </a:cxn>
                  <a:cxn ang="0">
                    <a:pos x="322" y="156"/>
                  </a:cxn>
                  <a:cxn ang="0">
                    <a:pos x="344" y="179"/>
                  </a:cxn>
                  <a:cxn ang="0">
                    <a:pos x="341" y="224"/>
                  </a:cxn>
                  <a:cxn ang="0">
                    <a:pos x="361" y="233"/>
                  </a:cxn>
                  <a:cxn ang="0">
                    <a:pos x="369" y="252"/>
                  </a:cxn>
                  <a:cxn ang="0">
                    <a:pos x="376" y="267"/>
                  </a:cxn>
                  <a:cxn ang="0">
                    <a:pos x="354" y="277"/>
                  </a:cxn>
                  <a:cxn ang="0">
                    <a:pos x="354" y="297"/>
                  </a:cxn>
                  <a:cxn ang="0">
                    <a:pos x="337" y="297"/>
                  </a:cxn>
                  <a:cxn ang="0">
                    <a:pos x="329" y="295"/>
                  </a:cxn>
                  <a:cxn ang="0">
                    <a:pos x="301" y="292"/>
                  </a:cxn>
                  <a:cxn ang="0">
                    <a:pos x="282" y="288"/>
                  </a:cxn>
                  <a:cxn ang="0">
                    <a:pos x="265" y="273"/>
                  </a:cxn>
                  <a:cxn ang="0">
                    <a:pos x="258" y="260"/>
                  </a:cxn>
                  <a:cxn ang="0">
                    <a:pos x="239" y="262"/>
                  </a:cxn>
                  <a:cxn ang="0">
                    <a:pos x="211" y="267"/>
                  </a:cxn>
                  <a:cxn ang="0">
                    <a:pos x="194" y="262"/>
                  </a:cxn>
                  <a:cxn ang="0">
                    <a:pos x="181" y="252"/>
                  </a:cxn>
                  <a:cxn ang="0">
                    <a:pos x="162" y="247"/>
                  </a:cxn>
                  <a:cxn ang="0">
                    <a:pos x="145" y="228"/>
                  </a:cxn>
                  <a:cxn ang="0">
                    <a:pos x="143" y="224"/>
                  </a:cxn>
                  <a:cxn ang="0">
                    <a:pos x="130" y="199"/>
                  </a:cxn>
                  <a:cxn ang="0">
                    <a:pos x="117" y="199"/>
                  </a:cxn>
                  <a:cxn ang="0">
                    <a:pos x="113" y="196"/>
                  </a:cxn>
                  <a:cxn ang="0">
                    <a:pos x="109" y="203"/>
                  </a:cxn>
                  <a:cxn ang="0">
                    <a:pos x="98" y="198"/>
                  </a:cxn>
                  <a:cxn ang="0">
                    <a:pos x="88" y="173"/>
                  </a:cxn>
                  <a:cxn ang="0">
                    <a:pos x="75" y="150"/>
                  </a:cxn>
                  <a:cxn ang="0">
                    <a:pos x="51" y="141"/>
                  </a:cxn>
                  <a:cxn ang="0">
                    <a:pos x="49" y="130"/>
                  </a:cxn>
                  <a:cxn ang="0">
                    <a:pos x="41" y="120"/>
                  </a:cxn>
                  <a:cxn ang="0">
                    <a:pos x="45" y="101"/>
                  </a:cxn>
                  <a:cxn ang="0">
                    <a:pos x="49" y="88"/>
                  </a:cxn>
                  <a:cxn ang="0">
                    <a:pos x="51" y="83"/>
                  </a:cxn>
                  <a:cxn ang="0">
                    <a:pos x="30" y="77"/>
                  </a:cxn>
                  <a:cxn ang="0">
                    <a:pos x="24" y="62"/>
                  </a:cxn>
                  <a:cxn ang="0">
                    <a:pos x="17" y="52"/>
                  </a:cxn>
                  <a:cxn ang="0">
                    <a:pos x="11" y="28"/>
                  </a:cxn>
                  <a:cxn ang="0">
                    <a:pos x="4" y="11"/>
                  </a:cxn>
                  <a:cxn ang="0">
                    <a:pos x="11" y="0"/>
                  </a:cxn>
                </a:cxnLst>
                <a:rect l="0" t="0" r="r" b="b"/>
                <a:pathLst>
                  <a:path w="380" h="301">
                    <a:moveTo>
                      <a:pt x="11" y="0"/>
                    </a:moveTo>
                    <a:lnTo>
                      <a:pt x="11" y="0"/>
                    </a:lnTo>
                    <a:lnTo>
                      <a:pt x="15" y="0"/>
                    </a:lnTo>
                    <a:lnTo>
                      <a:pt x="17" y="0"/>
                    </a:lnTo>
                    <a:lnTo>
                      <a:pt x="19" y="4"/>
                    </a:lnTo>
                    <a:lnTo>
                      <a:pt x="17" y="7"/>
                    </a:lnTo>
                    <a:lnTo>
                      <a:pt x="24" y="11"/>
                    </a:lnTo>
                    <a:lnTo>
                      <a:pt x="24" y="15"/>
                    </a:lnTo>
                    <a:lnTo>
                      <a:pt x="30" y="17"/>
                    </a:lnTo>
                    <a:lnTo>
                      <a:pt x="36" y="19"/>
                    </a:lnTo>
                    <a:lnTo>
                      <a:pt x="41" y="19"/>
                    </a:lnTo>
                    <a:lnTo>
                      <a:pt x="41" y="19"/>
                    </a:lnTo>
                    <a:lnTo>
                      <a:pt x="41" y="19"/>
                    </a:lnTo>
                    <a:lnTo>
                      <a:pt x="47" y="17"/>
                    </a:lnTo>
                    <a:lnTo>
                      <a:pt x="49" y="19"/>
                    </a:lnTo>
                    <a:lnTo>
                      <a:pt x="51" y="17"/>
                    </a:lnTo>
                    <a:lnTo>
                      <a:pt x="51" y="15"/>
                    </a:lnTo>
                    <a:lnTo>
                      <a:pt x="54" y="13"/>
                    </a:lnTo>
                    <a:lnTo>
                      <a:pt x="54" y="13"/>
                    </a:lnTo>
                    <a:lnTo>
                      <a:pt x="58" y="7"/>
                    </a:lnTo>
                    <a:lnTo>
                      <a:pt x="60" y="7"/>
                    </a:lnTo>
                    <a:lnTo>
                      <a:pt x="62" y="4"/>
                    </a:lnTo>
                    <a:lnTo>
                      <a:pt x="66" y="4"/>
                    </a:lnTo>
                    <a:lnTo>
                      <a:pt x="70" y="0"/>
                    </a:lnTo>
                    <a:lnTo>
                      <a:pt x="71" y="0"/>
                    </a:lnTo>
                    <a:lnTo>
                      <a:pt x="71" y="4"/>
                    </a:lnTo>
                    <a:lnTo>
                      <a:pt x="73" y="4"/>
                    </a:lnTo>
                    <a:lnTo>
                      <a:pt x="75" y="4"/>
                    </a:lnTo>
                    <a:lnTo>
                      <a:pt x="79" y="7"/>
                    </a:lnTo>
                    <a:lnTo>
                      <a:pt x="75" y="9"/>
                    </a:lnTo>
                    <a:lnTo>
                      <a:pt x="75" y="11"/>
                    </a:lnTo>
                    <a:lnTo>
                      <a:pt x="79" y="13"/>
                    </a:lnTo>
                    <a:lnTo>
                      <a:pt x="75" y="19"/>
                    </a:lnTo>
                    <a:lnTo>
                      <a:pt x="79" y="24"/>
                    </a:lnTo>
                    <a:lnTo>
                      <a:pt x="85" y="24"/>
                    </a:lnTo>
                    <a:lnTo>
                      <a:pt x="85" y="28"/>
                    </a:lnTo>
                    <a:lnTo>
                      <a:pt x="88" y="28"/>
                    </a:lnTo>
                    <a:lnTo>
                      <a:pt x="88" y="28"/>
                    </a:lnTo>
                    <a:lnTo>
                      <a:pt x="88" y="28"/>
                    </a:lnTo>
                    <a:lnTo>
                      <a:pt x="92" y="32"/>
                    </a:lnTo>
                    <a:lnTo>
                      <a:pt x="92" y="37"/>
                    </a:lnTo>
                    <a:lnTo>
                      <a:pt x="92" y="41"/>
                    </a:lnTo>
                    <a:lnTo>
                      <a:pt x="92" y="43"/>
                    </a:lnTo>
                    <a:lnTo>
                      <a:pt x="96" y="43"/>
                    </a:lnTo>
                    <a:lnTo>
                      <a:pt x="100" y="49"/>
                    </a:lnTo>
                    <a:lnTo>
                      <a:pt x="103" y="49"/>
                    </a:lnTo>
                    <a:lnTo>
                      <a:pt x="105" y="49"/>
                    </a:lnTo>
                    <a:lnTo>
                      <a:pt x="113" y="47"/>
                    </a:lnTo>
                    <a:lnTo>
                      <a:pt x="115" y="49"/>
                    </a:lnTo>
                    <a:lnTo>
                      <a:pt x="118" y="49"/>
                    </a:lnTo>
                    <a:lnTo>
                      <a:pt x="118" y="52"/>
                    </a:lnTo>
                    <a:lnTo>
                      <a:pt x="122" y="56"/>
                    </a:lnTo>
                    <a:lnTo>
                      <a:pt x="130" y="60"/>
                    </a:lnTo>
                    <a:lnTo>
                      <a:pt x="134" y="60"/>
                    </a:lnTo>
                    <a:lnTo>
                      <a:pt x="147" y="64"/>
                    </a:lnTo>
                    <a:lnTo>
                      <a:pt x="152" y="64"/>
                    </a:lnTo>
                    <a:lnTo>
                      <a:pt x="164" y="60"/>
                    </a:lnTo>
                    <a:lnTo>
                      <a:pt x="173" y="60"/>
                    </a:lnTo>
                    <a:lnTo>
                      <a:pt x="184" y="60"/>
                    </a:lnTo>
                    <a:lnTo>
                      <a:pt x="188" y="62"/>
                    </a:lnTo>
                    <a:lnTo>
                      <a:pt x="188" y="56"/>
                    </a:lnTo>
                    <a:lnTo>
                      <a:pt x="188" y="52"/>
                    </a:lnTo>
                    <a:lnTo>
                      <a:pt x="186" y="49"/>
                    </a:lnTo>
                    <a:lnTo>
                      <a:pt x="188" y="47"/>
                    </a:lnTo>
                    <a:lnTo>
                      <a:pt x="198" y="43"/>
                    </a:lnTo>
                    <a:lnTo>
                      <a:pt x="199" y="39"/>
                    </a:lnTo>
                    <a:lnTo>
                      <a:pt x="201" y="37"/>
                    </a:lnTo>
                    <a:lnTo>
                      <a:pt x="205" y="37"/>
                    </a:lnTo>
                    <a:lnTo>
                      <a:pt x="213" y="32"/>
                    </a:lnTo>
                    <a:lnTo>
                      <a:pt x="222" y="28"/>
                    </a:lnTo>
                    <a:lnTo>
                      <a:pt x="228" y="32"/>
                    </a:lnTo>
                    <a:lnTo>
                      <a:pt x="228" y="24"/>
                    </a:lnTo>
                    <a:lnTo>
                      <a:pt x="231" y="24"/>
                    </a:lnTo>
                    <a:lnTo>
                      <a:pt x="237" y="28"/>
                    </a:lnTo>
                    <a:lnTo>
                      <a:pt x="241" y="28"/>
                    </a:lnTo>
                    <a:lnTo>
                      <a:pt x="248" y="32"/>
                    </a:lnTo>
                    <a:lnTo>
                      <a:pt x="252" y="34"/>
                    </a:lnTo>
                    <a:lnTo>
                      <a:pt x="263" y="39"/>
                    </a:lnTo>
                    <a:lnTo>
                      <a:pt x="267" y="39"/>
                    </a:lnTo>
                    <a:lnTo>
                      <a:pt x="269" y="37"/>
                    </a:lnTo>
                    <a:lnTo>
                      <a:pt x="277" y="41"/>
                    </a:lnTo>
                    <a:lnTo>
                      <a:pt x="282" y="41"/>
                    </a:lnTo>
                    <a:lnTo>
                      <a:pt x="282" y="47"/>
                    </a:lnTo>
                    <a:lnTo>
                      <a:pt x="282" y="49"/>
                    </a:lnTo>
                    <a:lnTo>
                      <a:pt x="286" y="49"/>
                    </a:lnTo>
                    <a:lnTo>
                      <a:pt x="294" y="49"/>
                    </a:lnTo>
                    <a:lnTo>
                      <a:pt x="303" y="58"/>
                    </a:lnTo>
                    <a:lnTo>
                      <a:pt x="310" y="60"/>
                    </a:lnTo>
                    <a:lnTo>
                      <a:pt x="314" y="62"/>
                    </a:lnTo>
                    <a:lnTo>
                      <a:pt x="318" y="68"/>
                    </a:lnTo>
                    <a:lnTo>
                      <a:pt x="316" y="68"/>
                    </a:lnTo>
                    <a:lnTo>
                      <a:pt x="318" y="73"/>
                    </a:lnTo>
                    <a:lnTo>
                      <a:pt x="318" y="77"/>
                    </a:lnTo>
                    <a:lnTo>
                      <a:pt x="320" y="81"/>
                    </a:lnTo>
                    <a:lnTo>
                      <a:pt x="318" y="85"/>
                    </a:lnTo>
                    <a:lnTo>
                      <a:pt x="320" y="88"/>
                    </a:lnTo>
                    <a:lnTo>
                      <a:pt x="318" y="90"/>
                    </a:lnTo>
                    <a:lnTo>
                      <a:pt x="320" y="92"/>
                    </a:lnTo>
                    <a:lnTo>
                      <a:pt x="320" y="96"/>
                    </a:lnTo>
                    <a:lnTo>
                      <a:pt x="320" y="98"/>
                    </a:lnTo>
                    <a:lnTo>
                      <a:pt x="314" y="101"/>
                    </a:lnTo>
                    <a:lnTo>
                      <a:pt x="310" y="101"/>
                    </a:lnTo>
                    <a:lnTo>
                      <a:pt x="312" y="105"/>
                    </a:lnTo>
                    <a:lnTo>
                      <a:pt x="316" y="105"/>
                    </a:lnTo>
                    <a:lnTo>
                      <a:pt x="312" y="111"/>
                    </a:lnTo>
                    <a:lnTo>
                      <a:pt x="312" y="113"/>
                    </a:lnTo>
                    <a:lnTo>
                      <a:pt x="314" y="117"/>
                    </a:lnTo>
                    <a:lnTo>
                      <a:pt x="314" y="122"/>
                    </a:lnTo>
                    <a:lnTo>
                      <a:pt x="320" y="124"/>
                    </a:lnTo>
                    <a:lnTo>
                      <a:pt x="322" y="124"/>
                    </a:lnTo>
                    <a:lnTo>
                      <a:pt x="316" y="130"/>
                    </a:lnTo>
                    <a:lnTo>
                      <a:pt x="314" y="135"/>
                    </a:lnTo>
                    <a:lnTo>
                      <a:pt x="320" y="145"/>
                    </a:lnTo>
                    <a:lnTo>
                      <a:pt x="324" y="154"/>
                    </a:lnTo>
                    <a:lnTo>
                      <a:pt x="322" y="156"/>
                    </a:lnTo>
                    <a:lnTo>
                      <a:pt x="324" y="160"/>
                    </a:lnTo>
                    <a:lnTo>
                      <a:pt x="324" y="166"/>
                    </a:lnTo>
                    <a:lnTo>
                      <a:pt x="341" y="166"/>
                    </a:lnTo>
                    <a:lnTo>
                      <a:pt x="344" y="173"/>
                    </a:lnTo>
                    <a:lnTo>
                      <a:pt x="344" y="179"/>
                    </a:lnTo>
                    <a:lnTo>
                      <a:pt x="344" y="184"/>
                    </a:lnTo>
                    <a:lnTo>
                      <a:pt x="344" y="186"/>
                    </a:lnTo>
                    <a:lnTo>
                      <a:pt x="329" y="205"/>
                    </a:lnTo>
                    <a:lnTo>
                      <a:pt x="341" y="218"/>
                    </a:lnTo>
                    <a:lnTo>
                      <a:pt x="341" y="224"/>
                    </a:lnTo>
                    <a:lnTo>
                      <a:pt x="346" y="228"/>
                    </a:lnTo>
                    <a:lnTo>
                      <a:pt x="350" y="230"/>
                    </a:lnTo>
                    <a:lnTo>
                      <a:pt x="352" y="231"/>
                    </a:lnTo>
                    <a:lnTo>
                      <a:pt x="359" y="233"/>
                    </a:lnTo>
                    <a:lnTo>
                      <a:pt x="361" y="233"/>
                    </a:lnTo>
                    <a:lnTo>
                      <a:pt x="361" y="235"/>
                    </a:lnTo>
                    <a:lnTo>
                      <a:pt x="369" y="237"/>
                    </a:lnTo>
                    <a:lnTo>
                      <a:pt x="369" y="243"/>
                    </a:lnTo>
                    <a:lnTo>
                      <a:pt x="369" y="248"/>
                    </a:lnTo>
                    <a:lnTo>
                      <a:pt x="369" y="252"/>
                    </a:lnTo>
                    <a:lnTo>
                      <a:pt x="369" y="254"/>
                    </a:lnTo>
                    <a:lnTo>
                      <a:pt x="374" y="254"/>
                    </a:lnTo>
                    <a:lnTo>
                      <a:pt x="380" y="258"/>
                    </a:lnTo>
                    <a:lnTo>
                      <a:pt x="380" y="265"/>
                    </a:lnTo>
                    <a:lnTo>
                      <a:pt x="376" y="267"/>
                    </a:lnTo>
                    <a:lnTo>
                      <a:pt x="374" y="267"/>
                    </a:lnTo>
                    <a:lnTo>
                      <a:pt x="365" y="267"/>
                    </a:lnTo>
                    <a:lnTo>
                      <a:pt x="361" y="271"/>
                    </a:lnTo>
                    <a:lnTo>
                      <a:pt x="356" y="273"/>
                    </a:lnTo>
                    <a:lnTo>
                      <a:pt x="354" y="277"/>
                    </a:lnTo>
                    <a:lnTo>
                      <a:pt x="356" y="279"/>
                    </a:lnTo>
                    <a:lnTo>
                      <a:pt x="352" y="282"/>
                    </a:lnTo>
                    <a:lnTo>
                      <a:pt x="354" y="288"/>
                    </a:lnTo>
                    <a:lnTo>
                      <a:pt x="354" y="295"/>
                    </a:lnTo>
                    <a:lnTo>
                      <a:pt x="354" y="297"/>
                    </a:lnTo>
                    <a:lnTo>
                      <a:pt x="352" y="297"/>
                    </a:lnTo>
                    <a:lnTo>
                      <a:pt x="352" y="297"/>
                    </a:lnTo>
                    <a:lnTo>
                      <a:pt x="348" y="301"/>
                    </a:lnTo>
                    <a:lnTo>
                      <a:pt x="344" y="297"/>
                    </a:lnTo>
                    <a:lnTo>
                      <a:pt x="337" y="297"/>
                    </a:lnTo>
                    <a:lnTo>
                      <a:pt x="337" y="292"/>
                    </a:lnTo>
                    <a:lnTo>
                      <a:pt x="335" y="292"/>
                    </a:lnTo>
                    <a:lnTo>
                      <a:pt x="331" y="297"/>
                    </a:lnTo>
                    <a:lnTo>
                      <a:pt x="331" y="297"/>
                    </a:lnTo>
                    <a:lnTo>
                      <a:pt x="329" y="295"/>
                    </a:lnTo>
                    <a:lnTo>
                      <a:pt x="327" y="295"/>
                    </a:lnTo>
                    <a:lnTo>
                      <a:pt x="324" y="295"/>
                    </a:lnTo>
                    <a:lnTo>
                      <a:pt x="316" y="295"/>
                    </a:lnTo>
                    <a:lnTo>
                      <a:pt x="310" y="292"/>
                    </a:lnTo>
                    <a:lnTo>
                      <a:pt x="301" y="292"/>
                    </a:lnTo>
                    <a:lnTo>
                      <a:pt x="295" y="288"/>
                    </a:lnTo>
                    <a:lnTo>
                      <a:pt x="294" y="288"/>
                    </a:lnTo>
                    <a:lnTo>
                      <a:pt x="290" y="292"/>
                    </a:lnTo>
                    <a:lnTo>
                      <a:pt x="286" y="288"/>
                    </a:lnTo>
                    <a:lnTo>
                      <a:pt x="282" y="288"/>
                    </a:lnTo>
                    <a:lnTo>
                      <a:pt x="273" y="290"/>
                    </a:lnTo>
                    <a:lnTo>
                      <a:pt x="271" y="286"/>
                    </a:lnTo>
                    <a:lnTo>
                      <a:pt x="269" y="286"/>
                    </a:lnTo>
                    <a:lnTo>
                      <a:pt x="269" y="280"/>
                    </a:lnTo>
                    <a:lnTo>
                      <a:pt x="265" y="273"/>
                    </a:lnTo>
                    <a:lnTo>
                      <a:pt x="263" y="267"/>
                    </a:lnTo>
                    <a:lnTo>
                      <a:pt x="260" y="262"/>
                    </a:lnTo>
                    <a:lnTo>
                      <a:pt x="260" y="260"/>
                    </a:lnTo>
                    <a:lnTo>
                      <a:pt x="258" y="260"/>
                    </a:lnTo>
                    <a:lnTo>
                      <a:pt x="258" y="260"/>
                    </a:lnTo>
                    <a:lnTo>
                      <a:pt x="252" y="258"/>
                    </a:lnTo>
                    <a:lnTo>
                      <a:pt x="248" y="260"/>
                    </a:lnTo>
                    <a:lnTo>
                      <a:pt x="243" y="263"/>
                    </a:lnTo>
                    <a:lnTo>
                      <a:pt x="239" y="263"/>
                    </a:lnTo>
                    <a:lnTo>
                      <a:pt x="239" y="262"/>
                    </a:lnTo>
                    <a:lnTo>
                      <a:pt x="239" y="263"/>
                    </a:lnTo>
                    <a:lnTo>
                      <a:pt x="231" y="267"/>
                    </a:lnTo>
                    <a:lnTo>
                      <a:pt x="224" y="273"/>
                    </a:lnTo>
                    <a:lnTo>
                      <a:pt x="218" y="267"/>
                    </a:lnTo>
                    <a:lnTo>
                      <a:pt x="211" y="267"/>
                    </a:lnTo>
                    <a:lnTo>
                      <a:pt x="207" y="267"/>
                    </a:lnTo>
                    <a:lnTo>
                      <a:pt x="205" y="267"/>
                    </a:lnTo>
                    <a:lnTo>
                      <a:pt x="198" y="263"/>
                    </a:lnTo>
                    <a:lnTo>
                      <a:pt x="194" y="263"/>
                    </a:lnTo>
                    <a:lnTo>
                      <a:pt x="194" y="262"/>
                    </a:lnTo>
                    <a:lnTo>
                      <a:pt x="188" y="260"/>
                    </a:lnTo>
                    <a:lnTo>
                      <a:pt x="182" y="254"/>
                    </a:lnTo>
                    <a:lnTo>
                      <a:pt x="184" y="252"/>
                    </a:lnTo>
                    <a:lnTo>
                      <a:pt x="184" y="252"/>
                    </a:lnTo>
                    <a:lnTo>
                      <a:pt x="181" y="252"/>
                    </a:lnTo>
                    <a:lnTo>
                      <a:pt x="181" y="248"/>
                    </a:lnTo>
                    <a:lnTo>
                      <a:pt x="173" y="248"/>
                    </a:lnTo>
                    <a:lnTo>
                      <a:pt x="173" y="248"/>
                    </a:lnTo>
                    <a:lnTo>
                      <a:pt x="167" y="247"/>
                    </a:lnTo>
                    <a:lnTo>
                      <a:pt x="162" y="247"/>
                    </a:lnTo>
                    <a:lnTo>
                      <a:pt x="158" y="245"/>
                    </a:lnTo>
                    <a:lnTo>
                      <a:pt x="150" y="231"/>
                    </a:lnTo>
                    <a:lnTo>
                      <a:pt x="150" y="228"/>
                    </a:lnTo>
                    <a:lnTo>
                      <a:pt x="149" y="228"/>
                    </a:lnTo>
                    <a:lnTo>
                      <a:pt x="145" y="228"/>
                    </a:lnTo>
                    <a:lnTo>
                      <a:pt x="147" y="224"/>
                    </a:lnTo>
                    <a:lnTo>
                      <a:pt x="147" y="228"/>
                    </a:lnTo>
                    <a:lnTo>
                      <a:pt x="149" y="228"/>
                    </a:lnTo>
                    <a:lnTo>
                      <a:pt x="147" y="224"/>
                    </a:lnTo>
                    <a:lnTo>
                      <a:pt x="143" y="224"/>
                    </a:lnTo>
                    <a:lnTo>
                      <a:pt x="143" y="222"/>
                    </a:lnTo>
                    <a:lnTo>
                      <a:pt x="143" y="216"/>
                    </a:lnTo>
                    <a:lnTo>
                      <a:pt x="134" y="209"/>
                    </a:lnTo>
                    <a:lnTo>
                      <a:pt x="134" y="205"/>
                    </a:lnTo>
                    <a:lnTo>
                      <a:pt x="130" y="199"/>
                    </a:lnTo>
                    <a:lnTo>
                      <a:pt x="130" y="199"/>
                    </a:lnTo>
                    <a:lnTo>
                      <a:pt x="122" y="203"/>
                    </a:lnTo>
                    <a:lnTo>
                      <a:pt x="120" y="203"/>
                    </a:lnTo>
                    <a:lnTo>
                      <a:pt x="118" y="199"/>
                    </a:lnTo>
                    <a:lnTo>
                      <a:pt x="117" y="199"/>
                    </a:lnTo>
                    <a:lnTo>
                      <a:pt x="113" y="199"/>
                    </a:lnTo>
                    <a:lnTo>
                      <a:pt x="113" y="198"/>
                    </a:lnTo>
                    <a:lnTo>
                      <a:pt x="115" y="196"/>
                    </a:lnTo>
                    <a:lnTo>
                      <a:pt x="113" y="196"/>
                    </a:lnTo>
                    <a:lnTo>
                      <a:pt x="113" y="196"/>
                    </a:lnTo>
                    <a:lnTo>
                      <a:pt x="109" y="196"/>
                    </a:lnTo>
                    <a:lnTo>
                      <a:pt x="113" y="198"/>
                    </a:lnTo>
                    <a:lnTo>
                      <a:pt x="113" y="199"/>
                    </a:lnTo>
                    <a:lnTo>
                      <a:pt x="109" y="203"/>
                    </a:lnTo>
                    <a:lnTo>
                      <a:pt x="109" y="203"/>
                    </a:lnTo>
                    <a:lnTo>
                      <a:pt x="105" y="199"/>
                    </a:lnTo>
                    <a:lnTo>
                      <a:pt x="105" y="199"/>
                    </a:lnTo>
                    <a:lnTo>
                      <a:pt x="103" y="199"/>
                    </a:lnTo>
                    <a:lnTo>
                      <a:pt x="102" y="199"/>
                    </a:lnTo>
                    <a:lnTo>
                      <a:pt x="98" y="198"/>
                    </a:lnTo>
                    <a:lnTo>
                      <a:pt x="94" y="194"/>
                    </a:lnTo>
                    <a:lnTo>
                      <a:pt x="94" y="182"/>
                    </a:lnTo>
                    <a:lnTo>
                      <a:pt x="88" y="182"/>
                    </a:lnTo>
                    <a:lnTo>
                      <a:pt x="85" y="179"/>
                    </a:lnTo>
                    <a:lnTo>
                      <a:pt x="88" y="173"/>
                    </a:lnTo>
                    <a:lnTo>
                      <a:pt x="90" y="169"/>
                    </a:lnTo>
                    <a:lnTo>
                      <a:pt x="88" y="160"/>
                    </a:lnTo>
                    <a:lnTo>
                      <a:pt x="85" y="158"/>
                    </a:lnTo>
                    <a:lnTo>
                      <a:pt x="79" y="154"/>
                    </a:lnTo>
                    <a:lnTo>
                      <a:pt x="75" y="150"/>
                    </a:lnTo>
                    <a:lnTo>
                      <a:pt x="75" y="150"/>
                    </a:lnTo>
                    <a:lnTo>
                      <a:pt x="62" y="141"/>
                    </a:lnTo>
                    <a:lnTo>
                      <a:pt x="58" y="141"/>
                    </a:lnTo>
                    <a:lnTo>
                      <a:pt x="56" y="145"/>
                    </a:lnTo>
                    <a:lnTo>
                      <a:pt x="51" y="141"/>
                    </a:lnTo>
                    <a:lnTo>
                      <a:pt x="54" y="139"/>
                    </a:lnTo>
                    <a:lnTo>
                      <a:pt x="51" y="137"/>
                    </a:lnTo>
                    <a:lnTo>
                      <a:pt x="54" y="133"/>
                    </a:lnTo>
                    <a:lnTo>
                      <a:pt x="51" y="130"/>
                    </a:lnTo>
                    <a:lnTo>
                      <a:pt x="49" y="130"/>
                    </a:lnTo>
                    <a:lnTo>
                      <a:pt x="45" y="126"/>
                    </a:lnTo>
                    <a:lnTo>
                      <a:pt x="43" y="126"/>
                    </a:lnTo>
                    <a:lnTo>
                      <a:pt x="41" y="126"/>
                    </a:lnTo>
                    <a:lnTo>
                      <a:pt x="41" y="122"/>
                    </a:lnTo>
                    <a:lnTo>
                      <a:pt x="41" y="120"/>
                    </a:lnTo>
                    <a:lnTo>
                      <a:pt x="41" y="117"/>
                    </a:lnTo>
                    <a:lnTo>
                      <a:pt x="41" y="117"/>
                    </a:lnTo>
                    <a:lnTo>
                      <a:pt x="41" y="109"/>
                    </a:lnTo>
                    <a:lnTo>
                      <a:pt x="45" y="107"/>
                    </a:lnTo>
                    <a:lnTo>
                      <a:pt x="45" y="101"/>
                    </a:lnTo>
                    <a:lnTo>
                      <a:pt x="47" y="101"/>
                    </a:lnTo>
                    <a:lnTo>
                      <a:pt x="51" y="101"/>
                    </a:lnTo>
                    <a:lnTo>
                      <a:pt x="51" y="92"/>
                    </a:lnTo>
                    <a:lnTo>
                      <a:pt x="49" y="92"/>
                    </a:lnTo>
                    <a:lnTo>
                      <a:pt x="49" y="88"/>
                    </a:lnTo>
                    <a:lnTo>
                      <a:pt x="51" y="88"/>
                    </a:lnTo>
                    <a:lnTo>
                      <a:pt x="54" y="86"/>
                    </a:lnTo>
                    <a:lnTo>
                      <a:pt x="54" y="86"/>
                    </a:lnTo>
                    <a:lnTo>
                      <a:pt x="54" y="85"/>
                    </a:lnTo>
                    <a:lnTo>
                      <a:pt x="51" y="83"/>
                    </a:lnTo>
                    <a:lnTo>
                      <a:pt x="47" y="85"/>
                    </a:lnTo>
                    <a:lnTo>
                      <a:pt x="43" y="83"/>
                    </a:lnTo>
                    <a:lnTo>
                      <a:pt x="38" y="81"/>
                    </a:lnTo>
                    <a:lnTo>
                      <a:pt x="34" y="81"/>
                    </a:lnTo>
                    <a:lnTo>
                      <a:pt x="30" y="77"/>
                    </a:lnTo>
                    <a:lnTo>
                      <a:pt x="30" y="73"/>
                    </a:lnTo>
                    <a:lnTo>
                      <a:pt x="26" y="71"/>
                    </a:lnTo>
                    <a:lnTo>
                      <a:pt x="24" y="68"/>
                    </a:lnTo>
                    <a:lnTo>
                      <a:pt x="24" y="66"/>
                    </a:lnTo>
                    <a:lnTo>
                      <a:pt x="24" y="62"/>
                    </a:lnTo>
                    <a:lnTo>
                      <a:pt x="21" y="58"/>
                    </a:lnTo>
                    <a:lnTo>
                      <a:pt x="19" y="58"/>
                    </a:lnTo>
                    <a:lnTo>
                      <a:pt x="19" y="58"/>
                    </a:lnTo>
                    <a:lnTo>
                      <a:pt x="19" y="56"/>
                    </a:lnTo>
                    <a:lnTo>
                      <a:pt x="17" y="52"/>
                    </a:lnTo>
                    <a:lnTo>
                      <a:pt x="13" y="43"/>
                    </a:lnTo>
                    <a:lnTo>
                      <a:pt x="7" y="41"/>
                    </a:lnTo>
                    <a:lnTo>
                      <a:pt x="7" y="39"/>
                    </a:lnTo>
                    <a:lnTo>
                      <a:pt x="7" y="34"/>
                    </a:lnTo>
                    <a:lnTo>
                      <a:pt x="11" y="28"/>
                    </a:lnTo>
                    <a:lnTo>
                      <a:pt x="9" y="28"/>
                    </a:lnTo>
                    <a:lnTo>
                      <a:pt x="4" y="24"/>
                    </a:lnTo>
                    <a:lnTo>
                      <a:pt x="4" y="22"/>
                    </a:lnTo>
                    <a:lnTo>
                      <a:pt x="6" y="19"/>
                    </a:lnTo>
                    <a:lnTo>
                      <a:pt x="4" y="11"/>
                    </a:lnTo>
                    <a:lnTo>
                      <a:pt x="2" y="7"/>
                    </a:lnTo>
                    <a:lnTo>
                      <a:pt x="0" y="5"/>
                    </a:lnTo>
                    <a:lnTo>
                      <a:pt x="6" y="4"/>
                    </a:lnTo>
                    <a:lnTo>
                      <a:pt x="7" y="0"/>
                    </a:lnTo>
                    <a:lnTo>
                      <a:pt x="11" y="0"/>
                    </a:lnTo>
                    <a:lnTo>
                      <a:pt x="11" y="0"/>
                    </a:lnTo>
                    <a:lnTo>
                      <a:pt x="11" y="0"/>
                    </a:lnTo>
                    <a:lnTo>
                      <a:pt x="11"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6" name="Freeform 58"/>
              <p:cNvSpPr>
                <a:spLocks/>
              </p:cNvSpPr>
              <p:nvPr/>
            </p:nvSpPr>
            <p:spPr bwMode="auto">
              <a:xfrm>
                <a:off x="3534" y="2278"/>
                <a:ext cx="68" cy="58"/>
              </a:xfrm>
              <a:custGeom>
                <a:avLst/>
                <a:gdLst/>
                <a:ahLst/>
                <a:cxnLst>
                  <a:cxn ang="0">
                    <a:pos x="0" y="2"/>
                  </a:cxn>
                  <a:cxn ang="0">
                    <a:pos x="5" y="2"/>
                  </a:cxn>
                  <a:cxn ang="0">
                    <a:pos x="15" y="0"/>
                  </a:cxn>
                  <a:cxn ang="0">
                    <a:pos x="17" y="0"/>
                  </a:cxn>
                  <a:cxn ang="0">
                    <a:pos x="28" y="0"/>
                  </a:cxn>
                  <a:cxn ang="0">
                    <a:pos x="32" y="2"/>
                  </a:cxn>
                  <a:cxn ang="0">
                    <a:pos x="39" y="6"/>
                  </a:cxn>
                  <a:cxn ang="0">
                    <a:pos x="43" y="8"/>
                  </a:cxn>
                  <a:cxn ang="0">
                    <a:pos x="41" y="11"/>
                  </a:cxn>
                  <a:cxn ang="0">
                    <a:pos x="41" y="17"/>
                  </a:cxn>
                  <a:cxn ang="0">
                    <a:pos x="49" y="23"/>
                  </a:cxn>
                  <a:cxn ang="0">
                    <a:pos x="49" y="26"/>
                  </a:cxn>
                  <a:cxn ang="0">
                    <a:pos x="47" y="28"/>
                  </a:cxn>
                  <a:cxn ang="0">
                    <a:pos x="49" y="36"/>
                  </a:cxn>
                  <a:cxn ang="0">
                    <a:pos x="58" y="40"/>
                  </a:cxn>
                  <a:cxn ang="0">
                    <a:pos x="64" y="40"/>
                  </a:cxn>
                  <a:cxn ang="0">
                    <a:pos x="68" y="45"/>
                  </a:cxn>
                  <a:cxn ang="0">
                    <a:pos x="64" y="45"/>
                  </a:cxn>
                  <a:cxn ang="0">
                    <a:pos x="68" y="51"/>
                  </a:cxn>
                  <a:cxn ang="0">
                    <a:pos x="64" y="53"/>
                  </a:cxn>
                  <a:cxn ang="0">
                    <a:pos x="64" y="57"/>
                  </a:cxn>
                  <a:cxn ang="0">
                    <a:pos x="58" y="58"/>
                  </a:cxn>
                  <a:cxn ang="0">
                    <a:pos x="53" y="43"/>
                  </a:cxn>
                  <a:cxn ang="0">
                    <a:pos x="47" y="43"/>
                  </a:cxn>
                  <a:cxn ang="0">
                    <a:pos x="43" y="36"/>
                  </a:cxn>
                  <a:cxn ang="0">
                    <a:pos x="41" y="36"/>
                  </a:cxn>
                  <a:cxn ang="0">
                    <a:pos x="37" y="38"/>
                  </a:cxn>
                  <a:cxn ang="0">
                    <a:pos x="34" y="34"/>
                  </a:cxn>
                  <a:cxn ang="0">
                    <a:pos x="30" y="36"/>
                  </a:cxn>
                  <a:cxn ang="0">
                    <a:pos x="28" y="36"/>
                  </a:cxn>
                  <a:cxn ang="0">
                    <a:pos x="24" y="34"/>
                  </a:cxn>
                  <a:cxn ang="0">
                    <a:pos x="24" y="30"/>
                  </a:cxn>
                  <a:cxn ang="0">
                    <a:pos x="19" y="30"/>
                  </a:cxn>
                  <a:cxn ang="0">
                    <a:pos x="13" y="30"/>
                  </a:cxn>
                  <a:cxn ang="0">
                    <a:pos x="7" y="26"/>
                  </a:cxn>
                  <a:cxn ang="0">
                    <a:pos x="7" y="19"/>
                  </a:cxn>
                  <a:cxn ang="0">
                    <a:pos x="9" y="13"/>
                  </a:cxn>
                  <a:cxn ang="0">
                    <a:pos x="7" y="8"/>
                  </a:cxn>
                  <a:cxn ang="0">
                    <a:pos x="4" y="8"/>
                  </a:cxn>
                  <a:cxn ang="0">
                    <a:pos x="4" y="6"/>
                  </a:cxn>
                  <a:cxn ang="0">
                    <a:pos x="0" y="2"/>
                  </a:cxn>
                  <a:cxn ang="0">
                    <a:pos x="0" y="2"/>
                  </a:cxn>
                  <a:cxn ang="0">
                    <a:pos x="0" y="2"/>
                  </a:cxn>
                </a:cxnLst>
                <a:rect l="0" t="0" r="r" b="b"/>
                <a:pathLst>
                  <a:path w="68" h="58">
                    <a:moveTo>
                      <a:pt x="0" y="2"/>
                    </a:moveTo>
                    <a:lnTo>
                      <a:pt x="5" y="2"/>
                    </a:lnTo>
                    <a:lnTo>
                      <a:pt x="15" y="0"/>
                    </a:lnTo>
                    <a:lnTo>
                      <a:pt x="17" y="0"/>
                    </a:lnTo>
                    <a:lnTo>
                      <a:pt x="28" y="0"/>
                    </a:lnTo>
                    <a:lnTo>
                      <a:pt x="32" y="2"/>
                    </a:lnTo>
                    <a:lnTo>
                      <a:pt x="39" y="6"/>
                    </a:lnTo>
                    <a:lnTo>
                      <a:pt x="43" y="8"/>
                    </a:lnTo>
                    <a:lnTo>
                      <a:pt x="41" y="11"/>
                    </a:lnTo>
                    <a:lnTo>
                      <a:pt x="41" y="17"/>
                    </a:lnTo>
                    <a:lnTo>
                      <a:pt x="49" y="23"/>
                    </a:lnTo>
                    <a:lnTo>
                      <a:pt x="49" y="26"/>
                    </a:lnTo>
                    <a:lnTo>
                      <a:pt x="47" y="28"/>
                    </a:lnTo>
                    <a:lnTo>
                      <a:pt x="49" y="36"/>
                    </a:lnTo>
                    <a:lnTo>
                      <a:pt x="58" y="40"/>
                    </a:lnTo>
                    <a:lnTo>
                      <a:pt x="64" y="40"/>
                    </a:lnTo>
                    <a:lnTo>
                      <a:pt x="68" y="45"/>
                    </a:lnTo>
                    <a:lnTo>
                      <a:pt x="64" y="45"/>
                    </a:lnTo>
                    <a:lnTo>
                      <a:pt x="68" y="51"/>
                    </a:lnTo>
                    <a:lnTo>
                      <a:pt x="64" y="53"/>
                    </a:lnTo>
                    <a:lnTo>
                      <a:pt x="64" y="57"/>
                    </a:lnTo>
                    <a:lnTo>
                      <a:pt x="58" y="58"/>
                    </a:lnTo>
                    <a:lnTo>
                      <a:pt x="53" y="43"/>
                    </a:lnTo>
                    <a:lnTo>
                      <a:pt x="47" y="43"/>
                    </a:lnTo>
                    <a:lnTo>
                      <a:pt x="43" y="36"/>
                    </a:lnTo>
                    <a:lnTo>
                      <a:pt x="41" y="36"/>
                    </a:lnTo>
                    <a:lnTo>
                      <a:pt x="37" y="38"/>
                    </a:lnTo>
                    <a:lnTo>
                      <a:pt x="34" y="34"/>
                    </a:lnTo>
                    <a:lnTo>
                      <a:pt x="30" y="36"/>
                    </a:lnTo>
                    <a:lnTo>
                      <a:pt x="28" y="36"/>
                    </a:lnTo>
                    <a:lnTo>
                      <a:pt x="24" y="34"/>
                    </a:lnTo>
                    <a:lnTo>
                      <a:pt x="24" y="30"/>
                    </a:lnTo>
                    <a:lnTo>
                      <a:pt x="19" y="30"/>
                    </a:lnTo>
                    <a:lnTo>
                      <a:pt x="13" y="30"/>
                    </a:lnTo>
                    <a:lnTo>
                      <a:pt x="7" y="26"/>
                    </a:lnTo>
                    <a:lnTo>
                      <a:pt x="7" y="19"/>
                    </a:lnTo>
                    <a:lnTo>
                      <a:pt x="9" y="13"/>
                    </a:lnTo>
                    <a:lnTo>
                      <a:pt x="7" y="8"/>
                    </a:lnTo>
                    <a:lnTo>
                      <a:pt x="4" y="8"/>
                    </a:lnTo>
                    <a:lnTo>
                      <a:pt x="4" y="6"/>
                    </a:lnTo>
                    <a:lnTo>
                      <a:pt x="0" y="2"/>
                    </a:lnTo>
                    <a:lnTo>
                      <a:pt x="0" y="2"/>
                    </a:lnTo>
                    <a:lnTo>
                      <a:pt x="0"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7" name="Freeform 59"/>
              <p:cNvSpPr>
                <a:spLocks/>
              </p:cNvSpPr>
              <p:nvPr/>
            </p:nvSpPr>
            <p:spPr bwMode="auto">
              <a:xfrm>
                <a:off x="3534" y="2278"/>
                <a:ext cx="68" cy="58"/>
              </a:xfrm>
              <a:custGeom>
                <a:avLst/>
                <a:gdLst/>
                <a:ahLst/>
                <a:cxnLst>
                  <a:cxn ang="0">
                    <a:pos x="0" y="2"/>
                  </a:cxn>
                  <a:cxn ang="0">
                    <a:pos x="5" y="2"/>
                  </a:cxn>
                  <a:cxn ang="0">
                    <a:pos x="15" y="0"/>
                  </a:cxn>
                  <a:cxn ang="0">
                    <a:pos x="17" y="0"/>
                  </a:cxn>
                  <a:cxn ang="0">
                    <a:pos x="28" y="0"/>
                  </a:cxn>
                  <a:cxn ang="0">
                    <a:pos x="32" y="2"/>
                  </a:cxn>
                  <a:cxn ang="0">
                    <a:pos x="39" y="6"/>
                  </a:cxn>
                  <a:cxn ang="0">
                    <a:pos x="43" y="8"/>
                  </a:cxn>
                  <a:cxn ang="0">
                    <a:pos x="41" y="11"/>
                  </a:cxn>
                  <a:cxn ang="0">
                    <a:pos x="41" y="17"/>
                  </a:cxn>
                  <a:cxn ang="0">
                    <a:pos x="49" y="23"/>
                  </a:cxn>
                  <a:cxn ang="0">
                    <a:pos x="49" y="26"/>
                  </a:cxn>
                  <a:cxn ang="0">
                    <a:pos x="47" y="28"/>
                  </a:cxn>
                  <a:cxn ang="0">
                    <a:pos x="49" y="36"/>
                  </a:cxn>
                  <a:cxn ang="0">
                    <a:pos x="58" y="40"/>
                  </a:cxn>
                  <a:cxn ang="0">
                    <a:pos x="64" y="40"/>
                  </a:cxn>
                  <a:cxn ang="0">
                    <a:pos x="68" y="45"/>
                  </a:cxn>
                  <a:cxn ang="0">
                    <a:pos x="64" y="45"/>
                  </a:cxn>
                  <a:cxn ang="0">
                    <a:pos x="68" y="51"/>
                  </a:cxn>
                  <a:cxn ang="0">
                    <a:pos x="64" y="53"/>
                  </a:cxn>
                  <a:cxn ang="0">
                    <a:pos x="64" y="57"/>
                  </a:cxn>
                  <a:cxn ang="0">
                    <a:pos x="58" y="58"/>
                  </a:cxn>
                  <a:cxn ang="0">
                    <a:pos x="53" y="43"/>
                  </a:cxn>
                  <a:cxn ang="0">
                    <a:pos x="47" y="43"/>
                  </a:cxn>
                  <a:cxn ang="0">
                    <a:pos x="43" y="36"/>
                  </a:cxn>
                  <a:cxn ang="0">
                    <a:pos x="41" y="36"/>
                  </a:cxn>
                  <a:cxn ang="0">
                    <a:pos x="37" y="38"/>
                  </a:cxn>
                  <a:cxn ang="0">
                    <a:pos x="34" y="34"/>
                  </a:cxn>
                  <a:cxn ang="0">
                    <a:pos x="30" y="36"/>
                  </a:cxn>
                  <a:cxn ang="0">
                    <a:pos x="28" y="36"/>
                  </a:cxn>
                  <a:cxn ang="0">
                    <a:pos x="24" y="34"/>
                  </a:cxn>
                  <a:cxn ang="0">
                    <a:pos x="24" y="30"/>
                  </a:cxn>
                  <a:cxn ang="0">
                    <a:pos x="19" y="30"/>
                  </a:cxn>
                  <a:cxn ang="0">
                    <a:pos x="13" y="30"/>
                  </a:cxn>
                  <a:cxn ang="0">
                    <a:pos x="7" y="26"/>
                  </a:cxn>
                  <a:cxn ang="0">
                    <a:pos x="7" y="19"/>
                  </a:cxn>
                  <a:cxn ang="0">
                    <a:pos x="9" y="13"/>
                  </a:cxn>
                  <a:cxn ang="0">
                    <a:pos x="7" y="8"/>
                  </a:cxn>
                  <a:cxn ang="0">
                    <a:pos x="4" y="8"/>
                  </a:cxn>
                  <a:cxn ang="0">
                    <a:pos x="4" y="6"/>
                  </a:cxn>
                  <a:cxn ang="0">
                    <a:pos x="0" y="2"/>
                  </a:cxn>
                  <a:cxn ang="0">
                    <a:pos x="0" y="2"/>
                  </a:cxn>
                  <a:cxn ang="0">
                    <a:pos x="0" y="2"/>
                  </a:cxn>
                </a:cxnLst>
                <a:rect l="0" t="0" r="r" b="b"/>
                <a:pathLst>
                  <a:path w="68" h="58">
                    <a:moveTo>
                      <a:pt x="0" y="2"/>
                    </a:moveTo>
                    <a:lnTo>
                      <a:pt x="5" y="2"/>
                    </a:lnTo>
                    <a:lnTo>
                      <a:pt x="15" y="0"/>
                    </a:lnTo>
                    <a:lnTo>
                      <a:pt x="17" y="0"/>
                    </a:lnTo>
                    <a:lnTo>
                      <a:pt x="28" y="0"/>
                    </a:lnTo>
                    <a:lnTo>
                      <a:pt x="32" y="2"/>
                    </a:lnTo>
                    <a:lnTo>
                      <a:pt x="39" y="6"/>
                    </a:lnTo>
                    <a:lnTo>
                      <a:pt x="43" y="8"/>
                    </a:lnTo>
                    <a:lnTo>
                      <a:pt x="41" y="11"/>
                    </a:lnTo>
                    <a:lnTo>
                      <a:pt x="41" y="17"/>
                    </a:lnTo>
                    <a:lnTo>
                      <a:pt x="49" y="23"/>
                    </a:lnTo>
                    <a:lnTo>
                      <a:pt x="49" y="26"/>
                    </a:lnTo>
                    <a:lnTo>
                      <a:pt x="47" y="28"/>
                    </a:lnTo>
                    <a:lnTo>
                      <a:pt x="49" y="36"/>
                    </a:lnTo>
                    <a:lnTo>
                      <a:pt x="58" y="40"/>
                    </a:lnTo>
                    <a:lnTo>
                      <a:pt x="64" y="40"/>
                    </a:lnTo>
                    <a:lnTo>
                      <a:pt x="68" y="45"/>
                    </a:lnTo>
                    <a:lnTo>
                      <a:pt x="64" y="45"/>
                    </a:lnTo>
                    <a:lnTo>
                      <a:pt x="68" y="51"/>
                    </a:lnTo>
                    <a:lnTo>
                      <a:pt x="64" y="53"/>
                    </a:lnTo>
                    <a:lnTo>
                      <a:pt x="64" y="57"/>
                    </a:lnTo>
                    <a:lnTo>
                      <a:pt x="58" y="58"/>
                    </a:lnTo>
                    <a:lnTo>
                      <a:pt x="53" y="43"/>
                    </a:lnTo>
                    <a:lnTo>
                      <a:pt x="47" y="43"/>
                    </a:lnTo>
                    <a:lnTo>
                      <a:pt x="43" y="36"/>
                    </a:lnTo>
                    <a:lnTo>
                      <a:pt x="41" y="36"/>
                    </a:lnTo>
                    <a:lnTo>
                      <a:pt x="37" y="38"/>
                    </a:lnTo>
                    <a:lnTo>
                      <a:pt x="34" y="34"/>
                    </a:lnTo>
                    <a:lnTo>
                      <a:pt x="30" y="36"/>
                    </a:lnTo>
                    <a:lnTo>
                      <a:pt x="28" y="36"/>
                    </a:lnTo>
                    <a:lnTo>
                      <a:pt x="24" y="34"/>
                    </a:lnTo>
                    <a:lnTo>
                      <a:pt x="24" y="30"/>
                    </a:lnTo>
                    <a:lnTo>
                      <a:pt x="19" y="30"/>
                    </a:lnTo>
                    <a:lnTo>
                      <a:pt x="13" y="30"/>
                    </a:lnTo>
                    <a:lnTo>
                      <a:pt x="7" y="26"/>
                    </a:lnTo>
                    <a:lnTo>
                      <a:pt x="7" y="19"/>
                    </a:lnTo>
                    <a:lnTo>
                      <a:pt x="9" y="13"/>
                    </a:lnTo>
                    <a:lnTo>
                      <a:pt x="7" y="8"/>
                    </a:lnTo>
                    <a:lnTo>
                      <a:pt x="4" y="8"/>
                    </a:lnTo>
                    <a:lnTo>
                      <a:pt x="4" y="6"/>
                    </a:lnTo>
                    <a:lnTo>
                      <a:pt x="0" y="2"/>
                    </a:lnTo>
                    <a:lnTo>
                      <a:pt x="0" y="2"/>
                    </a:lnTo>
                    <a:lnTo>
                      <a:pt x="0"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8" name="Freeform 60"/>
              <p:cNvSpPr>
                <a:spLocks noEditPoints="1"/>
              </p:cNvSpPr>
              <p:nvPr/>
            </p:nvSpPr>
            <p:spPr bwMode="auto">
              <a:xfrm>
                <a:off x="3227" y="2261"/>
                <a:ext cx="344" cy="138"/>
              </a:xfrm>
              <a:custGeom>
                <a:avLst/>
                <a:gdLst/>
                <a:ahLst/>
                <a:cxnLst>
                  <a:cxn ang="0">
                    <a:pos x="17" y="15"/>
                  </a:cxn>
                  <a:cxn ang="0">
                    <a:pos x="26" y="2"/>
                  </a:cxn>
                  <a:cxn ang="0">
                    <a:pos x="49" y="17"/>
                  </a:cxn>
                  <a:cxn ang="0">
                    <a:pos x="47" y="26"/>
                  </a:cxn>
                  <a:cxn ang="0">
                    <a:pos x="19" y="40"/>
                  </a:cxn>
                  <a:cxn ang="0">
                    <a:pos x="15" y="36"/>
                  </a:cxn>
                  <a:cxn ang="0">
                    <a:pos x="6" y="30"/>
                  </a:cxn>
                  <a:cxn ang="0">
                    <a:pos x="269" y="17"/>
                  </a:cxn>
                  <a:cxn ang="0">
                    <a:pos x="243" y="21"/>
                  </a:cxn>
                  <a:cxn ang="0">
                    <a:pos x="216" y="26"/>
                  </a:cxn>
                  <a:cxn ang="0">
                    <a:pos x="188" y="15"/>
                  </a:cxn>
                  <a:cxn ang="0">
                    <a:pos x="177" y="6"/>
                  </a:cxn>
                  <a:cxn ang="0">
                    <a:pos x="160" y="0"/>
                  </a:cxn>
                  <a:cxn ang="0">
                    <a:pos x="130" y="4"/>
                  </a:cxn>
                  <a:cxn ang="0">
                    <a:pos x="104" y="17"/>
                  </a:cxn>
                  <a:cxn ang="0">
                    <a:pos x="81" y="21"/>
                  </a:cxn>
                  <a:cxn ang="0">
                    <a:pos x="60" y="23"/>
                  </a:cxn>
                  <a:cxn ang="0">
                    <a:pos x="64" y="34"/>
                  </a:cxn>
                  <a:cxn ang="0">
                    <a:pos x="56" y="43"/>
                  </a:cxn>
                  <a:cxn ang="0">
                    <a:pos x="32" y="45"/>
                  </a:cxn>
                  <a:cxn ang="0">
                    <a:pos x="9" y="53"/>
                  </a:cxn>
                  <a:cxn ang="0">
                    <a:pos x="19" y="62"/>
                  </a:cxn>
                  <a:cxn ang="0">
                    <a:pos x="24" y="72"/>
                  </a:cxn>
                  <a:cxn ang="0">
                    <a:pos x="23" y="81"/>
                  </a:cxn>
                  <a:cxn ang="0">
                    <a:pos x="17" y="81"/>
                  </a:cxn>
                  <a:cxn ang="0">
                    <a:pos x="19" y="94"/>
                  </a:cxn>
                  <a:cxn ang="0">
                    <a:pos x="30" y="106"/>
                  </a:cxn>
                  <a:cxn ang="0">
                    <a:pos x="32" y="117"/>
                  </a:cxn>
                  <a:cxn ang="0">
                    <a:pos x="45" y="123"/>
                  </a:cxn>
                  <a:cxn ang="0">
                    <a:pos x="43" y="124"/>
                  </a:cxn>
                  <a:cxn ang="0">
                    <a:pos x="55" y="123"/>
                  </a:cxn>
                  <a:cxn ang="0">
                    <a:pos x="66" y="126"/>
                  </a:cxn>
                  <a:cxn ang="0">
                    <a:pos x="75" y="136"/>
                  </a:cxn>
                  <a:cxn ang="0">
                    <a:pos x="94" y="130"/>
                  </a:cxn>
                  <a:cxn ang="0">
                    <a:pos x="119" y="126"/>
                  </a:cxn>
                  <a:cxn ang="0">
                    <a:pos x="154" y="134"/>
                  </a:cxn>
                  <a:cxn ang="0">
                    <a:pos x="175" y="123"/>
                  </a:cxn>
                  <a:cxn ang="0">
                    <a:pos x="194" y="123"/>
                  </a:cxn>
                  <a:cxn ang="0">
                    <a:pos x="194" y="138"/>
                  </a:cxn>
                  <a:cxn ang="0">
                    <a:pos x="205" y="121"/>
                  </a:cxn>
                  <a:cxn ang="0">
                    <a:pos x="237" y="117"/>
                  </a:cxn>
                  <a:cxn ang="0">
                    <a:pos x="262" y="117"/>
                  </a:cxn>
                  <a:cxn ang="0">
                    <a:pos x="296" y="109"/>
                  </a:cxn>
                  <a:cxn ang="0">
                    <a:pos x="322" y="106"/>
                  </a:cxn>
                  <a:cxn ang="0">
                    <a:pos x="344" y="111"/>
                  </a:cxn>
                  <a:cxn ang="0">
                    <a:pos x="331" y="87"/>
                  </a:cxn>
                  <a:cxn ang="0">
                    <a:pos x="329" y="64"/>
                  </a:cxn>
                  <a:cxn ang="0">
                    <a:pos x="331" y="47"/>
                  </a:cxn>
                  <a:cxn ang="0">
                    <a:pos x="316" y="28"/>
                  </a:cxn>
                  <a:cxn ang="0">
                    <a:pos x="297" y="11"/>
                  </a:cxn>
                  <a:cxn ang="0">
                    <a:pos x="280" y="11"/>
                  </a:cxn>
                  <a:cxn ang="0">
                    <a:pos x="41" y="126"/>
                  </a:cxn>
                  <a:cxn ang="0">
                    <a:pos x="41" y="126"/>
                  </a:cxn>
                  <a:cxn ang="0">
                    <a:pos x="8" y="43"/>
                  </a:cxn>
                  <a:cxn ang="0">
                    <a:pos x="0" y="45"/>
                  </a:cxn>
                </a:cxnLst>
                <a:rect l="0" t="0" r="r" b="b"/>
                <a:pathLst>
                  <a:path w="344" h="138">
                    <a:moveTo>
                      <a:pt x="6" y="30"/>
                    </a:moveTo>
                    <a:lnTo>
                      <a:pt x="9" y="30"/>
                    </a:lnTo>
                    <a:lnTo>
                      <a:pt x="11" y="26"/>
                    </a:lnTo>
                    <a:lnTo>
                      <a:pt x="11" y="21"/>
                    </a:lnTo>
                    <a:lnTo>
                      <a:pt x="17" y="17"/>
                    </a:lnTo>
                    <a:lnTo>
                      <a:pt x="17" y="15"/>
                    </a:lnTo>
                    <a:lnTo>
                      <a:pt x="13" y="13"/>
                    </a:lnTo>
                    <a:lnTo>
                      <a:pt x="13" y="8"/>
                    </a:lnTo>
                    <a:lnTo>
                      <a:pt x="17" y="4"/>
                    </a:lnTo>
                    <a:lnTo>
                      <a:pt x="21" y="4"/>
                    </a:lnTo>
                    <a:lnTo>
                      <a:pt x="23" y="2"/>
                    </a:lnTo>
                    <a:lnTo>
                      <a:pt x="26" y="2"/>
                    </a:lnTo>
                    <a:lnTo>
                      <a:pt x="32" y="6"/>
                    </a:lnTo>
                    <a:lnTo>
                      <a:pt x="34" y="4"/>
                    </a:lnTo>
                    <a:lnTo>
                      <a:pt x="38" y="4"/>
                    </a:lnTo>
                    <a:lnTo>
                      <a:pt x="40" y="11"/>
                    </a:lnTo>
                    <a:lnTo>
                      <a:pt x="45" y="17"/>
                    </a:lnTo>
                    <a:lnTo>
                      <a:pt x="49" y="17"/>
                    </a:lnTo>
                    <a:lnTo>
                      <a:pt x="55" y="21"/>
                    </a:lnTo>
                    <a:lnTo>
                      <a:pt x="56" y="23"/>
                    </a:lnTo>
                    <a:lnTo>
                      <a:pt x="56" y="26"/>
                    </a:lnTo>
                    <a:lnTo>
                      <a:pt x="55" y="28"/>
                    </a:lnTo>
                    <a:lnTo>
                      <a:pt x="49" y="28"/>
                    </a:lnTo>
                    <a:lnTo>
                      <a:pt x="47" y="26"/>
                    </a:lnTo>
                    <a:lnTo>
                      <a:pt x="43" y="26"/>
                    </a:lnTo>
                    <a:lnTo>
                      <a:pt x="41" y="28"/>
                    </a:lnTo>
                    <a:lnTo>
                      <a:pt x="34" y="28"/>
                    </a:lnTo>
                    <a:lnTo>
                      <a:pt x="30" y="30"/>
                    </a:lnTo>
                    <a:lnTo>
                      <a:pt x="30" y="34"/>
                    </a:lnTo>
                    <a:lnTo>
                      <a:pt x="19" y="40"/>
                    </a:lnTo>
                    <a:lnTo>
                      <a:pt x="11" y="47"/>
                    </a:lnTo>
                    <a:lnTo>
                      <a:pt x="11" y="43"/>
                    </a:lnTo>
                    <a:lnTo>
                      <a:pt x="13" y="38"/>
                    </a:lnTo>
                    <a:lnTo>
                      <a:pt x="15" y="38"/>
                    </a:lnTo>
                    <a:lnTo>
                      <a:pt x="19" y="36"/>
                    </a:lnTo>
                    <a:lnTo>
                      <a:pt x="15" y="36"/>
                    </a:lnTo>
                    <a:lnTo>
                      <a:pt x="13" y="36"/>
                    </a:lnTo>
                    <a:lnTo>
                      <a:pt x="11" y="36"/>
                    </a:lnTo>
                    <a:lnTo>
                      <a:pt x="8" y="34"/>
                    </a:lnTo>
                    <a:lnTo>
                      <a:pt x="6" y="30"/>
                    </a:lnTo>
                    <a:lnTo>
                      <a:pt x="6" y="30"/>
                    </a:lnTo>
                    <a:lnTo>
                      <a:pt x="6" y="30"/>
                    </a:lnTo>
                    <a:lnTo>
                      <a:pt x="6" y="30"/>
                    </a:lnTo>
                    <a:lnTo>
                      <a:pt x="6" y="30"/>
                    </a:lnTo>
                    <a:close/>
                    <a:moveTo>
                      <a:pt x="277" y="8"/>
                    </a:moveTo>
                    <a:lnTo>
                      <a:pt x="277" y="10"/>
                    </a:lnTo>
                    <a:lnTo>
                      <a:pt x="275" y="15"/>
                    </a:lnTo>
                    <a:lnTo>
                      <a:pt x="269" y="17"/>
                    </a:lnTo>
                    <a:lnTo>
                      <a:pt x="264" y="21"/>
                    </a:lnTo>
                    <a:lnTo>
                      <a:pt x="262" y="23"/>
                    </a:lnTo>
                    <a:lnTo>
                      <a:pt x="256" y="23"/>
                    </a:lnTo>
                    <a:lnTo>
                      <a:pt x="252" y="26"/>
                    </a:lnTo>
                    <a:lnTo>
                      <a:pt x="247" y="23"/>
                    </a:lnTo>
                    <a:lnTo>
                      <a:pt x="243" y="21"/>
                    </a:lnTo>
                    <a:lnTo>
                      <a:pt x="241" y="21"/>
                    </a:lnTo>
                    <a:lnTo>
                      <a:pt x="241" y="21"/>
                    </a:lnTo>
                    <a:lnTo>
                      <a:pt x="237" y="21"/>
                    </a:lnTo>
                    <a:lnTo>
                      <a:pt x="232" y="23"/>
                    </a:lnTo>
                    <a:lnTo>
                      <a:pt x="222" y="26"/>
                    </a:lnTo>
                    <a:lnTo>
                      <a:pt x="216" y="26"/>
                    </a:lnTo>
                    <a:lnTo>
                      <a:pt x="213" y="21"/>
                    </a:lnTo>
                    <a:lnTo>
                      <a:pt x="209" y="23"/>
                    </a:lnTo>
                    <a:lnTo>
                      <a:pt x="201" y="21"/>
                    </a:lnTo>
                    <a:lnTo>
                      <a:pt x="198" y="21"/>
                    </a:lnTo>
                    <a:lnTo>
                      <a:pt x="194" y="15"/>
                    </a:lnTo>
                    <a:lnTo>
                      <a:pt x="188" y="15"/>
                    </a:lnTo>
                    <a:lnTo>
                      <a:pt x="188" y="17"/>
                    </a:lnTo>
                    <a:lnTo>
                      <a:pt x="186" y="17"/>
                    </a:lnTo>
                    <a:lnTo>
                      <a:pt x="183" y="13"/>
                    </a:lnTo>
                    <a:lnTo>
                      <a:pt x="181" y="8"/>
                    </a:lnTo>
                    <a:lnTo>
                      <a:pt x="179" y="6"/>
                    </a:lnTo>
                    <a:lnTo>
                      <a:pt x="177" y="6"/>
                    </a:lnTo>
                    <a:lnTo>
                      <a:pt x="173" y="11"/>
                    </a:lnTo>
                    <a:lnTo>
                      <a:pt x="169" y="10"/>
                    </a:lnTo>
                    <a:lnTo>
                      <a:pt x="168" y="11"/>
                    </a:lnTo>
                    <a:lnTo>
                      <a:pt x="162" y="4"/>
                    </a:lnTo>
                    <a:lnTo>
                      <a:pt x="162" y="0"/>
                    </a:lnTo>
                    <a:lnTo>
                      <a:pt x="160" y="0"/>
                    </a:lnTo>
                    <a:lnTo>
                      <a:pt x="156" y="2"/>
                    </a:lnTo>
                    <a:lnTo>
                      <a:pt x="151" y="2"/>
                    </a:lnTo>
                    <a:lnTo>
                      <a:pt x="147" y="2"/>
                    </a:lnTo>
                    <a:lnTo>
                      <a:pt x="143" y="2"/>
                    </a:lnTo>
                    <a:lnTo>
                      <a:pt x="136" y="2"/>
                    </a:lnTo>
                    <a:lnTo>
                      <a:pt x="130" y="4"/>
                    </a:lnTo>
                    <a:lnTo>
                      <a:pt x="120" y="8"/>
                    </a:lnTo>
                    <a:lnTo>
                      <a:pt x="119" y="8"/>
                    </a:lnTo>
                    <a:lnTo>
                      <a:pt x="109" y="10"/>
                    </a:lnTo>
                    <a:lnTo>
                      <a:pt x="109" y="11"/>
                    </a:lnTo>
                    <a:lnTo>
                      <a:pt x="105" y="13"/>
                    </a:lnTo>
                    <a:lnTo>
                      <a:pt x="104" y="17"/>
                    </a:lnTo>
                    <a:lnTo>
                      <a:pt x="102" y="17"/>
                    </a:lnTo>
                    <a:lnTo>
                      <a:pt x="100" y="21"/>
                    </a:lnTo>
                    <a:lnTo>
                      <a:pt x="98" y="21"/>
                    </a:lnTo>
                    <a:lnTo>
                      <a:pt x="98" y="23"/>
                    </a:lnTo>
                    <a:lnTo>
                      <a:pt x="90" y="26"/>
                    </a:lnTo>
                    <a:lnTo>
                      <a:pt x="81" y="21"/>
                    </a:lnTo>
                    <a:lnTo>
                      <a:pt x="79" y="21"/>
                    </a:lnTo>
                    <a:lnTo>
                      <a:pt x="75" y="21"/>
                    </a:lnTo>
                    <a:lnTo>
                      <a:pt x="72" y="21"/>
                    </a:lnTo>
                    <a:lnTo>
                      <a:pt x="66" y="23"/>
                    </a:lnTo>
                    <a:lnTo>
                      <a:pt x="64" y="21"/>
                    </a:lnTo>
                    <a:lnTo>
                      <a:pt x="60" y="23"/>
                    </a:lnTo>
                    <a:lnTo>
                      <a:pt x="60" y="26"/>
                    </a:lnTo>
                    <a:lnTo>
                      <a:pt x="60" y="32"/>
                    </a:lnTo>
                    <a:lnTo>
                      <a:pt x="66" y="32"/>
                    </a:lnTo>
                    <a:lnTo>
                      <a:pt x="72" y="32"/>
                    </a:lnTo>
                    <a:lnTo>
                      <a:pt x="70" y="34"/>
                    </a:lnTo>
                    <a:lnTo>
                      <a:pt x="64" y="34"/>
                    </a:lnTo>
                    <a:lnTo>
                      <a:pt x="55" y="36"/>
                    </a:lnTo>
                    <a:lnTo>
                      <a:pt x="55" y="40"/>
                    </a:lnTo>
                    <a:lnTo>
                      <a:pt x="55" y="42"/>
                    </a:lnTo>
                    <a:lnTo>
                      <a:pt x="60" y="40"/>
                    </a:lnTo>
                    <a:lnTo>
                      <a:pt x="60" y="43"/>
                    </a:lnTo>
                    <a:lnTo>
                      <a:pt x="56" y="43"/>
                    </a:lnTo>
                    <a:lnTo>
                      <a:pt x="49" y="43"/>
                    </a:lnTo>
                    <a:lnTo>
                      <a:pt x="45" y="42"/>
                    </a:lnTo>
                    <a:lnTo>
                      <a:pt x="41" y="43"/>
                    </a:lnTo>
                    <a:lnTo>
                      <a:pt x="38" y="42"/>
                    </a:lnTo>
                    <a:lnTo>
                      <a:pt x="36" y="42"/>
                    </a:lnTo>
                    <a:lnTo>
                      <a:pt x="32" y="45"/>
                    </a:lnTo>
                    <a:lnTo>
                      <a:pt x="30" y="45"/>
                    </a:lnTo>
                    <a:lnTo>
                      <a:pt x="26" y="42"/>
                    </a:lnTo>
                    <a:lnTo>
                      <a:pt x="23" y="42"/>
                    </a:lnTo>
                    <a:lnTo>
                      <a:pt x="13" y="47"/>
                    </a:lnTo>
                    <a:lnTo>
                      <a:pt x="11" y="51"/>
                    </a:lnTo>
                    <a:lnTo>
                      <a:pt x="9" y="53"/>
                    </a:lnTo>
                    <a:lnTo>
                      <a:pt x="11" y="55"/>
                    </a:lnTo>
                    <a:lnTo>
                      <a:pt x="11" y="59"/>
                    </a:lnTo>
                    <a:lnTo>
                      <a:pt x="9" y="60"/>
                    </a:lnTo>
                    <a:lnTo>
                      <a:pt x="11" y="64"/>
                    </a:lnTo>
                    <a:lnTo>
                      <a:pt x="17" y="62"/>
                    </a:lnTo>
                    <a:lnTo>
                      <a:pt x="19" y="62"/>
                    </a:lnTo>
                    <a:lnTo>
                      <a:pt x="23" y="60"/>
                    </a:lnTo>
                    <a:lnTo>
                      <a:pt x="26" y="62"/>
                    </a:lnTo>
                    <a:lnTo>
                      <a:pt x="23" y="66"/>
                    </a:lnTo>
                    <a:lnTo>
                      <a:pt x="23" y="68"/>
                    </a:lnTo>
                    <a:lnTo>
                      <a:pt x="24" y="72"/>
                    </a:lnTo>
                    <a:lnTo>
                      <a:pt x="24" y="72"/>
                    </a:lnTo>
                    <a:lnTo>
                      <a:pt x="24" y="75"/>
                    </a:lnTo>
                    <a:lnTo>
                      <a:pt x="24" y="75"/>
                    </a:lnTo>
                    <a:lnTo>
                      <a:pt x="26" y="75"/>
                    </a:lnTo>
                    <a:lnTo>
                      <a:pt x="30" y="75"/>
                    </a:lnTo>
                    <a:lnTo>
                      <a:pt x="26" y="77"/>
                    </a:lnTo>
                    <a:lnTo>
                      <a:pt x="23" y="81"/>
                    </a:lnTo>
                    <a:lnTo>
                      <a:pt x="24" y="81"/>
                    </a:lnTo>
                    <a:lnTo>
                      <a:pt x="26" y="81"/>
                    </a:lnTo>
                    <a:lnTo>
                      <a:pt x="24" y="85"/>
                    </a:lnTo>
                    <a:lnTo>
                      <a:pt x="23" y="87"/>
                    </a:lnTo>
                    <a:lnTo>
                      <a:pt x="21" y="87"/>
                    </a:lnTo>
                    <a:lnTo>
                      <a:pt x="17" y="81"/>
                    </a:lnTo>
                    <a:lnTo>
                      <a:pt x="17" y="81"/>
                    </a:lnTo>
                    <a:lnTo>
                      <a:pt x="15" y="85"/>
                    </a:lnTo>
                    <a:lnTo>
                      <a:pt x="17" y="89"/>
                    </a:lnTo>
                    <a:lnTo>
                      <a:pt x="15" y="91"/>
                    </a:lnTo>
                    <a:lnTo>
                      <a:pt x="15" y="92"/>
                    </a:lnTo>
                    <a:lnTo>
                      <a:pt x="19" y="94"/>
                    </a:lnTo>
                    <a:lnTo>
                      <a:pt x="21" y="92"/>
                    </a:lnTo>
                    <a:lnTo>
                      <a:pt x="24" y="96"/>
                    </a:lnTo>
                    <a:lnTo>
                      <a:pt x="26" y="96"/>
                    </a:lnTo>
                    <a:lnTo>
                      <a:pt x="30" y="96"/>
                    </a:lnTo>
                    <a:lnTo>
                      <a:pt x="30" y="102"/>
                    </a:lnTo>
                    <a:lnTo>
                      <a:pt x="30" y="106"/>
                    </a:lnTo>
                    <a:lnTo>
                      <a:pt x="30" y="109"/>
                    </a:lnTo>
                    <a:lnTo>
                      <a:pt x="30" y="109"/>
                    </a:lnTo>
                    <a:lnTo>
                      <a:pt x="32" y="109"/>
                    </a:lnTo>
                    <a:lnTo>
                      <a:pt x="38" y="113"/>
                    </a:lnTo>
                    <a:lnTo>
                      <a:pt x="36" y="117"/>
                    </a:lnTo>
                    <a:lnTo>
                      <a:pt x="32" y="117"/>
                    </a:lnTo>
                    <a:lnTo>
                      <a:pt x="32" y="119"/>
                    </a:lnTo>
                    <a:lnTo>
                      <a:pt x="34" y="119"/>
                    </a:lnTo>
                    <a:lnTo>
                      <a:pt x="40" y="119"/>
                    </a:lnTo>
                    <a:lnTo>
                      <a:pt x="49" y="119"/>
                    </a:lnTo>
                    <a:lnTo>
                      <a:pt x="49" y="119"/>
                    </a:lnTo>
                    <a:lnTo>
                      <a:pt x="45" y="123"/>
                    </a:lnTo>
                    <a:lnTo>
                      <a:pt x="41" y="124"/>
                    </a:lnTo>
                    <a:lnTo>
                      <a:pt x="36" y="123"/>
                    </a:lnTo>
                    <a:lnTo>
                      <a:pt x="34" y="126"/>
                    </a:lnTo>
                    <a:lnTo>
                      <a:pt x="36" y="126"/>
                    </a:lnTo>
                    <a:lnTo>
                      <a:pt x="40" y="124"/>
                    </a:lnTo>
                    <a:lnTo>
                      <a:pt x="43" y="124"/>
                    </a:lnTo>
                    <a:lnTo>
                      <a:pt x="45" y="124"/>
                    </a:lnTo>
                    <a:lnTo>
                      <a:pt x="45" y="126"/>
                    </a:lnTo>
                    <a:lnTo>
                      <a:pt x="47" y="126"/>
                    </a:lnTo>
                    <a:lnTo>
                      <a:pt x="49" y="124"/>
                    </a:lnTo>
                    <a:lnTo>
                      <a:pt x="51" y="123"/>
                    </a:lnTo>
                    <a:lnTo>
                      <a:pt x="55" y="123"/>
                    </a:lnTo>
                    <a:lnTo>
                      <a:pt x="55" y="124"/>
                    </a:lnTo>
                    <a:lnTo>
                      <a:pt x="60" y="124"/>
                    </a:lnTo>
                    <a:lnTo>
                      <a:pt x="64" y="126"/>
                    </a:lnTo>
                    <a:lnTo>
                      <a:pt x="64" y="124"/>
                    </a:lnTo>
                    <a:lnTo>
                      <a:pt x="66" y="124"/>
                    </a:lnTo>
                    <a:lnTo>
                      <a:pt x="66" y="126"/>
                    </a:lnTo>
                    <a:lnTo>
                      <a:pt x="64" y="126"/>
                    </a:lnTo>
                    <a:lnTo>
                      <a:pt x="66" y="130"/>
                    </a:lnTo>
                    <a:lnTo>
                      <a:pt x="66" y="130"/>
                    </a:lnTo>
                    <a:lnTo>
                      <a:pt x="70" y="134"/>
                    </a:lnTo>
                    <a:lnTo>
                      <a:pt x="72" y="134"/>
                    </a:lnTo>
                    <a:lnTo>
                      <a:pt x="75" y="136"/>
                    </a:lnTo>
                    <a:lnTo>
                      <a:pt x="81" y="134"/>
                    </a:lnTo>
                    <a:lnTo>
                      <a:pt x="81" y="134"/>
                    </a:lnTo>
                    <a:lnTo>
                      <a:pt x="85" y="134"/>
                    </a:lnTo>
                    <a:lnTo>
                      <a:pt x="88" y="130"/>
                    </a:lnTo>
                    <a:lnTo>
                      <a:pt x="90" y="134"/>
                    </a:lnTo>
                    <a:lnTo>
                      <a:pt x="94" y="130"/>
                    </a:lnTo>
                    <a:lnTo>
                      <a:pt x="92" y="126"/>
                    </a:lnTo>
                    <a:lnTo>
                      <a:pt x="94" y="126"/>
                    </a:lnTo>
                    <a:lnTo>
                      <a:pt x="92" y="121"/>
                    </a:lnTo>
                    <a:lnTo>
                      <a:pt x="102" y="121"/>
                    </a:lnTo>
                    <a:lnTo>
                      <a:pt x="109" y="121"/>
                    </a:lnTo>
                    <a:lnTo>
                      <a:pt x="119" y="126"/>
                    </a:lnTo>
                    <a:lnTo>
                      <a:pt x="120" y="126"/>
                    </a:lnTo>
                    <a:lnTo>
                      <a:pt x="126" y="134"/>
                    </a:lnTo>
                    <a:lnTo>
                      <a:pt x="130" y="136"/>
                    </a:lnTo>
                    <a:lnTo>
                      <a:pt x="147" y="134"/>
                    </a:lnTo>
                    <a:lnTo>
                      <a:pt x="152" y="134"/>
                    </a:lnTo>
                    <a:lnTo>
                      <a:pt x="154" y="134"/>
                    </a:lnTo>
                    <a:lnTo>
                      <a:pt x="156" y="134"/>
                    </a:lnTo>
                    <a:lnTo>
                      <a:pt x="158" y="130"/>
                    </a:lnTo>
                    <a:lnTo>
                      <a:pt x="158" y="130"/>
                    </a:lnTo>
                    <a:lnTo>
                      <a:pt x="168" y="119"/>
                    </a:lnTo>
                    <a:lnTo>
                      <a:pt x="168" y="119"/>
                    </a:lnTo>
                    <a:lnTo>
                      <a:pt x="175" y="123"/>
                    </a:lnTo>
                    <a:lnTo>
                      <a:pt x="181" y="124"/>
                    </a:lnTo>
                    <a:lnTo>
                      <a:pt x="186" y="123"/>
                    </a:lnTo>
                    <a:lnTo>
                      <a:pt x="186" y="121"/>
                    </a:lnTo>
                    <a:lnTo>
                      <a:pt x="192" y="119"/>
                    </a:lnTo>
                    <a:lnTo>
                      <a:pt x="194" y="119"/>
                    </a:lnTo>
                    <a:lnTo>
                      <a:pt x="194" y="123"/>
                    </a:lnTo>
                    <a:lnTo>
                      <a:pt x="192" y="126"/>
                    </a:lnTo>
                    <a:lnTo>
                      <a:pt x="188" y="130"/>
                    </a:lnTo>
                    <a:lnTo>
                      <a:pt x="188" y="130"/>
                    </a:lnTo>
                    <a:lnTo>
                      <a:pt x="192" y="134"/>
                    </a:lnTo>
                    <a:lnTo>
                      <a:pt x="192" y="138"/>
                    </a:lnTo>
                    <a:lnTo>
                      <a:pt x="194" y="138"/>
                    </a:lnTo>
                    <a:lnTo>
                      <a:pt x="198" y="138"/>
                    </a:lnTo>
                    <a:lnTo>
                      <a:pt x="201" y="136"/>
                    </a:lnTo>
                    <a:lnTo>
                      <a:pt x="201" y="134"/>
                    </a:lnTo>
                    <a:lnTo>
                      <a:pt x="203" y="130"/>
                    </a:lnTo>
                    <a:lnTo>
                      <a:pt x="203" y="124"/>
                    </a:lnTo>
                    <a:lnTo>
                      <a:pt x="205" y="121"/>
                    </a:lnTo>
                    <a:lnTo>
                      <a:pt x="211" y="123"/>
                    </a:lnTo>
                    <a:lnTo>
                      <a:pt x="213" y="123"/>
                    </a:lnTo>
                    <a:lnTo>
                      <a:pt x="222" y="119"/>
                    </a:lnTo>
                    <a:lnTo>
                      <a:pt x="226" y="119"/>
                    </a:lnTo>
                    <a:lnTo>
                      <a:pt x="226" y="117"/>
                    </a:lnTo>
                    <a:lnTo>
                      <a:pt x="237" y="117"/>
                    </a:lnTo>
                    <a:lnTo>
                      <a:pt x="241" y="117"/>
                    </a:lnTo>
                    <a:lnTo>
                      <a:pt x="243" y="119"/>
                    </a:lnTo>
                    <a:lnTo>
                      <a:pt x="248" y="121"/>
                    </a:lnTo>
                    <a:lnTo>
                      <a:pt x="256" y="121"/>
                    </a:lnTo>
                    <a:lnTo>
                      <a:pt x="256" y="119"/>
                    </a:lnTo>
                    <a:lnTo>
                      <a:pt x="262" y="117"/>
                    </a:lnTo>
                    <a:lnTo>
                      <a:pt x="265" y="115"/>
                    </a:lnTo>
                    <a:lnTo>
                      <a:pt x="271" y="113"/>
                    </a:lnTo>
                    <a:lnTo>
                      <a:pt x="277" y="113"/>
                    </a:lnTo>
                    <a:lnTo>
                      <a:pt x="280" y="111"/>
                    </a:lnTo>
                    <a:lnTo>
                      <a:pt x="288" y="111"/>
                    </a:lnTo>
                    <a:lnTo>
                      <a:pt x="296" y="109"/>
                    </a:lnTo>
                    <a:lnTo>
                      <a:pt x="301" y="109"/>
                    </a:lnTo>
                    <a:lnTo>
                      <a:pt x="301" y="111"/>
                    </a:lnTo>
                    <a:lnTo>
                      <a:pt x="307" y="106"/>
                    </a:lnTo>
                    <a:lnTo>
                      <a:pt x="312" y="106"/>
                    </a:lnTo>
                    <a:lnTo>
                      <a:pt x="314" y="106"/>
                    </a:lnTo>
                    <a:lnTo>
                      <a:pt x="322" y="106"/>
                    </a:lnTo>
                    <a:lnTo>
                      <a:pt x="328" y="106"/>
                    </a:lnTo>
                    <a:lnTo>
                      <a:pt x="331" y="106"/>
                    </a:lnTo>
                    <a:lnTo>
                      <a:pt x="335" y="109"/>
                    </a:lnTo>
                    <a:lnTo>
                      <a:pt x="335" y="111"/>
                    </a:lnTo>
                    <a:lnTo>
                      <a:pt x="337" y="111"/>
                    </a:lnTo>
                    <a:lnTo>
                      <a:pt x="344" y="111"/>
                    </a:lnTo>
                    <a:lnTo>
                      <a:pt x="344" y="109"/>
                    </a:lnTo>
                    <a:lnTo>
                      <a:pt x="341" y="106"/>
                    </a:lnTo>
                    <a:lnTo>
                      <a:pt x="337" y="96"/>
                    </a:lnTo>
                    <a:lnTo>
                      <a:pt x="331" y="94"/>
                    </a:lnTo>
                    <a:lnTo>
                      <a:pt x="331" y="92"/>
                    </a:lnTo>
                    <a:lnTo>
                      <a:pt x="331" y="87"/>
                    </a:lnTo>
                    <a:lnTo>
                      <a:pt x="335" y="81"/>
                    </a:lnTo>
                    <a:lnTo>
                      <a:pt x="335" y="79"/>
                    </a:lnTo>
                    <a:lnTo>
                      <a:pt x="329" y="77"/>
                    </a:lnTo>
                    <a:lnTo>
                      <a:pt x="329" y="75"/>
                    </a:lnTo>
                    <a:lnTo>
                      <a:pt x="331" y="72"/>
                    </a:lnTo>
                    <a:lnTo>
                      <a:pt x="329" y="64"/>
                    </a:lnTo>
                    <a:lnTo>
                      <a:pt x="328" y="60"/>
                    </a:lnTo>
                    <a:lnTo>
                      <a:pt x="326" y="59"/>
                    </a:lnTo>
                    <a:lnTo>
                      <a:pt x="331" y="57"/>
                    </a:lnTo>
                    <a:lnTo>
                      <a:pt x="331" y="53"/>
                    </a:lnTo>
                    <a:lnTo>
                      <a:pt x="335" y="51"/>
                    </a:lnTo>
                    <a:lnTo>
                      <a:pt x="331" y="47"/>
                    </a:lnTo>
                    <a:lnTo>
                      <a:pt x="331" y="45"/>
                    </a:lnTo>
                    <a:lnTo>
                      <a:pt x="328" y="45"/>
                    </a:lnTo>
                    <a:lnTo>
                      <a:pt x="320" y="45"/>
                    </a:lnTo>
                    <a:lnTo>
                      <a:pt x="314" y="42"/>
                    </a:lnTo>
                    <a:lnTo>
                      <a:pt x="314" y="34"/>
                    </a:lnTo>
                    <a:lnTo>
                      <a:pt x="316" y="28"/>
                    </a:lnTo>
                    <a:lnTo>
                      <a:pt x="314" y="23"/>
                    </a:lnTo>
                    <a:lnTo>
                      <a:pt x="311" y="23"/>
                    </a:lnTo>
                    <a:lnTo>
                      <a:pt x="311" y="21"/>
                    </a:lnTo>
                    <a:lnTo>
                      <a:pt x="307" y="17"/>
                    </a:lnTo>
                    <a:lnTo>
                      <a:pt x="305" y="17"/>
                    </a:lnTo>
                    <a:lnTo>
                      <a:pt x="297" y="11"/>
                    </a:lnTo>
                    <a:lnTo>
                      <a:pt x="294" y="10"/>
                    </a:lnTo>
                    <a:lnTo>
                      <a:pt x="290" y="11"/>
                    </a:lnTo>
                    <a:lnTo>
                      <a:pt x="288" y="13"/>
                    </a:lnTo>
                    <a:lnTo>
                      <a:pt x="282" y="11"/>
                    </a:lnTo>
                    <a:lnTo>
                      <a:pt x="280" y="13"/>
                    </a:lnTo>
                    <a:lnTo>
                      <a:pt x="280" y="11"/>
                    </a:lnTo>
                    <a:lnTo>
                      <a:pt x="280" y="10"/>
                    </a:lnTo>
                    <a:lnTo>
                      <a:pt x="277" y="8"/>
                    </a:lnTo>
                    <a:lnTo>
                      <a:pt x="277" y="8"/>
                    </a:lnTo>
                    <a:lnTo>
                      <a:pt x="277" y="8"/>
                    </a:lnTo>
                    <a:lnTo>
                      <a:pt x="277" y="8"/>
                    </a:lnTo>
                    <a:close/>
                    <a:moveTo>
                      <a:pt x="41" y="126"/>
                    </a:moveTo>
                    <a:lnTo>
                      <a:pt x="43" y="126"/>
                    </a:lnTo>
                    <a:lnTo>
                      <a:pt x="45" y="126"/>
                    </a:lnTo>
                    <a:lnTo>
                      <a:pt x="45" y="126"/>
                    </a:lnTo>
                    <a:lnTo>
                      <a:pt x="43" y="130"/>
                    </a:lnTo>
                    <a:lnTo>
                      <a:pt x="41" y="126"/>
                    </a:lnTo>
                    <a:lnTo>
                      <a:pt x="41" y="126"/>
                    </a:lnTo>
                    <a:lnTo>
                      <a:pt x="41" y="126"/>
                    </a:lnTo>
                    <a:lnTo>
                      <a:pt x="41" y="126"/>
                    </a:lnTo>
                    <a:close/>
                    <a:moveTo>
                      <a:pt x="0" y="45"/>
                    </a:moveTo>
                    <a:lnTo>
                      <a:pt x="6" y="47"/>
                    </a:lnTo>
                    <a:lnTo>
                      <a:pt x="8" y="47"/>
                    </a:lnTo>
                    <a:lnTo>
                      <a:pt x="8" y="43"/>
                    </a:lnTo>
                    <a:lnTo>
                      <a:pt x="6" y="43"/>
                    </a:lnTo>
                    <a:lnTo>
                      <a:pt x="6" y="45"/>
                    </a:lnTo>
                    <a:lnTo>
                      <a:pt x="0" y="45"/>
                    </a:lnTo>
                    <a:lnTo>
                      <a:pt x="0" y="45"/>
                    </a:lnTo>
                    <a:lnTo>
                      <a:pt x="0" y="45"/>
                    </a:lnTo>
                    <a:lnTo>
                      <a:pt x="0" y="4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9" name="Freeform 61"/>
              <p:cNvSpPr>
                <a:spLocks/>
              </p:cNvSpPr>
              <p:nvPr/>
            </p:nvSpPr>
            <p:spPr bwMode="auto">
              <a:xfrm>
                <a:off x="3475" y="2368"/>
                <a:ext cx="179" cy="174"/>
              </a:xfrm>
              <a:custGeom>
                <a:avLst/>
                <a:gdLst/>
                <a:ahLst/>
                <a:cxnLst>
                  <a:cxn ang="0">
                    <a:pos x="177" y="149"/>
                  </a:cxn>
                  <a:cxn ang="0">
                    <a:pos x="172" y="144"/>
                  </a:cxn>
                  <a:cxn ang="0">
                    <a:pos x="164" y="134"/>
                  </a:cxn>
                  <a:cxn ang="0">
                    <a:pos x="164" y="123"/>
                  </a:cxn>
                  <a:cxn ang="0">
                    <a:pos x="164" y="110"/>
                  </a:cxn>
                  <a:cxn ang="0">
                    <a:pos x="157" y="104"/>
                  </a:cxn>
                  <a:cxn ang="0">
                    <a:pos x="151" y="100"/>
                  </a:cxn>
                  <a:cxn ang="0">
                    <a:pos x="136" y="91"/>
                  </a:cxn>
                  <a:cxn ang="0">
                    <a:pos x="128" y="91"/>
                  </a:cxn>
                  <a:cxn ang="0">
                    <a:pos x="128" y="87"/>
                  </a:cxn>
                  <a:cxn ang="0">
                    <a:pos x="127" y="80"/>
                  </a:cxn>
                  <a:cxn ang="0">
                    <a:pos x="123" y="76"/>
                  </a:cxn>
                  <a:cxn ang="0">
                    <a:pos x="117" y="74"/>
                  </a:cxn>
                  <a:cxn ang="0">
                    <a:pos x="117" y="70"/>
                  </a:cxn>
                  <a:cxn ang="0">
                    <a:pos x="117" y="65"/>
                  </a:cxn>
                  <a:cxn ang="0">
                    <a:pos x="123" y="57"/>
                  </a:cxn>
                  <a:cxn ang="0">
                    <a:pos x="123" y="51"/>
                  </a:cxn>
                  <a:cxn ang="0">
                    <a:pos x="127" y="42"/>
                  </a:cxn>
                  <a:cxn ang="0">
                    <a:pos x="127" y="36"/>
                  </a:cxn>
                  <a:cxn ang="0">
                    <a:pos x="130" y="34"/>
                  </a:cxn>
                  <a:cxn ang="0">
                    <a:pos x="130" y="34"/>
                  </a:cxn>
                  <a:cxn ang="0">
                    <a:pos x="123" y="34"/>
                  </a:cxn>
                  <a:cxn ang="0">
                    <a:pos x="113" y="29"/>
                  </a:cxn>
                  <a:cxn ang="0">
                    <a:pos x="108" y="27"/>
                  </a:cxn>
                  <a:cxn ang="0">
                    <a:pos x="104" y="19"/>
                  </a:cxn>
                  <a:cxn ang="0">
                    <a:pos x="102" y="14"/>
                  </a:cxn>
                  <a:cxn ang="0">
                    <a:pos x="98" y="6"/>
                  </a:cxn>
                  <a:cxn ang="0">
                    <a:pos x="89" y="6"/>
                  </a:cxn>
                  <a:cxn ang="0">
                    <a:pos x="89" y="4"/>
                  </a:cxn>
                  <a:cxn ang="0">
                    <a:pos x="80" y="0"/>
                  </a:cxn>
                  <a:cxn ang="0">
                    <a:pos x="68" y="0"/>
                  </a:cxn>
                  <a:cxn ang="0">
                    <a:pos x="61" y="0"/>
                  </a:cxn>
                  <a:cxn ang="0">
                    <a:pos x="57" y="6"/>
                  </a:cxn>
                  <a:cxn ang="0">
                    <a:pos x="53" y="10"/>
                  </a:cxn>
                  <a:cxn ang="0">
                    <a:pos x="40" y="16"/>
                  </a:cxn>
                  <a:cxn ang="0">
                    <a:pos x="38" y="29"/>
                  </a:cxn>
                  <a:cxn ang="0">
                    <a:pos x="40" y="40"/>
                  </a:cxn>
                  <a:cxn ang="0">
                    <a:pos x="40" y="49"/>
                  </a:cxn>
                  <a:cxn ang="0">
                    <a:pos x="36" y="61"/>
                  </a:cxn>
                  <a:cxn ang="0">
                    <a:pos x="0" y="87"/>
                  </a:cxn>
                  <a:cxn ang="0">
                    <a:pos x="0" y="87"/>
                  </a:cxn>
                  <a:cxn ang="0">
                    <a:pos x="29" y="114"/>
                  </a:cxn>
                  <a:cxn ang="0">
                    <a:pos x="147" y="174"/>
                  </a:cxn>
                  <a:cxn ang="0">
                    <a:pos x="155" y="157"/>
                  </a:cxn>
                  <a:cxn ang="0">
                    <a:pos x="170" y="157"/>
                  </a:cxn>
                  <a:cxn ang="0">
                    <a:pos x="176" y="155"/>
                  </a:cxn>
                  <a:cxn ang="0">
                    <a:pos x="179" y="149"/>
                  </a:cxn>
                  <a:cxn ang="0">
                    <a:pos x="179" y="149"/>
                  </a:cxn>
                </a:cxnLst>
                <a:rect l="0" t="0" r="r" b="b"/>
                <a:pathLst>
                  <a:path w="179" h="174">
                    <a:moveTo>
                      <a:pt x="179" y="149"/>
                    </a:moveTo>
                    <a:lnTo>
                      <a:pt x="177" y="149"/>
                    </a:lnTo>
                    <a:lnTo>
                      <a:pt x="176" y="147"/>
                    </a:lnTo>
                    <a:lnTo>
                      <a:pt x="172" y="144"/>
                    </a:lnTo>
                    <a:lnTo>
                      <a:pt x="172" y="134"/>
                    </a:lnTo>
                    <a:lnTo>
                      <a:pt x="164" y="134"/>
                    </a:lnTo>
                    <a:lnTo>
                      <a:pt x="162" y="129"/>
                    </a:lnTo>
                    <a:lnTo>
                      <a:pt x="164" y="123"/>
                    </a:lnTo>
                    <a:lnTo>
                      <a:pt x="168" y="119"/>
                    </a:lnTo>
                    <a:lnTo>
                      <a:pt x="164" y="110"/>
                    </a:lnTo>
                    <a:lnTo>
                      <a:pt x="160" y="108"/>
                    </a:lnTo>
                    <a:lnTo>
                      <a:pt x="157" y="104"/>
                    </a:lnTo>
                    <a:lnTo>
                      <a:pt x="153" y="100"/>
                    </a:lnTo>
                    <a:lnTo>
                      <a:pt x="151" y="100"/>
                    </a:lnTo>
                    <a:lnTo>
                      <a:pt x="138" y="91"/>
                    </a:lnTo>
                    <a:lnTo>
                      <a:pt x="136" y="91"/>
                    </a:lnTo>
                    <a:lnTo>
                      <a:pt x="134" y="95"/>
                    </a:lnTo>
                    <a:lnTo>
                      <a:pt x="128" y="91"/>
                    </a:lnTo>
                    <a:lnTo>
                      <a:pt x="130" y="89"/>
                    </a:lnTo>
                    <a:lnTo>
                      <a:pt x="128" y="87"/>
                    </a:lnTo>
                    <a:lnTo>
                      <a:pt x="130" y="83"/>
                    </a:lnTo>
                    <a:lnTo>
                      <a:pt x="127" y="80"/>
                    </a:lnTo>
                    <a:lnTo>
                      <a:pt x="127" y="78"/>
                    </a:lnTo>
                    <a:lnTo>
                      <a:pt x="123" y="76"/>
                    </a:lnTo>
                    <a:lnTo>
                      <a:pt x="121" y="74"/>
                    </a:lnTo>
                    <a:lnTo>
                      <a:pt x="117" y="74"/>
                    </a:lnTo>
                    <a:lnTo>
                      <a:pt x="117" y="70"/>
                    </a:lnTo>
                    <a:lnTo>
                      <a:pt x="117" y="70"/>
                    </a:lnTo>
                    <a:lnTo>
                      <a:pt x="117" y="66"/>
                    </a:lnTo>
                    <a:lnTo>
                      <a:pt x="117" y="65"/>
                    </a:lnTo>
                    <a:lnTo>
                      <a:pt x="117" y="59"/>
                    </a:lnTo>
                    <a:lnTo>
                      <a:pt x="123" y="57"/>
                    </a:lnTo>
                    <a:lnTo>
                      <a:pt x="123" y="51"/>
                    </a:lnTo>
                    <a:lnTo>
                      <a:pt x="123" y="51"/>
                    </a:lnTo>
                    <a:lnTo>
                      <a:pt x="127" y="49"/>
                    </a:lnTo>
                    <a:lnTo>
                      <a:pt x="127" y="42"/>
                    </a:lnTo>
                    <a:lnTo>
                      <a:pt x="127" y="42"/>
                    </a:lnTo>
                    <a:lnTo>
                      <a:pt x="127" y="36"/>
                    </a:lnTo>
                    <a:lnTo>
                      <a:pt x="127" y="36"/>
                    </a:lnTo>
                    <a:lnTo>
                      <a:pt x="130" y="34"/>
                    </a:lnTo>
                    <a:lnTo>
                      <a:pt x="130" y="34"/>
                    </a:lnTo>
                    <a:lnTo>
                      <a:pt x="130" y="34"/>
                    </a:lnTo>
                    <a:lnTo>
                      <a:pt x="127" y="31"/>
                    </a:lnTo>
                    <a:lnTo>
                      <a:pt x="123" y="34"/>
                    </a:lnTo>
                    <a:lnTo>
                      <a:pt x="121" y="31"/>
                    </a:lnTo>
                    <a:lnTo>
                      <a:pt x="113" y="29"/>
                    </a:lnTo>
                    <a:lnTo>
                      <a:pt x="112" y="29"/>
                    </a:lnTo>
                    <a:lnTo>
                      <a:pt x="108" y="27"/>
                    </a:lnTo>
                    <a:lnTo>
                      <a:pt x="106" y="21"/>
                    </a:lnTo>
                    <a:lnTo>
                      <a:pt x="104" y="19"/>
                    </a:lnTo>
                    <a:lnTo>
                      <a:pt x="102" y="17"/>
                    </a:lnTo>
                    <a:lnTo>
                      <a:pt x="102" y="14"/>
                    </a:lnTo>
                    <a:lnTo>
                      <a:pt x="102" y="10"/>
                    </a:lnTo>
                    <a:lnTo>
                      <a:pt x="98" y="6"/>
                    </a:lnTo>
                    <a:lnTo>
                      <a:pt x="96" y="6"/>
                    </a:lnTo>
                    <a:lnTo>
                      <a:pt x="89" y="6"/>
                    </a:lnTo>
                    <a:lnTo>
                      <a:pt x="89" y="6"/>
                    </a:lnTo>
                    <a:lnTo>
                      <a:pt x="89" y="4"/>
                    </a:lnTo>
                    <a:lnTo>
                      <a:pt x="85" y="0"/>
                    </a:lnTo>
                    <a:lnTo>
                      <a:pt x="80" y="0"/>
                    </a:lnTo>
                    <a:lnTo>
                      <a:pt x="74" y="0"/>
                    </a:lnTo>
                    <a:lnTo>
                      <a:pt x="68" y="0"/>
                    </a:lnTo>
                    <a:lnTo>
                      <a:pt x="64" y="0"/>
                    </a:lnTo>
                    <a:lnTo>
                      <a:pt x="61" y="0"/>
                    </a:lnTo>
                    <a:lnTo>
                      <a:pt x="55" y="6"/>
                    </a:lnTo>
                    <a:lnTo>
                      <a:pt x="57" y="6"/>
                    </a:lnTo>
                    <a:lnTo>
                      <a:pt x="53" y="10"/>
                    </a:lnTo>
                    <a:lnTo>
                      <a:pt x="53" y="10"/>
                    </a:lnTo>
                    <a:lnTo>
                      <a:pt x="48" y="14"/>
                    </a:lnTo>
                    <a:lnTo>
                      <a:pt x="40" y="16"/>
                    </a:lnTo>
                    <a:lnTo>
                      <a:pt x="38" y="21"/>
                    </a:lnTo>
                    <a:lnTo>
                      <a:pt x="38" y="29"/>
                    </a:lnTo>
                    <a:lnTo>
                      <a:pt x="40" y="34"/>
                    </a:lnTo>
                    <a:lnTo>
                      <a:pt x="40" y="40"/>
                    </a:lnTo>
                    <a:lnTo>
                      <a:pt x="38" y="48"/>
                    </a:lnTo>
                    <a:lnTo>
                      <a:pt x="40" y="49"/>
                    </a:lnTo>
                    <a:lnTo>
                      <a:pt x="40" y="55"/>
                    </a:lnTo>
                    <a:lnTo>
                      <a:pt x="36" y="61"/>
                    </a:lnTo>
                    <a:lnTo>
                      <a:pt x="34" y="61"/>
                    </a:lnTo>
                    <a:lnTo>
                      <a:pt x="0" y="87"/>
                    </a:lnTo>
                    <a:lnTo>
                      <a:pt x="0" y="87"/>
                    </a:lnTo>
                    <a:lnTo>
                      <a:pt x="0" y="87"/>
                    </a:lnTo>
                    <a:lnTo>
                      <a:pt x="12" y="110"/>
                    </a:lnTo>
                    <a:lnTo>
                      <a:pt x="29" y="114"/>
                    </a:lnTo>
                    <a:lnTo>
                      <a:pt x="113" y="174"/>
                    </a:lnTo>
                    <a:lnTo>
                      <a:pt x="147" y="174"/>
                    </a:lnTo>
                    <a:lnTo>
                      <a:pt x="151" y="164"/>
                    </a:lnTo>
                    <a:lnTo>
                      <a:pt x="155" y="157"/>
                    </a:lnTo>
                    <a:lnTo>
                      <a:pt x="164" y="153"/>
                    </a:lnTo>
                    <a:lnTo>
                      <a:pt x="170" y="157"/>
                    </a:lnTo>
                    <a:lnTo>
                      <a:pt x="176" y="155"/>
                    </a:lnTo>
                    <a:lnTo>
                      <a:pt x="176" y="155"/>
                    </a:lnTo>
                    <a:lnTo>
                      <a:pt x="177" y="151"/>
                    </a:lnTo>
                    <a:lnTo>
                      <a:pt x="179" y="149"/>
                    </a:lnTo>
                    <a:lnTo>
                      <a:pt x="179" y="149"/>
                    </a:lnTo>
                    <a:lnTo>
                      <a:pt x="179" y="14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0" name="Freeform 62"/>
              <p:cNvSpPr>
                <a:spLocks/>
              </p:cNvSpPr>
              <p:nvPr/>
            </p:nvSpPr>
            <p:spPr bwMode="auto">
              <a:xfrm>
                <a:off x="3475" y="2368"/>
                <a:ext cx="179" cy="174"/>
              </a:xfrm>
              <a:custGeom>
                <a:avLst/>
                <a:gdLst/>
                <a:ahLst/>
                <a:cxnLst>
                  <a:cxn ang="0">
                    <a:pos x="177" y="149"/>
                  </a:cxn>
                  <a:cxn ang="0">
                    <a:pos x="172" y="144"/>
                  </a:cxn>
                  <a:cxn ang="0">
                    <a:pos x="164" y="134"/>
                  </a:cxn>
                  <a:cxn ang="0">
                    <a:pos x="164" y="123"/>
                  </a:cxn>
                  <a:cxn ang="0">
                    <a:pos x="164" y="110"/>
                  </a:cxn>
                  <a:cxn ang="0">
                    <a:pos x="157" y="104"/>
                  </a:cxn>
                  <a:cxn ang="0">
                    <a:pos x="151" y="100"/>
                  </a:cxn>
                  <a:cxn ang="0">
                    <a:pos x="136" y="91"/>
                  </a:cxn>
                  <a:cxn ang="0">
                    <a:pos x="128" y="91"/>
                  </a:cxn>
                  <a:cxn ang="0">
                    <a:pos x="128" y="87"/>
                  </a:cxn>
                  <a:cxn ang="0">
                    <a:pos x="127" y="80"/>
                  </a:cxn>
                  <a:cxn ang="0">
                    <a:pos x="123" y="76"/>
                  </a:cxn>
                  <a:cxn ang="0">
                    <a:pos x="117" y="74"/>
                  </a:cxn>
                  <a:cxn ang="0">
                    <a:pos x="117" y="70"/>
                  </a:cxn>
                  <a:cxn ang="0">
                    <a:pos x="117" y="65"/>
                  </a:cxn>
                  <a:cxn ang="0">
                    <a:pos x="123" y="57"/>
                  </a:cxn>
                  <a:cxn ang="0">
                    <a:pos x="123" y="51"/>
                  </a:cxn>
                  <a:cxn ang="0">
                    <a:pos x="127" y="42"/>
                  </a:cxn>
                  <a:cxn ang="0">
                    <a:pos x="127" y="36"/>
                  </a:cxn>
                  <a:cxn ang="0">
                    <a:pos x="130" y="34"/>
                  </a:cxn>
                  <a:cxn ang="0">
                    <a:pos x="130" y="34"/>
                  </a:cxn>
                  <a:cxn ang="0">
                    <a:pos x="123" y="34"/>
                  </a:cxn>
                  <a:cxn ang="0">
                    <a:pos x="113" y="29"/>
                  </a:cxn>
                  <a:cxn ang="0">
                    <a:pos x="108" y="27"/>
                  </a:cxn>
                  <a:cxn ang="0">
                    <a:pos x="104" y="19"/>
                  </a:cxn>
                  <a:cxn ang="0">
                    <a:pos x="102" y="14"/>
                  </a:cxn>
                  <a:cxn ang="0">
                    <a:pos x="98" y="6"/>
                  </a:cxn>
                  <a:cxn ang="0">
                    <a:pos x="89" y="6"/>
                  </a:cxn>
                  <a:cxn ang="0">
                    <a:pos x="89" y="4"/>
                  </a:cxn>
                  <a:cxn ang="0">
                    <a:pos x="80" y="0"/>
                  </a:cxn>
                  <a:cxn ang="0">
                    <a:pos x="68" y="0"/>
                  </a:cxn>
                  <a:cxn ang="0">
                    <a:pos x="61" y="0"/>
                  </a:cxn>
                  <a:cxn ang="0">
                    <a:pos x="57" y="6"/>
                  </a:cxn>
                  <a:cxn ang="0">
                    <a:pos x="53" y="10"/>
                  </a:cxn>
                  <a:cxn ang="0">
                    <a:pos x="40" y="16"/>
                  </a:cxn>
                  <a:cxn ang="0">
                    <a:pos x="38" y="29"/>
                  </a:cxn>
                  <a:cxn ang="0">
                    <a:pos x="40" y="40"/>
                  </a:cxn>
                  <a:cxn ang="0">
                    <a:pos x="40" y="49"/>
                  </a:cxn>
                  <a:cxn ang="0">
                    <a:pos x="36" y="61"/>
                  </a:cxn>
                  <a:cxn ang="0">
                    <a:pos x="0" y="87"/>
                  </a:cxn>
                  <a:cxn ang="0">
                    <a:pos x="0" y="87"/>
                  </a:cxn>
                  <a:cxn ang="0">
                    <a:pos x="29" y="114"/>
                  </a:cxn>
                  <a:cxn ang="0">
                    <a:pos x="147" y="174"/>
                  </a:cxn>
                  <a:cxn ang="0">
                    <a:pos x="155" y="157"/>
                  </a:cxn>
                  <a:cxn ang="0">
                    <a:pos x="170" y="157"/>
                  </a:cxn>
                  <a:cxn ang="0">
                    <a:pos x="176" y="155"/>
                  </a:cxn>
                  <a:cxn ang="0">
                    <a:pos x="179" y="149"/>
                  </a:cxn>
                  <a:cxn ang="0">
                    <a:pos x="179" y="149"/>
                  </a:cxn>
                </a:cxnLst>
                <a:rect l="0" t="0" r="r" b="b"/>
                <a:pathLst>
                  <a:path w="179" h="174">
                    <a:moveTo>
                      <a:pt x="179" y="149"/>
                    </a:moveTo>
                    <a:lnTo>
                      <a:pt x="177" y="149"/>
                    </a:lnTo>
                    <a:lnTo>
                      <a:pt x="176" y="147"/>
                    </a:lnTo>
                    <a:lnTo>
                      <a:pt x="172" y="144"/>
                    </a:lnTo>
                    <a:lnTo>
                      <a:pt x="172" y="134"/>
                    </a:lnTo>
                    <a:lnTo>
                      <a:pt x="164" y="134"/>
                    </a:lnTo>
                    <a:lnTo>
                      <a:pt x="162" y="129"/>
                    </a:lnTo>
                    <a:lnTo>
                      <a:pt x="164" y="123"/>
                    </a:lnTo>
                    <a:lnTo>
                      <a:pt x="168" y="119"/>
                    </a:lnTo>
                    <a:lnTo>
                      <a:pt x="164" y="110"/>
                    </a:lnTo>
                    <a:lnTo>
                      <a:pt x="160" y="108"/>
                    </a:lnTo>
                    <a:lnTo>
                      <a:pt x="157" y="104"/>
                    </a:lnTo>
                    <a:lnTo>
                      <a:pt x="153" y="100"/>
                    </a:lnTo>
                    <a:lnTo>
                      <a:pt x="151" y="100"/>
                    </a:lnTo>
                    <a:lnTo>
                      <a:pt x="138" y="91"/>
                    </a:lnTo>
                    <a:lnTo>
                      <a:pt x="136" y="91"/>
                    </a:lnTo>
                    <a:lnTo>
                      <a:pt x="134" y="95"/>
                    </a:lnTo>
                    <a:lnTo>
                      <a:pt x="128" y="91"/>
                    </a:lnTo>
                    <a:lnTo>
                      <a:pt x="130" y="89"/>
                    </a:lnTo>
                    <a:lnTo>
                      <a:pt x="128" y="87"/>
                    </a:lnTo>
                    <a:lnTo>
                      <a:pt x="130" y="83"/>
                    </a:lnTo>
                    <a:lnTo>
                      <a:pt x="127" y="80"/>
                    </a:lnTo>
                    <a:lnTo>
                      <a:pt x="127" y="78"/>
                    </a:lnTo>
                    <a:lnTo>
                      <a:pt x="123" y="76"/>
                    </a:lnTo>
                    <a:lnTo>
                      <a:pt x="121" y="74"/>
                    </a:lnTo>
                    <a:lnTo>
                      <a:pt x="117" y="74"/>
                    </a:lnTo>
                    <a:lnTo>
                      <a:pt x="117" y="70"/>
                    </a:lnTo>
                    <a:lnTo>
                      <a:pt x="117" y="70"/>
                    </a:lnTo>
                    <a:lnTo>
                      <a:pt x="117" y="66"/>
                    </a:lnTo>
                    <a:lnTo>
                      <a:pt x="117" y="65"/>
                    </a:lnTo>
                    <a:lnTo>
                      <a:pt x="117" y="59"/>
                    </a:lnTo>
                    <a:lnTo>
                      <a:pt x="123" y="57"/>
                    </a:lnTo>
                    <a:lnTo>
                      <a:pt x="123" y="51"/>
                    </a:lnTo>
                    <a:lnTo>
                      <a:pt x="123" y="51"/>
                    </a:lnTo>
                    <a:lnTo>
                      <a:pt x="127" y="49"/>
                    </a:lnTo>
                    <a:lnTo>
                      <a:pt x="127" y="42"/>
                    </a:lnTo>
                    <a:lnTo>
                      <a:pt x="127" y="42"/>
                    </a:lnTo>
                    <a:lnTo>
                      <a:pt x="127" y="36"/>
                    </a:lnTo>
                    <a:lnTo>
                      <a:pt x="127" y="36"/>
                    </a:lnTo>
                    <a:lnTo>
                      <a:pt x="130" y="34"/>
                    </a:lnTo>
                    <a:lnTo>
                      <a:pt x="130" y="34"/>
                    </a:lnTo>
                    <a:lnTo>
                      <a:pt x="130" y="34"/>
                    </a:lnTo>
                    <a:lnTo>
                      <a:pt x="127" y="31"/>
                    </a:lnTo>
                    <a:lnTo>
                      <a:pt x="123" y="34"/>
                    </a:lnTo>
                    <a:lnTo>
                      <a:pt x="121" y="31"/>
                    </a:lnTo>
                    <a:lnTo>
                      <a:pt x="113" y="29"/>
                    </a:lnTo>
                    <a:lnTo>
                      <a:pt x="112" y="29"/>
                    </a:lnTo>
                    <a:lnTo>
                      <a:pt x="108" y="27"/>
                    </a:lnTo>
                    <a:lnTo>
                      <a:pt x="106" y="21"/>
                    </a:lnTo>
                    <a:lnTo>
                      <a:pt x="104" y="19"/>
                    </a:lnTo>
                    <a:lnTo>
                      <a:pt x="102" y="17"/>
                    </a:lnTo>
                    <a:lnTo>
                      <a:pt x="102" y="14"/>
                    </a:lnTo>
                    <a:lnTo>
                      <a:pt x="102" y="10"/>
                    </a:lnTo>
                    <a:lnTo>
                      <a:pt x="98" y="6"/>
                    </a:lnTo>
                    <a:lnTo>
                      <a:pt x="96" y="6"/>
                    </a:lnTo>
                    <a:lnTo>
                      <a:pt x="89" y="6"/>
                    </a:lnTo>
                    <a:lnTo>
                      <a:pt x="89" y="6"/>
                    </a:lnTo>
                    <a:lnTo>
                      <a:pt x="89" y="4"/>
                    </a:lnTo>
                    <a:lnTo>
                      <a:pt x="85" y="0"/>
                    </a:lnTo>
                    <a:lnTo>
                      <a:pt x="80" y="0"/>
                    </a:lnTo>
                    <a:lnTo>
                      <a:pt x="74" y="0"/>
                    </a:lnTo>
                    <a:lnTo>
                      <a:pt x="68" y="0"/>
                    </a:lnTo>
                    <a:lnTo>
                      <a:pt x="64" y="0"/>
                    </a:lnTo>
                    <a:lnTo>
                      <a:pt x="61" y="0"/>
                    </a:lnTo>
                    <a:lnTo>
                      <a:pt x="55" y="6"/>
                    </a:lnTo>
                    <a:lnTo>
                      <a:pt x="57" y="6"/>
                    </a:lnTo>
                    <a:lnTo>
                      <a:pt x="53" y="10"/>
                    </a:lnTo>
                    <a:lnTo>
                      <a:pt x="53" y="10"/>
                    </a:lnTo>
                    <a:lnTo>
                      <a:pt x="48" y="14"/>
                    </a:lnTo>
                    <a:lnTo>
                      <a:pt x="40" y="16"/>
                    </a:lnTo>
                    <a:lnTo>
                      <a:pt x="38" y="21"/>
                    </a:lnTo>
                    <a:lnTo>
                      <a:pt x="38" y="29"/>
                    </a:lnTo>
                    <a:lnTo>
                      <a:pt x="40" y="34"/>
                    </a:lnTo>
                    <a:lnTo>
                      <a:pt x="40" y="40"/>
                    </a:lnTo>
                    <a:lnTo>
                      <a:pt x="38" y="48"/>
                    </a:lnTo>
                    <a:lnTo>
                      <a:pt x="40" y="49"/>
                    </a:lnTo>
                    <a:lnTo>
                      <a:pt x="40" y="55"/>
                    </a:lnTo>
                    <a:lnTo>
                      <a:pt x="36" y="61"/>
                    </a:lnTo>
                    <a:lnTo>
                      <a:pt x="34" y="61"/>
                    </a:lnTo>
                    <a:lnTo>
                      <a:pt x="0" y="87"/>
                    </a:lnTo>
                    <a:lnTo>
                      <a:pt x="0" y="87"/>
                    </a:lnTo>
                    <a:lnTo>
                      <a:pt x="0" y="87"/>
                    </a:lnTo>
                    <a:lnTo>
                      <a:pt x="12" y="110"/>
                    </a:lnTo>
                    <a:lnTo>
                      <a:pt x="29" y="114"/>
                    </a:lnTo>
                    <a:lnTo>
                      <a:pt x="113" y="174"/>
                    </a:lnTo>
                    <a:lnTo>
                      <a:pt x="147" y="174"/>
                    </a:lnTo>
                    <a:lnTo>
                      <a:pt x="151" y="164"/>
                    </a:lnTo>
                    <a:lnTo>
                      <a:pt x="155" y="157"/>
                    </a:lnTo>
                    <a:lnTo>
                      <a:pt x="164" y="153"/>
                    </a:lnTo>
                    <a:lnTo>
                      <a:pt x="170" y="157"/>
                    </a:lnTo>
                    <a:lnTo>
                      <a:pt x="176" y="155"/>
                    </a:lnTo>
                    <a:lnTo>
                      <a:pt x="176" y="155"/>
                    </a:lnTo>
                    <a:lnTo>
                      <a:pt x="177" y="151"/>
                    </a:lnTo>
                    <a:lnTo>
                      <a:pt x="179" y="149"/>
                    </a:lnTo>
                    <a:lnTo>
                      <a:pt x="179" y="149"/>
                    </a:lnTo>
                    <a:lnTo>
                      <a:pt x="179" y="14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1" name="Freeform 63"/>
              <p:cNvSpPr>
                <a:spLocks/>
              </p:cNvSpPr>
              <p:nvPr/>
            </p:nvSpPr>
            <p:spPr bwMode="auto">
              <a:xfrm>
                <a:off x="3624" y="2521"/>
                <a:ext cx="30" cy="32"/>
              </a:xfrm>
              <a:custGeom>
                <a:avLst/>
                <a:gdLst/>
                <a:ahLst/>
                <a:cxnLst>
                  <a:cxn ang="0">
                    <a:pos x="0" y="21"/>
                  </a:cxn>
                  <a:cxn ang="0">
                    <a:pos x="4" y="11"/>
                  </a:cxn>
                  <a:cxn ang="0">
                    <a:pos x="8" y="2"/>
                  </a:cxn>
                  <a:cxn ang="0">
                    <a:pos x="15" y="0"/>
                  </a:cxn>
                  <a:cxn ang="0">
                    <a:pos x="21" y="2"/>
                  </a:cxn>
                  <a:cxn ang="0">
                    <a:pos x="27" y="2"/>
                  </a:cxn>
                  <a:cxn ang="0">
                    <a:pos x="27" y="2"/>
                  </a:cxn>
                  <a:cxn ang="0">
                    <a:pos x="27" y="2"/>
                  </a:cxn>
                  <a:cxn ang="0">
                    <a:pos x="28" y="9"/>
                  </a:cxn>
                  <a:cxn ang="0">
                    <a:pos x="19" y="13"/>
                  </a:cxn>
                  <a:cxn ang="0">
                    <a:pos x="27" y="17"/>
                  </a:cxn>
                  <a:cxn ang="0">
                    <a:pos x="27" y="15"/>
                  </a:cxn>
                  <a:cxn ang="0">
                    <a:pos x="27" y="19"/>
                  </a:cxn>
                  <a:cxn ang="0">
                    <a:pos x="27" y="23"/>
                  </a:cxn>
                  <a:cxn ang="0">
                    <a:pos x="28" y="25"/>
                  </a:cxn>
                  <a:cxn ang="0">
                    <a:pos x="28" y="25"/>
                  </a:cxn>
                  <a:cxn ang="0">
                    <a:pos x="27" y="25"/>
                  </a:cxn>
                  <a:cxn ang="0">
                    <a:pos x="30" y="26"/>
                  </a:cxn>
                  <a:cxn ang="0">
                    <a:pos x="19" y="32"/>
                  </a:cxn>
                  <a:cxn ang="0">
                    <a:pos x="19" y="26"/>
                  </a:cxn>
                  <a:cxn ang="0">
                    <a:pos x="2" y="21"/>
                  </a:cxn>
                  <a:cxn ang="0">
                    <a:pos x="0" y="21"/>
                  </a:cxn>
                  <a:cxn ang="0">
                    <a:pos x="0" y="21"/>
                  </a:cxn>
                  <a:cxn ang="0">
                    <a:pos x="0" y="21"/>
                  </a:cxn>
                </a:cxnLst>
                <a:rect l="0" t="0" r="r" b="b"/>
                <a:pathLst>
                  <a:path w="30" h="32">
                    <a:moveTo>
                      <a:pt x="0" y="21"/>
                    </a:moveTo>
                    <a:lnTo>
                      <a:pt x="4" y="11"/>
                    </a:lnTo>
                    <a:lnTo>
                      <a:pt x="8" y="2"/>
                    </a:lnTo>
                    <a:lnTo>
                      <a:pt x="15" y="0"/>
                    </a:lnTo>
                    <a:lnTo>
                      <a:pt x="21" y="2"/>
                    </a:lnTo>
                    <a:lnTo>
                      <a:pt x="27" y="2"/>
                    </a:lnTo>
                    <a:lnTo>
                      <a:pt x="27" y="2"/>
                    </a:lnTo>
                    <a:lnTo>
                      <a:pt x="27" y="2"/>
                    </a:lnTo>
                    <a:lnTo>
                      <a:pt x="28" y="9"/>
                    </a:lnTo>
                    <a:lnTo>
                      <a:pt x="19" y="13"/>
                    </a:lnTo>
                    <a:lnTo>
                      <a:pt x="27" y="17"/>
                    </a:lnTo>
                    <a:lnTo>
                      <a:pt x="27" y="15"/>
                    </a:lnTo>
                    <a:lnTo>
                      <a:pt x="27" y="19"/>
                    </a:lnTo>
                    <a:lnTo>
                      <a:pt x="27" y="23"/>
                    </a:lnTo>
                    <a:lnTo>
                      <a:pt x="28" y="25"/>
                    </a:lnTo>
                    <a:lnTo>
                      <a:pt x="28" y="25"/>
                    </a:lnTo>
                    <a:lnTo>
                      <a:pt x="27" y="25"/>
                    </a:lnTo>
                    <a:lnTo>
                      <a:pt x="30" y="26"/>
                    </a:lnTo>
                    <a:lnTo>
                      <a:pt x="19" y="32"/>
                    </a:lnTo>
                    <a:lnTo>
                      <a:pt x="19" y="26"/>
                    </a:lnTo>
                    <a:lnTo>
                      <a:pt x="2" y="21"/>
                    </a:lnTo>
                    <a:lnTo>
                      <a:pt x="0" y="21"/>
                    </a:lnTo>
                    <a:lnTo>
                      <a:pt x="0" y="21"/>
                    </a:lnTo>
                    <a:lnTo>
                      <a:pt x="0" y="2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2" name="Freeform 64"/>
              <p:cNvSpPr>
                <a:spLocks/>
              </p:cNvSpPr>
              <p:nvPr/>
            </p:nvSpPr>
            <p:spPr bwMode="auto">
              <a:xfrm>
                <a:off x="3624" y="2521"/>
                <a:ext cx="30" cy="32"/>
              </a:xfrm>
              <a:custGeom>
                <a:avLst/>
                <a:gdLst/>
                <a:ahLst/>
                <a:cxnLst>
                  <a:cxn ang="0">
                    <a:pos x="0" y="21"/>
                  </a:cxn>
                  <a:cxn ang="0">
                    <a:pos x="4" y="11"/>
                  </a:cxn>
                  <a:cxn ang="0">
                    <a:pos x="8" y="2"/>
                  </a:cxn>
                  <a:cxn ang="0">
                    <a:pos x="15" y="0"/>
                  </a:cxn>
                  <a:cxn ang="0">
                    <a:pos x="21" y="2"/>
                  </a:cxn>
                  <a:cxn ang="0">
                    <a:pos x="27" y="2"/>
                  </a:cxn>
                  <a:cxn ang="0">
                    <a:pos x="27" y="2"/>
                  </a:cxn>
                  <a:cxn ang="0">
                    <a:pos x="27" y="2"/>
                  </a:cxn>
                  <a:cxn ang="0">
                    <a:pos x="28" y="9"/>
                  </a:cxn>
                  <a:cxn ang="0">
                    <a:pos x="19" y="13"/>
                  </a:cxn>
                  <a:cxn ang="0">
                    <a:pos x="27" y="17"/>
                  </a:cxn>
                  <a:cxn ang="0">
                    <a:pos x="27" y="15"/>
                  </a:cxn>
                  <a:cxn ang="0">
                    <a:pos x="27" y="19"/>
                  </a:cxn>
                  <a:cxn ang="0">
                    <a:pos x="27" y="23"/>
                  </a:cxn>
                  <a:cxn ang="0">
                    <a:pos x="28" y="25"/>
                  </a:cxn>
                  <a:cxn ang="0">
                    <a:pos x="28" y="25"/>
                  </a:cxn>
                  <a:cxn ang="0">
                    <a:pos x="27" y="25"/>
                  </a:cxn>
                  <a:cxn ang="0">
                    <a:pos x="30" y="26"/>
                  </a:cxn>
                  <a:cxn ang="0">
                    <a:pos x="19" y="32"/>
                  </a:cxn>
                  <a:cxn ang="0">
                    <a:pos x="19" y="26"/>
                  </a:cxn>
                  <a:cxn ang="0">
                    <a:pos x="2" y="21"/>
                  </a:cxn>
                  <a:cxn ang="0">
                    <a:pos x="0" y="21"/>
                  </a:cxn>
                  <a:cxn ang="0">
                    <a:pos x="0" y="21"/>
                  </a:cxn>
                  <a:cxn ang="0">
                    <a:pos x="0" y="21"/>
                  </a:cxn>
                </a:cxnLst>
                <a:rect l="0" t="0" r="r" b="b"/>
                <a:pathLst>
                  <a:path w="30" h="32">
                    <a:moveTo>
                      <a:pt x="0" y="21"/>
                    </a:moveTo>
                    <a:lnTo>
                      <a:pt x="4" y="11"/>
                    </a:lnTo>
                    <a:lnTo>
                      <a:pt x="8" y="2"/>
                    </a:lnTo>
                    <a:lnTo>
                      <a:pt x="15" y="0"/>
                    </a:lnTo>
                    <a:lnTo>
                      <a:pt x="21" y="2"/>
                    </a:lnTo>
                    <a:lnTo>
                      <a:pt x="27" y="2"/>
                    </a:lnTo>
                    <a:lnTo>
                      <a:pt x="27" y="2"/>
                    </a:lnTo>
                    <a:lnTo>
                      <a:pt x="27" y="2"/>
                    </a:lnTo>
                    <a:lnTo>
                      <a:pt x="28" y="9"/>
                    </a:lnTo>
                    <a:lnTo>
                      <a:pt x="19" y="13"/>
                    </a:lnTo>
                    <a:lnTo>
                      <a:pt x="27" y="17"/>
                    </a:lnTo>
                    <a:lnTo>
                      <a:pt x="27" y="15"/>
                    </a:lnTo>
                    <a:lnTo>
                      <a:pt x="27" y="19"/>
                    </a:lnTo>
                    <a:lnTo>
                      <a:pt x="27" y="23"/>
                    </a:lnTo>
                    <a:lnTo>
                      <a:pt x="28" y="25"/>
                    </a:lnTo>
                    <a:lnTo>
                      <a:pt x="28" y="25"/>
                    </a:lnTo>
                    <a:lnTo>
                      <a:pt x="27" y="25"/>
                    </a:lnTo>
                    <a:lnTo>
                      <a:pt x="30" y="26"/>
                    </a:lnTo>
                    <a:lnTo>
                      <a:pt x="19" y="32"/>
                    </a:lnTo>
                    <a:lnTo>
                      <a:pt x="19" y="26"/>
                    </a:lnTo>
                    <a:lnTo>
                      <a:pt x="2" y="21"/>
                    </a:lnTo>
                    <a:lnTo>
                      <a:pt x="0" y="21"/>
                    </a:lnTo>
                    <a:lnTo>
                      <a:pt x="0" y="21"/>
                    </a:lnTo>
                    <a:lnTo>
                      <a:pt x="0" y="2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3" name="Freeform 65"/>
              <p:cNvSpPr>
                <a:spLocks/>
              </p:cNvSpPr>
              <p:nvPr/>
            </p:nvSpPr>
            <p:spPr bwMode="auto">
              <a:xfrm>
                <a:off x="3355" y="2410"/>
                <a:ext cx="41" cy="21"/>
              </a:xfrm>
              <a:custGeom>
                <a:avLst/>
                <a:gdLst/>
                <a:ahLst/>
                <a:cxnLst>
                  <a:cxn ang="0">
                    <a:pos x="6" y="21"/>
                  </a:cxn>
                  <a:cxn ang="0">
                    <a:pos x="0" y="17"/>
                  </a:cxn>
                  <a:cxn ang="0">
                    <a:pos x="0" y="15"/>
                  </a:cxn>
                  <a:cxn ang="0">
                    <a:pos x="0" y="11"/>
                  </a:cxn>
                  <a:cxn ang="0">
                    <a:pos x="0" y="11"/>
                  </a:cxn>
                  <a:cxn ang="0">
                    <a:pos x="2" y="7"/>
                  </a:cxn>
                  <a:cxn ang="0">
                    <a:pos x="6" y="9"/>
                  </a:cxn>
                  <a:cxn ang="0">
                    <a:pos x="9" y="9"/>
                  </a:cxn>
                  <a:cxn ang="0">
                    <a:pos x="9" y="7"/>
                  </a:cxn>
                  <a:cxn ang="0">
                    <a:pos x="9" y="6"/>
                  </a:cxn>
                  <a:cxn ang="0">
                    <a:pos x="15" y="6"/>
                  </a:cxn>
                  <a:cxn ang="0">
                    <a:pos x="17" y="7"/>
                  </a:cxn>
                  <a:cxn ang="0">
                    <a:pos x="23" y="7"/>
                  </a:cxn>
                  <a:cxn ang="0">
                    <a:pos x="32" y="4"/>
                  </a:cxn>
                  <a:cxn ang="0">
                    <a:pos x="38" y="0"/>
                  </a:cxn>
                  <a:cxn ang="0">
                    <a:pos x="40" y="0"/>
                  </a:cxn>
                  <a:cxn ang="0">
                    <a:pos x="41" y="0"/>
                  </a:cxn>
                  <a:cxn ang="0">
                    <a:pos x="40" y="2"/>
                  </a:cxn>
                  <a:cxn ang="0">
                    <a:pos x="34" y="6"/>
                  </a:cxn>
                  <a:cxn ang="0">
                    <a:pos x="30" y="7"/>
                  </a:cxn>
                  <a:cxn ang="0">
                    <a:pos x="32" y="11"/>
                  </a:cxn>
                  <a:cxn ang="0">
                    <a:pos x="32" y="15"/>
                  </a:cxn>
                  <a:cxn ang="0">
                    <a:pos x="26" y="15"/>
                  </a:cxn>
                  <a:cxn ang="0">
                    <a:pos x="23" y="17"/>
                  </a:cxn>
                  <a:cxn ang="0">
                    <a:pos x="21" y="19"/>
                  </a:cxn>
                  <a:cxn ang="0">
                    <a:pos x="15" y="19"/>
                  </a:cxn>
                  <a:cxn ang="0">
                    <a:pos x="15" y="21"/>
                  </a:cxn>
                  <a:cxn ang="0">
                    <a:pos x="9" y="21"/>
                  </a:cxn>
                  <a:cxn ang="0">
                    <a:pos x="6" y="21"/>
                  </a:cxn>
                  <a:cxn ang="0">
                    <a:pos x="6" y="21"/>
                  </a:cxn>
                  <a:cxn ang="0">
                    <a:pos x="6" y="21"/>
                  </a:cxn>
                </a:cxnLst>
                <a:rect l="0" t="0" r="r" b="b"/>
                <a:pathLst>
                  <a:path w="41" h="21">
                    <a:moveTo>
                      <a:pt x="6" y="21"/>
                    </a:moveTo>
                    <a:lnTo>
                      <a:pt x="0" y="17"/>
                    </a:lnTo>
                    <a:lnTo>
                      <a:pt x="0" y="15"/>
                    </a:lnTo>
                    <a:lnTo>
                      <a:pt x="0" y="11"/>
                    </a:lnTo>
                    <a:lnTo>
                      <a:pt x="0" y="11"/>
                    </a:lnTo>
                    <a:lnTo>
                      <a:pt x="2" y="7"/>
                    </a:lnTo>
                    <a:lnTo>
                      <a:pt x="6" y="9"/>
                    </a:lnTo>
                    <a:lnTo>
                      <a:pt x="9" y="9"/>
                    </a:lnTo>
                    <a:lnTo>
                      <a:pt x="9" y="7"/>
                    </a:lnTo>
                    <a:lnTo>
                      <a:pt x="9" y="6"/>
                    </a:lnTo>
                    <a:lnTo>
                      <a:pt x="15" y="6"/>
                    </a:lnTo>
                    <a:lnTo>
                      <a:pt x="17" y="7"/>
                    </a:lnTo>
                    <a:lnTo>
                      <a:pt x="23" y="7"/>
                    </a:lnTo>
                    <a:lnTo>
                      <a:pt x="32" y="4"/>
                    </a:lnTo>
                    <a:lnTo>
                      <a:pt x="38" y="0"/>
                    </a:lnTo>
                    <a:lnTo>
                      <a:pt x="40" y="0"/>
                    </a:lnTo>
                    <a:lnTo>
                      <a:pt x="41" y="0"/>
                    </a:lnTo>
                    <a:lnTo>
                      <a:pt x="40" y="2"/>
                    </a:lnTo>
                    <a:lnTo>
                      <a:pt x="34" y="6"/>
                    </a:lnTo>
                    <a:lnTo>
                      <a:pt x="30" y="7"/>
                    </a:lnTo>
                    <a:lnTo>
                      <a:pt x="32" y="11"/>
                    </a:lnTo>
                    <a:lnTo>
                      <a:pt x="32" y="15"/>
                    </a:lnTo>
                    <a:lnTo>
                      <a:pt x="26" y="15"/>
                    </a:lnTo>
                    <a:lnTo>
                      <a:pt x="23" y="17"/>
                    </a:lnTo>
                    <a:lnTo>
                      <a:pt x="21" y="19"/>
                    </a:lnTo>
                    <a:lnTo>
                      <a:pt x="15" y="19"/>
                    </a:lnTo>
                    <a:lnTo>
                      <a:pt x="15" y="21"/>
                    </a:lnTo>
                    <a:lnTo>
                      <a:pt x="9" y="21"/>
                    </a:lnTo>
                    <a:lnTo>
                      <a:pt x="6" y="21"/>
                    </a:lnTo>
                    <a:lnTo>
                      <a:pt x="6" y="21"/>
                    </a:lnTo>
                    <a:lnTo>
                      <a:pt x="6" y="2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4" name="Freeform 66"/>
              <p:cNvSpPr>
                <a:spLocks/>
              </p:cNvSpPr>
              <p:nvPr/>
            </p:nvSpPr>
            <p:spPr bwMode="auto">
              <a:xfrm>
                <a:off x="3355" y="2410"/>
                <a:ext cx="41" cy="21"/>
              </a:xfrm>
              <a:custGeom>
                <a:avLst/>
                <a:gdLst/>
                <a:ahLst/>
                <a:cxnLst>
                  <a:cxn ang="0">
                    <a:pos x="6" y="21"/>
                  </a:cxn>
                  <a:cxn ang="0">
                    <a:pos x="0" y="17"/>
                  </a:cxn>
                  <a:cxn ang="0">
                    <a:pos x="0" y="15"/>
                  </a:cxn>
                  <a:cxn ang="0">
                    <a:pos x="0" y="11"/>
                  </a:cxn>
                  <a:cxn ang="0">
                    <a:pos x="0" y="11"/>
                  </a:cxn>
                  <a:cxn ang="0">
                    <a:pos x="2" y="7"/>
                  </a:cxn>
                  <a:cxn ang="0">
                    <a:pos x="6" y="9"/>
                  </a:cxn>
                  <a:cxn ang="0">
                    <a:pos x="9" y="9"/>
                  </a:cxn>
                  <a:cxn ang="0">
                    <a:pos x="9" y="7"/>
                  </a:cxn>
                  <a:cxn ang="0">
                    <a:pos x="9" y="6"/>
                  </a:cxn>
                  <a:cxn ang="0">
                    <a:pos x="15" y="6"/>
                  </a:cxn>
                  <a:cxn ang="0">
                    <a:pos x="17" y="7"/>
                  </a:cxn>
                  <a:cxn ang="0">
                    <a:pos x="23" y="7"/>
                  </a:cxn>
                  <a:cxn ang="0">
                    <a:pos x="32" y="4"/>
                  </a:cxn>
                  <a:cxn ang="0">
                    <a:pos x="38" y="0"/>
                  </a:cxn>
                  <a:cxn ang="0">
                    <a:pos x="40" y="0"/>
                  </a:cxn>
                  <a:cxn ang="0">
                    <a:pos x="41" y="0"/>
                  </a:cxn>
                  <a:cxn ang="0">
                    <a:pos x="40" y="2"/>
                  </a:cxn>
                  <a:cxn ang="0">
                    <a:pos x="34" y="6"/>
                  </a:cxn>
                  <a:cxn ang="0">
                    <a:pos x="30" y="7"/>
                  </a:cxn>
                  <a:cxn ang="0">
                    <a:pos x="32" y="11"/>
                  </a:cxn>
                  <a:cxn ang="0">
                    <a:pos x="32" y="15"/>
                  </a:cxn>
                  <a:cxn ang="0">
                    <a:pos x="26" y="15"/>
                  </a:cxn>
                  <a:cxn ang="0">
                    <a:pos x="23" y="17"/>
                  </a:cxn>
                  <a:cxn ang="0">
                    <a:pos x="21" y="19"/>
                  </a:cxn>
                  <a:cxn ang="0">
                    <a:pos x="15" y="19"/>
                  </a:cxn>
                  <a:cxn ang="0">
                    <a:pos x="15" y="21"/>
                  </a:cxn>
                  <a:cxn ang="0">
                    <a:pos x="9" y="21"/>
                  </a:cxn>
                  <a:cxn ang="0">
                    <a:pos x="6" y="21"/>
                  </a:cxn>
                  <a:cxn ang="0">
                    <a:pos x="6" y="21"/>
                  </a:cxn>
                  <a:cxn ang="0">
                    <a:pos x="6" y="21"/>
                  </a:cxn>
                </a:cxnLst>
                <a:rect l="0" t="0" r="r" b="b"/>
                <a:pathLst>
                  <a:path w="41" h="21">
                    <a:moveTo>
                      <a:pt x="6" y="21"/>
                    </a:moveTo>
                    <a:lnTo>
                      <a:pt x="0" y="17"/>
                    </a:lnTo>
                    <a:lnTo>
                      <a:pt x="0" y="15"/>
                    </a:lnTo>
                    <a:lnTo>
                      <a:pt x="0" y="11"/>
                    </a:lnTo>
                    <a:lnTo>
                      <a:pt x="0" y="11"/>
                    </a:lnTo>
                    <a:lnTo>
                      <a:pt x="2" y="7"/>
                    </a:lnTo>
                    <a:lnTo>
                      <a:pt x="6" y="9"/>
                    </a:lnTo>
                    <a:lnTo>
                      <a:pt x="9" y="9"/>
                    </a:lnTo>
                    <a:lnTo>
                      <a:pt x="9" y="7"/>
                    </a:lnTo>
                    <a:lnTo>
                      <a:pt x="9" y="6"/>
                    </a:lnTo>
                    <a:lnTo>
                      <a:pt x="15" y="6"/>
                    </a:lnTo>
                    <a:lnTo>
                      <a:pt x="17" y="7"/>
                    </a:lnTo>
                    <a:lnTo>
                      <a:pt x="23" y="7"/>
                    </a:lnTo>
                    <a:lnTo>
                      <a:pt x="32" y="4"/>
                    </a:lnTo>
                    <a:lnTo>
                      <a:pt x="38" y="0"/>
                    </a:lnTo>
                    <a:lnTo>
                      <a:pt x="40" y="0"/>
                    </a:lnTo>
                    <a:lnTo>
                      <a:pt x="41" y="0"/>
                    </a:lnTo>
                    <a:lnTo>
                      <a:pt x="40" y="2"/>
                    </a:lnTo>
                    <a:lnTo>
                      <a:pt x="34" y="6"/>
                    </a:lnTo>
                    <a:lnTo>
                      <a:pt x="30" y="7"/>
                    </a:lnTo>
                    <a:lnTo>
                      <a:pt x="32" y="11"/>
                    </a:lnTo>
                    <a:lnTo>
                      <a:pt x="32" y="15"/>
                    </a:lnTo>
                    <a:lnTo>
                      <a:pt x="26" y="15"/>
                    </a:lnTo>
                    <a:lnTo>
                      <a:pt x="23" y="17"/>
                    </a:lnTo>
                    <a:lnTo>
                      <a:pt x="21" y="19"/>
                    </a:lnTo>
                    <a:lnTo>
                      <a:pt x="15" y="19"/>
                    </a:lnTo>
                    <a:lnTo>
                      <a:pt x="15" y="21"/>
                    </a:lnTo>
                    <a:lnTo>
                      <a:pt x="9" y="21"/>
                    </a:lnTo>
                    <a:lnTo>
                      <a:pt x="6" y="21"/>
                    </a:lnTo>
                    <a:lnTo>
                      <a:pt x="6" y="21"/>
                    </a:lnTo>
                    <a:lnTo>
                      <a:pt x="6" y="2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5" name="Freeform 67"/>
              <p:cNvSpPr>
                <a:spLocks/>
              </p:cNvSpPr>
              <p:nvPr/>
            </p:nvSpPr>
            <p:spPr bwMode="auto">
              <a:xfrm>
                <a:off x="3413" y="2372"/>
                <a:ext cx="115" cy="108"/>
              </a:xfrm>
              <a:custGeom>
                <a:avLst/>
                <a:gdLst/>
                <a:ahLst/>
                <a:cxnLst>
                  <a:cxn ang="0">
                    <a:pos x="93" y="59"/>
                  </a:cxn>
                  <a:cxn ang="0">
                    <a:pos x="98" y="51"/>
                  </a:cxn>
                  <a:cxn ang="0">
                    <a:pos x="96" y="45"/>
                  </a:cxn>
                  <a:cxn ang="0">
                    <a:pos x="98" y="32"/>
                  </a:cxn>
                  <a:cxn ang="0">
                    <a:pos x="96" y="17"/>
                  </a:cxn>
                  <a:cxn ang="0">
                    <a:pos x="106" y="10"/>
                  </a:cxn>
                  <a:cxn ang="0">
                    <a:pos x="111" y="6"/>
                  </a:cxn>
                  <a:cxn ang="0">
                    <a:pos x="111" y="0"/>
                  </a:cxn>
                  <a:cxn ang="0">
                    <a:pos x="98" y="2"/>
                  </a:cxn>
                  <a:cxn ang="0">
                    <a:pos x="87" y="6"/>
                  </a:cxn>
                  <a:cxn ang="0">
                    <a:pos x="78" y="6"/>
                  </a:cxn>
                  <a:cxn ang="0">
                    <a:pos x="68" y="10"/>
                  </a:cxn>
                  <a:cxn ang="0">
                    <a:pos x="59" y="12"/>
                  </a:cxn>
                  <a:cxn ang="0">
                    <a:pos x="53" y="8"/>
                  </a:cxn>
                  <a:cxn ang="0">
                    <a:pos x="38" y="8"/>
                  </a:cxn>
                  <a:cxn ang="0">
                    <a:pos x="34" y="10"/>
                  </a:cxn>
                  <a:cxn ang="0">
                    <a:pos x="23" y="13"/>
                  </a:cxn>
                  <a:cxn ang="0">
                    <a:pos x="15" y="15"/>
                  </a:cxn>
                  <a:cxn ang="0">
                    <a:pos x="14" y="25"/>
                  </a:cxn>
                  <a:cxn ang="0">
                    <a:pos x="10" y="30"/>
                  </a:cxn>
                  <a:cxn ang="0">
                    <a:pos x="4" y="30"/>
                  </a:cxn>
                  <a:cxn ang="0">
                    <a:pos x="0" y="30"/>
                  </a:cxn>
                  <a:cxn ang="0">
                    <a:pos x="4" y="42"/>
                  </a:cxn>
                  <a:cxn ang="0">
                    <a:pos x="4" y="51"/>
                  </a:cxn>
                  <a:cxn ang="0">
                    <a:pos x="12" y="59"/>
                  </a:cxn>
                  <a:cxn ang="0">
                    <a:pos x="15" y="62"/>
                  </a:cxn>
                  <a:cxn ang="0">
                    <a:pos x="17" y="72"/>
                  </a:cxn>
                  <a:cxn ang="0">
                    <a:pos x="14" y="76"/>
                  </a:cxn>
                  <a:cxn ang="0">
                    <a:pos x="8" y="81"/>
                  </a:cxn>
                  <a:cxn ang="0">
                    <a:pos x="4" y="85"/>
                  </a:cxn>
                  <a:cxn ang="0">
                    <a:pos x="8" y="89"/>
                  </a:cxn>
                  <a:cxn ang="0">
                    <a:pos x="8" y="100"/>
                  </a:cxn>
                  <a:cxn ang="0">
                    <a:pos x="15" y="102"/>
                  </a:cxn>
                  <a:cxn ang="0">
                    <a:pos x="19" y="106"/>
                  </a:cxn>
                  <a:cxn ang="0">
                    <a:pos x="59" y="83"/>
                  </a:cxn>
                  <a:cxn ang="0">
                    <a:pos x="59" y="83"/>
                  </a:cxn>
                </a:cxnLst>
                <a:rect l="0" t="0" r="r" b="b"/>
                <a:pathLst>
                  <a:path w="115" h="108">
                    <a:moveTo>
                      <a:pt x="59" y="83"/>
                    </a:moveTo>
                    <a:lnTo>
                      <a:pt x="93" y="59"/>
                    </a:lnTo>
                    <a:lnTo>
                      <a:pt x="93" y="57"/>
                    </a:lnTo>
                    <a:lnTo>
                      <a:pt x="98" y="51"/>
                    </a:lnTo>
                    <a:lnTo>
                      <a:pt x="98" y="45"/>
                    </a:lnTo>
                    <a:lnTo>
                      <a:pt x="96" y="45"/>
                    </a:lnTo>
                    <a:lnTo>
                      <a:pt x="98" y="36"/>
                    </a:lnTo>
                    <a:lnTo>
                      <a:pt x="98" y="32"/>
                    </a:lnTo>
                    <a:lnTo>
                      <a:pt x="96" y="25"/>
                    </a:lnTo>
                    <a:lnTo>
                      <a:pt x="96" y="17"/>
                    </a:lnTo>
                    <a:lnTo>
                      <a:pt x="98" y="12"/>
                    </a:lnTo>
                    <a:lnTo>
                      <a:pt x="106" y="10"/>
                    </a:lnTo>
                    <a:lnTo>
                      <a:pt x="110" y="6"/>
                    </a:lnTo>
                    <a:lnTo>
                      <a:pt x="111" y="6"/>
                    </a:lnTo>
                    <a:lnTo>
                      <a:pt x="115" y="2"/>
                    </a:lnTo>
                    <a:lnTo>
                      <a:pt x="111" y="0"/>
                    </a:lnTo>
                    <a:lnTo>
                      <a:pt x="106" y="0"/>
                    </a:lnTo>
                    <a:lnTo>
                      <a:pt x="98" y="2"/>
                    </a:lnTo>
                    <a:lnTo>
                      <a:pt x="91" y="2"/>
                    </a:lnTo>
                    <a:lnTo>
                      <a:pt x="87" y="6"/>
                    </a:lnTo>
                    <a:lnTo>
                      <a:pt x="81" y="6"/>
                    </a:lnTo>
                    <a:lnTo>
                      <a:pt x="78" y="6"/>
                    </a:lnTo>
                    <a:lnTo>
                      <a:pt x="74" y="8"/>
                    </a:lnTo>
                    <a:lnTo>
                      <a:pt x="68" y="10"/>
                    </a:lnTo>
                    <a:lnTo>
                      <a:pt x="68" y="12"/>
                    </a:lnTo>
                    <a:lnTo>
                      <a:pt x="59" y="12"/>
                    </a:lnTo>
                    <a:lnTo>
                      <a:pt x="53" y="10"/>
                    </a:lnTo>
                    <a:lnTo>
                      <a:pt x="53" y="8"/>
                    </a:lnTo>
                    <a:lnTo>
                      <a:pt x="49" y="8"/>
                    </a:lnTo>
                    <a:lnTo>
                      <a:pt x="38" y="8"/>
                    </a:lnTo>
                    <a:lnTo>
                      <a:pt x="36" y="10"/>
                    </a:lnTo>
                    <a:lnTo>
                      <a:pt x="34" y="10"/>
                    </a:lnTo>
                    <a:lnTo>
                      <a:pt x="25" y="13"/>
                    </a:lnTo>
                    <a:lnTo>
                      <a:pt x="23" y="13"/>
                    </a:lnTo>
                    <a:lnTo>
                      <a:pt x="17" y="12"/>
                    </a:lnTo>
                    <a:lnTo>
                      <a:pt x="15" y="15"/>
                    </a:lnTo>
                    <a:lnTo>
                      <a:pt x="15" y="23"/>
                    </a:lnTo>
                    <a:lnTo>
                      <a:pt x="14" y="25"/>
                    </a:lnTo>
                    <a:lnTo>
                      <a:pt x="14" y="27"/>
                    </a:lnTo>
                    <a:lnTo>
                      <a:pt x="10" y="30"/>
                    </a:lnTo>
                    <a:lnTo>
                      <a:pt x="6" y="30"/>
                    </a:lnTo>
                    <a:lnTo>
                      <a:pt x="4" y="30"/>
                    </a:lnTo>
                    <a:lnTo>
                      <a:pt x="0" y="30"/>
                    </a:lnTo>
                    <a:lnTo>
                      <a:pt x="0" y="30"/>
                    </a:lnTo>
                    <a:lnTo>
                      <a:pt x="0" y="36"/>
                    </a:lnTo>
                    <a:lnTo>
                      <a:pt x="4" y="42"/>
                    </a:lnTo>
                    <a:lnTo>
                      <a:pt x="4" y="47"/>
                    </a:lnTo>
                    <a:lnTo>
                      <a:pt x="4" y="51"/>
                    </a:lnTo>
                    <a:lnTo>
                      <a:pt x="4" y="59"/>
                    </a:lnTo>
                    <a:lnTo>
                      <a:pt x="12" y="59"/>
                    </a:lnTo>
                    <a:lnTo>
                      <a:pt x="14" y="62"/>
                    </a:lnTo>
                    <a:lnTo>
                      <a:pt x="15" y="62"/>
                    </a:lnTo>
                    <a:lnTo>
                      <a:pt x="15" y="70"/>
                    </a:lnTo>
                    <a:lnTo>
                      <a:pt x="17" y="72"/>
                    </a:lnTo>
                    <a:lnTo>
                      <a:pt x="15" y="76"/>
                    </a:lnTo>
                    <a:lnTo>
                      <a:pt x="14" y="76"/>
                    </a:lnTo>
                    <a:lnTo>
                      <a:pt x="10" y="76"/>
                    </a:lnTo>
                    <a:lnTo>
                      <a:pt x="8" y="81"/>
                    </a:lnTo>
                    <a:lnTo>
                      <a:pt x="4" y="85"/>
                    </a:lnTo>
                    <a:lnTo>
                      <a:pt x="4" y="85"/>
                    </a:lnTo>
                    <a:lnTo>
                      <a:pt x="6" y="87"/>
                    </a:lnTo>
                    <a:lnTo>
                      <a:pt x="8" y="89"/>
                    </a:lnTo>
                    <a:lnTo>
                      <a:pt x="8" y="96"/>
                    </a:lnTo>
                    <a:lnTo>
                      <a:pt x="8" y="100"/>
                    </a:lnTo>
                    <a:lnTo>
                      <a:pt x="10" y="100"/>
                    </a:lnTo>
                    <a:lnTo>
                      <a:pt x="15" y="102"/>
                    </a:lnTo>
                    <a:lnTo>
                      <a:pt x="19" y="106"/>
                    </a:lnTo>
                    <a:lnTo>
                      <a:pt x="19" y="106"/>
                    </a:lnTo>
                    <a:lnTo>
                      <a:pt x="25" y="108"/>
                    </a:lnTo>
                    <a:lnTo>
                      <a:pt x="59" y="83"/>
                    </a:lnTo>
                    <a:lnTo>
                      <a:pt x="59" y="83"/>
                    </a:lnTo>
                    <a:lnTo>
                      <a:pt x="59" y="83"/>
                    </a:lnTo>
                    <a:lnTo>
                      <a:pt x="59" y="8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6" name="Freeform 68"/>
              <p:cNvSpPr>
                <a:spLocks/>
              </p:cNvSpPr>
              <p:nvPr/>
            </p:nvSpPr>
            <p:spPr bwMode="auto">
              <a:xfrm>
                <a:off x="3413" y="2372"/>
                <a:ext cx="115" cy="108"/>
              </a:xfrm>
              <a:custGeom>
                <a:avLst/>
                <a:gdLst/>
                <a:ahLst/>
                <a:cxnLst>
                  <a:cxn ang="0">
                    <a:pos x="93" y="59"/>
                  </a:cxn>
                  <a:cxn ang="0">
                    <a:pos x="98" y="51"/>
                  </a:cxn>
                  <a:cxn ang="0">
                    <a:pos x="96" y="45"/>
                  </a:cxn>
                  <a:cxn ang="0">
                    <a:pos x="98" y="32"/>
                  </a:cxn>
                  <a:cxn ang="0">
                    <a:pos x="96" y="17"/>
                  </a:cxn>
                  <a:cxn ang="0">
                    <a:pos x="106" y="10"/>
                  </a:cxn>
                  <a:cxn ang="0">
                    <a:pos x="111" y="6"/>
                  </a:cxn>
                  <a:cxn ang="0">
                    <a:pos x="111" y="0"/>
                  </a:cxn>
                  <a:cxn ang="0">
                    <a:pos x="98" y="2"/>
                  </a:cxn>
                  <a:cxn ang="0">
                    <a:pos x="87" y="6"/>
                  </a:cxn>
                  <a:cxn ang="0">
                    <a:pos x="78" y="6"/>
                  </a:cxn>
                  <a:cxn ang="0">
                    <a:pos x="68" y="10"/>
                  </a:cxn>
                  <a:cxn ang="0">
                    <a:pos x="59" y="12"/>
                  </a:cxn>
                  <a:cxn ang="0">
                    <a:pos x="53" y="8"/>
                  </a:cxn>
                  <a:cxn ang="0">
                    <a:pos x="38" y="8"/>
                  </a:cxn>
                  <a:cxn ang="0">
                    <a:pos x="34" y="10"/>
                  </a:cxn>
                  <a:cxn ang="0">
                    <a:pos x="23" y="13"/>
                  </a:cxn>
                  <a:cxn ang="0">
                    <a:pos x="15" y="15"/>
                  </a:cxn>
                  <a:cxn ang="0">
                    <a:pos x="14" y="25"/>
                  </a:cxn>
                  <a:cxn ang="0">
                    <a:pos x="10" y="30"/>
                  </a:cxn>
                  <a:cxn ang="0">
                    <a:pos x="4" y="30"/>
                  </a:cxn>
                  <a:cxn ang="0">
                    <a:pos x="0" y="30"/>
                  </a:cxn>
                  <a:cxn ang="0">
                    <a:pos x="4" y="42"/>
                  </a:cxn>
                  <a:cxn ang="0">
                    <a:pos x="4" y="51"/>
                  </a:cxn>
                  <a:cxn ang="0">
                    <a:pos x="12" y="59"/>
                  </a:cxn>
                  <a:cxn ang="0">
                    <a:pos x="15" y="62"/>
                  </a:cxn>
                  <a:cxn ang="0">
                    <a:pos x="17" y="72"/>
                  </a:cxn>
                  <a:cxn ang="0">
                    <a:pos x="14" y="76"/>
                  </a:cxn>
                  <a:cxn ang="0">
                    <a:pos x="8" y="81"/>
                  </a:cxn>
                  <a:cxn ang="0">
                    <a:pos x="4" y="85"/>
                  </a:cxn>
                  <a:cxn ang="0">
                    <a:pos x="8" y="89"/>
                  </a:cxn>
                  <a:cxn ang="0">
                    <a:pos x="8" y="100"/>
                  </a:cxn>
                  <a:cxn ang="0">
                    <a:pos x="15" y="102"/>
                  </a:cxn>
                  <a:cxn ang="0">
                    <a:pos x="19" y="106"/>
                  </a:cxn>
                  <a:cxn ang="0">
                    <a:pos x="59" y="83"/>
                  </a:cxn>
                  <a:cxn ang="0">
                    <a:pos x="59" y="83"/>
                  </a:cxn>
                </a:cxnLst>
                <a:rect l="0" t="0" r="r" b="b"/>
                <a:pathLst>
                  <a:path w="115" h="108">
                    <a:moveTo>
                      <a:pt x="59" y="83"/>
                    </a:moveTo>
                    <a:lnTo>
                      <a:pt x="93" y="59"/>
                    </a:lnTo>
                    <a:lnTo>
                      <a:pt x="93" y="57"/>
                    </a:lnTo>
                    <a:lnTo>
                      <a:pt x="98" y="51"/>
                    </a:lnTo>
                    <a:lnTo>
                      <a:pt x="98" y="45"/>
                    </a:lnTo>
                    <a:lnTo>
                      <a:pt x="96" y="45"/>
                    </a:lnTo>
                    <a:lnTo>
                      <a:pt x="98" y="36"/>
                    </a:lnTo>
                    <a:lnTo>
                      <a:pt x="98" y="32"/>
                    </a:lnTo>
                    <a:lnTo>
                      <a:pt x="96" y="25"/>
                    </a:lnTo>
                    <a:lnTo>
                      <a:pt x="96" y="17"/>
                    </a:lnTo>
                    <a:lnTo>
                      <a:pt x="98" y="12"/>
                    </a:lnTo>
                    <a:lnTo>
                      <a:pt x="106" y="10"/>
                    </a:lnTo>
                    <a:lnTo>
                      <a:pt x="110" y="6"/>
                    </a:lnTo>
                    <a:lnTo>
                      <a:pt x="111" y="6"/>
                    </a:lnTo>
                    <a:lnTo>
                      <a:pt x="115" y="2"/>
                    </a:lnTo>
                    <a:lnTo>
                      <a:pt x="111" y="0"/>
                    </a:lnTo>
                    <a:lnTo>
                      <a:pt x="106" y="0"/>
                    </a:lnTo>
                    <a:lnTo>
                      <a:pt x="98" y="2"/>
                    </a:lnTo>
                    <a:lnTo>
                      <a:pt x="91" y="2"/>
                    </a:lnTo>
                    <a:lnTo>
                      <a:pt x="87" y="6"/>
                    </a:lnTo>
                    <a:lnTo>
                      <a:pt x="81" y="6"/>
                    </a:lnTo>
                    <a:lnTo>
                      <a:pt x="78" y="6"/>
                    </a:lnTo>
                    <a:lnTo>
                      <a:pt x="74" y="8"/>
                    </a:lnTo>
                    <a:lnTo>
                      <a:pt x="68" y="10"/>
                    </a:lnTo>
                    <a:lnTo>
                      <a:pt x="68" y="12"/>
                    </a:lnTo>
                    <a:lnTo>
                      <a:pt x="59" y="12"/>
                    </a:lnTo>
                    <a:lnTo>
                      <a:pt x="53" y="10"/>
                    </a:lnTo>
                    <a:lnTo>
                      <a:pt x="53" y="8"/>
                    </a:lnTo>
                    <a:lnTo>
                      <a:pt x="49" y="8"/>
                    </a:lnTo>
                    <a:lnTo>
                      <a:pt x="38" y="8"/>
                    </a:lnTo>
                    <a:lnTo>
                      <a:pt x="36" y="10"/>
                    </a:lnTo>
                    <a:lnTo>
                      <a:pt x="34" y="10"/>
                    </a:lnTo>
                    <a:lnTo>
                      <a:pt x="25" y="13"/>
                    </a:lnTo>
                    <a:lnTo>
                      <a:pt x="23" y="13"/>
                    </a:lnTo>
                    <a:lnTo>
                      <a:pt x="17" y="12"/>
                    </a:lnTo>
                    <a:lnTo>
                      <a:pt x="15" y="15"/>
                    </a:lnTo>
                    <a:lnTo>
                      <a:pt x="15" y="23"/>
                    </a:lnTo>
                    <a:lnTo>
                      <a:pt x="14" y="25"/>
                    </a:lnTo>
                    <a:lnTo>
                      <a:pt x="14" y="27"/>
                    </a:lnTo>
                    <a:lnTo>
                      <a:pt x="10" y="30"/>
                    </a:lnTo>
                    <a:lnTo>
                      <a:pt x="6" y="30"/>
                    </a:lnTo>
                    <a:lnTo>
                      <a:pt x="4" y="30"/>
                    </a:lnTo>
                    <a:lnTo>
                      <a:pt x="0" y="30"/>
                    </a:lnTo>
                    <a:lnTo>
                      <a:pt x="0" y="30"/>
                    </a:lnTo>
                    <a:lnTo>
                      <a:pt x="0" y="36"/>
                    </a:lnTo>
                    <a:lnTo>
                      <a:pt x="4" y="42"/>
                    </a:lnTo>
                    <a:lnTo>
                      <a:pt x="4" y="47"/>
                    </a:lnTo>
                    <a:lnTo>
                      <a:pt x="4" y="51"/>
                    </a:lnTo>
                    <a:lnTo>
                      <a:pt x="4" y="59"/>
                    </a:lnTo>
                    <a:lnTo>
                      <a:pt x="12" y="59"/>
                    </a:lnTo>
                    <a:lnTo>
                      <a:pt x="14" y="62"/>
                    </a:lnTo>
                    <a:lnTo>
                      <a:pt x="15" y="62"/>
                    </a:lnTo>
                    <a:lnTo>
                      <a:pt x="15" y="70"/>
                    </a:lnTo>
                    <a:lnTo>
                      <a:pt x="17" y="72"/>
                    </a:lnTo>
                    <a:lnTo>
                      <a:pt x="15" y="76"/>
                    </a:lnTo>
                    <a:lnTo>
                      <a:pt x="14" y="76"/>
                    </a:lnTo>
                    <a:lnTo>
                      <a:pt x="10" y="76"/>
                    </a:lnTo>
                    <a:lnTo>
                      <a:pt x="8" y="81"/>
                    </a:lnTo>
                    <a:lnTo>
                      <a:pt x="4" y="85"/>
                    </a:lnTo>
                    <a:lnTo>
                      <a:pt x="4" y="85"/>
                    </a:lnTo>
                    <a:lnTo>
                      <a:pt x="6" y="87"/>
                    </a:lnTo>
                    <a:lnTo>
                      <a:pt x="8" y="89"/>
                    </a:lnTo>
                    <a:lnTo>
                      <a:pt x="8" y="96"/>
                    </a:lnTo>
                    <a:lnTo>
                      <a:pt x="8" y="100"/>
                    </a:lnTo>
                    <a:lnTo>
                      <a:pt x="10" y="100"/>
                    </a:lnTo>
                    <a:lnTo>
                      <a:pt x="15" y="102"/>
                    </a:lnTo>
                    <a:lnTo>
                      <a:pt x="19" y="106"/>
                    </a:lnTo>
                    <a:lnTo>
                      <a:pt x="19" y="106"/>
                    </a:lnTo>
                    <a:lnTo>
                      <a:pt x="25" y="108"/>
                    </a:lnTo>
                    <a:lnTo>
                      <a:pt x="59" y="83"/>
                    </a:lnTo>
                    <a:lnTo>
                      <a:pt x="59" y="83"/>
                    </a:lnTo>
                    <a:lnTo>
                      <a:pt x="59" y="83"/>
                    </a:lnTo>
                    <a:lnTo>
                      <a:pt x="59" y="8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7" name="Freeform 69"/>
              <p:cNvSpPr>
                <a:spLocks/>
              </p:cNvSpPr>
              <p:nvPr/>
            </p:nvSpPr>
            <p:spPr bwMode="auto">
              <a:xfrm>
                <a:off x="3391" y="2457"/>
                <a:ext cx="26" cy="79"/>
              </a:xfrm>
              <a:custGeom>
                <a:avLst/>
                <a:gdLst/>
                <a:ahLst/>
                <a:cxnLst>
                  <a:cxn ang="0">
                    <a:pos x="17" y="79"/>
                  </a:cxn>
                  <a:cxn ang="0">
                    <a:pos x="19" y="77"/>
                  </a:cxn>
                  <a:cxn ang="0">
                    <a:pos x="19" y="77"/>
                  </a:cxn>
                  <a:cxn ang="0">
                    <a:pos x="19" y="73"/>
                  </a:cxn>
                  <a:cxn ang="0">
                    <a:pos x="20" y="72"/>
                  </a:cxn>
                  <a:cxn ang="0">
                    <a:pos x="20" y="68"/>
                  </a:cxn>
                  <a:cxn ang="0">
                    <a:pos x="22" y="64"/>
                  </a:cxn>
                  <a:cxn ang="0">
                    <a:pos x="22" y="58"/>
                  </a:cxn>
                  <a:cxn ang="0">
                    <a:pos x="22" y="58"/>
                  </a:cxn>
                  <a:cxn ang="0">
                    <a:pos x="22" y="55"/>
                  </a:cxn>
                  <a:cxn ang="0">
                    <a:pos x="22" y="49"/>
                  </a:cxn>
                  <a:cxn ang="0">
                    <a:pos x="22" y="47"/>
                  </a:cxn>
                  <a:cxn ang="0">
                    <a:pos x="22" y="40"/>
                  </a:cxn>
                  <a:cxn ang="0">
                    <a:pos x="22" y="40"/>
                  </a:cxn>
                  <a:cxn ang="0">
                    <a:pos x="20" y="40"/>
                  </a:cxn>
                  <a:cxn ang="0">
                    <a:pos x="19" y="40"/>
                  </a:cxn>
                  <a:cxn ang="0">
                    <a:pos x="17" y="40"/>
                  </a:cxn>
                  <a:cxn ang="0">
                    <a:pos x="17" y="34"/>
                  </a:cxn>
                  <a:cxn ang="0">
                    <a:pos x="17" y="25"/>
                  </a:cxn>
                  <a:cxn ang="0">
                    <a:pos x="17" y="23"/>
                  </a:cxn>
                  <a:cxn ang="0">
                    <a:pos x="17" y="17"/>
                  </a:cxn>
                  <a:cxn ang="0">
                    <a:pos x="22" y="17"/>
                  </a:cxn>
                  <a:cxn ang="0">
                    <a:pos x="22" y="21"/>
                  </a:cxn>
                  <a:cxn ang="0">
                    <a:pos x="22" y="21"/>
                  </a:cxn>
                  <a:cxn ang="0">
                    <a:pos x="26" y="21"/>
                  </a:cxn>
                  <a:cxn ang="0">
                    <a:pos x="26" y="17"/>
                  </a:cxn>
                  <a:cxn ang="0">
                    <a:pos x="26" y="17"/>
                  </a:cxn>
                  <a:cxn ang="0">
                    <a:pos x="26" y="17"/>
                  </a:cxn>
                  <a:cxn ang="0">
                    <a:pos x="22" y="11"/>
                  </a:cxn>
                  <a:cxn ang="0">
                    <a:pos x="26" y="8"/>
                  </a:cxn>
                  <a:cxn ang="0">
                    <a:pos x="26" y="2"/>
                  </a:cxn>
                  <a:cxn ang="0">
                    <a:pos x="26" y="0"/>
                  </a:cxn>
                  <a:cxn ang="0">
                    <a:pos x="26" y="0"/>
                  </a:cxn>
                  <a:cxn ang="0">
                    <a:pos x="22" y="4"/>
                  </a:cxn>
                  <a:cxn ang="0">
                    <a:pos x="19" y="4"/>
                  </a:cxn>
                  <a:cxn ang="0">
                    <a:pos x="17" y="4"/>
                  </a:cxn>
                  <a:cxn ang="0">
                    <a:pos x="13" y="8"/>
                  </a:cxn>
                  <a:cxn ang="0">
                    <a:pos x="9" y="21"/>
                  </a:cxn>
                  <a:cxn ang="0">
                    <a:pos x="5" y="32"/>
                  </a:cxn>
                  <a:cxn ang="0">
                    <a:pos x="0" y="40"/>
                  </a:cxn>
                  <a:cxn ang="0">
                    <a:pos x="4" y="40"/>
                  </a:cxn>
                  <a:cxn ang="0">
                    <a:pos x="5" y="45"/>
                  </a:cxn>
                  <a:cxn ang="0">
                    <a:pos x="7" y="53"/>
                  </a:cxn>
                  <a:cxn ang="0">
                    <a:pos x="13" y="60"/>
                  </a:cxn>
                  <a:cxn ang="0">
                    <a:pos x="17" y="70"/>
                  </a:cxn>
                  <a:cxn ang="0">
                    <a:pos x="17" y="73"/>
                  </a:cxn>
                  <a:cxn ang="0">
                    <a:pos x="17" y="79"/>
                  </a:cxn>
                  <a:cxn ang="0">
                    <a:pos x="17" y="79"/>
                  </a:cxn>
                  <a:cxn ang="0">
                    <a:pos x="17" y="79"/>
                  </a:cxn>
                </a:cxnLst>
                <a:rect l="0" t="0" r="r" b="b"/>
                <a:pathLst>
                  <a:path w="26" h="79">
                    <a:moveTo>
                      <a:pt x="17" y="79"/>
                    </a:moveTo>
                    <a:lnTo>
                      <a:pt x="19" y="77"/>
                    </a:lnTo>
                    <a:lnTo>
                      <a:pt x="19" y="77"/>
                    </a:lnTo>
                    <a:lnTo>
                      <a:pt x="19" y="73"/>
                    </a:lnTo>
                    <a:lnTo>
                      <a:pt x="20" y="72"/>
                    </a:lnTo>
                    <a:lnTo>
                      <a:pt x="20" y="68"/>
                    </a:lnTo>
                    <a:lnTo>
                      <a:pt x="22" y="64"/>
                    </a:lnTo>
                    <a:lnTo>
                      <a:pt x="22" y="58"/>
                    </a:lnTo>
                    <a:lnTo>
                      <a:pt x="22" y="58"/>
                    </a:lnTo>
                    <a:lnTo>
                      <a:pt x="22" y="55"/>
                    </a:lnTo>
                    <a:lnTo>
                      <a:pt x="22" y="49"/>
                    </a:lnTo>
                    <a:lnTo>
                      <a:pt x="22" y="47"/>
                    </a:lnTo>
                    <a:lnTo>
                      <a:pt x="22" y="40"/>
                    </a:lnTo>
                    <a:lnTo>
                      <a:pt x="22" y="40"/>
                    </a:lnTo>
                    <a:lnTo>
                      <a:pt x="20" y="40"/>
                    </a:lnTo>
                    <a:lnTo>
                      <a:pt x="19" y="40"/>
                    </a:lnTo>
                    <a:lnTo>
                      <a:pt x="17" y="40"/>
                    </a:lnTo>
                    <a:lnTo>
                      <a:pt x="17" y="34"/>
                    </a:lnTo>
                    <a:lnTo>
                      <a:pt x="17" y="25"/>
                    </a:lnTo>
                    <a:lnTo>
                      <a:pt x="17" y="23"/>
                    </a:lnTo>
                    <a:lnTo>
                      <a:pt x="17" y="17"/>
                    </a:lnTo>
                    <a:lnTo>
                      <a:pt x="22" y="17"/>
                    </a:lnTo>
                    <a:lnTo>
                      <a:pt x="22" y="21"/>
                    </a:lnTo>
                    <a:lnTo>
                      <a:pt x="22" y="21"/>
                    </a:lnTo>
                    <a:lnTo>
                      <a:pt x="26" y="21"/>
                    </a:lnTo>
                    <a:lnTo>
                      <a:pt x="26" y="17"/>
                    </a:lnTo>
                    <a:lnTo>
                      <a:pt x="26" y="17"/>
                    </a:lnTo>
                    <a:lnTo>
                      <a:pt x="26" y="17"/>
                    </a:lnTo>
                    <a:lnTo>
                      <a:pt x="22" y="11"/>
                    </a:lnTo>
                    <a:lnTo>
                      <a:pt x="26" y="8"/>
                    </a:lnTo>
                    <a:lnTo>
                      <a:pt x="26" y="2"/>
                    </a:lnTo>
                    <a:lnTo>
                      <a:pt x="26" y="0"/>
                    </a:lnTo>
                    <a:lnTo>
                      <a:pt x="26" y="0"/>
                    </a:lnTo>
                    <a:lnTo>
                      <a:pt x="22" y="4"/>
                    </a:lnTo>
                    <a:lnTo>
                      <a:pt x="19" y="4"/>
                    </a:lnTo>
                    <a:lnTo>
                      <a:pt x="17" y="4"/>
                    </a:lnTo>
                    <a:lnTo>
                      <a:pt x="13" y="8"/>
                    </a:lnTo>
                    <a:lnTo>
                      <a:pt x="9" y="21"/>
                    </a:lnTo>
                    <a:lnTo>
                      <a:pt x="5" y="32"/>
                    </a:lnTo>
                    <a:lnTo>
                      <a:pt x="0" y="40"/>
                    </a:lnTo>
                    <a:lnTo>
                      <a:pt x="4" y="40"/>
                    </a:lnTo>
                    <a:lnTo>
                      <a:pt x="5" y="45"/>
                    </a:lnTo>
                    <a:lnTo>
                      <a:pt x="7" y="53"/>
                    </a:lnTo>
                    <a:lnTo>
                      <a:pt x="13" y="60"/>
                    </a:lnTo>
                    <a:lnTo>
                      <a:pt x="17" y="70"/>
                    </a:lnTo>
                    <a:lnTo>
                      <a:pt x="17" y="73"/>
                    </a:lnTo>
                    <a:lnTo>
                      <a:pt x="17" y="79"/>
                    </a:lnTo>
                    <a:lnTo>
                      <a:pt x="17" y="79"/>
                    </a:lnTo>
                    <a:lnTo>
                      <a:pt x="17" y="7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8" name="Freeform 70"/>
              <p:cNvSpPr>
                <a:spLocks/>
              </p:cNvSpPr>
              <p:nvPr/>
            </p:nvSpPr>
            <p:spPr bwMode="auto">
              <a:xfrm>
                <a:off x="3391" y="2457"/>
                <a:ext cx="26" cy="79"/>
              </a:xfrm>
              <a:custGeom>
                <a:avLst/>
                <a:gdLst/>
                <a:ahLst/>
                <a:cxnLst>
                  <a:cxn ang="0">
                    <a:pos x="17" y="79"/>
                  </a:cxn>
                  <a:cxn ang="0">
                    <a:pos x="19" y="77"/>
                  </a:cxn>
                  <a:cxn ang="0">
                    <a:pos x="19" y="77"/>
                  </a:cxn>
                  <a:cxn ang="0">
                    <a:pos x="19" y="73"/>
                  </a:cxn>
                  <a:cxn ang="0">
                    <a:pos x="20" y="72"/>
                  </a:cxn>
                  <a:cxn ang="0">
                    <a:pos x="20" y="68"/>
                  </a:cxn>
                  <a:cxn ang="0">
                    <a:pos x="22" y="64"/>
                  </a:cxn>
                  <a:cxn ang="0">
                    <a:pos x="22" y="58"/>
                  </a:cxn>
                  <a:cxn ang="0">
                    <a:pos x="22" y="58"/>
                  </a:cxn>
                  <a:cxn ang="0">
                    <a:pos x="22" y="55"/>
                  </a:cxn>
                  <a:cxn ang="0">
                    <a:pos x="22" y="49"/>
                  </a:cxn>
                  <a:cxn ang="0">
                    <a:pos x="22" y="47"/>
                  </a:cxn>
                  <a:cxn ang="0">
                    <a:pos x="22" y="40"/>
                  </a:cxn>
                  <a:cxn ang="0">
                    <a:pos x="22" y="40"/>
                  </a:cxn>
                  <a:cxn ang="0">
                    <a:pos x="20" y="40"/>
                  </a:cxn>
                  <a:cxn ang="0">
                    <a:pos x="19" y="40"/>
                  </a:cxn>
                  <a:cxn ang="0">
                    <a:pos x="17" y="40"/>
                  </a:cxn>
                  <a:cxn ang="0">
                    <a:pos x="17" y="34"/>
                  </a:cxn>
                  <a:cxn ang="0">
                    <a:pos x="17" y="25"/>
                  </a:cxn>
                  <a:cxn ang="0">
                    <a:pos x="17" y="23"/>
                  </a:cxn>
                  <a:cxn ang="0">
                    <a:pos x="17" y="17"/>
                  </a:cxn>
                  <a:cxn ang="0">
                    <a:pos x="22" y="17"/>
                  </a:cxn>
                  <a:cxn ang="0">
                    <a:pos x="22" y="21"/>
                  </a:cxn>
                  <a:cxn ang="0">
                    <a:pos x="22" y="21"/>
                  </a:cxn>
                  <a:cxn ang="0">
                    <a:pos x="26" y="21"/>
                  </a:cxn>
                  <a:cxn ang="0">
                    <a:pos x="26" y="17"/>
                  </a:cxn>
                  <a:cxn ang="0">
                    <a:pos x="26" y="17"/>
                  </a:cxn>
                  <a:cxn ang="0">
                    <a:pos x="26" y="17"/>
                  </a:cxn>
                  <a:cxn ang="0">
                    <a:pos x="22" y="11"/>
                  </a:cxn>
                  <a:cxn ang="0">
                    <a:pos x="26" y="8"/>
                  </a:cxn>
                  <a:cxn ang="0">
                    <a:pos x="26" y="2"/>
                  </a:cxn>
                  <a:cxn ang="0">
                    <a:pos x="26" y="0"/>
                  </a:cxn>
                  <a:cxn ang="0">
                    <a:pos x="26" y="0"/>
                  </a:cxn>
                  <a:cxn ang="0">
                    <a:pos x="22" y="4"/>
                  </a:cxn>
                  <a:cxn ang="0">
                    <a:pos x="19" y="4"/>
                  </a:cxn>
                  <a:cxn ang="0">
                    <a:pos x="17" y="4"/>
                  </a:cxn>
                  <a:cxn ang="0">
                    <a:pos x="13" y="8"/>
                  </a:cxn>
                  <a:cxn ang="0">
                    <a:pos x="9" y="21"/>
                  </a:cxn>
                  <a:cxn ang="0">
                    <a:pos x="5" y="32"/>
                  </a:cxn>
                  <a:cxn ang="0">
                    <a:pos x="0" y="40"/>
                  </a:cxn>
                  <a:cxn ang="0">
                    <a:pos x="4" y="40"/>
                  </a:cxn>
                  <a:cxn ang="0">
                    <a:pos x="5" y="45"/>
                  </a:cxn>
                  <a:cxn ang="0">
                    <a:pos x="7" y="53"/>
                  </a:cxn>
                  <a:cxn ang="0">
                    <a:pos x="13" y="60"/>
                  </a:cxn>
                  <a:cxn ang="0">
                    <a:pos x="17" y="70"/>
                  </a:cxn>
                  <a:cxn ang="0">
                    <a:pos x="17" y="73"/>
                  </a:cxn>
                  <a:cxn ang="0">
                    <a:pos x="17" y="79"/>
                  </a:cxn>
                  <a:cxn ang="0">
                    <a:pos x="17" y="79"/>
                  </a:cxn>
                  <a:cxn ang="0">
                    <a:pos x="17" y="79"/>
                  </a:cxn>
                </a:cxnLst>
                <a:rect l="0" t="0" r="r" b="b"/>
                <a:pathLst>
                  <a:path w="26" h="79">
                    <a:moveTo>
                      <a:pt x="17" y="79"/>
                    </a:moveTo>
                    <a:lnTo>
                      <a:pt x="19" y="77"/>
                    </a:lnTo>
                    <a:lnTo>
                      <a:pt x="19" y="77"/>
                    </a:lnTo>
                    <a:lnTo>
                      <a:pt x="19" y="73"/>
                    </a:lnTo>
                    <a:lnTo>
                      <a:pt x="20" y="72"/>
                    </a:lnTo>
                    <a:lnTo>
                      <a:pt x="20" y="68"/>
                    </a:lnTo>
                    <a:lnTo>
                      <a:pt x="22" y="64"/>
                    </a:lnTo>
                    <a:lnTo>
                      <a:pt x="22" y="58"/>
                    </a:lnTo>
                    <a:lnTo>
                      <a:pt x="22" y="58"/>
                    </a:lnTo>
                    <a:lnTo>
                      <a:pt x="22" y="55"/>
                    </a:lnTo>
                    <a:lnTo>
                      <a:pt x="22" y="49"/>
                    </a:lnTo>
                    <a:lnTo>
                      <a:pt x="22" y="47"/>
                    </a:lnTo>
                    <a:lnTo>
                      <a:pt x="22" y="40"/>
                    </a:lnTo>
                    <a:lnTo>
                      <a:pt x="22" y="40"/>
                    </a:lnTo>
                    <a:lnTo>
                      <a:pt x="20" y="40"/>
                    </a:lnTo>
                    <a:lnTo>
                      <a:pt x="19" y="40"/>
                    </a:lnTo>
                    <a:lnTo>
                      <a:pt x="17" y="40"/>
                    </a:lnTo>
                    <a:lnTo>
                      <a:pt x="17" y="34"/>
                    </a:lnTo>
                    <a:lnTo>
                      <a:pt x="17" y="25"/>
                    </a:lnTo>
                    <a:lnTo>
                      <a:pt x="17" y="23"/>
                    </a:lnTo>
                    <a:lnTo>
                      <a:pt x="17" y="17"/>
                    </a:lnTo>
                    <a:lnTo>
                      <a:pt x="22" y="17"/>
                    </a:lnTo>
                    <a:lnTo>
                      <a:pt x="22" y="21"/>
                    </a:lnTo>
                    <a:lnTo>
                      <a:pt x="22" y="21"/>
                    </a:lnTo>
                    <a:lnTo>
                      <a:pt x="26" y="21"/>
                    </a:lnTo>
                    <a:lnTo>
                      <a:pt x="26" y="17"/>
                    </a:lnTo>
                    <a:lnTo>
                      <a:pt x="26" y="17"/>
                    </a:lnTo>
                    <a:lnTo>
                      <a:pt x="26" y="17"/>
                    </a:lnTo>
                    <a:lnTo>
                      <a:pt x="22" y="11"/>
                    </a:lnTo>
                    <a:lnTo>
                      <a:pt x="26" y="8"/>
                    </a:lnTo>
                    <a:lnTo>
                      <a:pt x="26" y="2"/>
                    </a:lnTo>
                    <a:lnTo>
                      <a:pt x="26" y="0"/>
                    </a:lnTo>
                    <a:lnTo>
                      <a:pt x="26" y="0"/>
                    </a:lnTo>
                    <a:lnTo>
                      <a:pt x="22" y="4"/>
                    </a:lnTo>
                    <a:lnTo>
                      <a:pt x="19" y="4"/>
                    </a:lnTo>
                    <a:lnTo>
                      <a:pt x="17" y="4"/>
                    </a:lnTo>
                    <a:lnTo>
                      <a:pt x="13" y="8"/>
                    </a:lnTo>
                    <a:lnTo>
                      <a:pt x="9" y="21"/>
                    </a:lnTo>
                    <a:lnTo>
                      <a:pt x="5" y="32"/>
                    </a:lnTo>
                    <a:lnTo>
                      <a:pt x="0" y="40"/>
                    </a:lnTo>
                    <a:lnTo>
                      <a:pt x="4" y="40"/>
                    </a:lnTo>
                    <a:lnTo>
                      <a:pt x="5" y="45"/>
                    </a:lnTo>
                    <a:lnTo>
                      <a:pt x="7" y="53"/>
                    </a:lnTo>
                    <a:lnTo>
                      <a:pt x="13" y="60"/>
                    </a:lnTo>
                    <a:lnTo>
                      <a:pt x="17" y="70"/>
                    </a:lnTo>
                    <a:lnTo>
                      <a:pt x="17" y="73"/>
                    </a:lnTo>
                    <a:lnTo>
                      <a:pt x="17" y="79"/>
                    </a:lnTo>
                    <a:lnTo>
                      <a:pt x="17" y="79"/>
                    </a:lnTo>
                    <a:lnTo>
                      <a:pt x="17" y="7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9" name="Freeform 71"/>
              <p:cNvSpPr>
                <a:spLocks/>
              </p:cNvSpPr>
              <p:nvPr/>
            </p:nvSpPr>
            <p:spPr bwMode="auto">
              <a:xfrm>
                <a:off x="3413" y="2457"/>
                <a:ext cx="10" cy="17"/>
              </a:xfrm>
              <a:custGeom>
                <a:avLst/>
                <a:gdLst/>
                <a:ahLst/>
                <a:cxnLst>
                  <a:cxn ang="0">
                    <a:pos x="2" y="17"/>
                  </a:cxn>
                  <a:cxn ang="0">
                    <a:pos x="2" y="15"/>
                  </a:cxn>
                  <a:cxn ang="0">
                    <a:pos x="0" y="11"/>
                  </a:cxn>
                  <a:cxn ang="0">
                    <a:pos x="2" y="8"/>
                  </a:cxn>
                  <a:cxn ang="0">
                    <a:pos x="2" y="2"/>
                  </a:cxn>
                  <a:cxn ang="0">
                    <a:pos x="4" y="0"/>
                  </a:cxn>
                  <a:cxn ang="0">
                    <a:pos x="4" y="0"/>
                  </a:cxn>
                  <a:cxn ang="0">
                    <a:pos x="6" y="2"/>
                  </a:cxn>
                  <a:cxn ang="0">
                    <a:pos x="10" y="4"/>
                  </a:cxn>
                  <a:cxn ang="0">
                    <a:pos x="10" y="11"/>
                  </a:cxn>
                  <a:cxn ang="0">
                    <a:pos x="10" y="13"/>
                  </a:cxn>
                  <a:cxn ang="0">
                    <a:pos x="10" y="11"/>
                  </a:cxn>
                  <a:cxn ang="0">
                    <a:pos x="6" y="15"/>
                  </a:cxn>
                  <a:cxn ang="0">
                    <a:pos x="4" y="17"/>
                  </a:cxn>
                  <a:cxn ang="0">
                    <a:pos x="2" y="17"/>
                  </a:cxn>
                  <a:cxn ang="0">
                    <a:pos x="2" y="17"/>
                  </a:cxn>
                  <a:cxn ang="0">
                    <a:pos x="2" y="17"/>
                  </a:cxn>
                </a:cxnLst>
                <a:rect l="0" t="0" r="r" b="b"/>
                <a:pathLst>
                  <a:path w="10" h="17">
                    <a:moveTo>
                      <a:pt x="2" y="17"/>
                    </a:moveTo>
                    <a:lnTo>
                      <a:pt x="2" y="15"/>
                    </a:lnTo>
                    <a:lnTo>
                      <a:pt x="0" y="11"/>
                    </a:lnTo>
                    <a:lnTo>
                      <a:pt x="2" y="8"/>
                    </a:lnTo>
                    <a:lnTo>
                      <a:pt x="2" y="2"/>
                    </a:lnTo>
                    <a:lnTo>
                      <a:pt x="4" y="0"/>
                    </a:lnTo>
                    <a:lnTo>
                      <a:pt x="4" y="0"/>
                    </a:lnTo>
                    <a:lnTo>
                      <a:pt x="6" y="2"/>
                    </a:lnTo>
                    <a:lnTo>
                      <a:pt x="10" y="4"/>
                    </a:lnTo>
                    <a:lnTo>
                      <a:pt x="10" y="11"/>
                    </a:lnTo>
                    <a:lnTo>
                      <a:pt x="10" y="13"/>
                    </a:lnTo>
                    <a:lnTo>
                      <a:pt x="10" y="11"/>
                    </a:lnTo>
                    <a:lnTo>
                      <a:pt x="6" y="15"/>
                    </a:lnTo>
                    <a:lnTo>
                      <a:pt x="4" y="17"/>
                    </a:lnTo>
                    <a:lnTo>
                      <a:pt x="2" y="17"/>
                    </a:lnTo>
                    <a:lnTo>
                      <a:pt x="2" y="17"/>
                    </a:lnTo>
                    <a:lnTo>
                      <a:pt x="2"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0" name="Freeform 72"/>
              <p:cNvSpPr>
                <a:spLocks/>
              </p:cNvSpPr>
              <p:nvPr/>
            </p:nvSpPr>
            <p:spPr bwMode="auto">
              <a:xfrm>
                <a:off x="3408" y="2474"/>
                <a:ext cx="9" cy="21"/>
              </a:xfrm>
              <a:custGeom>
                <a:avLst/>
                <a:gdLst/>
                <a:ahLst/>
                <a:cxnLst>
                  <a:cxn ang="0">
                    <a:pos x="7" y="19"/>
                  </a:cxn>
                  <a:cxn ang="0">
                    <a:pos x="3" y="19"/>
                  </a:cxn>
                  <a:cxn ang="0">
                    <a:pos x="2" y="21"/>
                  </a:cxn>
                  <a:cxn ang="0">
                    <a:pos x="0" y="19"/>
                  </a:cxn>
                  <a:cxn ang="0">
                    <a:pos x="0" y="15"/>
                  </a:cxn>
                  <a:cxn ang="0">
                    <a:pos x="0" y="8"/>
                  </a:cxn>
                  <a:cxn ang="0">
                    <a:pos x="0" y="4"/>
                  </a:cxn>
                  <a:cxn ang="0">
                    <a:pos x="0" y="0"/>
                  </a:cxn>
                  <a:cxn ang="0">
                    <a:pos x="5" y="0"/>
                  </a:cxn>
                  <a:cxn ang="0">
                    <a:pos x="5" y="4"/>
                  </a:cxn>
                  <a:cxn ang="0">
                    <a:pos x="7" y="4"/>
                  </a:cxn>
                  <a:cxn ang="0">
                    <a:pos x="9" y="2"/>
                  </a:cxn>
                  <a:cxn ang="0">
                    <a:pos x="9" y="2"/>
                  </a:cxn>
                  <a:cxn ang="0">
                    <a:pos x="9" y="4"/>
                  </a:cxn>
                  <a:cxn ang="0">
                    <a:pos x="9" y="8"/>
                  </a:cxn>
                  <a:cxn ang="0">
                    <a:pos x="9" y="11"/>
                  </a:cxn>
                  <a:cxn ang="0">
                    <a:pos x="9" y="13"/>
                  </a:cxn>
                  <a:cxn ang="0">
                    <a:pos x="7" y="19"/>
                  </a:cxn>
                  <a:cxn ang="0">
                    <a:pos x="7" y="19"/>
                  </a:cxn>
                  <a:cxn ang="0">
                    <a:pos x="7" y="19"/>
                  </a:cxn>
                  <a:cxn ang="0">
                    <a:pos x="7" y="19"/>
                  </a:cxn>
                </a:cxnLst>
                <a:rect l="0" t="0" r="r" b="b"/>
                <a:pathLst>
                  <a:path w="9" h="21">
                    <a:moveTo>
                      <a:pt x="7" y="19"/>
                    </a:moveTo>
                    <a:lnTo>
                      <a:pt x="3" y="19"/>
                    </a:lnTo>
                    <a:lnTo>
                      <a:pt x="2" y="21"/>
                    </a:lnTo>
                    <a:lnTo>
                      <a:pt x="0" y="19"/>
                    </a:lnTo>
                    <a:lnTo>
                      <a:pt x="0" y="15"/>
                    </a:lnTo>
                    <a:lnTo>
                      <a:pt x="0" y="8"/>
                    </a:lnTo>
                    <a:lnTo>
                      <a:pt x="0" y="4"/>
                    </a:lnTo>
                    <a:lnTo>
                      <a:pt x="0" y="0"/>
                    </a:lnTo>
                    <a:lnTo>
                      <a:pt x="5" y="0"/>
                    </a:lnTo>
                    <a:lnTo>
                      <a:pt x="5" y="4"/>
                    </a:lnTo>
                    <a:lnTo>
                      <a:pt x="7" y="4"/>
                    </a:lnTo>
                    <a:lnTo>
                      <a:pt x="9" y="2"/>
                    </a:lnTo>
                    <a:lnTo>
                      <a:pt x="9" y="2"/>
                    </a:lnTo>
                    <a:lnTo>
                      <a:pt x="9" y="4"/>
                    </a:lnTo>
                    <a:lnTo>
                      <a:pt x="9" y="8"/>
                    </a:lnTo>
                    <a:lnTo>
                      <a:pt x="9" y="11"/>
                    </a:lnTo>
                    <a:lnTo>
                      <a:pt x="9" y="13"/>
                    </a:lnTo>
                    <a:lnTo>
                      <a:pt x="7" y="19"/>
                    </a:lnTo>
                    <a:lnTo>
                      <a:pt x="7" y="19"/>
                    </a:lnTo>
                    <a:lnTo>
                      <a:pt x="7" y="19"/>
                    </a:lnTo>
                    <a:lnTo>
                      <a:pt x="7"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1" name="Freeform 73"/>
              <p:cNvSpPr>
                <a:spLocks/>
              </p:cNvSpPr>
              <p:nvPr/>
            </p:nvSpPr>
            <p:spPr bwMode="auto">
              <a:xfrm>
                <a:off x="3408" y="2431"/>
                <a:ext cx="26" cy="26"/>
              </a:xfrm>
              <a:custGeom>
                <a:avLst/>
                <a:gdLst/>
                <a:ahLst/>
                <a:cxnLst>
                  <a:cxn ang="0">
                    <a:pos x="0" y="26"/>
                  </a:cxn>
                  <a:cxn ang="0">
                    <a:pos x="2" y="26"/>
                  </a:cxn>
                  <a:cxn ang="0">
                    <a:pos x="7" y="26"/>
                  </a:cxn>
                  <a:cxn ang="0">
                    <a:pos x="11" y="24"/>
                  </a:cxn>
                  <a:cxn ang="0">
                    <a:pos x="11" y="24"/>
                  </a:cxn>
                  <a:cxn ang="0">
                    <a:pos x="17" y="20"/>
                  </a:cxn>
                  <a:cxn ang="0">
                    <a:pos x="17" y="17"/>
                  </a:cxn>
                  <a:cxn ang="0">
                    <a:pos x="20" y="15"/>
                  </a:cxn>
                  <a:cxn ang="0">
                    <a:pos x="22" y="15"/>
                  </a:cxn>
                  <a:cxn ang="0">
                    <a:pos x="26" y="13"/>
                  </a:cxn>
                  <a:cxn ang="0">
                    <a:pos x="22" y="11"/>
                  </a:cxn>
                  <a:cxn ang="0">
                    <a:pos x="22" y="5"/>
                  </a:cxn>
                  <a:cxn ang="0">
                    <a:pos x="20" y="5"/>
                  </a:cxn>
                  <a:cxn ang="0">
                    <a:pos x="19" y="0"/>
                  </a:cxn>
                  <a:cxn ang="0">
                    <a:pos x="11" y="0"/>
                  </a:cxn>
                  <a:cxn ang="0">
                    <a:pos x="11" y="3"/>
                  </a:cxn>
                  <a:cxn ang="0">
                    <a:pos x="7" y="3"/>
                  </a:cxn>
                  <a:cxn ang="0">
                    <a:pos x="5" y="13"/>
                  </a:cxn>
                  <a:cxn ang="0">
                    <a:pos x="5" y="17"/>
                  </a:cxn>
                  <a:cxn ang="0">
                    <a:pos x="0" y="22"/>
                  </a:cxn>
                  <a:cxn ang="0">
                    <a:pos x="0" y="26"/>
                  </a:cxn>
                  <a:cxn ang="0">
                    <a:pos x="0" y="26"/>
                  </a:cxn>
                  <a:cxn ang="0">
                    <a:pos x="0" y="26"/>
                  </a:cxn>
                  <a:cxn ang="0">
                    <a:pos x="0" y="26"/>
                  </a:cxn>
                </a:cxnLst>
                <a:rect l="0" t="0" r="r" b="b"/>
                <a:pathLst>
                  <a:path w="26" h="26">
                    <a:moveTo>
                      <a:pt x="0" y="26"/>
                    </a:moveTo>
                    <a:lnTo>
                      <a:pt x="2" y="26"/>
                    </a:lnTo>
                    <a:lnTo>
                      <a:pt x="7" y="26"/>
                    </a:lnTo>
                    <a:lnTo>
                      <a:pt x="11" y="24"/>
                    </a:lnTo>
                    <a:lnTo>
                      <a:pt x="11" y="24"/>
                    </a:lnTo>
                    <a:lnTo>
                      <a:pt x="17" y="20"/>
                    </a:lnTo>
                    <a:lnTo>
                      <a:pt x="17" y="17"/>
                    </a:lnTo>
                    <a:lnTo>
                      <a:pt x="20" y="15"/>
                    </a:lnTo>
                    <a:lnTo>
                      <a:pt x="22" y="15"/>
                    </a:lnTo>
                    <a:lnTo>
                      <a:pt x="26" y="13"/>
                    </a:lnTo>
                    <a:lnTo>
                      <a:pt x="22" y="11"/>
                    </a:lnTo>
                    <a:lnTo>
                      <a:pt x="22" y="5"/>
                    </a:lnTo>
                    <a:lnTo>
                      <a:pt x="20" y="5"/>
                    </a:lnTo>
                    <a:lnTo>
                      <a:pt x="19" y="0"/>
                    </a:lnTo>
                    <a:lnTo>
                      <a:pt x="11" y="0"/>
                    </a:lnTo>
                    <a:lnTo>
                      <a:pt x="11" y="3"/>
                    </a:lnTo>
                    <a:lnTo>
                      <a:pt x="7" y="3"/>
                    </a:lnTo>
                    <a:lnTo>
                      <a:pt x="5" y="13"/>
                    </a:lnTo>
                    <a:lnTo>
                      <a:pt x="5" y="17"/>
                    </a:lnTo>
                    <a:lnTo>
                      <a:pt x="0" y="22"/>
                    </a:lnTo>
                    <a:lnTo>
                      <a:pt x="0" y="26"/>
                    </a:lnTo>
                    <a:lnTo>
                      <a:pt x="0" y="26"/>
                    </a:lnTo>
                    <a:lnTo>
                      <a:pt x="0" y="26"/>
                    </a:lnTo>
                    <a:lnTo>
                      <a:pt x="0" y="2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2" name="Freeform 74"/>
              <p:cNvSpPr>
                <a:spLocks/>
              </p:cNvSpPr>
              <p:nvPr/>
            </p:nvSpPr>
            <p:spPr bwMode="auto">
              <a:xfrm>
                <a:off x="3408" y="2431"/>
                <a:ext cx="26" cy="26"/>
              </a:xfrm>
              <a:custGeom>
                <a:avLst/>
                <a:gdLst/>
                <a:ahLst/>
                <a:cxnLst>
                  <a:cxn ang="0">
                    <a:pos x="0" y="26"/>
                  </a:cxn>
                  <a:cxn ang="0">
                    <a:pos x="2" y="26"/>
                  </a:cxn>
                  <a:cxn ang="0">
                    <a:pos x="7" y="26"/>
                  </a:cxn>
                  <a:cxn ang="0">
                    <a:pos x="11" y="24"/>
                  </a:cxn>
                  <a:cxn ang="0">
                    <a:pos x="11" y="24"/>
                  </a:cxn>
                  <a:cxn ang="0">
                    <a:pos x="17" y="20"/>
                  </a:cxn>
                  <a:cxn ang="0">
                    <a:pos x="17" y="17"/>
                  </a:cxn>
                  <a:cxn ang="0">
                    <a:pos x="20" y="15"/>
                  </a:cxn>
                  <a:cxn ang="0">
                    <a:pos x="22" y="15"/>
                  </a:cxn>
                  <a:cxn ang="0">
                    <a:pos x="26" y="13"/>
                  </a:cxn>
                  <a:cxn ang="0">
                    <a:pos x="22" y="11"/>
                  </a:cxn>
                  <a:cxn ang="0">
                    <a:pos x="22" y="5"/>
                  </a:cxn>
                  <a:cxn ang="0">
                    <a:pos x="20" y="5"/>
                  </a:cxn>
                  <a:cxn ang="0">
                    <a:pos x="19" y="0"/>
                  </a:cxn>
                  <a:cxn ang="0">
                    <a:pos x="11" y="0"/>
                  </a:cxn>
                  <a:cxn ang="0">
                    <a:pos x="11" y="3"/>
                  </a:cxn>
                  <a:cxn ang="0">
                    <a:pos x="7" y="3"/>
                  </a:cxn>
                  <a:cxn ang="0">
                    <a:pos x="5" y="13"/>
                  </a:cxn>
                  <a:cxn ang="0">
                    <a:pos x="5" y="17"/>
                  </a:cxn>
                  <a:cxn ang="0">
                    <a:pos x="0" y="22"/>
                  </a:cxn>
                  <a:cxn ang="0">
                    <a:pos x="0" y="26"/>
                  </a:cxn>
                  <a:cxn ang="0">
                    <a:pos x="0" y="26"/>
                  </a:cxn>
                  <a:cxn ang="0">
                    <a:pos x="0" y="26"/>
                  </a:cxn>
                  <a:cxn ang="0">
                    <a:pos x="0" y="26"/>
                  </a:cxn>
                </a:cxnLst>
                <a:rect l="0" t="0" r="r" b="b"/>
                <a:pathLst>
                  <a:path w="26" h="26">
                    <a:moveTo>
                      <a:pt x="0" y="26"/>
                    </a:moveTo>
                    <a:lnTo>
                      <a:pt x="2" y="26"/>
                    </a:lnTo>
                    <a:lnTo>
                      <a:pt x="7" y="26"/>
                    </a:lnTo>
                    <a:lnTo>
                      <a:pt x="11" y="24"/>
                    </a:lnTo>
                    <a:lnTo>
                      <a:pt x="11" y="24"/>
                    </a:lnTo>
                    <a:lnTo>
                      <a:pt x="17" y="20"/>
                    </a:lnTo>
                    <a:lnTo>
                      <a:pt x="17" y="17"/>
                    </a:lnTo>
                    <a:lnTo>
                      <a:pt x="20" y="15"/>
                    </a:lnTo>
                    <a:lnTo>
                      <a:pt x="22" y="15"/>
                    </a:lnTo>
                    <a:lnTo>
                      <a:pt x="26" y="13"/>
                    </a:lnTo>
                    <a:lnTo>
                      <a:pt x="22" y="11"/>
                    </a:lnTo>
                    <a:lnTo>
                      <a:pt x="22" y="5"/>
                    </a:lnTo>
                    <a:lnTo>
                      <a:pt x="20" y="5"/>
                    </a:lnTo>
                    <a:lnTo>
                      <a:pt x="19" y="0"/>
                    </a:lnTo>
                    <a:lnTo>
                      <a:pt x="11" y="0"/>
                    </a:lnTo>
                    <a:lnTo>
                      <a:pt x="11" y="3"/>
                    </a:lnTo>
                    <a:lnTo>
                      <a:pt x="7" y="3"/>
                    </a:lnTo>
                    <a:lnTo>
                      <a:pt x="5" y="13"/>
                    </a:lnTo>
                    <a:lnTo>
                      <a:pt x="5" y="17"/>
                    </a:lnTo>
                    <a:lnTo>
                      <a:pt x="0" y="22"/>
                    </a:lnTo>
                    <a:lnTo>
                      <a:pt x="0" y="26"/>
                    </a:lnTo>
                    <a:lnTo>
                      <a:pt x="0" y="26"/>
                    </a:lnTo>
                    <a:lnTo>
                      <a:pt x="0" y="26"/>
                    </a:lnTo>
                    <a:lnTo>
                      <a:pt x="0" y="2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3" name="Freeform 75"/>
              <p:cNvSpPr>
                <a:spLocks/>
              </p:cNvSpPr>
              <p:nvPr/>
            </p:nvSpPr>
            <p:spPr bwMode="auto">
              <a:xfrm>
                <a:off x="3408" y="2453"/>
                <a:ext cx="79" cy="94"/>
              </a:xfrm>
              <a:custGeom>
                <a:avLst/>
                <a:gdLst/>
                <a:ahLst/>
                <a:cxnLst>
                  <a:cxn ang="0">
                    <a:pos x="0" y="83"/>
                  </a:cxn>
                  <a:cxn ang="0">
                    <a:pos x="0" y="83"/>
                  </a:cxn>
                  <a:cxn ang="0">
                    <a:pos x="0" y="79"/>
                  </a:cxn>
                  <a:cxn ang="0">
                    <a:pos x="3" y="76"/>
                  </a:cxn>
                  <a:cxn ang="0">
                    <a:pos x="3" y="74"/>
                  </a:cxn>
                  <a:cxn ang="0">
                    <a:pos x="5" y="68"/>
                  </a:cxn>
                  <a:cxn ang="0">
                    <a:pos x="5" y="62"/>
                  </a:cxn>
                  <a:cxn ang="0">
                    <a:pos x="5" y="62"/>
                  </a:cxn>
                  <a:cxn ang="0">
                    <a:pos x="5" y="59"/>
                  </a:cxn>
                  <a:cxn ang="0">
                    <a:pos x="5" y="53"/>
                  </a:cxn>
                  <a:cxn ang="0">
                    <a:pos x="5" y="51"/>
                  </a:cxn>
                  <a:cxn ang="0">
                    <a:pos x="9" y="34"/>
                  </a:cxn>
                  <a:cxn ang="0">
                    <a:pos x="9" y="32"/>
                  </a:cxn>
                  <a:cxn ang="0">
                    <a:pos x="9" y="29"/>
                  </a:cxn>
                  <a:cxn ang="0">
                    <a:pos x="9" y="25"/>
                  </a:cxn>
                  <a:cxn ang="0">
                    <a:pos x="9" y="23"/>
                  </a:cxn>
                  <a:cxn ang="0">
                    <a:pos x="9" y="19"/>
                  </a:cxn>
                  <a:cxn ang="0">
                    <a:pos x="9" y="19"/>
                  </a:cxn>
                  <a:cxn ang="0">
                    <a:pos x="11" y="19"/>
                  </a:cxn>
                  <a:cxn ang="0">
                    <a:pos x="15" y="13"/>
                  </a:cxn>
                  <a:cxn ang="0">
                    <a:pos x="15" y="17"/>
                  </a:cxn>
                  <a:cxn ang="0">
                    <a:pos x="20" y="19"/>
                  </a:cxn>
                  <a:cxn ang="0">
                    <a:pos x="24" y="23"/>
                  </a:cxn>
                  <a:cxn ang="0">
                    <a:pos x="26" y="23"/>
                  </a:cxn>
                  <a:cxn ang="0">
                    <a:pos x="30" y="23"/>
                  </a:cxn>
                  <a:cxn ang="0">
                    <a:pos x="67" y="0"/>
                  </a:cxn>
                  <a:cxn ang="0">
                    <a:pos x="79" y="23"/>
                  </a:cxn>
                  <a:cxn ang="0">
                    <a:pos x="77" y="23"/>
                  </a:cxn>
                  <a:cxn ang="0">
                    <a:pos x="69" y="30"/>
                  </a:cxn>
                  <a:cxn ang="0">
                    <a:pos x="41" y="40"/>
                  </a:cxn>
                  <a:cxn ang="0">
                    <a:pos x="64" y="64"/>
                  </a:cxn>
                  <a:cxn ang="0">
                    <a:pos x="54" y="74"/>
                  </a:cxn>
                  <a:cxn ang="0">
                    <a:pos x="54" y="79"/>
                  </a:cxn>
                  <a:cxn ang="0">
                    <a:pos x="39" y="79"/>
                  </a:cxn>
                  <a:cxn ang="0">
                    <a:pos x="24" y="94"/>
                  </a:cxn>
                  <a:cxn ang="0">
                    <a:pos x="5" y="89"/>
                  </a:cxn>
                  <a:cxn ang="0">
                    <a:pos x="0" y="89"/>
                  </a:cxn>
                  <a:cxn ang="0">
                    <a:pos x="0" y="89"/>
                  </a:cxn>
                  <a:cxn ang="0">
                    <a:pos x="0" y="83"/>
                  </a:cxn>
                  <a:cxn ang="0">
                    <a:pos x="0" y="83"/>
                  </a:cxn>
                  <a:cxn ang="0">
                    <a:pos x="0" y="83"/>
                  </a:cxn>
                  <a:cxn ang="0">
                    <a:pos x="0" y="83"/>
                  </a:cxn>
                  <a:cxn ang="0">
                    <a:pos x="0" y="83"/>
                  </a:cxn>
                </a:cxnLst>
                <a:rect l="0" t="0" r="r" b="b"/>
                <a:pathLst>
                  <a:path w="79" h="94">
                    <a:moveTo>
                      <a:pt x="0" y="83"/>
                    </a:moveTo>
                    <a:lnTo>
                      <a:pt x="0" y="83"/>
                    </a:lnTo>
                    <a:lnTo>
                      <a:pt x="0" y="79"/>
                    </a:lnTo>
                    <a:lnTo>
                      <a:pt x="3" y="76"/>
                    </a:lnTo>
                    <a:lnTo>
                      <a:pt x="3" y="74"/>
                    </a:lnTo>
                    <a:lnTo>
                      <a:pt x="5" y="68"/>
                    </a:lnTo>
                    <a:lnTo>
                      <a:pt x="5" y="62"/>
                    </a:lnTo>
                    <a:lnTo>
                      <a:pt x="5" y="62"/>
                    </a:lnTo>
                    <a:lnTo>
                      <a:pt x="5" y="59"/>
                    </a:lnTo>
                    <a:lnTo>
                      <a:pt x="5" y="53"/>
                    </a:lnTo>
                    <a:lnTo>
                      <a:pt x="5" y="51"/>
                    </a:lnTo>
                    <a:lnTo>
                      <a:pt x="9" y="34"/>
                    </a:lnTo>
                    <a:lnTo>
                      <a:pt x="9" y="32"/>
                    </a:lnTo>
                    <a:lnTo>
                      <a:pt x="9" y="29"/>
                    </a:lnTo>
                    <a:lnTo>
                      <a:pt x="9" y="25"/>
                    </a:lnTo>
                    <a:lnTo>
                      <a:pt x="9" y="23"/>
                    </a:lnTo>
                    <a:lnTo>
                      <a:pt x="9" y="19"/>
                    </a:lnTo>
                    <a:lnTo>
                      <a:pt x="9" y="19"/>
                    </a:lnTo>
                    <a:lnTo>
                      <a:pt x="11" y="19"/>
                    </a:lnTo>
                    <a:lnTo>
                      <a:pt x="15" y="13"/>
                    </a:lnTo>
                    <a:lnTo>
                      <a:pt x="15" y="17"/>
                    </a:lnTo>
                    <a:lnTo>
                      <a:pt x="20" y="19"/>
                    </a:lnTo>
                    <a:lnTo>
                      <a:pt x="24" y="23"/>
                    </a:lnTo>
                    <a:lnTo>
                      <a:pt x="26" y="23"/>
                    </a:lnTo>
                    <a:lnTo>
                      <a:pt x="30" y="23"/>
                    </a:lnTo>
                    <a:lnTo>
                      <a:pt x="67" y="0"/>
                    </a:lnTo>
                    <a:lnTo>
                      <a:pt x="79" y="23"/>
                    </a:lnTo>
                    <a:lnTo>
                      <a:pt x="77" y="23"/>
                    </a:lnTo>
                    <a:lnTo>
                      <a:pt x="69" y="30"/>
                    </a:lnTo>
                    <a:lnTo>
                      <a:pt x="41" y="40"/>
                    </a:lnTo>
                    <a:lnTo>
                      <a:pt x="64" y="64"/>
                    </a:lnTo>
                    <a:lnTo>
                      <a:pt x="54" y="74"/>
                    </a:lnTo>
                    <a:lnTo>
                      <a:pt x="54" y="79"/>
                    </a:lnTo>
                    <a:lnTo>
                      <a:pt x="39" y="79"/>
                    </a:lnTo>
                    <a:lnTo>
                      <a:pt x="24" y="94"/>
                    </a:lnTo>
                    <a:lnTo>
                      <a:pt x="5" y="89"/>
                    </a:lnTo>
                    <a:lnTo>
                      <a:pt x="0" y="89"/>
                    </a:lnTo>
                    <a:lnTo>
                      <a:pt x="0" y="89"/>
                    </a:lnTo>
                    <a:lnTo>
                      <a:pt x="0" y="83"/>
                    </a:lnTo>
                    <a:lnTo>
                      <a:pt x="0" y="83"/>
                    </a:lnTo>
                    <a:lnTo>
                      <a:pt x="0" y="83"/>
                    </a:lnTo>
                    <a:lnTo>
                      <a:pt x="0" y="83"/>
                    </a:lnTo>
                    <a:lnTo>
                      <a:pt x="0" y="8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4" name="Freeform 76"/>
              <p:cNvSpPr>
                <a:spLocks/>
              </p:cNvSpPr>
              <p:nvPr/>
            </p:nvSpPr>
            <p:spPr bwMode="auto">
              <a:xfrm>
                <a:off x="3408" y="2453"/>
                <a:ext cx="79" cy="94"/>
              </a:xfrm>
              <a:custGeom>
                <a:avLst/>
                <a:gdLst/>
                <a:ahLst/>
                <a:cxnLst>
                  <a:cxn ang="0">
                    <a:pos x="0" y="83"/>
                  </a:cxn>
                  <a:cxn ang="0">
                    <a:pos x="0" y="83"/>
                  </a:cxn>
                  <a:cxn ang="0">
                    <a:pos x="0" y="79"/>
                  </a:cxn>
                  <a:cxn ang="0">
                    <a:pos x="3" y="76"/>
                  </a:cxn>
                  <a:cxn ang="0">
                    <a:pos x="3" y="74"/>
                  </a:cxn>
                  <a:cxn ang="0">
                    <a:pos x="5" y="68"/>
                  </a:cxn>
                  <a:cxn ang="0">
                    <a:pos x="5" y="62"/>
                  </a:cxn>
                  <a:cxn ang="0">
                    <a:pos x="5" y="62"/>
                  </a:cxn>
                  <a:cxn ang="0">
                    <a:pos x="5" y="59"/>
                  </a:cxn>
                  <a:cxn ang="0">
                    <a:pos x="5" y="53"/>
                  </a:cxn>
                  <a:cxn ang="0">
                    <a:pos x="5" y="51"/>
                  </a:cxn>
                  <a:cxn ang="0">
                    <a:pos x="9" y="34"/>
                  </a:cxn>
                  <a:cxn ang="0">
                    <a:pos x="9" y="32"/>
                  </a:cxn>
                  <a:cxn ang="0">
                    <a:pos x="9" y="29"/>
                  </a:cxn>
                  <a:cxn ang="0">
                    <a:pos x="9" y="25"/>
                  </a:cxn>
                  <a:cxn ang="0">
                    <a:pos x="9" y="23"/>
                  </a:cxn>
                  <a:cxn ang="0">
                    <a:pos x="9" y="19"/>
                  </a:cxn>
                  <a:cxn ang="0">
                    <a:pos x="9" y="19"/>
                  </a:cxn>
                  <a:cxn ang="0">
                    <a:pos x="11" y="19"/>
                  </a:cxn>
                  <a:cxn ang="0">
                    <a:pos x="15" y="13"/>
                  </a:cxn>
                  <a:cxn ang="0">
                    <a:pos x="15" y="17"/>
                  </a:cxn>
                  <a:cxn ang="0">
                    <a:pos x="20" y="19"/>
                  </a:cxn>
                  <a:cxn ang="0">
                    <a:pos x="24" y="23"/>
                  </a:cxn>
                  <a:cxn ang="0">
                    <a:pos x="26" y="23"/>
                  </a:cxn>
                  <a:cxn ang="0">
                    <a:pos x="30" y="23"/>
                  </a:cxn>
                  <a:cxn ang="0">
                    <a:pos x="67" y="0"/>
                  </a:cxn>
                  <a:cxn ang="0">
                    <a:pos x="79" y="23"/>
                  </a:cxn>
                  <a:cxn ang="0">
                    <a:pos x="77" y="23"/>
                  </a:cxn>
                  <a:cxn ang="0">
                    <a:pos x="69" y="30"/>
                  </a:cxn>
                  <a:cxn ang="0">
                    <a:pos x="41" y="40"/>
                  </a:cxn>
                  <a:cxn ang="0">
                    <a:pos x="64" y="64"/>
                  </a:cxn>
                  <a:cxn ang="0">
                    <a:pos x="54" y="74"/>
                  </a:cxn>
                  <a:cxn ang="0">
                    <a:pos x="54" y="79"/>
                  </a:cxn>
                  <a:cxn ang="0">
                    <a:pos x="39" y="79"/>
                  </a:cxn>
                  <a:cxn ang="0">
                    <a:pos x="24" y="94"/>
                  </a:cxn>
                  <a:cxn ang="0">
                    <a:pos x="5" y="89"/>
                  </a:cxn>
                  <a:cxn ang="0">
                    <a:pos x="0" y="89"/>
                  </a:cxn>
                  <a:cxn ang="0">
                    <a:pos x="0" y="89"/>
                  </a:cxn>
                  <a:cxn ang="0">
                    <a:pos x="0" y="83"/>
                  </a:cxn>
                  <a:cxn ang="0">
                    <a:pos x="0" y="83"/>
                  </a:cxn>
                  <a:cxn ang="0">
                    <a:pos x="0" y="83"/>
                  </a:cxn>
                  <a:cxn ang="0">
                    <a:pos x="0" y="83"/>
                  </a:cxn>
                  <a:cxn ang="0">
                    <a:pos x="0" y="83"/>
                  </a:cxn>
                </a:cxnLst>
                <a:rect l="0" t="0" r="r" b="b"/>
                <a:pathLst>
                  <a:path w="79" h="94">
                    <a:moveTo>
                      <a:pt x="0" y="83"/>
                    </a:moveTo>
                    <a:lnTo>
                      <a:pt x="0" y="83"/>
                    </a:lnTo>
                    <a:lnTo>
                      <a:pt x="0" y="79"/>
                    </a:lnTo>
                    <a:lnTo>
                      <a:pt x="3" y="76"/>
                    </a:lnTo>
                    <a:lnTo>
                      <a:pt x="3" y="74"/>
                    </a:lnTo>
                    <a:lnTo>
                      <a:pt x="5" y="68"/>
                    </a:lnTo>
                    <a:lnTo>
                      <a:pt x="5" y="62"/>
                    </a:lnTo>
                    <a:lnTo>
                      <a:pt x="5" y="62"/>
                    </a:lnTo>
                    <a:lnTo>
                      <a:pt x="5" y="59"/>
                    </a:lnTo>
                    <a:lnTo>
                      <a:pt x="5" y="53"/>
                    </a:lnTo>
                    <a:lnTo>
                      <a:pt x="5" y="51"/>
                    </a:lnTo>
                    <a:lnTo>
                      <a:pt x="9" y="34"/>
                    </a:lnTo>
                    <a:lnTo>
                      <a:pt x="9" y="32"/>
                    </a:lnTo>
                    <a:lnTo>
                      <a:pt x="9" y="29"/>
                    </a:lnTo>
                    <a:lnTo>
                      <a:pt x="9" y="25"/>
                    </a:lnTo>
                    <a:lnTo>
                      <a:pt x="9" y="23"/>
                    </a:lnTo>
                    <a:lnTo>
                      <a:pt x="9" y="19"/>
                    </a:lnTo>
                    <a:lnTo>
                      <a:pt x="9" y="19"/>
                    </a:lnTo>
                    <a:lnTo>
                      <a:pt x="11" y="19"/>
                    </a:lnTo>
                    <a:lnTo>
                      <a:pt x="15" y="13"/>
                    </a:lnTo>
                    <a:lnTo>
                      <a:pt x="15" y="17"/>
                    </a:lnTo>
                    <a:lnTo>
                      <a:pt x="20" y="19"/>
                    </a:lnTo>
                    <a:lnTo>
                      <a:pt x="24" y="23"/>
                    </a:lnTo>
                    <a:lnTo>
                      <a:pt x="26" y="23"/>
                    </a:lnTo>
                    <a:lnTo>
                      <a:pt x="30" y="23"/>
                    </a:lnTo>
                    <a:lnTo>
                      <a:pt x="67" y="0"/>
                    </a:lnTo>
                    <a:lnTo>
                      <a:pt x="79" y="23"/>
                    </a:lnTo>
                    <a:lnTo>
                      <a:pt x="77" y="23"/>
                    </a:lnTo>
                    <a:lnTo>
                      <a:pt x="69" y="30"/>
                    </a:lnTo>
                    <a:lnTo>
                      <a:pt x="41" y="40"/>
                    </a:lnTo>
                    <a:lnTo>
                      <a:pt x="64" y="64"/>
                    </a:lnTo>
                    <a:lnTo>
                      <a:pt x="54" y="74"/>
                    </a:lnTo>
                    <a:lnTo>
                      <a:pt x="54" y="79"/>
                    </a:lnTo>
                    <a:lnTo>
                      <a:pt x="39" y="79"/>
                    </a:lnTo>
                    <a:lnTo>
                      <a:pt x="24" y="94"/>
                    </a:lnTo>
                    <a:lnTo>
                      <a:pt x="5" y="89"/>
                    </a:lnTo>
                    <a:lnTo>
                      <a:pt x="0" y="89"/>
                    </a:lnTo>
                    <a:lnTo>
                      <a:pt x="0" y="89"/>
                    </a:lnTo>
                    <a:lnTo>
                      <a:pt x="0" y="83"/>
                    </a:lnTo>
                    <a:lnTo>
                      <a:pt x="0" y="83"/>
                    </a:lnTo>
                    <a:lnTo>
                      <a:pt x="0" y="83"/>
                    </a:lnTo>
                    <a:lnTo>
                      <a:pt x="0" y="83"/>
                    </a:lnTo>
                    <a:lnTo>
                      <a:pt x="0" y="8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5" name="Freeform 77"/>
              <p:cNvSpPr>
                <a:spLocks/>
              </p:cNvSpPr>
              <p:nvPr/>
            </p:nvSpPr>
            <p:spPr bwMode="auto">
              <a:xfrm>
                <a:off x="3703" y="2595"/>
                <a:ext cx="15" cy="32"/>
              </a:xfrm>
              <a:custGeom>
                <a:avLst/>
                <a:gdLst/>
                <a:ahLst/>
                <a:cxnLst>
                  <a:cxn ang="0">
                    <a:pos x="12" y="32"/>
                  </a:cxn>
                  <a:cxn ang="0">
                    <a:pos x="6" y="32"/>
                  </a:cxn>
                  <a:cxn ang="0">
                    <a:pos x="0" y="28"/>
                  </a:cxn>
                  <a:cxn ang="0">
                    <a:pos x="0" y="28"/>
                  </a:cxn>
                  <a:cxn ang="0">
                    <a:pos x="0" y="28"/>
                  </a:cxn>
                  <a:cxn ang="0">
                    <a:pos x="0" y="22"/>
                  </a:cxn>
                  <a:cxn ang="0">
                    <a:pos x="0" y="22"/>
                  </a:cxn>
                  <a:cxn ang="0">
                    <a:pos x="0" y="18"/>
                  </a:cxn>
                  <a:cxn ang="0">
                    <a:pos x="0" y="13"/>
                  </a:cxn>
                  <a:cxn ang="0">
                    <a:pos x="0" y="13"/>
                  </a:cxn>
                  <a:cxn ang="0">
                    <a:pos x="2" y="13"/>
                  </a:cxn>
                  <a:cxn ang="0">
                    <a:pos x="0" y="7"/>
                  </a:cxn>
                  <a:cxn ang="0">
                    <a:pos x="2" y="7"/>
                  </a:cxn>
                  <a:cxn ang="0">
                    <a:pos x="0" y="7"/>
                  </a:cxn>
                  <a:cxn ang="0">
                    <a:pos x="2" y="3"/>
                  </a:cxn>
                  <a:cxn ang="0">
                    <a:pos x="2" y="3"/>
                  </a:cxn>
                  <a:cxn ang="0">
                    <a:pos x="6" y="3"/>
                  </a:cxn>
                  <a:cxn ang="0">
                    <a:pos x="6" y="0"/>
                  </a:cxn>
                  <a:cxn ang="0">
                    <a:pos x="6" y="0"/>
                  </a:cxn>
                  <a:cxn ang="0">
                    <a:pos x="12" y="3"/>
                  </a:cxn>
                  <a:cxn ang="0">
                    <a:pos x="12" y="7"/>
                  </a:cxn>
                  <a:cxn ang="0">
                    <a:pos x="12" y="7"/>
                  </a:cxn>
                  <a:cxn ang="0">
                    <a:pos x="12" y="7"/>
                  </a:cxn>
                  <a:cxn ang="0">
                    <a:pos x="12" y="13"/>
                  </a:cxn>
                  <a:cxn ang="0">
                    <a:pos x="12" y="13"/>
                  </a:cxn>
                  <a:cxn ang="0">
                    <a:pos x="12" y="18"/>
                  </a:cxn>
                  <a:cxn ang="0">
                    <a:pos x="12" y="18"/>
                  </a:cxn>
                  <a:cxn ang="0">
                    <a:pos x="15" y="22"/>
                  </a:cxn>
                  <a:cxn ang="0">
                    <a:pos x="12" y="32"/>
                  </a:cxn>
                  <a:cxn ang="0">
                    <a:pos x="12" y="32"/>
                  </a:cxn>
                  <a:cxn ang="0">
                    <a:pos x="12" y="32"/>
                  </a:cxn>
                  <a:cxn ang="0">
                    <a:pos x="12" y="32"/>
                  </a:cxn>
                  <a:cxn ang="0">
                    <a:pos x="12" y="32"/>
                  </a:cxn>
                </a:cxnLst>
                <a:rect l="0" t="0" r="r" b="b"/>
                <a:pathLst>
                  <a:path w="15" h="32">
                    <a:moveTo>
                      <a:pt x="12" y="32"/>
                    </a:moveTo>
                    <a:lnTo>
                      <a:pt x="6" y="32"/>
                    </a:lnTo>
                    <a:lnTo>
                      <a:pt x="0" y="28"/>
                    </a:lnTo>
                    <a:lnTo>
                      <a:pt x="0" y="28"/>
                    </a:lnTo>
                    <a:lnTo>
                      <a:pt x="0" y="28"/>
                    </a:lnTo>
                    <a:lnTo>
                      <a:pt x="0" y="22"/>
                    </a:lnTo>
                    <a:lnTo>
                      <a:pt x="0" y="22"/>
                    </a:lnTo>
                    <a:lnTo>
                      <a:pt x="0" y="18"/>
                    </a:lnTo>
                    <a:lnTo>
                      <a:pt x="0" y="13"/>
                    </a:lnTo>
                    <a:lnTo>
                      <a:pt x="0" y="13"/>
                    </a:lnTo>
                    <a:lnTo>
                      <a:pt x="2" y="13"/>
                    </a:lnTo>
                    <a:lnTo>
                      <a:pt x="0" y="7"/>
                    </a:lnTo>
                    <a:lnTo>
                      <a:pt x="2" y="7"/>
                    </a:lnTo>
                    <a:lnTo>
                      <a:pt x="0" y="7"/>
                    </a:lnTo>
                    <a:lnTo>
                      <a:pt x="2" y="3"/>
                    </a:lnTo>
                    <a:lnTo>
                      <a:pt x="2" y="3"/>
                    </a:lnTo>
                    <a:lnTo>
                      <a:pt x="6" y="3"/>
                    </a:lnTo>
                    <a:lnTo>
                      <a:pt x="6" y="0"/>
                    </a:lnTo>
                    <a:lnTo>
                      <a:pt x="6" y="0"/>
                    </a:lnTo>
                    <a:lnTo>
                      <a:pt x="12" y="3"/>
                    </a:lnTo>
                    <a:lnTo>
                      <a:pt x="12" y="7"/>
                    </a:lnTo>
                    <a:lnTo>
                      <a:pt x="12" y="7"/>
                    </a:lnTo>
                    <a:lnTo>
                      <a:pt x="12" y="7"/>
                    </a:lnTo>
                    <a:lnTo>
                      <a:pt x="12" y="13"/>
                    </a:lnTo>
                    <a:lnTo>
                      <a:pt x="12" y="13"/>
                    </a:lnTo>
                    <a:lnTo>
                      <a:pt x="12" y="18"/>
                    </a:lnTo>
                    <a:lnTo>
                      <a:pt x="12" y="18"/>
                    </a:lnTo>
                    <a:lnTo>
                      <a:pt x="15" y="22"/>
                    </a:lnTo>
                    <a:lnTo>
                      <a:pt x="12" y="32"/>
                    </a:lnTo>
                    <a:lnTo>
                      <a:pt x="12" y="32"/>
                    </a:lnTo>
                    <a:lnTo>
                      <a:pt x="12" y="32"/>
                    </a:lnTo>
                    <a:lnTo>
                      <a:pt x="12" y="32"/>
                    </a:lnTo>
                    <a:lnTo>
                      <a:pt x="12" y="3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6" name="Freeform 78"/>
              <p:cNvSpPr>
                <a:spLocks/>
              </p:cNvSpPr>
              <p:nvPr/>
            </p:nvSpPr>
            <p:spPr bwMode="auto">
              <a:xfrm>
                <a:off x="3703" y="2595"/>
                <a:ext cx="15" cy="32"/>
              </a:xfrm>
              <a:custGeom>
                <a:avLst/>
                <a:gdLst/>
                <a:ahLst/>
                <a:cxnLst>
                  <a:cxn ang="0">
                    <a:pos x="12" y="32"/>
                  </a:cxn>
                  <a:cxn ang="0">
                    <a:pos x="6" y="32"/>
                  </a:cxn>
                  <a:cxn ang="0">
                    <a:pos x="0" y="28"/>
                  </a:cxn>
                  <a:cxn ang="0">
                    <a:pos x="0" y="28"/>
                  </a:cxn>
                  <a:cxn ang="0">
                    <a:pos x="0" y="28"/>
                  </a:cxn>
                  <a:cxn ang="0">
                    <a:pos x="0" y="22"/>
                  </a:cxn>
                  <a:cxn ang="0">
                    <a:pos x="0" y="22"/>
                  </a:cxn>
                  <a:cxn ang="0">
                    <a:pos x="0" y="18"/>
                  </a:cxn>
                  <a:cxn ang="0">
                    <a:pos x="0" y="13"/>
                  </a:cxn>
                  <a:cxn ang="0">
                    <a:pos x="0" y="13"/>
                  </a:cxn>
                  <a:cxn ang="0">
                    <a:pos x="2" y="13"/>
                  </a:cxn>
                  <a:cxn ang="0">
                    <a:pos x="0" y="7"/>
                  </a:cxn>
                  <a:cxn ang="0">
                    <a:pos x="2" y="7"/>
                  </a:cxn>
                  <a:cxn ang="0">
                    <a:pos x="0" y="7"/>
                  </a:cxn>
                  <a:cxn ang="0">
                    <a:pos x="2" y="3"/>
                  </a:cxn>
                  <a:cxn ang="0">
                    <a:pos x="2" y="3"/>
                  </a:cxn>
                  <a:cxn ang="0">
                    <a:pos x="6" y="3"/>
                  </a:cxn>
                  <a:cxn ang="0">
                    <a:pos x="6" y="0"/>
                  </a:cxn>
                  <a:cxn ang="0">
                    <a:pos x="6" y="0"/>
                  </a:cxn>
                  <a:cxn ang="0">
                    <a:pos x="12" y="3"/>
                  </a:cxn>
                  <a:cxn ang="0">
                    <a:pos x="12" y="7"/>
                  </a:cxn>
                  <a:cxn ang="0">
                    <a:pos x="12" y="7"/>
                  </a:cxn>
                  <a:cxn ang="0">
                    <a:pos x="12" y="7"/>
                  </a:cxn>
                  <a:cxn ang="0">
                    <a:pos x="12" y="13"/>
                  </a:cxn>
                  <a:cxn ang="0">
                    <a:pos x="12" y="13"/>
                  </a:cxn>
                  <a:cxn ang="0">
                    <a:pos x="12" y="18"/>
                  </a:cxn>
                  <a:cxn ang="0">
                    <a:pos x="12" y="18"/>
                  </a:cxn>
                  <a:cxn ang="0">
                    <a:pos x="15" y="22"/>
                  </a:cxn>
                  <a:cxn ang="0">
                    <a:pos x="12" y="32"/>
                  </a:cxn>
                  <a:cxn ang="0">
                    <a:pos x="12" y="32"/>
                  </a:cxn>
                  <a:cxn ang="0">
                    <a:pos x="12" y="32"/>
                  </a:cxn>
                  <a:cxn ang="0">
                    <a:pos x="12" y="32"/>
                  </a:cxn>
                  <a:cxn ang="0">
                    <a:pos x="12" y="32"/>
                  </a:cxn>
                </a:cxnLst>
                <a:rect l="0" t="0" r="r" b="b"/>
                <a:pathLst>
                  <a:path w="15" h="32">
                    <a:moveTo>
                      <a:pt x="12" y="32"/>
                    </a:moveTo>
                    <a:lnTo>
                      <a:pt x="6" y="32"/>
                    </a:lnTo>
                    <a:lnTo>
                      <a:pt x="0" y="28"/>
                    </a:lnTo>
                    <a:lnTo>
                      <a:pt x="0" y="28"/>
                    </a:lnTo>
                    <a:lnTo>
                      <a:pt x="0" y="28"/>
                    </a:lnTo>
                    <a:lnTo>
                      <a:pt x="0" y="22"/>
                    </a:lnTo>
                    <a:lnTo>
                      <a:pt x="0" y="22"/>
                    </a:lnTo>
                    <a:lnTo>
                      <a:pt x="0" y="18"/>
                    </a:lnTo>
                    <a:lnTo>
                      <a:pt x="0" y="13"/>
                    </a:lnTo>
                    <a:lnTo>
                      <a:pt x="0" y="13"/>
                    </a:lnTo>
                    <a:lnTo>
                      <a:pt x="2" y="13"/>
                    </a:lnTo>
                    <a:lnTo>
                      <a:pt x="0" y="7"/>
                    </a:lnTo>
                    <a:lnTo>
                      <a:pt x="2" y="7"/>
                    </a:lnTo>
                    <a:lnTo>
                      <a:pt x="0" y="7"/>
                    </a:lnTo>
                    <a:lnTo>
                      <a:pt x="2" y="3"/>
                    </a:lnTo>
                    <a:lnTo>
                      <a:pt x="2" y="3"/>
                    </a:lnTo>
                    <a:lnTo>
                      <a:pt x="6" y="3"/>
                    </a:lnTo>
                    <a:lnTo>
                      <a:pt x="6" y="0"/>
                    </a:lnTo>
                    <a:lnTo>
                      <a:pt x="6" y="0"/>
                    </a:lnTo>
                    <a:lnTo>
                      <a:pt x="12" y="3"/>
                    </a:lnTo>
                    <a:lnTo>
                      <a:pt x="12" y="7"/>
                    </a:lnTo>
                    <a:lnTo>
                      <a:pt x="12" y="7"/>
                    </a:lnTo>
                    <a:lnTo>
                      <a:pt x="12" y="7"/>
                    </a:lnTo>
                    <a:lnTo>
                      <a:pt x="12" y="13"/>
                    </a:lnTo>
                    <a:lnTo>
                      <a:pt x="12" y="13"/>
                    </a:lnTo>
                    <a:lnTo>
                      <a:pt x="12" y="18"/>
                    </a:lnTo>
                    <a:lnTo>
                      <a:pt x="12" y="18"/>
                    </a:lnTo>
                    <a:lnTo>
                      <a:pt x="15" y="22"/>
                    </a:lnTo>
                    <a:lnTo>
                      <a:pt x="12" y="32"/>
                    </a:lnTo>
                    <a:lnTo>
                      <a:pt x="12" y="32"/>
                    </a:lnTo>
                    <a:lnTo>
                      <a:pt x="12" y="32"/>
                    </a:lnTo>
                    <a:lnTo>
                      <a:pt x="12" y="32"/>
                    </a:lnTo>
                    <a:lnTo>
                      <a:pt x="12" y="3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7" name="Freeform 79"/>
              <p:cNvSpPr>
                <a:spLocks noEditPoints="1"/>
              </p:cNvSpPr>
              <p:nvPr/>
            </p:nvSpPr>
            <p:spPr bwMode="auto">
              <a:xfrm>
                <a:off x="3122" y="1822"/>
                <a:ext cx="101" cy="70"/>
              </a:xfrm>
              <a:custGeom>
                <a:avLst/>
                <a:gdLst/>
                <a:ahLst/>
                <a:cxnLst>
                  <a:cxn ang="0">
                    <a:pos x="99" y="62"/>
                  </a:cxn>
                  <a:cxn ang="0">
                    <a:pos x="92" y="38"/>
                  </a:cxn>
                  <a:cxn ang="0">
                    <a:pos x="97" y="17"/>
                  </a:cxn>
                  <a:cxn ang="0">
                    <a:pos x="101" y="12"/>
                  </a:cxn>
                  <a:cxn ang="0">
                    <a:pos x="82" y="10"/>
                  </a:cxn>
                  <a:cxn ang="0">
                    <a:pos x="65" y="4"/>
                  </a:cxn>
                  <a:cxn ang="0">
                    <a:pos x="60" y="4"/>
                  </a:cxn>
                  <a:cxn ang="0">
                    <a:pos x="58" y="6"/>
                  </a:cxn>
                  <a:cxn ang="0">
                    <a:pos x="47" y="8"/>
                  </a:cxn>
                  <a:cxn ang="0">
                    <a:pos x="41" y="10"/>
                  </a:cxn>
                  <a:cxn ang="0">
                    <a:pos x="35" y="13"/>
                  </a:cxn>
                  <a:cxn ang="0">
                    <a:pos x="26" y="32"/>
                  </a:cxn>
                  <a:cxn ang="0">
                    <a:pos x="32" y="32"/>
                  </a:cxn>
                  <a:cxn ang="0">
                    <a:pos x="30" y="38"/>
                  </a:cxn>
                  <a:cxn ang="0">
                    <a:pos x="39" y="47"/>
                  </a:cxn>
                  <a:cxn ang="0">
                    <a:pos x="45" y="44"/>
                  </a:cxn>
                  <a:cxn ang="0">
                    <a:pos x="45" y="57"/>
                  </a:cxn>
                  <a:cxn ang="0">
                    <a:pos x="60" y="55"/>
                  </a:cxn>
                  <a:cxn ang="0">
                    <a:pos x="65" y="53"/>
                  </a:cxn>
                  <a:cxn ang="0">
                    <a:pos x="75" y="62"/>
                  </a:cxn>
                  <a:cxn ang="0">
                    <a:pos x="84" y="70"/>
                  </a:cxn>
                  <a:cxn ang="0">
                    <a:pos x="96" y="68"/>
                  </a:cxn>
                  <a:cxn ang="0">
                    <a:pos x="20" y="25"/>
                  </a:cxn>
                  <a:cxn ang="0">
                    <a:pos x="20" y="27"/>
                  </a:cxn>
                  <a:cxn ang="0">
                    <a:pos x="20" y="25"/>
                  </a:cxn>
                  <a:cxn ang="0">
                    <a:pos x="11" y="28"/>
                  </a:cxn>
                  <a:cxn ang="0">
                    <a:pos x="5" y="28"/>
                  </a:cxn>
                  <a:cxn ang="0">
                    <a:pos x="11" y="25"/>
                  </a:cxn>
                  <a:cxn ang="0">
                    <a:pos x="18" y="27"/>
                  </a:cxn>
                  <a:cxn ang="0">
                    <a:pos x="15" y="32"/>
                  </a:cxn>
                  <a:cxn ang="0">
                    <a:pos x="13" y="34"/>
                  </a:cxn>
                  <a:cxn ang="0">
                    <a:pos x="20" y="34"/>
                  </a:cxn>
                  <a:cxn ang="0">
                    <a:pos x="26" y="38"/>
                  </a:cxn>
                  <a:cxn ang="0">
                    <a:pos x="20" y="36"/>
                  </a:cxn>
                  <a:cxn ang="0">
                    <a:pos x="5" y="59"/>
                  </a:cxn>
                  <a:cxn ang="0">
                    <a:pos x="11" y="47"/>
                  </a:cxn>
                  <a:cxn ang="0">
                    <a:pos x="20" y="44"/>
                  </a:cxn>
                  <a:cxn ang="0">
                    <a:pos x="22" y="42"/>
                  </a:cxn>
                  <a:cxn ang="0">
                    <a:pos x="13" y="38"/>
                  </a:cxn>
                  <a:cxn ang="0">
                    <a:pos x="7" y="38"/>
                  </a:cxn>
                  <a:cxn ang="0">
                    <a:pos x="1" y="38"/>
                  </a:cxn>
                  <a:cxn ang="0">
                    <a:pos x="5" y="42"/>
                  </a:cxn>
                  <a:cxn ang="0">
                    <a:pos x="1" y="47"/>
                  </a:cxn>
                  <a:cxn ang="0">
                    <a:pos x="5" y="53"/>
                  </a:cxn>
                  <a:cxn ang="0">
                    <a:pos x="5" y="57"/>
                  </a:cxn>
                </a:cxnLst>
                <a:rect l="0" t="0" r="r" b="b"/>
                <a:pathLst>
                  <a:path w="101" h="70">
                    <a:moveTo>
                      <a:pt x="96" y="68"/>
                    </a:moveTo>
                    <a:lnTo>
                      <a:pt x="99" y="64"/>
                    </a:lnTo>
                    <a:lnTo>
                      <a:pt x="99" y="62"/>
                    </a:lnTo>
                    <a:lnTo>
                      <a:pt x="101" y="59"/>
                    </a:lnTo>
                    <a:lnTo>
                      <a:pt x="101" y="55"/>
                    </a:lnTo>
                    <a:lnTo>
                      <a:pt x="92" y="38"/>
                    </a:lnTo>
                    <a:lnTo>
                      <a:pt x="92" y="25"/>
                    </a:lnTo>
                    <a:lnTo>
                      <a:pt x="96" y="23"/>
                    </a:lnTo>
                    <a:lnTo>
                      <a:pt x="97" y="17"/>
                    </a:lnTo>
                    <a:lnTo>
                      <a:pt x="101" y="13"/>
                    </a:lnTo>
                    <a:lnTo>
                      <a:pt x="101" y="12"/>
                    </a:lnTo>
                    <a:lnTo>
                      <a:pt x="101" y="12"/>
                    </a:lnTo>
                    <a:lnTo>
                      <a:pt x="99" y="8"/>
                    </a:lnTo>
                    <a:lnTo>
                      <a:pt x="99" y="10"/>
                    </a:lnTo>
                    <a:lnTo>
                      <a:pt x="82" y="10"/>
                    </a:lnTo>
                    <a:lnTo>
                      <a:pt x="77" y="6"/>
                    </a:lnTo>
                    <a:lnTo>
                      <a:pt x="71" y="6"/>
                    </a:lnTo>
                    <a:lnTo>
                      <a:pt x="65" y="4"/>
                    </a:lnTo>
                    <a:lnTo>
                      <a:pt x="62" y="4"/>
                    </a:lnTo>
                    <a:lnTo>
                      <a:pt x="60" y="0"/>
                    </a:lnTo>
                    <a:lnTo>
                      <a:pt x="60" y="4"/>
                    </a:lnTo>
                    <a:lnTo>
                      <a:pt x="56" y="4"/>
                    </a:lnTo>
                    <a:lnTo>
                      <a:pt x="56" y="4"/>
                    </a:lnTo>
                    <a:lnTo>
                      <a:pt x="58" y="6"/>
                    </a:lnTo>
                    <a:lnTo>
                      <a:pt x="54" y="10"/>
                    </a:lnTo>
                    <a:lnTo>
                      <a:pt x="54" y="8"/>
                    </a:lnTo>
                    <a:lnTo>
                      <a:pt x="47" y="8"/>
                    </a:lnTo>
                    <a:lnTo>
                      <a:pt x="45" y="6"/>
                    </a:lnTo>
                    <a:lnTo>
                      <a:pt x="45" y="10"/>
                    </a:lnTo>
                    <a:lnTo>
                      <a:pt x="41" y="10"/>
                    </a:lnTo>
                    <a:lnTo>
                      <a:pt x="37" y="10"/>
                    </a:lnTo>
                    <a:lnTo>
                      <a:pt x="35" y="13"/>
                    </a:lnTo>
                    <a:lnTo>
                      <a:pt x="35" y="13"/>
                    </a:lnTo>
                    <a:lnTo>
                      <a:pt x="30" y="15"/>
                    </a:lnTo>
                    <a:lnTo>
                      <a:pt x="26" y="19"/>
                    </a:lnTo>
                    <a:lnTo>
                      <a:pt x="26" y="32"/>
                    </a:lnTo>
                    <a:lnTo>
                      <a:pt x="30" y="32"/>
                    </a:lnTo>
                    <a:lnTo>
                      <a:pt x="32" y="32"/>
                    </a:lnTo>
                    <a:lnTo>
                      <a:pt x="32" y="32"/>
                    </a:lnTo>
                    <a:lnTo>
                      <a:pt x="32" y="34"/>
                    </a:lnTo>
                    <a:lnTo>
                      <a:pt x="30" y="34"/>
                    </a:lnTo>
                    <a:lnTo>
                      <a:pt x="30" y="38"/>
                    </a:lnTo>
                    <a:lnTo>
                      <a:pt x="32" y="44"/>
                    </a:lnTo>
                    <a:lnTo>
                      <a:pt x="37" y="47"/>
                    </a:lnTo>
                    <a:lnTo>
                      <a:pt x="39" y="47"/>
                    </a:lnTo>
                    <a:lnTo>
                      <a:pt x="39" y="44"/>
                    </a:lnTo>
                    <a:lnTo>
                      <a:pt x="43" y="44"/>
                    </a:lnTo>
                    <a:lnTo>
                      <a:pt x="45" y="44"/>
                    </a:lnTo>
                    <a:lnTo>
                      <a:pt x="43" y="55"/>
                    </a:lnTo>
                    <a:lnTo>
                      <a:pt x="43" y="57"/>
                    </a:lnTo>
                    <a:lnTo>
                      <a:pt x="45" y="57"/>
                    </a:lnTo>
                    <a:lnTo>
                      <a:pt x="50" y="53"/>
                    </a:lnTo>
                    <a:lnTo>
                      <a:pt x="56" y="53"/>
                    </a:lnTo>
                    <a:lnTo>
                      <a:pt x="60" y="55"/>
                    </a:lnTo>
                    <a:lnTo>
                      <a:pt x="62" y="55"/>
                    </a:lnTo>
                    <a:lnTo>
                      <a:pt x="62" y="53"/>
                    </a:lnTo>
                    <a:lnTo>
                      <a:pt x="65" y="53"/>
                    </a:lnTo>
                    <a:lnTo>
                      <a:pt x="65" y="57"/>
                    </a:lnTo>
                    <a:lnTo>
                      <a:pt x="71" y="57"/>
                    </a:lnTo>
                    <a:lnTo>
                      <a:pt x="75" y="62"/>
                    </a:lnTo>
                    <a:lnTo>
                      <a:pt x="77" y="64"/>
                    </a:lnTo>
                    <a:lnTo>
                      <a:pt x="81" y="68"/>
                    </a:lnTo>
                    <a:lnTo>
                      <a:pt x="84" y="70"/>
                    </a:lnTo>
                    <a:lnTo>
                      <a:pt x="90" y="68"/>
                    </a:lnTo>
                    <a:lnTo>
                      <a:pt x="96" y="68"/>
                    </a:lnTo>
                    <a:lnTo>
                      <a:pt x="96" y="68"/>
                    </a:lnTo>
                    <a:lnTo>
                      <a:pt x="96" y="68"/>
                    </a:lnTo>
                    <a:lnTo>
                      <a:pt x="96" y="68"/>
                    </a:lnTo>
                    <a:close/>
                    <a:moveTo>
                      <a:pt x="20" y="25"/>
                    </a:moveTo>
                    <a:lnTo>
                      <a:pt x="22" y="25"/>
                    </a:lnTo>
                    <a:lnTo>
                      <a:pt x="22" y="27"/>
                    </a:lnTo>
                    <a:lnTo>
                      <a:pt x="20" y="27"/>
                    </a:lnTo>
                    <a:lnTo>
                      <a:pt x="20" y="25"/>
                    </a:lnTo>
                    <a:lnTo>
                      <a:pt x="20" y="25"/>
                    </a:lnTo>
                    <a:lnTo>
                      <a:pt x="20" y="25"/>
                    </a:lnTo>
                    <a:lnTo>
                      <a:pt x="20" y="25"/>
                    </a:lnTo>
                    <a:close/>
                    <a:moveTo>
                      <a:pt x="13" y="34"/>
                    </a:moveTo>
                    <a:lnTo>
                      <a:pt x="11" y="28"/>
                    </a:lnTo>
                    <a:lnTo>
                      <a:pt x="7" y="28"/>
                    </a:lnTo>
                    <a:lnTo>
                      <a:pt x="5" y="32"/>
                    </a:lnTo>
                    <a:lnTo>
                      <a:pt x="5" y="28"/>
                    </a:lnTo>
                    <a:lnTo>
                      <a:pt x="9" y="28"/>
                    </a:lnTo>
                    <a:lnTo>
                      <a:pt x="11" y="25"/>
                    </a:lnTo>
                    <a:lnTo>
                      <a:pt x="11" y="25"/>
                    </a:lnTo>
                    <a:lnTo>
                      <a:pt x="13" y="25"/>
                    </a:lnTo>
                    <a:lnTo>
                      <a:pt x="15" y="27"/>
                    </a:lnTo>
                    <a:lnTo>
                      <a:pt x="18" y="27"/>
                    </a:lnTo>
                    <a:lnTo>
                      <a:pt x="20" y="28"/>
                    </a:lnTo>
                    <a:lnTo>
                      <a:pt x="18" y="28"/>
                    </a:lnTo>
                    <a:lnTo>
                      <a:pt x="15" y="32"/>
                    </a:lnTo>
                    <a:lnTo>
                      <a:pt x="13" y="34"/>
                    </a:lnTo>
                    <a:lnTo>
                      <a:pt x="13" y="34"/>
                    </a:lnTo>
                    <a:lnTo>
                      <a:pt x="13" y="34"/>
                    </a:lnTo>
                    <a:lnTo>
                      <a:pt x="13" y="34"/>
                    </a:lnTo>
                    <a:close/>
                    <a:moveTo>
                      <a:pt x="20" y="36"/>
                    </a:moveTo>
                    <a:lnTo>
                      <a:pt x="20" y="34"/>
                    </a:lnTo>
                    <a:lnTo>
                      <a:pt x="26" y="34"/>
                    </a:lnTo>
                    <a:lnTo>
                      <a:pt x="26" y="38"/>
                    </a:lnTo>
                    <a:lnTo>
                      <a:pt x="26" y="38"/>
                    </a:lnTo>
                    <a:lnTo>
                      <a:pt x="20" y="36"/>
                    </a:lnTo>
                    <a:lnTo>
                      <a:pt x="20" y="36"/>
                    </a:lnTo>
                    <a:lnTo>
                      <a:pt x="20" y="36"/>
                    </a:lnTo>
                    <a:lnTo>
                      <a:pt x="20" y="36"/>
                    </a:lnTo>
                    <a:close/>
                    <a:moveTo>
                      <a:pt x="5" y="57"/>
                    </a:moveTo>
                    <a:lnTo>
                      <a:pt x="5" y="59"/>
                    </a:lnTo>
                    <a:lnTo>
                      <a:pt x="7" y="55"/>
                    </a:lnTo>
                    <a:lnTo>
                      <a:pt x="7" y="53"/>
                    </a:lnTo>
                    <a:lnTo>
                      <a:pt x="11" y="47"/>
                    </a:lnTo>
                    <a:lnTo>
                      <a:pt x="17" y="47"/>
                    </a:lnTo>
                    <a:lnTo>
                      <a:pt x="18" y="44"/>
                    </a:lnTo>
                    <a:lnTo>
                      <a:pt x="20" y="44"/>
                    </a:lnTo>
                    <a:lnTo>
                      <a:pt x="22" y="44"/>
                    </a:lnTo>
                    <a:lnTo>
                      <a:pt x="22" y="44"/>
                    </a:lnTo>
                    <a:lnTo>
                      <a:pt x="22" y="42"/>
                    </a:lnTo>
                    <a:lnTo>
                      <a:pt x="20" y="38"/>
                    </a:lnTo>
                    <a:lnTo>
                      <a:pt x="18" y="38"/>
                    </a:lnTo>
                    <a:lnTo>
                      <a:pt x="13" y="38"/>
                    </a:lnTo>
                    <a:lnTo>
                      <a:pt x="11" y="36"/>
                    </a:lnTo>
                    <a:lnTo>
                      <a:pt x="9" y="38"/>
                    </a:lnTo>
                    <a:lnTo>
                      <a:pt x="7" y="38"/>
                    </a:lnTo>
                    <a:lnTo>
                      <a:pt x="5" y="42"/>
                    </a:lnTo>
                    <a:lnTo>
                      <a:pt x="5" y="38"/>
                    </a:lnTo>
                    <a:lnTo>
                      <a:pt x="1" y="38"/>
                    </a:lnTo>
                    <a:lnTo>
                      <a:pt x="1" y="38"/>
                    </a:lnTo>
                    <a:lnTo>
                      <a:pt x="0" y="42"/>
                    </a:lnTo>
                    <a:lnTo>
                      <a:pt x="5" y="42"/>
                    </a:lnTo>
                    <a:lnTo>
                      <a:pt x="5" y="44"/>
                    </a:lnTo>
                    <a:lnTo>
                      <a:pt x="1" y="44"/>
                    </a:lnTo>
                    <a:lnTo>
                      <a:pt x="1" y="47"/>
                    </a:lnTo>
                    <a:lnTo>
                      <a:pt x="5" y="47"/>
                    </a:lnTo>
                    <a:lnTo>
                      <a:pt x="7" y="49"/>
                    </a:lnTo>
                    <a:lnTo>
                      <a:pt x="5" y="53"/>
                    </a:lnTo>
                    <a:lnTo>
                      <a:pt x="5" y="53"/>
                    </a:lnTo>
                    <a:lnTo>
                      <a:pt x="5" y="57"/>
                    </a:lnTo>
                    <a:lnTo>
                      <a:pt x="5" y="57"/>
                    </a:lnTo>
                    <a:lnTo>
                      <a:pt x="5" y="5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8" name="Freeform 80"/>
              <p:cNvSpPr>
                <a:spLocks/>
              </p:cNvSpPr>
              <p:nvPr/>
            </p:nvSpPr>
            <p:spPr bwMode="auto">
              <a:xfrm>
                <a:off x="3112" y="1877"/>
                <a:ext cx="115" cy="62"/>
              </a:xfrm>
              <a:custGeom>
                <a:avLst/>
                <a:gdLst/>
                <a:ahLst/>
                <a:cxnLst>
                  <a:cxn ang="0">
                    <a:pos x="115" y="43"/>
                  </a:cxn>
                  <a:cxn ang="0">
                    <a:pos x="111" y="34"/>
                  </a:cxn>
                  <a:cxn ang="0">
                    <a:pos x="107" y="28"/>
                  </a:cxn>
                  <a:cxn ang="0">
                    <a:pos x="107" y="21"/>
                  </a:cxn>
                  <a:cxn ang="0">
                    <a:pos x="107" y="21"/>
                  </a:cxn>
                  <a:cxn ang="0">
                    <a:pos x="96" y="15"/>
                  </a:cxn>
                  <a:cxn ang="0">
                    <a:pos x="87" y="13"/>
                  </a:cxn>
                  <a:cxn ang="0">
                    <a:pos x="83" y="7"/>
                  </a:cxn>
                  <a:cxn ang="0">
                    <a:pos x="74" y="4"/>
                  </a:cxn>
                  <a:cxn ang="0">
                    <a:pos x="70" y="0"/>
                  </a:cxn>
                  <a:cxn ang="0">
                    <a:pos x="66" y="2"/>
                  </a:cxn>
                  <a:cxn ang="0">
                    <a:pos x="59" y="0"/>
                  </a:cxn>
                  <a:cxn ang="0">
                    <a:pos x="51" y="4"/>
                  </a:cxn>
                  <a:cxn ang="0">
                    <a:pos x="53" y="15"/>
                  </a:cxn>
                  <a:cxn ang="0">
                    <a:pos x="43" y="28"/>
                  </a:cxn>
                  <a:cxn ang="0">
                    <a:pos x="34" y="24"/>
                  </a:cxn>
                  <a:cxn ang="0">
                    <a:pos x="27" y="13"/>
                  </a:cxn>
                  <a:cxn ang="0">
                    <a:pos x="25" y="7"/>
                  </a:cxn>
                  <a:cxn ang="0">
                    <a:pos x="15" y="11"/>
                  </a:cxn>
                  <a:cxn ang="0">
                    <a:pos x="10" y="15"/>
                  </a:cxn>
                  <a:cxn ang="0">
                    <a:pos x="10" y="21"/>
                  </a:cxn>
                  <a:cxn ang="0">
                    <a:pos x="6" y="28"/>
                  </a:cxn>
                  <a:cxn ang="0">
                    <a:pos x="2" y="38"/>
                  </a:cxn>
                  <a:cxn ang="0">
                    <a:pos x="0" y="43"/>
                  </a:cxn>
                  <a:cxn ang="0">
                    <a:pos x="4" y="53"/>
                  </a:cxn>
                  <a:cxn ang="0">
                    <a:pos x="6" y="53"/>
                  </a:cxn>
                  <a:cxn ang="0">
                    <a:pos x="13" y="45"/>
                  </a:cxn>
                  <a:cxn ang="0">
                    <a:pos x="28" y="45"/>
                  </a:cxn>
                  <a:cxn ang="0">
                    <a:pos x="34" y="45"/>
                  </a:cxn>
                  <a:cxn ang="0">
                    <a:pos x="42" y="43"/>
                  </a:cxn>
                  <a:cxn ang="0">
                    <a:pos x="45" y="45"/>
                  </a:cxn>
                  <a:cxn ang="0">
                    <a:pos x="55" y="49"/>
                  </a:cxn>
                  <a:cxn ang="0">
                    <a:pos x="62" y="45"/>
                  </a:cxn>
                  <a:cxn ang="0">
                    <a:pos x="75" y="49"/>
                  </a:cxn>
                  <a:cxn ang="0">
                    <a:pos x="83" y="54"/>
                  </a:cxn>
                  <a:cxn ang="0">
                    <a:pos x="92" y="60"/>
                  </a:cxn>
                  <a:cxn ang="0">
                    <a:pos x="94" y="62"/>
                  </a:cxn>
                  <a:cxn ang="0">
                    <a:pos x="107" y="58"/>
                  </a:cxn>
                  <a:cxn ang="0">
                    <a:pos x="111" y="53"/>
                  </a:cxn>
                  <a:cxn ang="0">
                    <a:pos x="115" y="49"/>
                  </a:cxn>
                  <a:cxn ang="0">
                    <a:pos x="115" y="49"/>
                  </a:cxn>
                </a:cxnLst>
                <a:rect l="0" t="0" r="r" b="b"/>
                <a:pathLst>
                  <a:path w="115" h="62">
                    <a:moveTo>
                      <a:pt x="115" y="49"/>
                    </a:moveTo>
                    <a:lnTo>
                      <a:pt x="115" y="43"/>
                    </a:lnTo>
                    <a:lnTo>
                      <a:pt x="113" y="39"/>
                    </a:lnTo>
                    <a:lnTo>
                      <a:pt x="111" y="34"/>
                    </a:lnTo>
                    <a:lnTo>
                      <a:pt x="111" y="32"/>
                    </a:lnTo>
                    <a:lnTo>
                      <a:pt x="107" y="28"/>
                    </a:lnTo>
                    <a:lnTo>
                      <a:pt x="107" y="24"/>
                    </a:lnTo>
                    <a:lnTo>
                      <a:pt x="107" y="21"/>
                    </a:lnTo>
                    <a:lnTo>
                      <a:pt x="106" y="21"/>
                    </a:lnTo>
                    <a:lnTo>
                      <a:pt x="107" y="21"/>
                    </a:lnTo>
                    <a:lnTo>
                      <a:pt x="106" y="15"/>
                    </a:lnTo>
                    <a:lnTo>
                      <a:pt x="96" y="15"/>
                    </a:lnTo>
                    <a:lnTo>
                      <a:pt x="91" y="15"/>
                    </a:lnTo>
                    <a:lnTo>
                      <a:pt x="87" y="13"/>
                    </a:lnTo>
                    <a:lnTo>
                      <a:pt x="83" y="11"/>
                    </a:lnTo>
                    <a:lnTo>
                      <a:pt x="83" y="7"/>
                    </a:lnTo>
                    <a:lnTo>
                      <a:pt x="77" y="4"/>
                    </a:lnTo>
                    <a:lnTo>
                      <a:pt x="74" y="4"/>
                    </a:lnTo>
                    <a:lnTo>
                      <a:pt x="74" y="0"/>
                    </a:lnTo>
                    <a:lnTo>
                      <a:pt x="70" y="0"/>
                    </a:lnTo>
                    <a:lnTo>
                      <a:pt x="70" y="2"/>
                    </a:lnTo>
                    <a:lnTo>
                      <a:pt x="66" y="2"/>
                    </a:lnTo>
                    <a:lnTo>
                      <a:pt x="62" y="0"/>
                    </a:lnTo>
                    <a:lnTo>
                      <a:pt x="59" y="0"/>
                    </a:lnTo>
                    <a:lnTo>
                      <a:pt x="53" y="4"/>
                    </a:lnTo>
                    <a:lnTo>
                      <a:pt x="51" y="4"/>
                    </a:lnTo>
                    <a:lnTo>
                      <a:pt x="51" y="9"/>
                    </a:lnTo>
                    <a:lnTo>
                      <a:pt x="53" y="15"/>
                    </a:lnTo>
                    <a:lnTo>
                      <a:pt x="51" y="24"/>
                    </a:lnTo>
                    <a:lnTo>
                      <a:pt x="43" y="28"/>
                    </a:lnTo>
                    <a:lnTo>
                      <a:pt x="40" y="28"/>
                    </a:lnTo>
                    <a:lnTo>
                      <a:pt x="34" y="24"/>
                    </a:lnTo>
                    <a:lnTo>
                      <a:pt x="34" y="21"/>
                    </a:lnTo>
                    <a:lnTo>
                      <a:pt x="27" y="13"/>
                    </a:lnTo>
                    <a:lnTo>
                      <a:pt x="27" y="7"/>
                    </a:lnTo>
                    <a:lnTo>
                      <a:pt x="25" y="7"/>
                    </a:lnTo>
                    <a:lnTo>
                      <a:pt x="21" y="11"/>
                    </a:lnTo>
                    <a:lnTo>
                      <a:pt x="15" y="11"/>
                    </a:lnTo>
                    <a:lnTo>
                      <a:pt x="13" y="13"/>
                    </a:lnTo>
                    <a:lnTo>
                      <a:pt x="10" y="15"/>
                    </a:lnTo>
                    <a:lnTo>
                      <a:pt x="10" y="19"/>
                    </a:lnTo>
                    <a:lnTo>
                      <a:pt x="10" y="21"/>
                    </a:lnTo>
                    <a:lnTo>
                      <a:pt x="6" y="21"/>
                    </a:lnTo>
                    <a:lnTo>
                      <a:pt x="6" y="28"/>
                    </a:lnTo>
                    <a:lnTo>
                      <a:pt x="2" y="34"/>
                    </a:lnTo>
                    <a:lnTo>
                      <a:pt x="2" y="38"/>
                    </a:lnTo>
                    <a:lnTo>
                      <a:pt x="2" y="41"/>
                    </a:lnTo>
                    <a:lnTo>
                      <a:pt x="0" y="43"/>
                    </a:lnTo>
                    <a:lnTo>
                      <a:pt x="2" y="53"/>
                    </a:lnTo>
                    <a:lnTo>
                      <a:pt x="4" y="53"/>
                    </a:lnTo>
                    <a:lnTo>
                      <a:pt x="4" y="54"/>
                    </a:lnTo>
                    <a:lnTo>
                      <a:pt x="6" y="53"/>
                    </a:lnTo>
                    <a:lnTo>
                      <a:pt x="10" y="49"/>
                    </a:lnTo>
                    <a:lnTo>
                      <a:pt x="13" y="45"/>
                    </a:lnTo>
                    <a:lnTo>
                      <a:pt x="21" y="43"/>
                    </a:lnTo>
                    <a:lnTo>
                      <a:pt x="28" y="45"/>
                    </a:lnTo>
                    <a:lnTo>
                      <a:pt x="30" y="43"/>
                    </a:lnTo>
                    <a:lnTo>
                      <a:pt x="34" y="45"/>
                    </a:lnTo>
                    <a:lnTo>
                      <a:pt x="38" y="43"/>
                    </a:lnTo>
                    <a:lnTo>
                      <a:pt x="42" y="43"/>
                    </a:lnTo>
                    <a:lnTo>
                      <a:pt x="42" y="45"/>
                    </a:lnTo>
                    <a:lnTo>
                      <a:pt x="45" y="45"/>
                    </a:lnTo>
                    <a:lnTo>
                      <a:pt x="49" y="49"/>
                    </a:lnTo>
                    <a:lnTo>
                      <a:pt x="55" y="49"/>
                    </a:lnTo>
                    <a:lnTo>
                      <a:pt x="55" y="49"/>
                    </a:lnTo>
                    <a:lnTo>
                      <a:pt x="62" y="45"/>
                    </a:lnTo>
                    <a:lnTo>
                      <a:pt x="68" y="49"/>
                    </a:lnTo>
                    <a:lnTo>
                      <a:pt x="75" y="49"/>
                    </a:lnTo>
                    <a:lnTo>
                      <a:pt x="79" y="54"/>
                    </a:lnTo>
                    <a:lnTo>
                      <a:pt x="83" y="54"/>
                    </a:lnTo>
                    <a:lnTo>
                      <a:pt x="87" y="60"/>
                    </a:lnTo>
                    <a:lnTo>
                      <a:pt x="92" y="60"/>
                    </a:lnTo>
                    <a:lnTo>
                      <a:pt x="94" y="62"/>
                    </a:lnTo>
                    <a:lnTo>
                      <a:pt x="94" y="62"/>
                    </a:lnTo>
                    <a:lnTo>
                      <a:pt x="100" y="60"/>
                    </a:lnTo>
                    <a:lnTo>
                      <a:pt x="107" y="58"/>
                    </a:lnTo>
                    <a:lnTo>
                      <a:pt x="107" y="53"/>
                    </a:lnTo>
                    <a:lnTo>
                      <a:pt x="111" y="53"/>
                    </a:lnTo>
                    <a:lnTo>
                      <a:pt x="113" y="49"/>
                    </a:lnTo>
                    <a:lnTo>
                      <a:pt x="115" y="49"/>
                    </a:lnTo>
                    <a:lnTo>
                      <a:pt x="115" y="49"/>
                    </a:lnTo>
                    <a:lnTo>
                      <a:pt x="115" y="4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9" name="Freeform 81"/>
              <p:cNvSpPr>
                <a:spLocks/>
              </p:cNvSpPr>
              <p:nvPr/>
            </p:nvSpPr>
            <p:spPr bwMode="auto">
              <a:xfrm>
                <a:off x="3118" y="1918"/>
                <a:ext cx="88" cy="68"/>
              </a:xfrm>
              <a:custGeom>
                <a:avLst/>
                <a:gdLst/>
                <a:ahLst/>
                <a:cxnLst>
                  <a:cxn ang="0">
                    <a:pos x="28" y="44"/>
                  </a:cxn>
                  <a:cxn ang="0">
                    <a:pos x="28" y="38"/>
                  </a:cxn>
                  <a:cxn ang="0">
                    <a:pos x="24" y="36"/>
                  </a:cxn>
                  <a:cxn ang="0">
                    <a:pos x="15" y="36"/>
                  </a:cxn>
                  <a:cxn ang="0">
                    <a:pos x="5" y="23"/>
                  </a:cxn>
                  <a:cxn ang="0">
                    <a:pos x="0" y="27"/>
                  </a:cxn>
                  <a:cxn ang="0">
                    <a:pos x="0" y="17"/>
                  </a:cxn>
                  <a:cxn ang="0">
                    <a:pos x="2" y="12"/>
                  </a:cxn>
                  <a:cxn ang="0">
                    <a:pos x="9" y="2"/>
                  </a:cxn>
                  <a:cxn ang="0">
                    <a:pos x="24" y="2"/>
                  </a:cxn>
                  <a:cxn ang="0">
                    <a:pos x="30" y="2"/>
                  </a:cxn>
                  <a:cxn ang="0">
                    <a:pos x="37" y="0"/>
                  </a:cxn>
                  <a:cxn ang="0">
                    <a:pos x="39" y="2"/>
                  </a:cxn>
                  <a:cxn ang="0">
                    <a:pos x="49" y="6"/>
                  </a:cxn>
                  <a:cxn ang="0">
                    <a:pos x="58" y="2"/>
                  </a:cxn>
                  <a:cxn ang="0">
                    <a:pos x="69" y="6"/>
                  </a:cxn>
                  <a:cxn ang="0">
                    <a:pos x="79" y="12"/>
                  </a:cxn>
                  <a:cxn ang="0">
                    <a:pos x="88" y="17"/>
                  </a:cxn>
                  <a:cxn ang="0">
                    <a:pos x="86" y="27"/>
                  </a:cxn>
                  <a:cxn ang="0">
                    <a:pos x="88" y="30"/>
                  </a:cxn>
                  <a:cxn ang="0">
                    <a:pos x="79" y="40"/>
                  </a:cxn>
                  <a:cxn ang="0">
                    <a:pos x="75" y="47"/>
                  </a:cxn>
                  <a:cxn ang="0">
                    <a:pos x="79" y="53"/>
                  </a:cxn>
                  <a:cxn ang="0">
                    <a:pos x="73" y="51"/>
                  </a:cxn>
                  <a:cxn ang="0">
                    <a:pos x="68" y="59"/>
                  </a:cxn>
                  <a:cxn ang="0">
                    <a:pos x="64" y="64"/>
                  </a:cxn>
                  <a:cxn ang="0">
                    <a:pos x="58" y="66"/>
                  </a:cxn>
                  <a:cxn ang="0">
                    <a:pos x="45" y="66"/>
                  </a:cxn>
                  <a:cxn ang="0">
                    <a:pos x="39" y="66"/>
                  </a:cxn>
                  <a:cxn ang="0">
                    <a:pos x="39" y="53"/>
                  </a:cxn>
                  <a:cxn ang="0">
                    <a:pos x="32" y="49"/>
                  </a:cxn>
                  <a:cxn ang="0">
                    <a:pos x="28" y="49"/>
                  </a:cxn>
                </a:cxnLst>
                <a:rect l="0" t="0" r="r" b="b"/>
                <a:pathLst>
                  <a:path w="88" h="68">
                    <a:moveTo>
                      <a:pt x="28" y="49"/>
                    </a:moveTo>
                    <a:lnTo>
                      <a:pt x="28" y="44"/>
                    </a:lnTo>
                    <a:lnTo>
                      <a:pt x="30" y="40"/>
                    </a:lnTo>
                    <a:lnTo>
                      <a:pt x="28" y="38"/>
                    </a:lnTo>
                    <a:lnTo>
                      <a:pt x="24" y="38"/>
                    </a:lnTo>
                    <a:lnTo>
                      <a:pt x="24" y="36"/>
                    </a:lnTo>
                    <a:lnTo>
                      <a:pt x="24" y="32"/>
                    </a:lnTo>
                    <a:lnTo>
                      <a:pt x="15" y="36"/>
                    </a:lnTo>
                    <a:lnTo>
                      <a:pt x="11" y="30"/>
                    </a:lnTo>
                    <a:lnTo>
                      <a:pt x="5" y="23"/>
                    </a:lnTo>
                    <a:lnTo>
                      <a:pt x="0" y="27"/>
                    </a:lnTo>
                    <a:lnTo>
                      <a:pt x="0" y="27"/>
                    </a:lnTo>
                    <a:lnTo>
                      <a:pt x="0" y="21"/>
                    </a:lnTo>
                    <a:lnTo>
                      <a:pt x="0" y="17"/>
                    </a:lnTo>
                    <a:lnTo>
                      <a:pt x="0" y="12"/>
                    </a:lnTo>
                    <a:lnTo>
                      <a:pt x="2" y="12"/>
                    </a:lnTo>
                    <a:lnTo>
                      <a:pt x="4" y="8"/>
                    </a:lnTo>
                    <a:lnTo>
                      <a:pt x="9" y="2"/>
                    </a:lnTo>
                    <a:lnTo>
                      <a:pt x="15" y="0"/>
                    </a:lnTo>
                    <a:lnTo>
                      <a:pt x="24" y="2"/>
                    </a:lnTo>
                    <a:lnTo>
                      <a:pt x="26" y="0"/>
                    </a:lnTo>
                    <a:lnTo>
                      <a:pt x="30" y="2"/>
                    </a:lnTo>
                    <a:lnTo>
                      <a:pt x="34" y="0"/>
                    </a:lnTo>
                    <a:lnTo>
                      <a:pt x="37" y="0"/>
                    </a:lnTo>
                    <a:lnTo>
                      <a:pt x="37" y="2"/>
                    </a:lnTo>
                    <a:lnTo>
                      <a:pt x="39" y="2"/>
                    </a:lnTo>
                    <a:lnTo>
                      <a:pt x="43" y="6"/>
                    </a:lnTo>
                    <a:lnTo>
                      <a:pt x="49" y="6"/>
                    </a:lnTo>
                    <a:lnTo>
                      <a:pt x="51" y="6"/>
                    </a:lnTo>
                    <a:lnTo>
                      <a:pt x="58" y="2"/>
                    </a:lnTo>
                    <a:lnTo>
                      <a:pt x="64" y="6"/>
                    </a:lnTo>
                    <a:lnTo>
                      <a:pt x="69" y="6"/>
                    </a:lnTo>
                    <a:lnTo>
                      <a:pt x="73" y="12"/>
                    </a:lnTo>
                    <a:lnTo>
                      <a:pt x="79" y="12"/>
                    </a:lnTo>
                    <a:lnTo>
                      <a:pt x="83" y="17"/>
                    </a:lnTo>
                    <a:lnTo>
                      <a:pt x="88" y="17"/>
                    </a:lnTo>
                    <a:lnTo>
                      <a:pt x="88" y="21"/>
                    </a:lnTo>
                    <a:lnTo>
                      <a:pt x="86" y="27"/>
                    </a:lnTo>
                    <a:lnTo>
                      <a:pt x="88" y="27"/>
                    </a:lnTo>
                    <a:lnTo>
                      <a:pt x="88" y="30"/>
                    </a:lnTo>
                    <a:lnTo>
                      <a:pt x="83" y="36"/>
                    </a:lnTo>
                    <a:lnTo>
                      <a:pt x="79" y="40"/>
                    </a:lnTo>
                    <a:lnTo>
                      <a:pt x="75" y="42"/>
                    </a:lnTo>
                    <a:lnTo>
                      <a:pt x="75" y="47"/>
                    </a:lnTo>
                    <a:lnTo>
                      <a:pt x="79" y="49"/>
                    </a:lnTo>
                    <a:lnTo>
                      <a:pt x="79" y="53"/>
                    </a:lnTo>
                    <a:lnTo>
                      <a:pt x="75" y="53"/>
                    </a:lnTo>
                    <a:lnTo>
                      <a:pt x="73" y="51"/>
                    </a:lnTo>
                    <a:lnTo>
                      <a:pt x="69" y="53"/>
                    </a:lnTo>
                    <a:lnTo>
                      <a:pt x="68" y="59"/>
                    </a:lnTo>
                    <a:lnTo>
                      <a:pt x="64" y="59"/>
                    </a:lnTo>
                    <a:lnTo>
                      <a:pt x="64" y="64"/>
                    </a:lnTo>
                    <a:lnTo>
                      <a:pt x="64" y="64"/>
                    </a:lnTo>
                    <a:lnTo>
                      <a:pt x="58" y="66"/>
                    </a:lnTo>
                    <a:lnTo>
                      <a:pt x="53" y="64"/>
                    </a:lnTo>
                    <a:lnTo>
                      <a:pt x="45" y="66"/>
                    </a:lnTo>
                    <a:lnTo>
                      <a:pt x="43" y="68"/>
                    </a:lnTo>
                    <a:lnTo>
                      <a:pt x="39" y="66"/>
                    </a:lnTo>
                    <a:lnTo>
                      <a:pt x="39" y="61"/>
                    </a:lnTo>
                    <a:lnTo>
                      <a:pt x="39" y="53"/>
                    </a:lnTo>
                    <a:lnTo>
                      <a:pt x="36" y="53"/>
                    </a:lnTo>
                    <a:lnTo>
                      <a:pt x="32" y="49"/>
                    </a:lnTo>
                    <a:lnTo>
                      <a:pt x="28" y="49"/>
                    </a:lnTo>
                    <a:lnTo>
                      <a:pt x="28" y="49"/>
                    </a:lnTo>
                    <a:lnTo>
                      <a:pt x="28" y="4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0" name="Freeform 82"/>
              <p:cNvSpPr>
                <a:spLocks/>
              </p:cNvSpPr>
              <p:nvPr/>
            </p:nvSpPr>
            <p:spPr bwMode="auto">
              <a:xfrm>
                <a:off x="3159" y="1924"/>
                <a:ext cx="158" cy="117"/>
              </a:xfrm>
              <a:custGeom>
                <a:avLst/>
                <a:gdLst/>
                <a:ahLst/>
                <a:cxnLst>
                  <a:cxn ang="0">
                    <a:pos x="2" y="56"/>
                  </a:cxn>
                  <a:cxn ang="0">
                    <a:pos x="17" y="56"/>
                  </a:cxn>
                  <a:cxn ang="0">
                    <a:pos x="23" y="55"/>
                  </a:cxn>
                  <a:cxn ang="0">
                    <a:pos x="27" y="49"/>
                  </a:cxn>
                  <a:cxn ang="0">
                    <a:pos x="32" y="43"/>
                  </a:cxn>
                  <a:cxn ang="0">
                    <a:pos x="38" y="45"/>
                  </a:cxn>
                  <a:cxn ang="0">
                    <a:pos x="34" y="40"/>
                  </a:cxn>
                  <a:cxn ang="0">
                    <a:pos x="38" y="32"/>
                  </a:cxn>
                  <a:cxn ang="0">
                    <a:pos x="47" y="24"/>
                  </a:cxn>
                  <a:cxn ang="0">
                    <a:pos x="45" y="19"/>
                  </a:cxn>
                  <a:cxn ang="0">
                    <a:pos x="53" y="11"/>
                  </a:cxn>
                  <a:cxn ang="0">
                    <a:pos x="62" y="6"/>
                  </a:cxn>
                  <a:cxn ang="0">
                    <a:pos x="68" y="0"/>
                  </a:cxn>
                  <a:cxn ang="0">
                    <a:pos x="76" y="0"/>
                  </a:cxn>
                  <a:cxn ang="0">
                    <a:pos x="83" y="6"/>
                  </a:cxn>
                  <a:cxn ang="0">
                    <a:pos x="92" y="4"/>
                  </a:cxn>
                  <a:cxn ang="0">
                    <a:pos x="102" y="6"/>
                  </a:cxn>
                  <a:cxn ang="0">
                    <a:pos x="108" y="6"/>
                  </a:cxn>
                  <a:cxn ang="0">
                    <a:pos x="119" y="9"/>
                  </a:cxn>
                  <a:cxn ang="0">
                    <a:pos x="119" y="19"/>
                  </a:cxn>
                  <a:cxn ang="0">
                    <a:pos x="123" y="28"/>
                  </a:cxn>
                  <a:cxn ang="0">
                    <a:pos x="130" y="36"/>
                  </a:cxn>
                  <a:cxn ang="0">
                    <a:pos x="138" y="45"/>
                  </a:cxn>
                  <a:cxn ang="0">
                    <a:pos x="147" y="53"/>
                  </a:cxn>
                  <a:cxn ang="0">
                    <a:pos x="153" y="64"/>
                  </a:cxn>
                  <a:cxn ang="0">
                    <a:pos x="156" y="68"/>
                  </a:cxn>
                  <a:cxn ang="0">
                    <a:pos x="143" y="77"/>
                  </a:cxn>
                  <a:cxn ang="0">
                    <a:pos x="138" y="73"/>
                  </a:cxn>
                  <a:cxn ang="0">
                    <a:pos x="141" y="85"/>
                  </a:cxn>
                  <a:cxn ang="0">
                    <a:pos x="143" y="96"/>
                  </a:cxn>
                  <a:cxn ang="0">
                    <a:pos x="143" y="98"/>
                  </a:cxn>
                  <a:cxn ang="0">
                    <a:pos x="130" y="102"/>
                  </a:cxn>
                  <a:cxn ang="0">
                    <a:pos x="128" y="113"/>
                  </a:cxn>
                  <a:cxn ang="0">
                    <a:pos x="121" y="113"/>
                  </a:cxn>
                  <a:cxn ang="0">
                    <a:pos x="111" y="113"/>
                  </a:cxn>
                  <a:cxn ang="0">
                    <a:pos x="104" y="117"/>
                  </a:cxn>
                  <a:cxn ang="0">
                    <a:pos x="98" y="113"/>
                  </a:cxn>
                  <a:cxn ang="0">
                    <a:pos x="89" y="113"/>
                  </a:cxn>
                  <a:cxn ang="0">
                    <a:pos x="81" y="113"/>
                  </a:cxn>
                  <a:cxn ang="0">
                    <a:pos x="76" y="113"/>
                  </a:cxn>
                  <a:cxn ang="0">
                    <a:pos x="66" y="113"/>
                  </a:cxn>
                  <a:cxn ang="0">
                    <a:pos x="62" y="107"/>
                  </a:cxn>
                  <a:cxn ang="0">
                    <a:pos x="45" y="105"/>
                  </a:cxn>
                  <a:cxn ang="0">
                    <a:pos x="40" y="107"/>
                  </a:cxn>
                  <a:cxn ang="0">
                    <a:pos x="21" y="111"/>
                  </a:cxn>
                  <a:cxn ang="0">
                    <a:pos x="12" y="107"/>
                  </a:cxn>
                  <a:cxn ang="0">
                    <a:pos x="8" y="107"/>
                  </a:cxn>
                  <a:cxn ang="0">
                    <a:pos x="2" y="96"/>
                  </a:cxn>
                  <a:cxn ang="0">
                    <a:pos x="8" y="92"/>
                  </a:cxn>
                  <a:cxn ang="0">
                    <a:pos x="8" y="77"/>
                  </a:cxn>
                  <a:cxn ang="0">
                    <a:pos x="2" y="68"/>
                  </a:cxn>
                  <a:cxn ang="0">
                    <a:pos x="0" y="60"/>
                  </a:cxn>
                  <a:cxn ang="0">
                    <a:pos x="0" y="60"/>
                  </a:cxn>
                </a:cxnLst>
                <a:rect l="0" t="0" r="r" b="b"/>
                <a:pathLst>
                  <a:path w="158" h="117">
                    <a:moveTo>
                      <a:pt x="0" y="60"/>
                    </a:moveTo>
                    <a:lnTo>
                      <a:pt x="2" y="56"/>
                    </a:lnTo>
                    <a:lnTo>
                      <a:pt x="12" y="55"/>
                    </a:lnTo>
                    <a:lnTo>
                      <a:pt x="17" y="56"/>
                    </a:lnTo>
                    <a:lnTo>
                      <a:pt x="21" y="55"/>
                    </a:lnTo>
                    <a:lnTo>
                      <a:pt x="23" y="55"/>
                    </a:lnTo>
                    <a:lnTo>
                      <a:pt x="21" y="49"/>
                    </a:lnTo>
                    <a:lnTo>
                      <a:pt x="27" y="49"/>
                    </a:lnTo>
                    <a:lnTo>
                      <a:pt x="28" y="45"/>
                    </a:lnTo>
                    <a:lnTo>
                      <a:pt x="32" y="43"/>
                    </a:lnTo>
                    <a:lnTo>
                      <a:pt x="34" y="45"/>
                    </a:lnTo>
                    <a:lnTo>
                      <a:pt x="38" y="45"/>
                    </a:lnTo>
                    <a:lnTo>
                      <a:pt x="38" y="41"/>
                    </a:lnTo>
                    <a:lnTo>
                      <a:pt x="34" y="40"/>
                    </a:lnTo>
                    <a:lnTo>
                      <a:pt x="34" y="34"/>
                    </a:lnTo>
                    <a:lnTo>
                      <a:pt x="38" y="32"/>
                    </a:lnTo>
                    <a:lnTo>
                      <a:pt x="42" y="28"/>
                    </a:lnTo>
                    <a:lnTo>
                      <a:pt x="47" y="24"/>
                    </a:lnTo>
                    <a:lnTo>
                      <a:pt x="47" y="21"/>
                    </a:lnTo>
                    <a:lnTo>
                      <a:pt x="45" y="19"/>
                    </a:lnTo>
                    <a:lnTo>
                      <a:pt x="47" y="13"/>
                    </a:lnTo>
                    <a:lnTo>
                      <a:pt x="53" y="11"/>
                    </a:lnTo>
                    <a:lnTo>
                      <a:pt x="62" y="9"/>
                    </a:lnTo>
                    <a:lnTo>
                      <a:pt x="62" y="6"/>
                    </a:lnTo>
                    <a:lnTo>
                      <a:pt x="66" y="4"/>
                    </a:lnTo>
                    <a:lnTo>
                      <a:pt x="68" y="0"/>
                    </a:lnTo>
                    <a:lnTo>
                      <a:pt x="72" y="0"/>
                    </a:lnTo>
                    <a:lnTo>
                      <a:pt x="76" y="0"/>
                    </a:lnTo>
                    <a:lnTo>
                      <a:pt x="79" y="0"/>
                    </a:lnTo>
                    <a:lnTo>
                      <a:pt x="83" y="6"/>
                    </a:lnTo>
                    <a:lnTo>
                      <a:pt x="89" y="4"/>
                    </a:lnTo>
                    <a:lnTo>
                      <a:pt x="92" y="4"/>
                    </a:lnTo>
                    <a:lnTo>
                      <a:pt x="96" y="9"/>
                    </a:lnTo>
                    <a:lnTo>
                      <a:pt x="102" y="6"/>
                    </a:lnTo>
                    <a:lnTo>
                      <a:pt x="108" y="4"/>
                    </a:lnTo>
                    <a:lnTo>
                      <a:pt x="108" y="6"/>
                    </a:lnTo>
                    <a:lnTo>
                      <a:pt x="111" y="6"/>
                    </a:lnTo>
                    <a:lnTo>
                      <a:pt x="119" y="9"/>
                    </a:lnTo>
                    <a:lnTo>
                      <a:pt x="121" y="13"/>
                    </a:lnTo>
                    <a:lnTo>
                      <a:pt x="119" y="19"/>
                    </a:lnTo>
                    <a:lnTo>
                      <a:pt x="123" y="21"/>
                    </a:lnTo>
                    <a:lnTo>
                      <a:pt x="123" y="28"/>
                    </a:lnTo>
                    <a:lnTo>
                      <a:pt x="126" y="32"/>
                    </a:lnTo>
                    <a:lnTo>
                      <a:pt x="130" y="36"/>
                    </a:lnTo>
                    <a:lnTo>
                      <a:pt x="134" y="43"/>
                    </a:lnTo>
                    <a:lnTo>
                      <a:pt x="138" y="45"/>
                    </a:lnTo>
                    <a:lnTo>
                      <a:pt x="138" y="53"/>
                    </a:lnTo>
                    <a:lnTo>
                      <a:pt x="147" y="53"/>
                    </a:lnTo>
                    <a:lnTo>
                      <a:pt x="153" y="60"/>
                    </a:lnTo>
                    <a:lnTo>
                      <a:pt x="153" y="64"/>
                    </a:lnTo>
                    <a:lnTo>
                      <a:pt x="158" y="64"/>
                    </a:lnTo>
                    <a:lnTo>
                      <a:pt x="156" y="68"/>
                    </a:lnTo>
                    <a:lnTo>
                      <a:pt x="153" y="73"/>
                    </a:lnTo>
                    <a:lnTo>
                      <a:pt x="143" y="77"/>
                    </a:lnTo>
                    <a:lnTo>
                      <a:pt x="138" y="72"/>
                    </a:lnTo>
                    <a:lnTo>
                      <a:pt x="138" y="73"/>
                    </a:lnTo>
                    <a:lnTo>
                      <a:pt x="138" y="79"/>
                    </a:lnTo>
                    <a:lnTo>
                      <a:pt x="141" y="85"/>
                    </a:lnTo>
                    <a:lnTo>
                      <a:pt x="141" y="88"/>
                    </a:lnTo>
                    <a:lnTo>
                      <a:pt x="143" y="96"/>
                    </a:lnTo>
                    <a:lnTo>
                      <a:pt x="143" y="98"/>
                    </a:lnTo>
                    <a:lnTo>
                      <a:pt x="143" y="98"/>
                    </a:lnTo>
                    <a:lnTo>
                      <a:pt x="136" y="100"/>
                    </a:lnTo>
                    <a:lnTo>
                      <a:pt x="130" y="102"/>
                    </a:lnTo>
                    <a:lnTo>
                      <a:pt x="128" y="107"/>
                    </a:lnTo>
                    <a:lnTo>
                      <a:pt x="128" y="113"/>
                    </a:lnTo>
                    <a:lnTo>
                      <a:pt x="123" y="117"/>
                    </a:lnTo>
                    <a:lnTo>
                      <a:pt x="121" y="113"/>
                    </a:lnTo>
                    <a:lnTo>
                      <a:pt x="115" y="113"/>
                    </a:lnTo>
                    <a:lnTo>
                      <a:pt x="111" y="113"/>
                    </a:lnTo>
                    <a:lnTo>
                      <a:pt x="108" y="113"/>
                    </a:lnTo>
                    <a:lnTo>
                      <a:pt x="104" y="117"/>
                    </a:lnTo>
                    <a:lnTo>
                      <a:pt x="102" y="117"/>
                    </a:lnTo>
                    <a:lnTo>
                      <a:pt x="98" y="113"/>
                    </a:lnTo>
                    <a:lnTo>
                      <a:pt x="96" y="111"/>
                    </a:lnTo>
                    <a:lnTo>
                      <a:pt x="89" y="113"/>
                    </a:lnTo>
                    <a:lnTo>
                      <a:pt x="87" y="113"/>
                    </a:lnTo>
                    <a:lnTo>
                      <a:pt x="81" y="113"/>
                    </a:lnTo>
                    <a:lnTo>
                      <a:pt x="79" y="113"/>
                    </a:lnTo>
                    <a:lnTo>
                      <a:pt x="76" y="113"/>
                    </a:lnTo>
                    <a:lnTo>
                      <a:pt x="74" y="113"/>
                    </a:lnTo>
                    <a:lnTo>
                      <a:pt x="66" y="113"/>
                    </a:lnTo>
                    <a:lnTo>
                      <a:pt x="66" y="113"/>
                    </a:lnTo>
                    <a:lnTo>
                      <a:pt x="62" y="107"/>
                    </a:lnTo>
                    <a:lnTo>
                      <a:pt x="51" y="107"/>
                    </a:lnTo>
                    <a:lnTo>
                      <a:pt x="45" y="105"/>
                    </a:lnTo>
                    <a:lnTo>
                      <a:pt x="44" y="105"/>
                    </a:lnTo>
                    <a:lnTo>
                      <a:pt x="40" y="107"/>
                    </a:lnTo>
                    <a:lnTo>
                      <a:pt x="34" y="107"/>
                    </a:lnTo>
                    <a:lnTo>
                      <a:pt x="21" y="111"/>
                    </a:lnTo>
                    <a:lnTo>
                      <a:pt x="17" y="113"/>
                    </a:lnTo>
                    <a:lnTo>
                      <a:pt x="12" y="107"/>
                    </a:lnTo>
                    <a:lnTo>
                      <a:pt x="8" y="111"/>
                    </a:lnTo>
                    <a:lnTo>
                      <a:pt x="8" y="107"/>
                    </a:lnTo>
                    <a:lnTo>
                      <a:pt x="2" y="102"/>
                    </a:lnTo>
                    <a:lnTo>
                      <a:pt x="2" y="96"/>
                    </a:lnTo>
                    <a:lnTo>
                      <a:pt x="6" y="92"/>
                    </a:lnTo>
                    <a:lnTo>
                      <a:pt x="8" y="92"/>
                    </a:lnTo>
                    <a:lnTo>
                      <a:pt x="8" y="79"/>
                    </a:lnTo>
                    <a:lnTo>
                      <a:pt x="8" y="77"/>
                    </a:lnTo>
                    <a:lnTo>
                      <a:pt x="8" y="73"/>
                    </a:lnTo>
                    <a:lnTo>
                      <a:pt x="2" y="68"/>
                    </a:lnTo>
                    <a:lnTo>
                      <a:pt x="2" y="60"/>
                    </a:lnTo>
                    <a:lnTo>
                      <a:pt x="0" y="60"/>
                    </a:lnTo>
                    <a:lnTo>
                      <a:pt x="0" y="60"/>
                    </a:lnTo>
                    <a:lnTo>
                      <a:pt x="0" y="6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1" name="Freeform 83"/>
              <p:cNvSpPr>
                <a:spLocks/>
              </p:cNvSpPr>
              <p:nvPr/>
            </p:nvSpPr>
            <p:spPr bwMode="auto">
              <a:xfrm>
                <a:off x="3148" y="2018"/>
                <a:ext cx="307" cy="190"/>
              </a:xfrm>
              <a:custGeom>
                <a:avLst/>
                <a:gdLst/>
                <a:ahLst/>
                <a:cxnLst>
                  <a:cxn ang="0">
                    <a:pos x="45" y="17"/>
                  </a:cxn>
                  <a:cxn ang="0">
                    <a:pos x="71" y="17"/>
                  </a:cxn>
                  <a:cxn ang="0">
                    <a:pos x="88" y="21"/>
                  </a:cxn>
                  <a:cxn ang="0">
                    <a:pos x="109" y="21"/>
                  </a:cxn>
                  <a:cxn ang="0">
                    <a:pos x="126" y="21"/>
                  </a:cxn>
                  <a:cxn ang="0">
                    <a:pos x="139" y="10"/>
                  </a:cxn>
                  <a:cxn ang="0">
                    <a:pos x="162" y="4"/>
                  </a:cxn>
                  <a:cxn ang="0">
                    <a:pos x="192" y="0"/>
                  </a:cxn>
                  <a:cxn ang="0">
                    <a:pos x="211" y="21"/>
                  </a:cxn>
                  <a:cxn ang="0">
                    <a:pos x="222" y="42"/>
                  </a:cxn>
                  <a:cxn ang="0">
                    <a:pos x="247" y="47"/>
                  </a:cxn>
                  <a:cxn ang="0">
                    <a:pos x="267" y="59"/>
                  </a:cxn>
                  <a:cxn ang="0">
                    <a:pos x="290" y="59"/>
                  </a:cxn>
                  <a:cxn ang="0">
                    <a:pos x="307" y="66"/>
                  </a:cxn>
                  <a:cxn ang="0">
                    <a:pos x="305" y="89"/>
                  </a:cxn>
                  <a:cxn ang="0">
                    <a:pos x="292" y="107"/>
                  </a:cxn>
                  <a:cxn ang="0">
                    <a:pos x="280" y="123"/>
                  </a:cxn>
                  <a:cxn ang="0">
                    <a:pos x="265" y="130"/>
                  </a:cxn>
                  <a:cxn ang="0">
                    <a:pos x="250" y="138"/>
                  </a:cxn>
                  <a:cxn ang="0">
                    <a:pos x="231" y="136"/>
                  </a:cxn>
                  <a:cxn ang="0">
                    <a:pos x="228" y="149"/>
                  </a:cxn>
                  <a:cxn ang="0">
                    <a:pos x="230" y="143"/>
                  </a:cxn>
                  <a:cxn ang="0">
                    <a:pos x="216" y="153"/>
                  </a:cxn>
                  <a:cxn ang="0">
                    <a:pos x="205" y="153"/>
                  </a:cxn>
                  <a:cxn ang="0">
                    <a:pos x="220" y="156"/>
                  </a:cxn>
                  <a:cxn ang="0">
                    <a:pos x="222" y="162"/>
                  </a:cxn>
                  <a:cxn ang="0">
                    <a:pos x="228" y="170"/>
                  </a:cxn>
                  <a:cxn ang="0">
                    <a:pos x="222" y="153"/>
                  </a:cxn>
                  <a:cxn ang="0">
                    <a:pos x="237" y="172"/>
                  </a:cxn>
                  <a:cxn ang="0">
                    <a:pos x="252" y="164"/>
                  </a:cxn>
                  <a:cxn ang="0">
                    <a:pos x="256" y="173"/>
                  </a:cxn>
                  <a:cxn ang="0">
                    <a:pos x="228" y="183"/>
                  </a:cxn>
                  <a:cxn ang="0">
                    <a:pos x="203" y="185"/>
                  </a:cxn>
                  <a:cxn ang="0">
                    <a:pos x="192" y="172"/>
                  </a:cxn>
                  <a:cxn ang="0">
                    <a:pos x="203" y="160"/>
                  </a:cxn>
                  <a:cxn ang="0">
                    <a:pos x="199" y="153"/>
                  </a:cxn>
                  <a:cxn ang="0">
                    <a:pos x="181" y="153"/>
                  </a:cxn>
                  <a:cxn ang="0">
                    <a:pos x="171" y="143"/>
                  </a:cxn>
                  <a:cxn ang="0">
                    <a:pos x="179" y="143"/>
                  </a:cxn>
                  <a:cxn ang="0">
                    <a:pos x="173" y="138"/>
                  </a:cxn>
                  <a:cxn ang="0">
                    <a:pos x="166" y="140"/>
                  </a:cxn>
                  <a:cxn ang="0">
                    <a:pos x="152" y="149"/>
                  </a:cxn>
                  <a:cxn ang="0">
                    <a:pos x="139" y="164"/>
                  </a:cxn>
                  <a:cxn ang="0">
                    <a:pos x="137" y="173"/>
                  </a:cxn>
                  <a:cxn ang="0">
                    <a:pos x="120" y="173"/>
                  </a:cxn>
                  <a:cxn ang="0">
                    <a:pos x="117" y="162"/>
                  </a:cxn>
                  <a:cxn ang="0">
                    <a:pos x="126" y="143"/>
                  </a:cxn>
                  <a:cxn ang="0">
                    <a:pos x="137" y="140"/>
                  </a:cxn>
                  <a:cxn ang="0">
                    <a:pos x="126" y="123"/>
                  </a:cxn>
                  <a:cxn ang="0">
                    <a:pos x="113" y="102"/>
                  </a:cxn>
                  <a:cxn ang="0">
                    <a:pos x="92" y="98"/>
                  </a:cxn>
                  <a:cxn ang="0">
                    <a:pos x="79" y="98"/>
                  </a:cxn>
                  <a:cxn ang="0">
                    <a:pos x="77" y="107"/>
                  </a:cxn>
                  <a:cxn ang="0">
                    <a:pos x="49" y="119"/>
                  </a:cxn>
                  <a:cxn ang="0">
                    <a:pos x="26" y="109"/>
                  </a:cxn>
                  <a:cxn ang="0">
                    <a:pos x="9" y="107"/>
                  </a:cxn>
                  <a:cxn ang="0">
                    <a:pos x="6" y="85"/>
                  </a:cxn>
                  <a:cxn ang="0">
                    <a:pos x="23" y="55"/>
                  </a:cxn>
                  <a:cxn ang="0">
                    <a:pos x="26" y="42"/>
                  </a:cxn>
                  <a:cxn ang="0">
                    <a:pos x="19" y="21"/>
                  </a:cxn>
                </a:cxnLst>
                <a:rect l="0" t="0" r="r" b="b"/>
                <a:pathLst>
                  <a:path w="307" h="190">
                    <a:moveTo>
                      <a:pt x="19" y="19"/>
                    </a:moveTo>
                    <a:lnTo>
                      <a:pt x="23" y="17"/>
                    </a:lnTo>
                    <a:lnTo>
                      <a:pt x="28" y="21"/>
                    </a:lnTo>
                    <a:lnTo>
                      <a:pt x="30" y="19"/>
                    </a:lnTo>
                    <a:lnTo>
                      <a:pt x="45" y="17"/>
                    </a:lnTo>
                    <a:lnTo>
                      <a:pt x="51" y="17"/>
                    </a:lnTo>
                    <a:lnTo>
                      <a:pt x="53" y="13"/>
                    </a:lnTo>
                    <a:lnTo>
                      <a:pt x="56" y="13"/>
                    </a:lnTo>
                    <a:lnTo>
                      <a:pt x="62" y="17"/>
                    </a:lnTo>
                    <a:lnTo>
                      <a:pt x="71" y="17"/>
                    </a:lnTo>
                    <a:lnTo>
                      <a:pt x="77" y="21"/>
                    </a:lnTo>
                    <a:lnTo>
                      <a:pt x="77" y="21"/>
                    </a:lnTo>
                    <a:lnTo>
                      <a:pt x="83" y="21"/>
                    </a:lnTo>
                    <a:lnTo>
                      <a:pt x="87" y="21"/>
                    </a:lnTo>
                    <a:lnTo>
                      <a:pt x="88" y="21"/>
                    </a:lnTo>
                    <a:lnTo>
                      <a:pt x="92" y="21"/>
                    </a:lnTo>
                    <a:lnTo>
                      <a:pt x="96" y="21"/>
                    </a:lnTo>
                    <a:lnTo>
                      <a:pt x="98" y="21"/>
                    </a:lnTo>
                    <a:lnTo>
                      <a:pt x="105" y="19"/>
                    </a:lnTo>
                    <a:lnTo>
                      <a:pt x="109" y="21"/>
                    </a:lnTo>
                    <a:lnTo>
                      <a:pt x="111" y="25"/>
                    </a:lnTo>
                    <a:lnTo>
                      <a:pt x="113" y="25"/>
                    </a:lnTo>
                    <a:lnTo>
                      <a:pt x="119" y="21"/>
                    </a:lnTo>
                    <a:lnTo>
                      <a:pt x="122" y="21"/>
                    </a:lnTo>
                    <a:lnTo>
                      <a:pt x="126" y="21"/>
                    </a:lnTo>
                    <a:lnTo>
                      <a:pt x="130" y="21"/>
                    </a:lnTo>
                    <a:lnTo>
                      <a:pt x="132" y="25"/>
                    </a:lnTo>
                    <a:lnTo>
                      <a:pt x="137" y="21"/>
                    </a:lnTo>
                    <a:lnTo>
                      <a:pt x="137" y="17"/>
                    </a:lnTo>
                    <a:lnTo>
                      <a:pt x="139" y="10"/>
                    </a:lnTo>
                    <a:lnTo>
                      <a:pt x="145" y="8"/>
                    </a:lnTo>
                    <a:lnTo>
                      <a:pt x="152" y="6"/>
                    </a:lnTo>
                    <a:lnTo>
                      <a:pt x="156" y="8"/>
                    </a:lnTo>
                    <a:lnTo>
                      <a:pt x="162" y="6"/>
                    </a:lnTo>
                    <a:lnTo>
                      <a:pt x="162" y="4"/>
                    </a:lnTo>
                    <a:lnTo>
                      <a:pt x="166" y="0"/>
                    </a:lnTo>
                    <a:lnTo>
                      <a:pt x="173" y="4"/>
                    </a:lnTo>
                    <a:lnTo>
                      <a:pt x="183" y="4"/>
                    </a:lnTo>
                    <a:lnTo>
                      <a:pt x="186" y="0"/>
                    </a:lnTo>
                    <a:lnTo>
                      <a:pt x="192" y="0"/>
                    </a:lnTo>
                    <a:lnTo>
                      <a:pt x="196" y="10"/>
                    </a:lnTo>
                    <a:lnTo>
                      <a:pt x="198" y="13"/>
                    </a:lnTo>
                    <a:lnTo>
                      <a:pt x="196" y="17"/>
                    </a:lnTo>
                    <a:lnTo>
                      <a:pt x="201" y="25"/>
                    </a:lnTo>
                    <a:lnTo>
                      <a:pt x="211" y="21"/>
                    </a:lnTo>
                    <a:lnTo>
                      <a:pt x="216" y="25"/>
                    </a:lnTo>
                    <a:lnTo>
                      <a:pt x="216" y="30"/>
                    </a:lnTo>
                    <a:lnTo>
                      <a:pt x="220" y="30"/>
                    </a:lnTo>
                    <a:lnTo>
                      <a:pt x="220" y="34"/>
                    </a:lnTo>
                    <a:lnTo>
                      <a:pt x="222" y="42"/>
                    </a:lnTo>
                    <a:lnTo>
                      <a:pt x="230" y="49"/>
                    </a:lnTo>
                    <a:lnTo>
                      <a:pt x="235" y="45"/>
                    </a:lnTo>
                    <a:lnTo>
                      <a:pt x="239" y="49"/>
                    </a:lnTo>
                    <a:lnTo>
                      <a:pt x="243" y="47"/>
                    </a:lnTo>
                    <a:lnTo>
                      <a:pt x="247" y="47"/>
                    </a:lnTo>
                    <a:lnTo>
                      <a:pt x="252" y="43"/>
                    </a:lnTo>
                    <a:lnTo>
                      <a:pt x="256" y="42"/>
                    </a:lnTo>
                    <a:lnTo>
                      <a:pt x="262" y="53"/>
                    </a:lnTo>
                    <a:lnTo>
                      <a:pt x="265" y="55"/>
                    </a:lnTo>
                    <a:lnTo>
                      <a:pt x="267" y="59"/>
                    </a:lnTo>
                    <a:lnTo>
                      <a:pt x="269" y="55"/>
                    </a:lnTo>
                    <a:lnTo>
                      <a:pt x="277" y="59"/>
                    </a:lnTo>
                    <a:lnTo>
                      <a:pt x="282" y="59"/>
                    </a:lnTo>
                    <a:lnTo>
                      <a:pt x="286" y="59"/>
                    </a:lnTo>
                    <a:lnTo>
                      <a:pt x="290" y="59"/>
                    </a:lnTo>
                    <a:lnTo>
                      <a:pt x="295" y="64"/>
                    </a:lnTo>
                    <a:lnTo>
                      <a:pt x="299" y="64"/>
                    </a:lnTo>
                    <a:lnTo>
                      <a:pt x="305" y="60"/>
                    </a:lnTo>
                    <a:lnTo>
                      <a:pt x="305" y="64"/>
                    </a:lnTo>
                    <a:lnTo>
                      <a:pt x="307" y="66"/>
                    </a:lnTo>
                    <a:lnTo>
                      <a:pt x="307" y="72"/>
                    </a:lnTo>
                    <a:lnTo>
                      <a:pt x="305" y="75"/>
                    </a:lnTo>
                    <a:lnTo>
                      <a:pt x="299" y="75"/>
                    </a:lnTo>
                    <a:lnTo>
                      <a:pt x="297" y="85"/>
                    </a:lnTo>
                    <a:lnTo>
                      <a:pt x="305" y="89"/>
                    </a:lnTo>
                    <a:lnTo>
                      <a:pt x="305" y="92"/>
                    </a:lnTo>
                    <a:lnTo>
                      <a:pt x="305" y="100"/>
                    </a:lnTo>
                    <a:lnTo>
                      <a:pt x="305" y="106"/>
                    </a:lnTo>
                    <a:lnTo>
                      <a:pt x="299" y="107"/>
                    </a:lnTo>
                    <a:lnTo>
                      <a:pt x="292" y="107"/>
                    </a:lnTo>
                    <a:lnTo>
                      <a:pt x="286" y="115"/>
                    </a:lnTo>
                    <a:lnTo>
                      <a:pt x="284" y="115"/>
                    </a:lnTo>
                    <a:lnTo>
                      <a:pt x="284" y="123"/>
                    </a:lnTo>
                    <a:lnTo>
                      <a:pt x="280" y="124"/>
                    </a:lnTo>
                    <a:lnTo>
                      <a:pt x="280" y="123"/>
                    </a:lnTo>
                    <a:lnTo>
                      <a:pt x="279" y="123"/>
                    </a:lnTo>
                    <a:lnTo>
                      <a:pt x="273" y="124"/>
                    </a:lnTo>
                    <a:lnTo>
                      <a:pt x="267" y="124"/>
                    </a:lnTo>
                    <a:lnTo>
                      <a:pt x="265" y="126"/>
                    </a:lnTo>
                    <a:lnTo>
                      <a:pt x="265" y="130"/>
                    </a:lnTo>
                    <a:lnTo>
                      <a:pt x="262" y="130"/>
                    </a:lnTo>
                    <a:lnTo>
                      <a:pt x="260" y="132"/>
                    </a:lnTo>
                    <a:lnTo>
                      <a:pt x="252" y="138"/>
                    </a:lnTo>
                    <a:lnTo>
                      <a:pt x="252" y="136"/>
                    </a:lnTo>
                    <a:lnTo>
                      <a:pt x="250" y="138"/>
                    </a:lnTo>
                    <a:lnTo>
                      <a:pt x="247" y="140"/>
                    </a:lnTo>
                    <a:lnTo>
                      <a:pt x="241" y="138"/>
                    </a:lnTo>
                    <a:lnTo>
                      <a:pt x="237" y="141"/>
                    </a:lnTo>
                    <a:lnTo>
                      <a:pt x="235" y="141"/>
                    </a:lnTo>
                    <a:lnTo>
                      <a:pt x="231" y="136"/>
                    </a:lnTo>
                    <a:lnTo>
                      <a:pt x="230" y="136"/>
                    </a:lnTo>
                    <a:lnTo>
                      <a:pt x="231" y="140"/>
                    </a:lnTo>
                    <a:lnTo>
                      <a:pt x="235" y="141"/>
                    </a:lnTo>
                    <a:lnTo>
                      <a:pt x="235" y="143"/>
                    </a:lnTo>
                    <a:lnTo>
                      <a:pt x="228" y="149"/>
                    </a:lnTo>
                    <a:lnTo>
                      <a:pt x="226" y="149"/>
                    </a:lnTo>
                    <a:lnTo>
                      <a:pt x="226" y="149"/>
                    </a:lnTo>
                    <a:lnTo>
                      <a:pt x="226" y="149"/>
                    </a:lnTo>
                    <a:lnTo>
                      <a:pt x="231" y="143"/>
                    </a:lnTo>
                    <a:lnTo>
                      <a:pt x="230" y="143"/>
                    </a:lnTo>
                    <a:lnTo>
                      <a:pt x="228" y="141"/>
                    </a:lnTo>
                    <a:lnTo>
                      <a:pt x="228" y="143"/>
                    </a:lnTo>
                    <a:lnTo>
                      <a:pt x="222" y="149"/>
                    </a:lnTo>
                    <a:lnTo>
                      <a:pt x="220" y="149"/>
                    </a:lnTo>
                    <a:lnTo>
                      <a:pt x="216" y="153"/>
                    </a:lnTo>
                    <a:lnTo>
                      <a:pt x="215" y="153"/>
                    </a:lnTo>
                    <a:lnTo>
                      <a:pt x="213" y="149"/>
                    </a:lnTo>
                    <a:lnTo>
                      <a:pt x="209" y="153"/>
                    </a:lnTo>
                    <a:lnTo>
                      <a:pt x="205" y="153"/>
                    </a:lnTo>
                    <a:lnTo>
                      <a:pt x="205" y="153"/>
                    </a:lnTo>
                    <a:lnTo>
                      <a:pt x="207" y="153"/>
                    </a:lnTo>
                    <a:lnTo>
                      <a:pt x="213" y="153"/>
                    </a:lnTo>
                    <a:lnTo>
                      <a:pt x="216" y="156"/>
                    </a:lnTo>
                    <a:lnTo>
                      <a:pt x="216" y="158"/>
                    </a:lnTo>
                    <a:lnTo>
                      <a:pt x="220" y="156"/>
                    </a:lnTo>
                    <a:lnTo>
                      <a:pt x="222" y="158"/>
                    </a:lnTo>
                    <a:lnTo>
                      <a:pt x="220" y="160"/>
                    </a:lnTo>
                    <a:lnTo>
                      <a:pt x="220" y="162"/>
                    </a:lnTo>
                    <a:lnTo>
                      <a:pt x="222" y="162"/>
                    </a:lnTo>
                    <a:lnTo>
                      <a:pt x="222" y="162"/>
                    </a:lnTo>
                    <a:lnTo>
                      <a:pt x="222" y="164"/>
                    </a:lnTo>
                    <a:lnTo>
                      <a:pt x="226" y="162"/>
                    </a:lnTo>
                    <a:lnTo>
                      <a:pt x="226" y="164"/>
                    </a:lnTo>
                    <a:lnTo>
                      <a:pt x="226" y="168"/>
                    </a:lnTo>
                    <a:lnTo>
                      <a:pt x="228" y="170"/>
                    </a:lnTo>
                    <a:lnTo>
                      <a:pt x="235" y="172"/>
                    </a:lnTo>
                    <a:lnTo>
                      <a:pt x="235" y="172"/>
                    </a:lnTo>
                    <a:lnTo>
                      <a:pt x="228" y="164"/>
                    </a:lnTo>
                    <a:lnTo>
                      <a:pt x="222" y="156"/>
                    </a:lnTo>
                    <a:lnTo>
                      <a:pt x="222" y="153"/>
                    </a:lnTo>
                    <a:lnTo>
                      <a:pt x="222" y="153"/>
                    </a:lnTo>
                    <a:lnTo>
                      <a:pt x="226" y="155"/>
                    </a:lnTo>
                    <a:lnTo>
                      <a:pt x="226" y="160"/>
                    </a:lnTo>
                    <a:lnTo>
                      <a:pt x="235" y="170"/>
                    </a:lnTo>
                    <a:lnTo>
                      <a:pt x="237" y="172"/>
                    </a:lnTo>
                    <a:lnTo>
                      <a:pt x="241" y="168"/>
                    </a:lnTo>
                    <a:lnTo>
                      <a:pt x="243" y="168"/>
                    </a:lnTo>
                    <a:lnTo>
                      <a:pt x="247" y="170"/>
                    </a:lnTo>
                    <a:lnTo>
                      <a:pt x="248" y="166"/>
                    </a:lnTo>
                    <a:lnTo>
                      <a:pt x="252" y="164"/>
                    </a:lnTo>
                    <a:lnTo>
                      <a:pt x="260" y="166"/>
                    </a:lnTo>
                    <a:lnTo>
                      <a:pt x="256" y="168"/>
                    </a:lnTo>
                    <a:lnTo>
                      <a:pt x="256" y="170"/>
                    </a:lnTo>
                    <a:lnTo>
                      <a:pt x="256" y="173"/>
                    </a:lnTo>
                    <a:lnTo>
                      <a:pt x="256" y="173"/>
                    </a:lnTo>
                    <a:lnTo>
                      <a:pt x="248" y="173"/>
                    </a:lnTo>
                    <a:lnTo>
                      <a:pt x="241" y="173"/>
                    </a:lnTo>
                    <a:lnTo>
                      <a:pt x="237" y="177"/>
                    </a:lnTo>
                    <a:lnTo>
                      <a:pt x="235" y="183"/>
                    </a:lnTo>
                    <a:lnTo>
                      <a:pt x="228" y="183"/>
                    </a:lnTo>
                    <a:lnTo>
                      <a:pt x="220" y="187"/>
                    </a:lnTo>
                    <a:lnTo>
                      <a:pt x="213" y="190"/>
                    </a:lnTo>
                    <a:lnTo>
                      <a:pt x="205" y="190"/>
                    </a:lnTo>
                    <a:lnTo>
                      <a:pt x="203" y="187"/>
                    </a:lnTo>
                    <a:lnTo>
                      <a:pt x="203" y="185"/>
                    </a:lnTo>
                    <a:lnTo>
                      <a:pt x="205" y="179"/>
                    </a:lnTo>
                    <a:lnTo>
                      <a:pt x="205" y="177"/>
                    </a:lnTo>
                    <a:lnTo>
                      <a:pt x="199" y="173"/>
                    </a:lnTo>
                    <a:lnTo>
                      <a:pt x="198" y="173"/>
                    </a:lnTo>
                    <a:lnTo>
                      <a:pt x="192" y="172"/>
                    </a:lnTo>
                    <a:lnTo>
                      <a:pt x="192" y="173"/>
                    </a:lnTo>
                    <a:lnTo>
                      <a:pt x="186" y="172"/>
                    </a:lnTo>
                    <a:lnTo>
                      <a:pt x="192" y="166"/>
                    </a:lnTo>
                    <a:lnTo>
                      <a:pt x="198" y="162"/>
                    </a:lnTo>
                    <a:lnTo>
                      <a:pt x="203" y="160"/>
                    </a:lnTo>
                    <a:lnTo>
                      <a:pt x="205" y="158"/>
                    </a:lnTo>
                    <a:lnTo>
                      <a:pt x="203" y="156"/>
                    </a:lnTo>
                    <a:lnTo>
                      <a:pt x="201" y="153"/>
                    </a:lnTo>
                    <a:lnTo>
                      <a:pt x="199" y="153"/>
                    </a:lnTo>
                    <a:lnTo>
                      <a:pt x="199" y="153"/>
                    </a:lnTo>
                    <a:lnTo>
                      <a:pt x="196" y="153"/>
                    </a:lnTo>
                    <a:lnTo>
                      <a:pt x="192" y="149"/>
                    </a:lnTo>
                    <a:lnTo>
                      <a:pt x="186" y="153"/>
                    </a:lnTo>
                    <a:lnTo>
                      <a:pt x="183" y="153"/>
                    </a:lnTo>
                    <a:lnTo>
                      <a:pt x="181" y="153"/>
                    </a:lnTo>
                    <a:lnTo>
                      <a:pt x="177" y="153"/>
                    </a:lnTo>
                    <a:lnTo>
                      <a:pt x="175" y="149"/>
                    </a:lnTo>
                    <a:lnTo>
                      <a:pt x="177" y="149"/>
                    </a:lnTo>
                    <a:lnTo>
                      <a:pt x="177" y="147"/>
                    </a:lnTo>
                    <a:lnTo>
                      <a:pt x="171" y="143"/>
                    </a:lnTo>
                    <a:lnTo>
                      <a:pt x="166" y="143"/>
                    </a:lnTo>
                    <a:lnTo>
                      <a:pt x="166" y="143"/>
                    </a:lnTo>
                    <a:lnTo>
                      <a:pt x="167" y="143"/>
                    </a:lnTo>
                    <a:lnTo>
                      <a:pt x="175" y="141"/>
                    </a:lnTo>
                    <a:lnTo>
                      <a:pt x="179" y="143"/>
                    </a:lnTo>
                    <a:lnTo>
                      <a:pt x="181" y="141"/>
                    </a:lnTo>
                    <a:lnTo>
                      <a:pt x="183" y="140"/>
                    </a:lnTo>
                    <a:lnTo>
                      <a:pt x="179" y="141"/>
                    </a:lnTo>
                    <a:lnTo>
                      <a:pt x="175" y="140"/>
                    </a:lnTo>
                    <a:lnTo>
                      <a:pt x="173" y="138"/>
                    </a:lnTo>
                    <a:lnTo>
                      <a:pt x="171" y="136"/>
                    </a:lnTo>
                    <a:lnTo>
                      <a:pt x="169" y="138"/>
                    </a:lnTo>
                    <a:lnTo>
                      <a:pt x="169" y="140"/>
                    </a:lnTo>
                    <a:lnTo>
                      <a:pt x="166" y="140"/>
                    </a:lnTo>
                    <a:lnTo>
                      <a:pt x="166" y="140"/>
                    </a:lnTo>
                    <a:lnTo>
                      <a:pt x="166" y="138"/>
                    </a:lnTo>
                    <a:lnTo>
                      <a:pt x="162" y="141"/>
                    </a:lnTo>
                    <a:lnTo>
                      <a:pt x="156" y="143"/>
                    </a:lnTo>
                    <a:lnTo>
                      <a:pt x="152" y="143"/>
                    </a:lnTo>
                    <a:lnTo>
                      <a:pt x="152" y="149"/>
                    </a:lnTo>
                    <a:lnTo>
                      <a:pt x="149" y="153"/>
                    </a:lnTo>
                    <a:lnTo>
                      <a:pt x="147" y="153"/>
                    </a:lnTo>
                    <a:lnTo>
                      <a:pt x="149" y="155"/>
                    </a:lnTo>
                    <a:lnTo>
                      <a:pt x="141" y="164"/>
                    </a:lnTo>
                    <a:lnTo>
                      <a:pt x="139" y="164"/>
                    </a:lnTo>
                    <a:lnTo>
                      <a:pt x="137" y="162"/>
                    </a:lnTo>
                    <a:lnTo>
                      <a:pt x="137" y="164"/>
                    </a:lnTo>
                    <a:lnTo>
                      <a:pt x="135" y="168"/>
                    </a:lnTo>
                    <a:lnTo>
                      <a:pt x="139" y="170"/>
                    </a:lnTo>
                    <a:lnTo>
                      <a:pt x="137" y="173"/>
                    </a:lnTo>
                    <a:lnTo>
                      <a:pt x="137" y="173"/>
                    </a:lnTo>
                    <a:lnTo>
                      <a:pt x="134" y="170"/>
                    </a:lnTo>
                    <a:lnTo>
                      <a:pt x="128" y="172"/>
                    </a:lnTo>
                    <a:lnTo>
                      <a:pt x="126" y="173"/>
                    </a:lnTo>
                    <a:lnTo>
                      <a:pt x="120" y="173"/>
                    </a:lnTo>
                    <a:lnTo>
                      <a:pt x="113" y="172"/>
                    </a:lnTo>
                    <a:lnTo>
                      <a:pt x="111" y="166"/>
                    </a:lnTo>
                    <a:lnTo>
                      <a:pt x="113" y="164"/>
                    </a:lnTo>
                    <a:lnTo>
                      <a:pt x="117" y="166"/>
                    </a:lnTo>
                    <a:lnTo>
                      <a:pt x="117" y="162"/>
                    </a:lnTo>
                    <a:lnTo>
                      <a:pt x="120" y="155"/>
                    </a:lnTo>
                    <a:lnTo>
                      <a:pt x="122" y="155"/>
                    </a:lnTo>
                    <a:lnTo>
                      <a:pt x="122" y="153"/>
                    </a:lnTo>
                    <a:lnTo>
                      <a:pt x="122" y="143"/>
                    </a:lnTo>
                    <a:lnTo>
                      <a:pt x="126" y="143"/>
                    </a:lnTo>
                    <a:lnTo>
                      <a:pt x="130" y="143"/>
                    </a:lnTo>
                    <a:lnTo>
                      <a:pt x="134" y="143"/>
                    </a:lnTo>
                    <a:lnTo>
                      <a:pt x="139" y="143"/>
                    </a:lnTo>
                    <a:lnTo>
                      <a:pt x="139" y="143"/>
                    </a:lnTo>
                    <a:lnTo>
                      <a:pt x="137" y="140"/>
                    </a:lnTo>
                    <a:lnTo>
                      <a:pt x="139" y="138"/>
                    </a:lnTo>
                    <a:lnTo>
                      <a:pt x="137" y="134"/>
                    </a:lnTo>
                    <a:lnTo>
                      <a:pt x="132" y="130"/>
                    </a:lnTo>
                    <a:lnTo>
                      <a:pt x="128" y="126"/>
                    </a:lnTo>
                    <a:lnTo>
                      <a:pt x="126" y="123"/>
                    </a:lnTo>
                    <a:lnTo>
                      <a:pt x="122" y="123"/>
                    </a:lnTo>
                    <a:lnTo>
                      <a:pt x="122" y="119"/>
                    </a:lnTo>
                    <a:lnTo>
                      <a:pt x="122" y="109"/>
                    </a:lnTo>
                    <a:lnTo>
                      <a:pt x="119" y="109"/>
                    </a:lnTo>
                    <a:lnTo>
                      <a:pt x="113" y="102"/>
                    </a:lnTo>
                    <a:lnTo>
                      <a:pt x="111" y="102"/>
                    </a:lnTo>
                    <a:lnTo>
                      <a:pt x="109" y="106"/>
                    </a:lnTo>
                    <a:lnTo>
                      <a:pt x="103" y="104"/>
                    </a:lnTo>
                    <a:lnTo>
                      <a:pt x="96" y="98"/>
                    </a:lnTo>
                    <a:lnTo>
                      <a:pt x="92" y="98"/>
                    </a:lnTo>
                    <a:lnTo>
                      <a:pt x="88" y="94"/>
                    </a:lnTo>
                    <a:lnTo>
                      <a:pt x="87" y="98"/>
                    </a:lnTo>
                    <a:lnTo>
                      <a:pt x="83" y="98"/>
                    </a:lnTo>
                    <a:lnTo>
                      <a:pt x="83" y="98"/>
                    </a:lnTo>
                    <a:lnTo>
                      <a:pt x="79" y="98"/>
                    </a:lnTo>
                    <a:lnTo>
                      <a:pt x="79" y="98"/>
                    </a:lnTo>
                    <a:lnTo>
                      <a:pt x="75" y="98"/>
                    </a:lnTo>
                    <a:lnTo>
                      <a:pt x="77" y="100"/>
                    </a:lnTo>
                    <a:lnTo>
                      <a:pt x="75" y="104"/>
                    </a:lnTo>
                    <a:lnTo>
                      <a:pt x="77" y="107"/>
                    </a:lnTo>
                    <a:lnTo>
                      <a:pt x="71" y="109"/>
                    </a:lnTo>
                    <a:lnTo>
                      <a:pt x="68" y="109"/>
                    </a:lnTo>
                    <a:lnTo>
                      <a:pt x="56" y="113"/>
                    </a:lnTo>
                    <a:lnTo>
                      <a:pt x="53" y="115"/>
                    </a:lnTo>
                    <a:lnTo>
                      <a:pt x="49" y="119"/>
                    </a:lnTo>
                    <a:lnTo>
                      <a:pt x="43" y="119"/>
                    </a:lnTo>
                    <a:lnTo>
                      <a:pt x="38" y="119"/>
                    </a:lnTo>
                    <a:lnTo>
                      <a:pt x="36" y="115"/>
                    </a:lnTo>
                    <a:lnTo>
                      <a:pt x="32" y="113"/>
                    </a:lnTo>
                    <a:lnTo>
                      <a:pt x="26" y="109"/>
                    </a:lnTo>
                    <a:lnTo>
                      <a:pt x="19" y="107"/>
                    </a:lnTo>
                    <a:lnTo>
                      <a:pt x="17" y="107"/>
                    </a:lnTo>
                    <a:lnTo>
                      <a:pt x="13" y="109"/>
                    </a:lnTo>
                    <a:lnTo>
                      <a:pt x="11" y="109"/>
                    </a:lnTo>
                    <a:lnTo>
                      <a:pt x="9" y="107"/>
                    </a:lnTo>
                    <a:lnTo>
                      <a:pt x="4" y="104"/>
                    </a:lnTo>
                    <a:lnTo>
                      <a:pt x="0" y="100"/>
                    </a:lnTo>
                    <a:lnTo>
                      <a:pt x="0" y="98"/>
                    </a:lnTo>
                    <a:lnTo>
                      <a:pt x="2" y="92"/>
                    </a:lnTo>
                    <a:lnTo>
                      <a:pt x="6" y="85"/>
                    </a:lnTo>
                    <a:lnTo>
                      <a:pt x="9" y="85"/>
                    </a:lnTo>
                    <a:lnTo>
                      <a:pt x="9" y="79"/>
                    </a:lnTo>
                    <a:lnTo>
                      <a:pt x="7" y="74"/>
                    </a:lnTo>
                    <a:lnTo>
                      <a:pt x="19" y="60"/>
                    </a:lnTo>
                    <a:lnTo>
                      <a:pt x="23" y="55"/>
                    </a:lnTo>
                    <a:lnTo>
                      <a:pt x="23" y="53"/>
                    </a:lnTo>
                    <a:lnTo>
                      <a:pt x="26" y="53"/>
                    </a:lnTo>
                    <a:lnTo>
                      <a:pt x="28" y="47"/>
                    </a:lnTo>
                    <a:lnTo>
                      <a:pt x="26" y="45"/>
                    </a:lnTo>
                    <a:lnTo>
                      <a:pt x="26" y="42"/>
                    </a:lnTo>
                    <a:lnTo>
                      <a:pt x="26" y="40"/>
                    </a:lnTo>
                    <a:lnTo>
                      <a:pt x="23" y="38"/>
                    </a:lnTo>
                    <a:lnTo>
                      <a:pt x="23" y="30"/>
                    </a:lnTo>
                    <a:lnTo>
                      <a:pt x="19" y="30"/>
                    </a:lnTo>
                    <a:lnTo>
                      <a:pt x="19" y="21"/>
                    </a:lnTo>
                    <a:lnTo>
                      <a:pt x="19" y="19"/>
                    </a:lnTo>
                    <a:lnTo>
                      <a:pt x="19" y="19"/>
                    </a:lnTo>
                    <a:lnTo>
                      <a:pt x="19"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2" name="Freeform 84"/>
              <p:cNvSpPr>
                <a:spLocks/>
              </p:cNvSpPr>
              <p:nvPr/>
            </p:nvSpPr>
            <p:spPr bwMode="auto">
              <a:xfrm>
                <a:off x="3227" y="2114"/>
                <a:ext cx="64" cy="68"/>
              </a:xfrm>
              <a:custGeom>
                <a:avLst/>
                <a:gdLst/>
                <a:ahLst/>
                <a:cxnLst>
                  <a:cxn ang="0">
                    <a:pos x="2" y="11"/>
                  </a:cxn>
                  <a:cxn ang="0">
                    <a:pos x="0" y="10"/>
                  </a:cxn>
                  <a:cxn ang="0">
                    <a:pos x="2" y="6"/>
                  </a:cxn>
                  <a:cxn ang="0">
                    <a:pos x="0" y="2"/>
                  </a:cxn>
                  <a:cxn ang="0">
                    <a:pos x="4" y="2"/>
                  </a:cxn>
                  <a:cxn ang="0">
                    <a:pos x="4" y="2"/>
                  </a:cxn>
                  <a:cxn ang="0">
                    <a:pos x="8" y="4"/>
                  </a:cxn>
                  <a:cxn ang="0">
                    <a:pos x="9" y="2"/>
                  </a:cxn>
                  <a:cxn ang="0">
                    <a:pos x="13" y="2"/>
                  </a:cxn>
                  <a:cxn ang="0">
                    <a:pos x="13" y="0"/>
                  </a:cxn>
                  <a:cxn ang="0">
                    <a:pos x="17" y="4"/>
                  </a:cxn>
                  <a:cxn ang="0">
                    <a:pos x="21" y="4"/>
                  </a:cxn>
                  <a:cxn ang="0">
                    <a:pos x="28" y="10"/>
                  </a:cxn>
                  <a:cxn ang="0">
                    <a:pos x="34" y="10"/>
                  </a:cxn>
                  <a:cxn ang="0">
                    <a:pos x="36" y="8"/>
                  </a:cxn>
                  <a:cxn ang="0">
                    <a:pos x="38" y="8"/>
                  </a:cxn>
                  <a:cxn ang="0">
                    <a:pos x="41" y="13"/>
                  </a:cxn>
                  <a:cxn ang="0">
                    <a:pos x="45" y="15"/>
                  </a:cxn>
                  <a:cxn ang="0">
                    <a:pos x="47" y="23"/>
                  </a:cxn>
                  <a:cxn ang="0">
                    <a:pos x="47" y="27"/>
                  </a:cxn>
                  <a:cxn ang="0">
                    <a:pos x="51" y="27"/>
                  </a:cxn>
                  <a:cxn ang="0">
                    <a:pos x="53" y="30"/>
                  </a:cxn>
                  <a:cxn ang="0">
                    <a:pos x="56" y="34"/>
                  </a:cxn>
                  <a:cxn ang="0">
                    <a:pos x="62" y="38"/>
                  </a:cxn>
                  <a:cxn ang="0">
                    <a:pos x="64" y="42"/>
                  </a:cxn>
                  <a:cxn ang="0">
                    <a:pos x="62" y="42"/>
                  </a:cxn>
                  <a:cxn ang="0">
                    <a:pos x="64" y="45"/>
                  </a:cxn>
                  <a:cxn ang="0">
                    <a:pos x="64" y="47"/>
                  </a:cxn>
                  <a:cxn ang="0">
                    <a:pos x="58" y="47"/>
                  </a:cxn>
                  <a:cxn ang="0">
                    <a:pos x="55" y="45"/>
                  </a:cxn>
                  <a:cxn ang="0">
                    <a:pos x="51" y="47"/>
                  </a:cxn>
                  <a:cxn ang="0">
                    <a:pos x="47" y="47"/>
                  </a:cxn>
                  <a:cxn ang="0">
                    <a:pos x="45" y="55"/>
                  </a:cxn>
                  <a:cxn ang="0">
                    <a:pos x="45" y="57"/>
                  </a:cxn>
                  <a:cxn ang="0">
                    <a:pos x="45" y="57"/>
                  </a:cxn>
                  <a:cxn ang="0">
                    <a:pos x="41" y="64"/>
                  </a:cxn>
                  <a:cxn ang="0">
                    <a:pos x="41" y="68"/>
                  </a:cxn>
                  <a:cxn ang="0">
                    <a:pos x="38" y="66"/>
                  </a:cxn>
                  <a:cxn ang="0">
                    <a:pos x="36" y="68"/>
                  </a:cxn>
                  <a:cxn ang="0">
                    <a:pos x="36" y="68"/>
                  </a:cxn>
                  <a:cxn ang="0">
                    <a:pos x="32" y="62"/>
                  </a:cxn>
                  <a:cxn ang="0">
                    <a:pos x="34" y="45"/>
                  </a:cxn>
                  <a:cxn ang="0">
                    <a:pos x="30" y="42"/>
                  </a:cxn>
                  <a:cxn ang="0">
                    <a:pos x="28" y="36"/>
                  </a:cxn>
                  <a:cxn ang="0">
                    <a:pos x="21" y="28"/>
                  </a:cxn>
                  <a:cxn ang="0">
                    <a:pos x="17" y="27"/>
                  </a:cxn>
                  <a:cxn ang="0">
                    <a:pos x="11" y="19"/>
                  </a:cxn>
                  <a:cxn ang="0">
                    <a:pos x="9" y="10"/>
                  </a:cxn>
                  <a:cxn ang="0">
                    <a:pos x="2" y="11"/>
                  </a:cxn>
                  <a:cxn ang="0">
                    <a:pos x="2" y="11"/>
                  </a:cxn>
                  <a:cxn ang="0">
                    <a:pos x="2" y="11"/>
                  </a:cxn>
                </a:cxnLst>
                <a:rect l="0" t="0" r="r" b="b"/>
                <a:pathLst>
                  <a:path w="64" h="68">
                    <a:moveTo>
                      <a:pt x="2" y="11"/>
                    </a:moveTo>
                    <a:lnTo>
                      <a:pt x="0" y="10"/>
                    </a:lnTo>
                    <a:lnTo>
                      <a:pt x="2" y="6"/>
                    </a:lnTo>
                    <a:lnTo>
                      <a:pt x="0" y="2"/>
                    </a:lnTo>
                    <a:lnTo>
                      <a:pt x="4" y="2"/>
                    </a:lnTo>
                    <a:lnTo>
                      <a:pt x="4" y="2"/>
                    </a:lnTo>
                    <a:lnTo>
                      <a:pt x="8" y="4"/>
                    </a:lnTo>
                    <a:lnTo>
                      <a:pt x="9" y="2"/>
                    </a:lnTo>
                    <a:lnTo>
                      <a:pt x="13" y="2"/>
                    </a:lnTo>
                    <a:lnTo>
                      <a:pt x="13" y="0"/>
                    </a:lnTo>
                    <a:lnTo>
                      <a:pt x="17" y="4"/>
                    </a:lnTo>
                    <a:lnTo>
                      <a:pt x="21" y="4"/>
                    </a:lnTo>
                    <a:lnTo>
                      <a:pt x="28" y="10"/>
                    </a:lnTo>
                    <a:lnTo>
                      <a:pt x="34" y="10"/>
                    </a:lnTo>
                    <a:lnTo>
                      <a:pt x="36" y="8"/>
                    </a:lnTo>
                    <a:lnTo>
                      <a:pt x="38" y="8"/>
                    </a:lnTo>
                    <a:lnTo>
                      <a:pt x="41" y="13"/>
                    </a:lnTo>
                    <a:lnTo>
                      <a:pt x="45" y="15"/>
                    </a:lnTo>
                    <a:lnTo>
                      <a:pt x="47" y="23"/>
                    </a:lnTo>
                    <a:lnTo>
                      <a:pt x="47" y="27"/>
                    </a:lnTo>
                    <a:lnTo>
                      <a:pt x="51" y="27"/>
                    </a:lnTo>
                    <a:lnTo>
                      <a:pt x="53" y="30"/>
                    </a:lnTo>
                    <a:lnTo>
                      <a:pt x="56" y="34"/>
                    </a:lnTo>
                    <a:lnTo>
                      <a:pt x="62" y="38"/>
                    </a:lnTo>
                    <a:lnTo>
                      <a:pt x="64" y="42"/>
                    </a:lnTo>
                    <a:lnTo>
                      <a:pt x="62" y="42"/>
                    </a:lnTo>
                    <a:lnTo>
                      <a:pt x="64" y="45"/>
                    </a:lnTo>
                    <a:lnTo>
                      <a:pt x="64" y="47"/>
                    </a:lnTo>
                    <a:lnTo>
                      <a:pt x="58" y="47"/>
                    </a:lnTo>
                    <a:lnTo>
                      <a:pt x="55" y="45"/>
                    </a:lnTo>
                    <a:lnTo>
                      <a:pt x="51" y="47"/>
                    </a:lnTo>
                    <a:lnTo>
                      <a:pt x="47" y="47"/>
                    </a:lnTo>
                    <a:lnTo>
                      <a:pt x="45" y="55"/>
                    </a:lnTo>
                    <a:lnTo>
                      <a:pt x="45" y="57"/>
                    </a:lnTo>
                    <a:lnTo>
                      <a:pt x="45" y="57"/>
                    </a:lnTo>
                    <a:lnTo>
                      <a:pt x="41" y="64"/>
                    </a:lnTo>
                    <a:lnTo>
                      <a:pt x="41" y="68"/>
                    </a:lnTo>
                    <a:lnTo>
                      <a:pt x="38" y="66"/>
                    </a:lnTo>
                    <a:lnTo>
                      <a:pt x="36" y="68"/>
                    </a:lnTo>
                    <a:lnTo>
                      <a:pt x="36" y="68"/>
                    </a:lnTo>
                    <a:lnTo>
                      <a:pt x="32" y="62"/>
                    </a:lnTo>
                    <a:lnTo>
                      <a:pt x="34" y="45"/>
                    </a:lnTo>
                    <a:lnTo>
                      <a:pt x="30" y="42"/>
                    </a:lnTo>
                    <a:lnTo>
                      <a:pt x="28" y="36"/>
                    </a:lnTo>
                    <a:lnTo>
                      <a:pt x="21" y="28"/>
                    </a:lnTo>
                    <a:lnTo>
                      <a:pt x="17" y="27"/>
                    </a:lnTo>
                    <a:lnTo>
                      <a:pt x="11" y="19"/>
                    </a:lnTo>
                    <a:lnTo>
                      <a:pt x="9" y="10"/>
                    </a:lnTo>
                    <a:lnTo>
                      <a:pt x="2" y="11"/>
                    </a:lnTo>
                    <a:lnTo>
                      <a:pt x="2" y="11"/>
                    </a:lnTo>
                    <a:lnTo>
                      <a:pt x="2" y="1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3" name="Freeform 85"/>
              <p:cNvSpPr>
                <a:spLocks/>
              </p:cNvSpPr>
              <p:nvPr/>
            </p:nvSpPr>
            <p:spPr bwMode="auto">
              <a:xfrm>
                <a:off x="3165" y="2214"/>
                <a:ext cx="105" cy="70"/>
              </a:xfrm>
              <a:custGeom>
                <a:avLst/>
                <a:gdLst/>
                <a:ahLst/>
                <a:cxnLst>
                  <a:cxn ang="0">
                    <a:pos x="7" y="0"/>
                  </a:cxn>
                  <a:cxn ang="0">
                    <a:pos x="9" y="6"/>
                  </a:cxn>
                  <a:cxn ang="0">
                    <a:pos x="9" y="11"/>
                  </a:cxn>
                  <a:cxn ang="0">
                    <a:pos x="19" y="8"/>
                  </a:cxn>
                  <a:cxn ang="0">
                    <a:pos x="22" y="9"/>
                  </a:cxn>
                  <a:cxn ang="0">
                    <a:pos x="34" y="9"/>
                  </a:cxn>
                  <a:cxn ang="0">
                    <a:pos x="41" y="9"/>
                  </a:cxn>
                  <a:cxn ang="0">
                    <a:pos x="47" y="11"/>
                  </a:cxn>
                  <a:cxn ang="0">
                    <a:pos x="56" y="9"/>
                  </a:cxn>
                  <a:cxn ang="0">
                    <a:pos x="62" y="6"/>
                  </a:cxn>
                  <a:cxn ang="0">
                    <a:pos x="79" y="0"/>
                  </a:cxn>
                  <a:cxn ang="0">
                    <a:pos x="90" y="4"/>
                  </a:cxn>
                  <a:cxn ang="0">
                    <a:pos x="96" y="4"/>
                  </a:cxn>
                  <a:cxn ang="0">
                    <a:pos x="102" y="8"/>
                  </a:cxn>
                  <a:cxn ang="0">
                    <a:pos x="105" y="9"/>
                  </a:cxn>
                  <a:cxn ang="0">
                    <a:pos x="103" y="19"/>
                  </a:cxn>
                  <a:cxn ang="0">
                    <a:pos x="94" y="23"/>
                  </a:cxn>
                  <a:cxn ang="0">
                    <a:pos x="94" y="34"/>
                  </a:cxn>
                  <a:cxn ang="0">
                    <a:pos x="90" y="40"/>
                  </a:cxn>
                  <a:cxn ang="0">
                    <a:pos x="96" y="47"/>
                  </a:cxn>
                  <a:cxn ang="0">
                    <a:pos x="98" y="51"/>
                  </a:cxn>
                  <a:cxn ang="0">
                    <a:pos x="92" y="53"/>
                  </a:cxn>
                  <a:cxn ang="0">
                    <a:pos x="83" y="49"/>
                  </a:cxn>
                  <a:cxn ang="0">
                    <a:pos x="77" y="51"/>
                  </a:cxn>
                  <a:cxn ang="0">
                    <a:pos x="73" y="55"/>
                  </a:cxn>
                  <a:cxn ang="0">
                    <a:pos x="66" y="58"/>
                  </a:cxn>
                  <a:cxn ang="0">
                    <a:pos x="68" y="66"/>
                  </a:cxn>
                  <a:cxn ang="0">
                    <a:pos x="58" y="68"/>
                  </a:cxn>
                  <a:cxn ang="0">
                    <a:pos x="51" y="68"/>
                  </a:cxn>
                  <a:cxn ang="0">
                    <a:pos x="45" y="70"/>
                  </a:cxn>
                  <a:cxn ang="0">
                    <a:pos x="41" y="66"/>
                  </a:cxn>
                  <a:cxn ang="0">
                    <a:pos x="32" y="66"/>
                  </a:cxn>
                  <a:cxn ang="0">
                    <a:pos x="24" y="70"/>
                  </a:cxn>
                  <a:cxn ang="0">
                    <a:pos x="17" y="70"/>
                  </a:cxn>
                  <a:cxn ang="0">
                    <a:pos x="17" y="66"/>
                  </a:cxn>
                  <a:cxn ang="0">
                    <a:pos x="11" y="51"/>
                  </a:cxn>
                  <a:cxn ang="0">
                    <a:pos x="4" y="45"/>
                  </a:cxn>
                  <a:cxn ang="0">
                    <a:pos x="2" y="40"/>
                  </a:cxn>
                  <a:cxn ang="0">
                    <a:pos x="9" y="30"/>
                  </a:cxn>
                  <a:cxn ang="0">
                    <a:pos x="7" y="21"/>
                  </a:cxn>
                  <a:cxn ang="0">
                    <a:pos x="0" y="8"/>
                  </a:cxn>
                  <a:cxn ang="0">
                    <a:pos x="2" y="0"/>
                  </a:cxn>
                  <a:cxn ang="0">
                    <a:pos x="2" y="0"/>
                  </a:cxn>
                </a:cxnLst>
                <a:rect l="0" t="0" r="r" b="b"/>
                <a:pathLst>
                  <a:path w="105" h="70">
                    <a:moveTo>
                      <a:pt x="2" y="0"/>
                    </a:moveTo>
                    <a:lnTo>
                      <a:pt x="7" y="0"/>
                    </a:lnTo>
                    <a:lnTo>
                      <a:pt x="9" y="4"/>
                    </a:lnTo>
                    <a:lnTo>
                      <a:pt x="9" y="6"/>
                    </a:lnTo>
                    <a:lnTo>
                      <a:pt x="7" y="8"/>
                    </a:lnTo>
                    <a:lnTo>
                      <a:pt x="9" y="11"/>
                    </a:lnTo>
                    <a:lnTo>
                      <a:pt x="13" y="8"/>
                    </a:lnTo>
                    <a:lnTo>
                      <a:pt x="19" y="8"/>
                    </a:lnTo>
                    <a:lnTo>
                      <a:pt x="21" y="11"/>
                    </a:lnTo>
                    <a:lnTo>
                      <a:pt x="22" y="9"/>
                    </a:lnTo>
                    <a:lnTo>
                      <a:pt x="28" y="13"/>
                    </a:lnTo>
                    <a:lnTo>
                      <a:pt x="34" y="9"/>
                    </a:lnTo>
                    <a:lnTo>
                      <a:pt x="38" y="11"/>
                    </a:lnTo>
                    <a:lnTo>
                      <a:pt x="41" y="9"/>
                    </a:lnTo>
                    <a:lnTo>
                      <a:pt x="43" y="11"/>
                    </a:lnTo>
                    <a:lnTo>
                      <a:pt x="47" y="11"/>
                    </a:lnTo>
                    <a:lnTo>
                      <a:pt x="54" y="11"/>
                    </a:lnTo>
                    <a:lnTo>
                      <a:pt x="56" y="9"/>
                    </a:lnTo>
                    <a:lnTo>
                      <a:pt x="62" y="9"/>
                    </a:lnTo>
                    <a:lnTo>
                      <a:pt x="62" y="6"/>
                    </a:lnTo>
                    <a:lnTo>
                      <a:pt x="73" y="0"/>
                    </a:lnTo>
                    <a:lnTo>
                      <a:pt x="79" y="0"/>
                    </a:lnTo>
                    <a:lnTo>
                      <a:pt x="85" y="0"/>
                    </a:lnTo>
                    <a:lnTo>
                      <a:pt x="90" y="4"/>
                    </a:lnTo>
                    <a:lnTo>
                      <a:pt x="92" y="6"/>
                    </a:lnTo>
                    <a:lnTo>
                      <a:pt x="96" y="4"/>
                    </a:lnTo>
                    <a:lnTo>
                      <a:pt x="100" y="6"/>
                    </a:lnTo>
                    <a:lnTo>
                      <a:pt x="102" y="8"/>
                    </a:lnTo>
                    <a:lnTo>
                      <a:pt x="105" y="8"/>
                    </a:lnTo>
                    <a:lnTo>
                      <a:pt x="105" y="9"/>
                    </a:lnTo>
                    <a:lnTo>
                      <a:pt x="105" y="17"/>
                    </a:lnTo>
                    <a:lnTo>
                      <a:pt x="103" y="19"/>
                    </a:lnTo>
                    <a:lnTo>
                      <a:pt x="100" y="19"/>
                    </a:lnTo>
                    <a:lnTo>
                      <a:pt x="94" y="23"/>
                    </a:lnTo>
                    <a:lnTo>
                      <a:pt x="94" y="30"/>
                    </a:lnTo>
                    <a:lnTo>
                      <a:pt x="94" y="34"/>
                    </a:lnTo>
                    <a:lnTo>
                      <a:pt x="90" y="40"/>
                    </a:lnTo>
                    <a:lnTo>
                      <a:pt x="90" y="40"/>
                    </a:lnTo>
                    <a:lnTo>
                      <a:pt x="92" y="43"/>
                    </a:lnTo>
                    <a:lnTo>
                      <a:pt x="96" y="47"/>
                    </a:lnTo>
                    <a:lnTo>
                      <a:pt x="98" y="51"/>
                    </a:lnTo>
                    <a:lnTo>
                      <a:pt x="98" y="51"/>
                    </a:lnTo>
                    <a:lnTo>
                      <a:pt x="94" y="51"/>
                    </a:lnTo>
                    <a:lnTo>
                      <a:pt x="92" y="53"/>
                    </a:lnTo>
                    <a:lnTo>
                      <a:pt x="86" y="49"/>
                    </a:lnTo>
                    <a:lnTo>
                      <a:pt x="83" y="49"/>
                    </a:lnTo>
                    <a:lnTo>
                      <a:pt x="81" y="51"/>
                    </a:lnTo>
                    <a:lnTo>
                      <a:pt x="77" y="51"/>
                    </a:lnTo>
                    <a:lnTo>
                      <a:pt x="73" y="55"/>
                    </a:lnTo>
                    <a:lnTo>
                      <a:pt x="73" y="55"/>
                    </a:lnTo>
                    <a:lnTo>
                      <a:pt x="71" y="55"/>
                    </a:lnTo>
                    <a:lnTo>
                      <a:pt x="66" y="58"/>
                    </a:lnTo>
                    <a:lnTo>
                      <a:pt x="66" y="62"/>
                    </a:lnTo>
                    <a:lnTo>
                      <a:pt x="68" y="66"/>
                    </a:lnTo>
                    <a:lnTo>
                      <a:pt x="66" y="68"/>
                    </a:lnTo>
                    <a:lnTo>
                      <a:pt x="58" y="68"/>
                    </a:lnTo>
                    <a:lnTo>
                      <a:pt x="54" y="70"/>
                    </a:lnTo>
                    <a:lnTo>
                      <a:pt x="51" y="68"/>
                    </a:lnTo>
                    <a:lnTo>
                      <a:pt x="47" y="68"/>
                    </a:lnTo>
                    <a:lnTo>
                      <a:pt x="45" y="70"/>
                    </a:lnTo>
                    <a:lnTo>
                      <a:pt x="41" y="70"/>
                    </a:lnTo>
                    <a:lnTo>
                      <a:pt x="41" y="66"/>
                    </a:lnTo>
                    <a:lnTo>
                      <a:pt x="38" y="66"/>
                    </a:lnTo>
                    <a:lnTo>
                      <a:pt x="32" y="66"/>
                    </a:lnTo>
                    <a:lnTo>
                      <a:pt x="30" y="70"/>
                    </a:lnTo>
                    <a:lnTo>
                      <a:pt x="24" y="70"/>
                    </a:lnTo>
                    <a:lnTo>
                      <a:pt x="19" y="70"/>
                    </a:lnTo>
                    <a:lnTo>
                      <a:pt x="17" y="70"/>
                    </a:lnTo>
                    <a:lnTo>
                      <a:pt x="17" y="70"/>
                    </a:lnTo>
                    <a:lnTo>
                      <a:pt x="17" y="66"/>
                    </a:lnTo>
                    <a:lnTo>
                      <a:pt x="17" y="60"/>
                    </a:lnTo>
                    <a:lnTo>
                      <a:pt x="11" y="51"/>
                    </a:lnTo>
                    <a:lnTo>
                      <a:pt x="4" y="45"/>
                    </a:lnTo>
                    <a:lnTo>
                      <a:pt x="4" y="45"/>
                    </a:lnTo>
                    <a:lnTo>
                      <a:pt x="4" y="43"/>
                    </a:lnTo>
                    <a:lnTo>
                      <a:pt x="2" y="40"/>
                    </a:lnTo>
                    <a:lnTo>
                      <a:pt x="2" y="34"/>
                    </a:lnTo>
                    <a:lnTo>
                      <a:pt x="9" y="30"/>
                    </a:lnTo>
                    <a:lnTo>
                      <a:pt x="9" y="26"/>
                    </a:lnTo>
                    <a:lnTo>
                      <a:pt x="7" y="21"/>
                    </a:lnTo>
                    <a:lnTo>
                      <a:pt x="2" y="15"/>
                    </a:lnTo>
                    <a:lnTo>
                      <a:pt x="0" y="8"/>
                    </a:lnTo>
                    <a:lnTo>
                      <a:pt x="2" y="4"/>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4" name="Freeform 86"/>
              <p:cNvSpPr>
                <a:spLocks/>
              </p:cNvSpPr>
              <p:nvPr/>
            </p:nvSpPr>
            <p:spPr bwMode="auto">
              <a:xfrm>
                <a:off x="3133" y="2261"/>
                <a:ext cx="47" cy="38"/>
              </a:xfrm>
              <a:custGeom>
                <a:avLst/>
                <a:gdLst/>
                <a:ahLst/>
                <a:cxnLst>
                  <a:cxn ang="0">
                    <a:pos x="34" y="0"/>
                  </a:cxn>
                  <a:cxn ang="0">
                    <a:pos x="41" y="6"/>
                  </a:cxn>
                  <a:cxn ang="0">
                    <a:pos x="47" y="15"/>
                  </a:cxn>
                  <a:cxn ang="0">
                    <a:pos x="47" y="21"/>
                  </a:cxn>
                  <a:cxn ang="0">
                    <a:pos x="47" y="25"/>
                  </a:cxn>
                  <a:cxn ang="0">
                    <a:pos x="45" y="25"/>
                  </a:cxn>
                  <a:cxn ang="0">
                    <a:pos x="41" y="25"/>
                  </a:cxn>
                  <a:cxn ang="0">
                    <a:pos x="38" y="28"/>
                  </a:cxn>
                  <a:cxn ang="0">
                    <a:pos x="28" y="28"/>
                  </a:cxn>
                  <a:cxn ang="0">
                    <a:pos x="24" y="28"/>
                  </a:cxn>
                  <a:cxn ang="0">
                    <a:pos x="24" y="30"/>
                  </a:cxn>
                  <a:cxn ang="0">
                    <a:pos x="19" y="32"/>
                  </a:cxn>
                  <a:cxn ang="0">
                    <a:pos x="11" y="38"/>
                  </a:cxn>
                  <a:cxn ang="0">
                    <a:pos x="11" y="38"/>
                  </a:cxn>
                  <a:cxn ang="0">
                    <a:pos x="7" y="36"/>
                  </a:cxn>
                  <a:cxn ang="0">
                    <a:pos x="6" y="30"/>
                  </a:cxn>
                  <a:cxn ang="0">
                    <a:pos x="2" y="25"/>
                  </a:cxn>
                  <a:cxn ang="0">
                    <a:pos x="0" y="19"/>
                  </a:cxn>
                  <a:cxn ang="0">
                    <a:pos x="2" y="13"/>
                  </a:cxn>
                  <a:cxn ang="0">
                    <a:pos x="2" y="13"/>
                  </a:cxn>
                  <a:cxn ang="0">
                    <a:pos x="4" y="11"/>
                  </a:cxn>
                  <a:cxn ang="0">
                    <a:pos x="4" y="10"/>
                  </a:cxn>
                  <a:cxn ang="0">
                    <a:pos x="7" y="6"/>
                  </a:cxn>
                  <a:cxn ang="0">
                    <a:pos x="11" y="6"/>
                  </a:cxn>
                  <a:cxn ang="0">
                    <a:pos x="15" y="4"/>
                  </a:cxn>
                  <a:cxn ang="0">
                    <a:pos x="22" y="0"/>
                  </a:cxn>
                  <a:cxn ang="0">
                    <a:pos x="24" y="4"/>
                  </a:cxn>
                  <a:cxn ang="0">
                    <a:pos x="30" y="0"/>
                  </a:cxn>
                  <a:cxn ang="0">
                    <a:pos x="34" y="0"/>
                  </a:cxn>
                  <a:cxn ang="0">
                    <a:pos x="34" y="0"/>
                  </a:cxn>
                  <a:cxn ang="0">
                    <a:pos x="34" y="0"/>
                  </a:cxn>
                </a:cxnLst>
                <a:rect l="0" t="0" r="r" b="b"/>
                <a:pathLst>
                  <a:path w="47" h="38">
                    <a:moveTo>
                      <a:pt x="34" y="0"/>
                    </a:moveTo>
                    <a:lnTo>
                      <a:pt x="41" y="6"/>
                    </a:lnTo>
                    <a:lnTo>
                      <a:pt x="47" y="15"/>
                    </a:lnTo>
                    <a:lnTo>
                      <a:pt x="47" y="21"/>
                    </a:lnTo>
                    <a:lnTo>
                      <a:pt x="47" y="25"/>
                    </a:lnTo>
                    <a:lnTo>
                      <a:pt x="45" y="25"/>
                    </a:lnTo>
                    <a:lnTo>
                      <a:pt x="41" y="25"/>
                    </a:lnTo>
                    <a:lnTo>
                      <a:pt x="38" y="28"/>
                    </a:lnTo>
                    <a:lnTo>
                      <a:pt x="28" y="28"/>
                    </a:lnTo>
                    <a:lnTo>
                      <a:pt x="24" y="28"/>
                    </a:lnTo>
                    <a:lnTo>
                      <a:pt x="24" y="30"/>
                    </a:lnTo>
                    <a:lnTo>
                      <a:pt x="19" y="32"/>
                    </a:lnTo>
                    <a:lnTo>
                      <a:pt x="11" y="38"/>
                    </a:lnTo>
                    <a:lnTo>
                      <a:pt x="11" y="38"/>
                    </a:lnTo>
                    <a:lnTo>
                      <a:pt x="7" y="36"/>
                    </a:lnTo>
                    <a:lnTo>
                      <a:pt x="6" y="30"/>
                    </a:lnTo>
                    <a:lnTo>
                      <a:pt x="2" y="25"/>
                    </a:lnTo>
                    <a:lnTo>
                      <a:pt x="0" y="19"/>
                    </a:lnTo>
                    <a:lnTo>
                      <a:pt x="2" y="13"/>
                    </a:lnTo>
                    <a:lnTo>
                      <a:pt x="2" y="13"/>
                    </a:lnTo>
                    <a:lnTo>
                      <a:pt x="4" y="11"/>
                    </a:lnTo>
                    <a:lnTo>
                      <a:pt x="4" y="10"/>
                    </a:lnTo>
                    <a:lnTo>
                      <a:pt x="7" y="6"/>
                    </a:lnTo>
                    <a:lnTo>
                      <a:pt x="11" y="6"/>
                    </a:lnTo>
                    <a:lnTo>
                      <a:pt x="15" y="4"/>
                    </a:lnTo>
                    <a:lnTo>
                      <a:pt x="22" y="0"/>
                    </a:lnTo>
                    <a:lnTo>
                      <a:pt x="24" y="4"/>
                    </a:lnTo>
                    <a:lnTo>
                      <a:pt x="30" y="0"/>
                    </a:lnTo>
                    <a:lnTo>
                      <a:pt x="34" y="0"/>
                    </a:lnTo>
                    <a:lnTo>
                      <a:pt x="34" y="0"/>
                    </a:lnTo>
                    <a:lnTo>
                      <a:pt x="34"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5" name="Freeform 87"/>
              <p:cNvSpPr>
                <a:spLocks/>
              </p:cNvSpPr>
              <p:nvPr/>
            </p:nvSpPr>
            <p:spPr bwMode="auto">
              <a:xfrm>
                <a:off x="3112" y="2257"/>
                <a:ext cx="32" cy="63"/>
              </a:xfrm>
              <a:custGeom>
                <a:avLst/>
                <a:gdLst/>
                <a:ahLst/>
                <a:cxnLst>
                  <a:cxn ang="0">
                    <a:pos x="25" y="19"/>
                  </a:cxn>
                  <a:cxn ang="0">
                    <a:pos x="21" y="23"/>
                  </a:cxn>
                  <a:cxn ang="0">
                    <a:pos x="25" y="30"/>
                  </a:cxn>
                  <a:cxn ang="0">
                    <a:pos x="27" y="34"/>
                  </a:cxn>
                  <a:cxn ang="0">
                    <a:pos x="28" y="40"/>
                  </a:cxn>
                  <a:cxn ang="0">
                    <a:pos x="32" y="42"/>
                  </a:cxn>
                  <a:cxn ang="0">
                    <a:pos x="32" y="47"/>
                  </a:cxn>
                  <a:cxn ang="0">
                    <a:pos x="28" y="51"/>
                  </a:cxn>
                  <a:cxn ang="0">
                    <a:pos x="21" y="53"/>
                  </a:cxn>
                  <a:cxn ang="0">
                    <a:pos x="21" y="59"/>
                  </a:cxn>
                  <a:cxn ang="0">
                    <a:pos x="19" y="63"/>
                  </a:cxn>
                  <a:cxn ang="0">
                    <a:pos x="17" y="63"/>
                  </a:cxn>
                  <a:cxn ang="0">
                    <a:pos x="13" y="63"/>
                  </a:cxn>
                  <a:cxn ang="0">
                    <a:pos x="10" y="53"/>
                  </a:cxn>
                  <a:cxn ang="0">
                    <a:pos x="2" y="53"/>
                  </a:cxn>
                  <a:cxn ang="0">
                    <a:pos x="2" y="51"/>
                  </a:cxn>
                  <a:cxn ang="0">
                    <a:pos x="2" y="47"/>
                  </a:cxn>
                  <a:cxn ang="0">
                    <a:pos x="2" y="46"/>
                  </a:cxn>
                  <a:cxn ang="0">
                    <a:pos x="2" y="40"/>
                  </a:cxn>
                  <a:cxn ang="0">
                    <a:pos x="2" y="36"/>
                  </a:cxn>
                  <a:cxn ang="0">
                    <a:pos x="2" y="30"/>
                  </a:cxn>
                  <a:cxn ang="0">
                    <a:pos x="2" y="23"/>
                  </a:cxn>
                  <a:cxn ang="0">
                    <a:pos x="6" y="23"/>
                  </a:cxn>
                  <a:cxn ang="0">
                    <a:pos x="6" y="19"/>
                  </a:cxn>
                  <a:cxn ang="0">
                    <a:pos x="0" y="15"/>
                  </a:cxn>
                  <a:cxn ang="0">
                    <a:pos x="0" y="10"/>
                  </a:cxn>
                  <a:cxn ang="0">
                    <a:pos x="2" y="4"/>
                  </a:cxn>
                  <a:cxn ang="0">
                    <a:pos x="6" y="0"/>
                  </a:cxn>
                  <a:cxn ang="0">
                    <a:pos x="6" y="0"/>
                  </a:cxn>
                  <a:cxn ang="0">
                    <a:pos x="10" y="4"/>
                  </a:cxn>
                  <a:cxn ang="0">
                    <a:pos x="11" y="0"/>
                  </a:cxn>
                  <a:cxn ang="0">
                    <a:pos x="13" y="0"/>
                  </a:cxn>
                  <a:cxn ang="0">
                    <a:pos x="13" y="0"/>
                  </a:cxn>
                  <a:cxn ang="0">
                    <a:pos x="17" y="4"/>
                  </a:cxn>
                  <a:cxn ang="0">
                    <a:pos x="19" y="6"/>
                  </a:cxn>
                  <a:cxn ang="0">
                    <a:pos x="21" y="8"/>
                  </a:cxn>
                  <a:cxn ang="0">
                    <a:pos x="21" y="10"/>
                  </a:cxn>
                  <a:cxn ang="0">
                    <a:pos x="21" y="15"/>
                  </a:cxn>
                  <a:cxn ang="0">
                    <a:pos x="25" y="19"/>
                  </a:cxn>
                  <a:cxn ang="0">
                    <a:pos x="25" y="19"/>
                  </a:cxn>
                  <a:cxn ang="0">
                    <a:pos x="25" y="19"/>
                  </a:cxn>
                </a:cxnLst>
                <a:rect l="0" t="0" r="r" b="b"/>
                <a:pathLst>
                  <a:path w="32" h="63">
                    <a:moveTo>
                      <a:pt x="25" y="19"/>
                    </a:moveTo>
                    <a:lnTo>
                      <a:pt x="21" y="23"/>
                    </a:lnTo>
                    <a:lnTo>
                      <a:pt x="25" y="30"/>
                    </a:lnTo>
                    <a:lnTo>
                      <a:pt x="27" y="34"/>
                    </a:lnTo>
                    <a:lnTo>
                      <a:pt x="28" y="40"/>
                    </a:lnTo>
                    <a:lnTo>
                      <a:pt x="32" y="42"/>
                    </a:lnTo>
                    <a:lnTo>
                      <a:pt x="32" y="47"/>
                    </a:lnTo>
                    <a:lnTo>
                      <a:pt x="28" y="51"/>
                    </a:lnTo>
                    <a:lnTo>
                      <a:pt x="21" y="53"/>
                    </a:lnTo>
                    <a:lnTo>
                      <a:pt x="21" y="59"/>
                    </a:lnTo>
                    <a:lnTo>
                      <a:pt x="19" y="63"/>
                    </a:lnTo>
                    <a:lnTo>
                      <a:pt x="17" y="63"/>
                    </a:lnTo>
                    <a:lnTo>
                      <a:pt x="13" y="63"/>
                    </a:lnTo>
                    <a:lnTo>
                      <a:pt x="10" y="53"/>
                    </a:lnTo>
                    <a:lnTo>
                      <a:pt x="2" y="53"/>
                    </a:lnTo>
                    <a:lnTo>
                      <a:pt x="2" y="51"/>
                    </a:lnTo>
                    <a:lnTo>
                      <a:pt x="2" y="47"/>
                    </a:lnTo>
                    <a:lnTo>
                      <a:pt x="2" y="46"/>
                    </a:lnTo>
                    <a:lnTo>
                      <a:pt x="2" y="40"/>
                    </a:lnTo>
                    <a:lnTo>
                      <a:pt x="2" y="36"/>
                    </a:lnTo>
                    <a:lnTo>
                      <a:pt x="2" y="30"/>
                    </a:lnTo>
                    <a:lnTo>
                      <a:pt x="2" y="23"/>
                    </a:lnTo>
                    <a:lnTo>
                      <a:pt x="6" y="23"/>
                    </a:lnTo>
                    <a:lnTo>
                      <a:pt x="6" y="19"/>
                    </a:lnTo>
                    <a:lnTo>
                      <a:pt x="0" y="15"/>
                    </a:lnTo>
                    <a:lnTo>
                      <a:pt x="0" y="10"/>
                    </a:lnTo>
                    <a:lnTo>
                      <a:pt x="2" y="4"/>
                    </a:lnTo>
                    <a:lnTo>
                      <a:pt x="6" y="0"/>
                    </a:lnTo>
                    <a:lnTo>
                      <a:pt x="6" y="0"/>
                    </a:lnTo>
                    <a:lnTo>
                      <a:pt x="10" y="4"/>
                    </a:lnTo>
                    <a:lnTo>
                      <a:pt x="11" y="0"/>
                    </a:lnTo>
                    <a:lnTo>
                      <a:pt x="13" y="0"/>
                    </a:lnTo>
                    <a:lnTo>
                      <a:pt x="13" y="0"/>
                    </a:lnTo>
                    <a:lnTo>
                      <a:pt x="17" y="4"/>
                    </a:lnTo>
                    <a:lnTo>
                      <a:pt x="19" y="6"/>
                    </a:lnTo>
                    <a:lnTo>
                      <a:pt x="21" y="8"/>
                    </a:lnTo>
                    <a:lnTo>
                      <a:pt x="21" y="10"/>
                    </a:lnTo>
                    <a:lnTo>
                      <a:pt x="21" y="15"/>
                    </a:lnTo>
                    <a:lnTo>
                      <a:pt x="25" y="19"/>
                    </a:lnTo>
                    <a:lnTo>
                      <a:pt x="25" y="19"/>
                    </a:lnTo>
                    <a:lnTo>
                      <a:pt x="25"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6" name="Freeform 88"/>
              <p:cNvSpPr>
                <a:spLocks/>
              </p:cNvSpPr>
              <p:nvPr/>
            </p:nvSpPr>
            <p:spPr bwMode="auto">
              <a:xfrm>
                <a:off x="3101" y="2178"/>
                <a:ext cx="73" cy="94"/>
              </a:xfrm>
              <a:custGeom>
                <a:avLst/>
                <a:gdLst/>
                <a:ahLst/>
                <a:cxnLst>
                  <a:cxn ang="0">
                    <a:pos x="2" y="6"/>
                  </a:cxn>
                  <a:cxn ang="0">
                    <a:pos x="9" y="4"/>
                  </a:cxn>
                  <a:cxn ang="0">
                    <a:pos x="15" y="0"/>
                  </a:cxn>
                  <a:cxn ang="0">
                    <a:pos x="21" y="0"/>
                  </a:cxn>
                  <a:cxn ang="0">
                    <a:pos x="28" y="4"/>
                  </a:cxn>
                  <a:cxn ang="0">
                    <a:pos x="36" y="15"/>
                  </a:cxn>
                  <a:cxn ang="0">
                    <a:pos x="45" y="21"/>
                  </a:cxn>
                  <a:cxn ang="0">
                    <a:pos x="45" y="27"/>
                  </a:cxn>
                  <a:cxn ang="0">
                    <a:pos x="53" y="32"/>
                  </a:cxn>
                  <a:cxn ang="0">
                    <a:pos x="58" y="34"/>
                  </a:cxn>
                  <a:cxn ang="0">
                    <a:pos x="70" y="30"/>
                  </a:cxn>
                  <a:cxn ang="0">
                    <a:pos x="66" y="38"/>
                  </a:cxn>
                  <a:cxn ang="0">
                    <a:pos x="66" y="47"/>
                  </a:cxn>
                  <a:cxn ang="0">
                    <a:pos x="73" y="59"/>
                  </a:cxn>
                  <a:cxn ang="0">
                    <a:pos x="73" y="66"/>
                  </a:cxn>
                  <a:cxn ang="0">
                    <a:pos x="68" y="76"/>
                  </a:cxn>
                  <a:cxn ang="0">
                    <a:pos x="70" y="81"/>
                  </a:cxn>
                  <a:cxn ang="0">
                    <a:pos x="60" y="85"/>
                  </a:cxn>
                  <a:cxn ang="0">
                    <a:pos x="49" y="85"/>
                  </a:cxn>
                  <a:cxn ang="0">
                    <a:pos x="43" y="87"/>
                  </a:cxn>
                  <a:cxn ang="0">
                    <a:pos x="39" y="93"/>
                  </a:cxn>
                  <a:cxn ang="0">
                    <a:pos x="36" y="93"/>
                  </a:cxn>
                  <a:cxn ang="0">
                    <a:pos x="36" y="85"/>
                  </a:cxn>
                  <a:cxn ang="0">
                    <a:pos x="30" y="81"/>
                  </a:cxn>
                  <a:cxn ang="0">
                    <a:pos x="28" y="76"/>
                  </a:cxn>
                  <a:cxn ang="0">
                    <a:pos x="28" y="72"/>
                  </a:cxn>
                  <a:cxn ang="0">
                    <a:pos x="24" y="66"/>
                  </a:cxn>
                  <a:cxn ang="0">
                    <a:pos x="19" y="66"/>
                  </a:cxn>
                  <a:cxn ang="0">
                    <a:pos x="15" y="61"/>
                  </a:cxn>
                  <a:cxn ang="0">
                    <a:pos x="13" y="55"/>
                  </a:cxn>
                  <a:cxn ang="0">
                    <a:pos x="9" y="47"/>
                  </a:cxn>
                  <a:cxn ang="0">
                    <a:pos x="15" y="47"/>
                  </a:cxn>
                  <a:cxn ang="0">
                    <a:pos x="13" y="44"/>
                  </a:cxn>
                  <a:cxn ang="0">
                    <a:pos x="6" y="38"/>
                  </a:cxn>
                  <a:cxn ang="0">
                    <a:pos x="9" y="32"/>
                  </a:cxn>
                  <a:cxn ang="0">
                    <a:pos x="7" y="27"/>
                  </a:cxn>
                  <a:cxn ang="0">
                    <a:pos x="4" y="27"/>
                  </a:cxn>
                  <a:cxn ang="0">
                    <a:pos x="7" y="21"/>
                  </a:cxn>
                  <a:cxn ang="0">
                    <a:pos x="9" y="21"/>
                  </a:cxn>
                  <a:cxn ang="0">
                    <a:pos x="4" y="19"/>
                  </a:cxn>
                  <a:cxn ang="0">
                    <a:pos x="0" y="8"/>
                  </a:cxn>
                  <a:cxn ang="0">
                    <a:pos x="0" y="8"/>
                  </a:cxn>
                </a:cxnLst>
                <a:rect l="0" t="0" r="r" b="b"/>
                <a:pathLst>
                  <a:path w="73" h="94">
                    <a:moveTo>
                      <a:pt x="0" y="8"/>
                    </a:moveTo>
                    <a:lnTo>
                      <a:pt x="2" y="6"/>
                    </a:lnTo>
                    <a:lnTo>
                      <a:pt x="7" y="4"/>
                    </a:lnTo>
                    <a:lnTo>
                      <a:pt x="9" y="4"/>
                    </a:lnTo>
                    <a:lnTo>
                      <a:pt x="11" y="2"/>
                    </a:lnTo>
                    <a:lnTo>
                      <a:pt x="15" y="0"/>
                    </a:lnTo>
                    <a:lnTo>
                      <a:pt x="19" y="0"/>
                    </a:lnTo>
                    <a:lnTo>
                      <a:pt x="21" y="0"/>
                    </a:lnTo>
                    <a:lnTo>
                      <a:pt x="28" y="2"/>
                    </a:lnTo>
                    <a:lnTo>
                      <a:pt x="28" y="4"/>
                    </a:lnTo>
                    <a:lnTo>
                      <a:pt x="36" y="12"/>
                    </a:lnTo>
                    <a:lnTo>
                      <a:pt x="36" y="15"/>
                    </a:lnTo>
                    <a:lnTo>
                      <a:pt x="41" y="15"/>
                    </a:lnTo>
                    <a:lnTo>
                      <a:pt x="45" y="21"/>
                    </a:lnTo>
                    <a:lnTo>
                      <a:pt x="45" y="25"/>
                    </a:lnTo>
                    <a:lnTo>
                      <a:pt x="45" y="27"/>
                    </a:lnTo>
                    <a:lnTo>
                      <a:pt x="49" y="28"/>
                    </a:lnTo>
                    <a:lnTo>
                      <a:pt x="53" y="32"/>
                    </a:lnTo>
                    <a:lnTo>
                      <a:pt x="58" y="30"/>
                    </a:lnTo>
                    <a:lnTo>
                      <a:pt x="58" y="34"/>
                    </a:lnTo>
                    <a:lnTo>
                      <a:pt x="62" y="28"/>
                    </a:lnTo>
                    <a:lnTo>
                      <a:pt x="70" y="30"/>
                    </a:lnTo>
                    <a:lnTo>
                      <a:pt x="66" y="34"/>
                    </a:lnTo>
                    <a:lnTo>
                      <a:pt x="66" y="38"/>
                    </a:lnTo>
                    <a:lnTo>
                      <a:pt x="68" y="44"/>
                    </a:lnTo>
                    <a:lnTo>
                      <a:pt x="66" y="47"/>
                    </a:lnTo>
                    <a:lnTo>
                      <a:pt x="68" y="53"/>
                    </a:lnTo>
                    <a:lnTo>
                      <a:pt x="73" y="59"/>
                    </a:lnTo>
                    <a:lnTo>
                      <a:pt x="73" y="62"/>
                    </a:lnTo>
                    <a:lnTo>
                      <a:pt x="73" y="66"/>
                    </a:lnTo>
                    <a:lnTo>
                      <a:pt x="68" y="72"/>
                    </a:lnTo>
                    <a:lnTo>
                      <a:pt x="68" y="76"/>
                    </a:lnTo>
                    <a:lnTo>
                      <a:pt x="70" y="79"/>
                    </a:lnTo>
                    <a:lnTo>
                      <a:pt x="70" y="81"/>
                    </a:lnTo>
                    <a:lnTo>
                      <a:pt x="66" y="81"/>
                    </a:lnTo>
                    <a:lnTo>
                      <a:pt x="60" y="85"/>
                    </a:lnTo>
                    <a:lnTo>
                      <a:pt x="58" y="81"/>
                    </a:lnTo>
                    <a:lnTo>
                      <a:pt x="49" y="85"/>
                    </a:lnTo>
                    <a:lnTo>
                      <a:pt x="45" y="85"/>
                    </a:lnTo>
                    <a:lnTo>
                      <a:pt x="43" y="87"/>
                    </a:lnTo>
                    <a:lnTo>
                      <a:pt x="39" y="89"/>
                    </a:lnTo>
                    <a:lnTo>
                      <a:pt x="39" y="93"/>
                    </a:lnTo>
                    <a:lnTo>
                      <a:pt x="38" y="94"/>
                    </a:lnTo>
                    <a:lnTo>
                      <a:pt x="36" y="93"/>
                    </a:lnTo>
                    <a:lnTo>
                      <a:pt x="36" y="85"/>
                    </a:lnTo>
                    <a:lnTo>
                      <a:pt x="36" y="85"/>
                    </a:lnTo>
                    <a:lnTo>
                      <a:pt x="32" y="81"/>
                    </a:lnTo>
                    <a:lnTo>
                      <a:pt x="30" y="81"/>
                    </a:lnTo>
                    <a:lnTo>
                      <a:pt x="28" y="77"/>
                    </a:lnTo>
                    <a:lnTo>
                      <a:pt x="28" y="76"/>
                    </a:lnTo>
                    <a:lnTo>
                      <a:pt x="28" y="74"/>
                    </a:lnTo>
                    <a:lnTo>
                      <a:pt x="28" y="72"/>
                    </a:lnTo>
                    <a:lnTo>
                      <a:pt x="28" y="68"/>
                    </a:lnTo>
                    <a:lnTo>
                      <a:pt x="24" y="66"/>
                    </a:lnTo>
                    <a:lnTo>
                      <a:pt x="21" y="66"/>
                    </a:lnTo>
                    <a:lnTo>
                      <a:pt x="19" y="66"/>
                    </a:lnTo>
                    <a:lnTo>
                      <a:pt x="15" y="62"/>
                    </a:lnTo>
                    <a:lnTo>
                      <a:pt x="15" y="61"/>
                    </a:lnTo>
                    <a:lnTo>
                      <a:pt x="11" y="57"/>
                    </a:lnTo>
                    <a:lnTo>
                      <a:pt x="13" y="55"/>
                    </a:lnTo>
                    <a:lnTo>
                      <a:pt x="9" y="49"/>
                    </a:lnTo>
                    <a:lnTo>
                      <a:pt x="9" y="47"/>
                    </a:lnTo>
                    <a:lnTo>
                      <a:pt x="11" y="44"/>
                    </a:lnTo>
                    <a:lnTo>
                      <a:pt x="15" y="47"/>
                    </a:lnTo>
                    <a:lnTo>
                      <a:pt x="15" y="44"/>
                    </a:lnTo>
                    <a:lnTo>
                      <a:pt x="13" y="44"/>
                    </a:lnTo>
                    <a:lnTo>
                      <a:pt x="11" y="44"/>
                    </a:lnTo>
                    <a:lnTo>
                      <a:pt x="6" y="38"/>
                    </a:lnTo>
                    <a:lnTo>
                      <a:pt x="4" y="38"/>
                    </a:lnTo>
                    <a:lnTo>
                      <a:pt x="9" y="32"/>
                    </a:lnTo>
                    <a:lnTo>
                      <a:pt x="9" y="27"/>
                    </a:lnTo>
                    <a:lnTo>
                      <a:pt x="7" y="27"/>
                    </a:lnTo>
                    <a:lnTo>
                      <a:pt x="6" y="28"/>
                    </a:lnTo>
                    <a:lnTo>
                      <a:pt x="4" y="27"/>
                    </a:lnTo>
                    <a:lnTo>
                      <a:pt x="4" y="23"/>
                    </a:lnTo>
                    <a:lnTo>
                      <a:pt x="7" y="21"/>
                    </a:lnTo>
                    <a:lnTo>
                      <a:pt x="9" y="21"/>
                    </a:lnTo>
                    <a:lnTo>
                      <a:pt x="9" y="21"/>
                    </a:lnTo>
                    <a:lnTo>
                      <a:pt x="6" y="19"/>
                    </a:lnTo>
                    <a:lnTo>
                      <a:pt x="4" y="19"/>
                    </a:lnTo>
                    <a:lnTo>
                      <a:pt x="2" y="15"/>
                    </a:lnTo>
                    <a:lnTo>
                      <a:pt x="0" y="8"/>
                    </a:lnTo>
                    <a:lnTo>
                      <a:pt x="0" y="8"/>
                    </a:lnTo>
                    <a:lnTo>
                      <a:pt x="0" y="8"/>
                    </a:lnTo>
                    <a:lnTo>
                      <a:pt x="0" y="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7" name="Freeform 89"/>
              <p:cNvSpPr>
                <a:spLocks/>
              </p:cNvSpPr>
              <p:nvPr/>
            </p:nvSpPr>
            <p:spPr bwMode="auto">
              <a:xfrm>
                <a:off x="3095" y="2231"/>
                <a:ext cx="32" cy="41"/>
              </a:xfrm>
              <a:custGeom>
                <a:avLst/>
                <a:gdLst/>
                <a:ahLst/>
                <a:cxnLst>
                  <a:cxn ang="0">
                    <a:pos x="17" y="41"/>
                  </a:cxn>
                  <a:cxn ang="0">
                    <a:pos x="17" y="34"/>
                  </a:cxn>
                  <a:cxn ang="0">
                    <a:pos x="19" y="30"/>
                  </a:cxn>
                  <a:cxn ang="0">
                    <a:pos x="25" y="24"/>
                  </a:cxn>
                  <a:cxn ang="0">
                    <a:pos x="25" y="24"/>
                  </a:cxn>
                  <a:cxn ang="0">
                    <a:pos x="28" y="30"/>
                  </a:cxn>
                  <a:cxn ang="0">
                    <a:pos x="28" y="24"/>
                  </a:cxn>
                  <a:cxn ang="0">
                    <a:pos x="32" y="23"/>
                  </a:cxn>
                  <a:cxn ang="0">
                    <a:pos x="32" y="19"/>
                  </a:cxn>
                  <a:cxn ang="0">
                    <a:pos x="32" y="15"/>
                  </a:cxn>
                  <a:cxn ang="0">
                    <a:pos x="28" y="15"/>
                  </a:cxn>
                  <a:cxn ang="0">
                    <a:pos x="25" y="13"/>
                  </a:cxn>
                  <a:cxn ang="0">
                    <a:pos x="23" y="13"/>
                  </a:cxn>
                  <a:cxn ang="0">
                    <a:pos x="21" y="9"/>
                  </a:cxn>
                  <a:cxn ang="0">
                    <a:pos x="21" y="8"/>
                  </a:cxn>
                  <a:cxn ang="0">
                    <a:pos x="15" y="4"/>
                  </a:cxn>
                  <a:cxn ang="0">
                    <a:pos x="15" y="4"/>
                  </a:cxn>
                  <a:cxn ang="0">
                    <a:pos x="13" y="2"/>
                  </a:cxn>
                  <a:cxn ang="0">
                    <a:pos x="8" y="0"/>
                  </a:cxn>
                  <a:cxn ang="0">
                    <a:pos x="6" y="2"/>
                  </a:cxn>
                  <a:cxn ang="0">
                    <a:pos x="6" y="4"/>
                  </a:cxn>
                  <a:cxn ang="0">
                    <a:pos x="10" y="8"/>
                  </a:cxn>
                  <a:cxn ang="0">
                    <a:pos x="12" y="9"/>
                  </a:cxn>
                  <a:cxn ang="0">
                    <a:pos x="8" y="9"/>
                  </a:cxn>
                  <a:cxn ang="0">
                    <a:pos x="6" y="9"/>
                  </a:cxn>
                  <a:cxn ang="0">
                    <a:pos x="4" y="15"/>
                  </a:cxn>
                  <a:cxn ang="0">
                    <a:pos x="4" y="19"/>
                  </a:cxn>
                  <a:cxn ang="0">
                    <a:pos x="4" y="24"/>
                  </a:cxn>
                  <a:cxn ang="0">
                    <a:pos x="0" y="24"/>
                  </a:cxn>
                  <a:cxn ang="0">
                    <a:pos x="0" y="28"/>
                  </a:cxn>
                  <a:cxn ang="0">
                    <a:pos x="4" y="30"/>
                  </a:cxn>
                  <a:cxn ang="0">
                    <a:pos x="12" y="40"/>
                  </a:cxn>
                  <a:cxn ang="0">
                    <a:pos x="13" y="40"/>
                  </a:cxn>
                  <a:cxn ang="0">
                    <a:pos x="17" y="41"/>
                  </a:cxn>
                  <a:cxn ang="0">
                    <a:pos x="17" y="41"/>
                  </a:cxn>
                  <a:cxn ang="0">
                    <a:pos x="17" y="41"/>
                  </a:cxn>
                </a:cxnLst>
                <a:rect l="0" t="0" r="r" b="b"/>
                <a:pathLst>
                  <a:path w="32" h="41">
                    <a:moveTo>
                      <a:pt x="17" y="41"/>
                    </a:moveTo>
                    <a:lnTo>
                      <a:pt x="17" y="34"/>
                    </a:lnTo>
                    <a:lnTo>
                      <a:pt x="19" y="30"/>
                    </a:lnTo>
                    <a:lnTo>
                      <a:pt x="25" y="24"/>
                    </a:lnTo>
                    <a:lnTo>
                      <a:pt x="25" y="24"/>
                    </a:lnTo>
                    <a:lnTo>
                      <a:pt x="28" y="30"/>
                    </a:lnTo>
                    <a:lnTo>
                      <a:pt x="28" y="24"/>
                    </a:lnTo>
                    <a:lnTo>
                      <a:pt x="32" y="23"/>
                    </a:lnTo>
                    <a:lnTo>
                      <a:pt x="32" y="19"/>
                    </a:lnTo>
                    <a:lnTo>
                      <a:pt x="32" y="15"/>
                    </a:lnTo>
                    <a:lnTo>
                      <a:pt x="28" y="15"/>
                    </a:lnTo>
                    <a:lnTo>
                      <a:pt x="25" y="13"/>
                    </a:lnTo>
                    <a:lnTo>
                      <a:pt x="23" y="13"/>
                    </a:lnTo>
                    <a:lnTo>
                      <a:pt x="21" y="9"/>
                    </a:lnTo>
                    <a:lnTo>
                      <a:pt x="21" y="8"/>
                    </a:lnTo>
                    <a:lnTo>
                      <a:pt x="15" y="4"/>
                    </a:lnTo>
                    <a:lnTo>
                      <a:pt x="15" y="4"/>
                    </a:lnTo>
                    <a:lnTo>
                      <a:pt x="13" y="2"/>
                    </a:lnTo>
                    <a:lnTo>
                      <a:pt x="8" y="0"/>
                    </a:lnTo>
                    <a:lnTo>
                      <a:pt x="6" y="2"/>
                    </a:lnTo>
                    <a:lnTo>
                      <a:pt x="6" y="4"/>
                    </a:lnTo>
                    <a:lnTo>
                      <a:pt x="10" y="8"/>
                    </a:lnTo>
                    <a:lnTo>
                      <a:pt x="12" y="9"/>
                    </a:lnTo>
                    <a:lnTo>
                      <a:pt x="8" y="9"/>
                    </a:lnTo>
                    <a:lnTo>
                      <a:pt x="6" y="9"/>
                    </a:lnTo>
                    <a:lnTo>
                      <a:pt x="4" y="15"/>
                    </a:lnTo>
                    <a:lnTo>
                      <a:pt x="4" y="19"/>
                    </a:lnTo>
                    <a:lnTo>
                      <a:pt x="4" y="24"/>
                    </a:lnTo>
                    <a:lnTo>
                      <a:pt x="0" y="24"/>
                    </a:lnTo>
                    <a:lnTo>
                      <a:pt x="0" y="28"/>
                    </a:lnTo>
                    <a:lnTo>
                      <a:pt x="4" y="30"/>
                    </a:lnTo>
                    <a:lnTo>
                      <a:pt x="12" y="40"/>
                    </a:lnTo>
                    <a:lnTo>
                      <a:pt x="13" y="40"/>
                    </a:lnTo>
                    <a:lnTo>
                      <a:pt x="17" y="41"/>
                    </a:lnTo>
                    <a:lnTo>
                      <a:pt x="17" y="41"/>
                    </a:lnTo>
                    <a:lnTo>
                      <a:pt x="17" y="4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8" name="Freeform 90"/>
              <p:cNvSpPr>
                <a:spLocks noEditPoints="1"/>
              </p:cNvSpPr>
              <p:nvPr/>
            </p:nvSpPr>
            <p:spPr bwMode="auto">
              <a:xfrm>
                <a:off x="3007" y="2173"/>
                <a:ext cx="100" cy="79"/>
              </a:xfrm>
              <a:custGeom>
                <a:avLst/>
                <a:gdLst/>
                <a:ahLst/>
                <a:cxnLst>
                  <a:cxn ang="0">
                    <a:pos x="98" y="26"/>
                  </a:cxn>
                  <a:cxn ang="0">
                    <a:pos x="96" y="24"/>
                  </a:cxn>
                  <a:cxn ang="0">
                    <a:pos x="90" y="13"/>
                  </a:cxn>
                  <a:cxn ang="0">
                    <a:pos x="79" y="13"/>
                  </a:cxn>
                  <a:cxn ang="0">
                    <a:pos x="62" y="5"/>
                  </a:cxn>
                  <a:cxn ang="0">
                    <a:pos x="52" y="0"/>
                  </a:cxn>
                  <a:cxn ang="0">
                    <a:pos x="32" y="13"/>
                  </a:cxn>
                  <a:cxn ang="0">
                    <a:pos x="20" y="20"/>
                  </a:cxn>
                  <a:cxn ang="0">
                    <a:pos x="7" y="22"/>
                  </a:cxn>
                  <a:cxn ang="0">
                    <a:pos x="2" y="30"/>
                  </a:cxn>
                  <a:cxn ang="0">
                    <a:pos x="7" y="37"/>
                  </a:cxn>
                  <a:cxn ang="0">
                    <a:pos x="13" y="22"/>
                  </a:cxn>
                  <a:cxn ang="0">
                    <a:pos x="22" y="30"/>
                  </a:cxn>
                  <a:cxn ang="0">
                    <a:pos x="34" y="45"/>
                  </a:cxn>
                  <a:cxn ang="0">
                    <a:pos x="36" y="49"/>
                  </a:cxn>
                  <a:cxn ang="0">
                    <a:pos x="32" y="54"/>
                  </a:cxn>
                  <a:cxn ang="0">
                    <a:pos x="43" y="60"/>
                  </a:cxn>
                  <a:cxn ang="0">
                    <a:pos x="51" y="66"/>
                  </a:cxn>
                  <a:cxn ang="0">
                    <a:pos x="71" y="75"/>
                  </a:cxn>
                  <a:cxn ang="0">
                    <a:pos x="68" y="79"/>
                  </a:cxn>
                  <a:cxn ang="0">
                    <a:pos x="73" y="75"/>
                  </a:cxn>
                  <a:cxn ang="0">
                    <a:pos x="45" y="45"/>
                  </a:cxn>
                  <a:cxn ang="0">
                    <a:pos x="43" y="39"/>
                  </a:cxn>
                  <a:cxn ang="0">
                    <a:pos x="37" y="32"/>
                  </a:cxn>
                  <a:cxn ang="0">
                    <a:pos x="41" y="22"/>
                  </a:cxn>
                  <a:cxn ang="0">
                    <a:pos x="47" y="28"/>
                  </a:cxn>
                  <a:cxn ang="0">
                    <a:pos x="54" y="26"/>
                  </a:cxn>
                  <a:cxn ang="0">
                    <a:pos x="60" y="24"/>
                  </a:cxn>
                  <a:cxn ang="0">
                    <a:pos x="66" y="26"/>
                  </a:cxn>
                  <a:cxn ang="0">
                    <a:pos x="75" y="26"/>
                  </a:cxn>
                  <a:cxn ang="0">
                    <a:pos x="86" y="28"/>
                  </a:cxn>
                  <a:cxn ang="0">
                    <a:pos x="94" y="32"/>
                  </a:cxn>
                  <a:cxn ang="0">
                    <a:pos x="94" y="32"/>
                  </a:cxn>
                  <a:cxn ang="0">
                    <a:pos x="62" y="75"/>
                  </a:cxn>
                  <a:cxn ang="0">
                    <a:pos x="56" y="75"/>
                  </a:cxn>
                  <a:cxn ang="0">
                    <a:pos x="56" y="75"/>
                  </a:cxn>
                  <a:cxn ang="0">
                    <a:pos x="58" y="75"/>
                  </a:cxn>
                  <a:cxn ang="0">
                    <a:pos x="52" y="71"/>
                  </a:cxn>
                  <a:cxn ang="0">
                    <a:pos x="60" y="67"/>
                  </a:cxn>
                  <a:cxn ang="0">
                    <a:pos x="54" y="69"/>
                  </a:cxn>
                  <a:cxn ang="0">
                    <a:pos x="52" y="67"/>
                  </a:cxn>
                  <a:cxn ang="0">
                    <a:pos x="28" y="45"/>
                  </a:cxn>
                  <a:cxn ang="0">
                    <a:pos x="26" y="45"/>
                  </a:cxn>
                  <a:cxn ang="0">
                    <a:pos x="26" y="45"/>
                  </a:cxn>
                  <a:cxn ang="0">
                    <a:pos x="22" y="41"/>
                  </a:cxn>
                  <a:cxn ang="0">
                    <a:pos x="22" y="39"/>
                  </a:cxn>
                  <a:cxn ang="0">
                    <a:pos x="28" y="54"/>
                  </a:cxn>
                  <a:cxn ang="0">
                    <a:pos x="24" y="49"/>
                  </a:cxn>
                  <a:cxn ang="0">
                    <a:pos x="19" y="45"/>
                  </a:cxn>
                  <a:cxn ang="0">
                    <a:pos x="19" y="45"/>
                  </a:cxn>
                  <a:cxn ang="0">
                    <a:pos x="19" y="45"/>
                  </a:cxn>
                  <a:cxn ang="0">
                    <a:pos x="19" y="43"/>
                  </a:cxn>
                  <a:cxn ang="0">
                    <a:pos x="17" y="37"/>
                  </a:cxn>
                  <a:cxn ang="0">
                    <a:pos x="13" y="33"/>
                  </a:cxn>
                  <a:cxn ang="0">
                    <a:pos x="20" y="33"/>
                  </a:cxn>
                  <a:cxn ang="0">
                    <a:pos x="13" y="33"/>
                  </a:cxn>
                  <a:cxn ang="0">
                    <a:pos x="17" y="26"/>
                  </a:cxn>
                  <a:cxn ang="0">
                    <a:pos x="17" y="26"/>
                  </a:cxn>
                </a:cxnLst>
                <a:rect l="0" t="0" r="r" b="b"/>
                <a:pathLst>
                  <a:path w="100" h="79">
                    <a:moveTo>
                      <a:pt x="94" y="32"/>
                    </a:moveTo>
                    <a:lnTo>
                      <a:pt x="94" y="28"/>
                    </a:lnTo>
                    <a:lnTo>
                      <a:pt x="98" y="26"/>
                    </a:lnTo>
                    <a:lnTo>
                      <a:pt x="100" y="26"/>
                    </a:lnTo>
                    <a:lnTo>
                      <a:pt x="100" y="26"/>
                    </a:lnTo>
                    <a:lnTo>
                      <a:pt x="96" y="24"/>
                    </a:lnTo>
                    <a:lnTo>
                      <a:pt x="94" y="22"/>
                    </a:lnTo>
                    <a:lnTo>
                      <a:pt x="92" y="18"/>
                    </a:lnTo>
                    <a:lnTo>
                      <a:pt x="90" y="13"/>
                    </a:lnTo>
                    <a:lnTo>
                      <a:pt x="90" y="13"/>
                    </a:lnTo>
                    <a:lnTo>
                      <a:pt x="86" y="15"/>
                    </a:lnTo>
                    <a:lnTo>
                      <a:pt x="79" y="13"/>
                    </a:lnTo>
                    <a:lnTo>
                      <a:pt x="69" y="13"/>
                    </a:lnTo>
                    <a:lnTo>
                      <a:pt x="66" y="9"/>
                    </a:lnTo>
                    <a:lnTo>
                      <a:pt x="62" y="5"/>
                    </a:lnTo>
                    <a:lnTo>
                      <a:pt x="54" y="0"/>
                    </a:lnTo>
                    <a:lnTo>
                      <a:pt x="52" y="0"/>
                    </a:lnTo>
                    <a:lnTo>
                      <a:pt x="52" y="0"/>
                    </a:lnTo>
                    <a:lnTo>
                      <a:pt x="43" y="0"/>
                    </a:lnTo>
                    <a:lnTo>
                      <a:pt x="34" y="5"/>
                    </a:lnTo>
                    <a:lnTo>
                      <a:pt x="32" y="13"/>
                    </a:lnTo>
                    <a:lnTo>
                      <a:pt x="26" y="13"/>
                    </a:lnTo>
                    <a:lnTo>
                      <a:pt x="24" y="20"/>
                    </a:lnTo>
                    <a:lnTo>
                      <a:pt x="20" y="20"/>
                    </a:lnTo>
                    <a:lnTo>
                      <a:pt x="13" y="18"/>
                    </a:lnTo>
                    <a:lnTo>
                      <a:pt x="11" y="18"/>
                    </a:lnTo>
                    <a:lnTo>
                      <a:pt x="7" y="22"/>
                    </a:lnTo>
                    <a:lnTo>
                      <a:pt x="0" y="22"/>
                    </a:lnTo>
                    <a:lnTo>
                      <a:pt x="0" y="22"/>
                    </a:lnTo>
                    <a:lnTo>
                      <a:pt x="2" y="30"/>
                    </a:lnTo>
                    <a:lnTo>
                      <a:pt x="5" y="35"/>
                    </a:lnTo>
                    <a:lnTo>
                      <a:pt x="5" y="35"/>
                    </a:lnTo>
                    <a:lnTo>
                      <a:pt x="7" y="37"/>
                    </a:lnTo>
                    <a:lnTo>
                      <a:pt x="11" y="30"/>
                    </a:lnTo>
                    <a:lnTo>
                      <a:pt x="13" y="26"/>
                    </a:lnTo>
                    <a:lnTo>
                      <a:pt x="13" y="22"/>
                    </a:lnTo>
                    <a:lnTo>
                      <a:pt x="19" y="22"/>
                    </a:lnTo>
                    <a:lnTo>
                      <a:pt x="19" y="26"/>
                    </a:lnTo>
                    <a:lnTo>
                      <a:pt x="22" y="30"/>
                    </a:lnTo>
                    <a:lnTo>
                      <a:pt x="24" y="35"/>
                    </a:lnTo>
                    <a:lnTo>
                      <a:pt x="26" y="41"/>
                    </a:lnTo>
                    <a:lnTo>
                      <a:pt x="34" y="45"/>
                    </a:lnTo>
                    <a:lnTo>
                      <a:pt x="34" y="45"/>
                    </a:lnTo>
                    <a:lnTo>
                      <a:pt x="37" y="49"/>
                    </a:lnTo>
                    <a:lnTo>
                      <a:pt x="36" y="49"/>
                    </a:lnTo>
                    <a:lnTo>
                      <a:pt x="32" y="49"/>
                    </a:lnTo>
                    <a:lnTo>
                      <a:pt x="30" y="50"/>
                    </a:lnTo>
                    <a:lnTo>
                      <a:pt x="32" y="54"/>
                    </a:lnTo>
                    <a:lnTo>
                      <a:pt x="36" y="54"/>
                    </a:lnTo>
                    <a:lnTo>
                      <a:pt x="41" y="58"/>
                    </a:lnTo>
                    <a:lnTo>
                      <a:pt x="43" y="60"/>
                    </a:lnTo>
                    <a:lnTo>
                      <a:pt x="45" y="64"/>
                    </a:lnTo>
                    <a:lnTo>
                      <a:pt x="47" y="66"/>
                    </a:lnTo>
                    <a:lnTo>
                      <a:pt x="51" y="66"/>
                    </a:lnTo>
                    <a:lnTo>
                      <a:pt x="60" y="66"/>
                    </a:lnTo>
                    <a:lnTo>
                      <a:pt x="62" y="67"/>
                    </a:lnTo>
                    <a:lnTo>
                      <a:pt x="71" y="75"/>
                    </a:lnTo>
                    <a:lnTo>
                      <a:pt x="69" y="79"/>
                    </a:lnTo>
                    <a:lnTo>
                      <a:pt x="66" y="75"/>
                    </a:lnTo>
                    <a:lnTo>
                      <a:pt x="68" y="79"/>
                    </a:lnTo>
                    <a:lnTo>
                      <a:pt x="71" y="79"/>
                    </a:lnTo>
                    <a:lnTo>
                      <a:pt x="71" y="79"/>
                    </a:lnTo>
                    <a:lnTo>
                      <a:pt x="73" y="75"/>
                    </a:lnTo>
                    <a:lnTo>
                      <a:pt x="60" y="60"/>
                    </a:lnTo>
                    <a:lnTo>
                      <a:pt x="45" y="49"/>
                    </a:lnTo>
                    <a:lnTo>
                      <a:pt x="45" y="45"/>
                    </a:lnTo>
                    <a:lnTo>
                      <a:pt x="45" y="45"/>
                    </a:lnTo>
                    <a:lnTo>
                      <a:pt x="43" y="41"/>
                    </a:lnTo>
                    <a:lnTo>
                      <a:pt x="43" y="39"/>
                    </a:lnTo>
                    <a:lnTo>
                      <a:pt x="37" y="33"/>
                    </a:lnTo>
                    <a:lnTo>
                      <a:pt x="37" y="33"/>
                    </a:lnTo>
                    <a:lnTo>
                      <a:pt x="37" y="32"/>
                    </a:lnTo>
                    <a:lnTo>
                      <a:pt x="37" y="30"/>
                    </a:lnTo>
                    <a:lnTo>
                      <a:pt x="37" y="24"/>
                    </a:lnTo>
                    <a:lnTo>
                      <a:pt x="41" y="22"/>
                    </a:lnTo>
                    <a:lnTo>
                      <a:pt x="43" y="26"/>
                    </a:lnTo>
                    <a:lnTo>
                      <a:pt x="45" y="28"/>
                    </a:lnTo>
                    <a:lnTo>
                      <a:pt x="47" y="28"/>
                    </a:lnTo>
                    <a:lnTo>
                      <a:pt x="47" y="26"/>
                    </a:lnTo>
                    <a:lnTo>
                      <a:pt x="51" y="24"/>
                    </a:lnTo>
                    <a:lnTo>
                      <a:pt x="54" y="26"/>
                    </a:lnTo>
                    <a:lnTo>
                      <a:pt x="56" y="22"/>
                    </a:lnTo>
                    <a:lnTo>
                      <a:pt x="58" y="24"/>
                    </a:lnTo>
                    <a:lnTo>
                      <a:pt x="60" y="24"/>
                    </a:lnTo>
                    <a:lnTo>
                      <a:pt x="62" y="24"/>
                    </a:lnTo>
                    <a:lnTo>
                      <a:pt x="66" y="28"/>
                    </a:lnTo>
                    <a:lnTo>
                      <a:pt x="66" y="26"/>
                    </a:lnTo>
                    <a:lnTo>
                      <a:pt x="69" y="26"/>
                    </a:lnTo>
                    <a:lnTo>
                      <a:pt x="73" y="26"/>
                    </a:lnTo>
                    <a:lnTo>
                      <a:pt x="75" y="26"/>
                    </a:lnTo>
                    <a:lnTo>
                      <a:pt x="79" y="26"/>
                    </a:lnTo>
                    <a:lnTo>
                      <a:pt x="81" y="28"/>
                    </a:lnTo>
                    <a:lnTo>
                      <a:pt x="86" y="28"/>
                    </a:lnTo>
                    <a:lnTo>
                      <a:pt x="90" y="32"/>
                    </a:lnTo>
                    <a:lnTo>
                      <a:pt x="94" y="32"/>
                    </a:lnTo>
                    <a:lnTo>
                      <a:pt x="94" y="32"/>
                    </a:lnTo>
                    <a:lnTo>
                      <a:pt x="94" y="32"/>
                    </a:lnTo>
                    <a:lnTo>
                      <a:pt x="94" y="32"/>
                    </a:lnTo>
                    <a:lnTo>
                      <a:pt x="94" y="32"/>
                    </a:lnTo>
                    <a:close/>
                    <a:moveTo>
                      <a:pt x="56" y="75"/>
                    </a:moveTo>
                    <a:lnTo>
                      <a:pt x="56" y="75"/>
                    </a:lnTo>
                    <a:lnTo>
                      <a:pt x="62" y="75"/>
                    </a:lnTo>
                    <a:lnTo>
                      <a:pt x="66" y="79"/>
                    </a:lnTo>
                    <a:lnTo>
                      <a:pt x="60" y="79"/>
                    </a:lnTo>
                    <a:lnTo>
                      <a:pt x="56" y="75"/>
                    </a:lnTo>
                    <a:lnTo>
                      <a:pt x="56" y="75"/>
                    </a:lnTo>
                    <a:lnTo>
                      <a:pt x="56" y="75"/>
                    </a:lnTo>
                    <a:lnTo>
                      <a:pt x="56" y="75"/>
                    </a:lnTo>
                    <a:close/>
                    <a:moveTo>
                      <a:pt x="52" y="71"/>
                    </a:moveTo>
                    <a:lnTo>
                      <a:pt x="62" y="73"/>
                    </a:lnTo>
                    <a:lnTo>
                      <a:pt x="58" y="75"/>
                    </a:lnTo>
                    <a:lnTo>
                      <a:pt x="52" y="71"/>
                    </a:lnTo>
                    <a:lnTo>
                      <a:pt x="52" y="71"/>
                    </a:lnTo>
                    <a:lnTo>
                      <a:pt x="52" y="71"/>
                    </a:lnTo>
                    <a:lnTo>
                      <a:pt x="52" y="71"/>
                    </a:lnTo>
                    <a:close/>
                    <a:moveTo>
                      <a:pt x="52" y="67"/>
                    </a:moveTo>
                    <a:lnTo>
                      <a:pt x="60" y="67"/>
                    </a:lnTo>
                    <a:lnTo>
                      <a:pt x="62" y="69"/>
                    </a:lnTo>
                    <a:lnTo>
                      <a:pt x="58" y="71"/>
                    </a:lnTo>
                    <a:lnTo>
                      <a:pt x="54" y="69"/>
                    </a:lnTo>
                    <a:lnTo>
                      <a:pt x="52" y="67"/>
                    </a:lnTo>
                    <a:lnTo>
                      <a:pt x="52" y="67"/>
                    </a:lnTo>
                    <a:lnTo>
                      <a:pt x="52" y="67"/>
                    </a:lnTo>
                    <a:lnTo>
                      <a:pt x="52" y="67"/>
                    </a:lnTo>
                    <a:close/>
                    <a:moveTo>
                      <a:pt x="26" y="45"/>
                    </a:moveTo>
                    <a:lnTo>
                      <a:pt x="28" y="45"/>
                    </a:lnTo>
                    <a:lnTo>
                      <a:pt x="32" y="49"/>
                    </a:lnTo>
                    <a:lnTo>
                      <a:pt x="30" y="49"/>
                    </a:lnTo>
                    <a:lnTo>
                      <a:pt x="26" y="45"/>
                    </a:lnTo>
                    <a:lnTo>
                      <a:pt x="26" y="45"/>
                    </a:lnTo>
                    <a:lnTo>
                      <a:pt x="26" y="45"/>
                    </a:lnTo>
                    <a:lnTo>
                      <a:pt x="26" y="45"/>
                    </a:lnTo>
                    <a:close/>
                    <a:moveTo>
                      <a:pt x="22" y="39"/>
                    </a:moveTo>
                    <a:lnTo>
                      <a:pt x="26" y="43"/>
                    </a:lnTo>
                    <a:lnTo>
                      <a:pt x="22" y="41"/>
                    </a:lnTo>
                    <a:lnTo>
                      <a:pt x="22" y="39"/>
                    </a:lnTo>
                    <a:lnTo>
                      <a:pt x="22" y="39"/>
                    </a:lnTo>
                    <a:lnTo>
                      <a:pt x="22" y="39"/>
                    </a:lnTo>
                    <a:lnTo>
                      <a:pt x="22" y="39"/>
                    </a:lnTo>
                    <a:close/>
                    <a:moveTo>
                      <a:pt x="24" y="49"/>
                    </a:moveTo>
                    <a:lnTo>
                      <a:pt x="28" y="54"/>
                    </a:lnTo>
                    <a:lnTo>
                      <a:pt x="28" y="56"/>
                    </a:lnTo>
                    <a:lnTo>
                      <a:pt x="24" y="49"/>
                    </a:lnTo>
                    <a:lnTo>
                      <a:pt x="24" y="49"/>
                    </a:lnTo>
                    <a:lnTo>
                      <a:pt x="24" y="49"/>
                    </a:lnTo>
                    <a:lnTo>
                      <a:pt x="24" y="49"/>
                    </a:lnTo>
                    <a:close/>
                    <a:moveTo>
                      <a:pt x="19" y="45"/>
                    </a:moveTo>
                    <a:lnTo>
                      <a:pt x="22" y="45"/>
                    </a:lnTo>
                    <a:lnTo>
                      <a:pt x="22" y="49"/>
                    </a:lnTo>
                    <a:lnTo>
                      <a:pt x="19" y="45"/>
                    </a:lnTo>
                    <a:lnTo>
                      <a:pt x="19" y="45"/>
                    </a:lnTo>
                    <a:lnTo>
                      <a:pt x="19" y="45"/>
                    </a:lnTo>
                    <a:lnTo>
                      <a:pt x="19" y="45"/>
                    </a:lnTo>
                    <a:close/>
                    <a:moveTo>
                      <a:pt x="13" y="33"/>
                    </a:moveTo>
                    <a:lnTo>
                      <a:pt x="17" y="37"/>
                    </a:lnTo>
                    <a:lnTo>
                      <a:pt x="19" y="43"/>
                    </a:lnTo>
                    <a:lnTo>
                      <a:pt x="17" y="43"/>
                    </a:lnTo>
                    <a:lnTo>
                      <a:pt x="13" y="39"/>
                    </a:lnTo>
                    <a:lnTo>
                      <a:pt x="17" y="37"/>
                    </a:lnTo>
                    <a:lnTo>
                      <a:pt x="13" y="33"/>
                    </a:lnTo>
                    <a:lnTo>
                      <a:pt x="13" y="33"/>
                    </a:lnTo>
                    <a:lnTo>
                      <a:pt x="13" y="33"/>
                    </a:lnTo>
                    <a:lnTo>
                      <a:pt x="13" y="33"/>
                    </a:lnTo>
                    <a:close/>
                    <a:moveTo>
                      <a:pt x="17" y="26"/>
                    </a:moveTo>
                    <a:lnTo>
                      <a:pt x="20" y="33"/>
                    </a:lnTo>
                    <a:lnTo>
                      <a:pt x="19" y="35"/>
                    </a:lnTo>
                    <a:lnTo>
                      <a:pt x="17" y="33"/>
                    </a:lnTo>
                    <a:lnTo>
                      <a:pt x="13" y="33"/>
                    </a:lnTo>
                    <a:lnTo>
                      <a:pt x="13" y="28"/>
                    </a:lnTo>
                    <a:lnTo>
                      <a:pt x="13" y="28"/>
                    </a:lnTo>
                    <a:lnTo>
                      <a:pt x="17" y="26"/>
                    </a:lnTo>
                    <a:lnTo>
                      <a:pt x="17" y="26"/>
                    </a:lnTo>
                    <a:lnTo>
                      <a:pt x="17" y="26"/>
                    </a:lnTo>
                    <a:lnTo>
                      <a:pt x="17" y="2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9" name="Freeform 91"/>
              <p:cNvSpPr>
                <a:spLocks noEditPoints="1"/>
              </p:cNvSpPr>
              <p:nvPr/>
            </p:nvSpPr>
            <p:spPr bwMode="auto">
              <a:xfrm>
                <a:off x="3007" y="2173"/>
                <a:ext cx="100" cy="79"/>
              </a:xfrm>
              <a:custGeom>
                <a:avLst/>
                <a:gdLst/>
                <a:ahLst/>
                <a:cxnLst>
                  <a:cxn ang="0">
                    <a:pos x="98" y="26"/>
                  </a:cxn>
                  <a:cxn ang="0">
                    <a:pos x="96" y="24"/>
                  </a:cxn>
                  <a:cxn ang="0">
                    <a:pos x="90" y="13"/>
                  </a:cxn>
                  <a:cxn ang="0">
                    <a:pos x="79" y="13"/>
                  </a:cxn>
                  <a:cxn ang="0">
                    <a:pos x="62" y="5"/>
                  </a:cxn>
                  <a:cxn ang="0">
                    <a:pos x="52" y="0"/>
                  </a:cxn>
                  <a:cxn ang="0">
                    <a:pos x="32" y="13"/>
                  </a:cxn>
                  <a:cxn ang="0">
                    <a:pos x="20" y="20"/>
                  </a:cxn>
                  <a:cxn ang="0">
                    <a:pos x="7" y="22"/>
                  </a:cxn>
                  <a:cxn ang="0">
                    <a:pos x="2" y="30"/>
                  </a:cxn>
                  <a:cxn ang="0">
                    <a:pos x="7" y="37"/>
                  </a:cxn>
                  <a:cxn ang="0">
                    <a:pos x="13" y="22"/>
                  </a:cxn>
                  <a:cxn ang="0">
                    <a:pos x="22" y="30"/>
                  </a:cxn>
                  <a:cxn ang="0">
                    <a:pos x="34" y="45"/>
                  </a:cxn>
                  <a:cxn ang="0">
                    <a:pos x="36" y="49"/>
                  </a:cxn>
                  <a:cxn ang="0">
                    <a:pos x="32" y="54"/>
                  </a:cxn>
                  <a:cxn ang="0">
                    <a:pos x="43" y="60"/>
                  </a:cxn>
                  <a:cxn ang="0">
                    <a:pos x="51" y="66"/>
                  </a:cxn>
                  <a:cxn ang="0">
                    <a:pos x="71" y="75"/>
                  </a:cxn>
                  <a:cxn ang="0">
                    <a:pos x="68" y="79"/>
                  </a:cxn>
                  <a:cxn ang="0">
                    <a:pos x="73" y="75"/>
                  </a:cxn>
                  <a:cxn ang="0">
                    <a:pos x="45" y="45"/>
                  </a:cxn>
                  <a:cxn ang="0">
                    <a:pos x="43" y="39"/>
                  </a:cxn>
                  <a:cxn ang="0">
                    <a:pos x="37" y="32"/>
                  </a:cxn>
                  <a:cxn ang="0">
                    <a:pos x="41" y="22"/>
                  </a:cxn>
                  <a:cxn ang="0">
                    <a:pos x="47" y="28"/>
                  </a:cxn>
                  <a:cxn ang="0">
                    <a:pos x="54" y="26"/>
                  </a:cxn>
                  <a:cxn ang="0">
                    <a:pos x="60" y="24"/>
                  </a:cxn>
                  <a:cxn ang="0">
                    <a:pos x="66" y="26"/>
                  </a:cxn>
                  <a:cxn ang="0">
                    <a:pos x="75" y="26"/>
                  </a:cxn>
                  <a:cxn ang="0">
                    <a:pos x="86" y="28"/>
                  </a:cxn>
                  <a:cxn ang="0">
                    <a:pos x="94" y="32"/>
                  </a:cxn>
                  <a:cxn ang="0">
                    <a:pos x="94" y="32"/>
                  </a:cxn>
                  <a:cxn ang="0">
                    <a:pos x="62" y="75"/>
                  </a:cxn>
                  <a:cxn ang="0">
                    <a:pos x="56" y="75"/>
                  </a:cxn>
                  <a:cxn ang="0">
                    <a:pos x="56" y="75"/>
                  </a:cxn>
                  <a:cxn ang="0">
                    <a:pos x="58" y="75"/>
                  </a:cxn>
                  <a:cxn ang="0">
                    <a:pos x="52" y="71"/>
                  </a:cxn>
                  <a:cxn ang="0">
                    <a:pos x="60" y="67"/>
                  </a:cxn>
                  <a:cxn ang="0">
                    <a:pos x="54" y="69"/>
                  </a:cxn>
                  <a:cxn ang="0">
                    <a:pos x="52" y="67"/>
                  </a:cxn>
                  <a:cxn ang="0">
                    <a:pos x="28" y="45"/>
                  </a:cxn>
                  <a:cxn ang="0">
                    <a:pos x="26" y="45"/>
                  </a:cxn>
                  <a:cxn ang="0">
                    <a:pos x="26" y="45"/>
                  </a:cxn>
                  <a:cxn ang="0">
                    <a:pos x="22" y="41"/>
                  </a:cxn>
                  <a:cxn ang="0">
                    <a:pos x="22" y="39"/>
                  </a:cxn>
                  <a:cxn ang="0">
                    <a:pos x="28" y="54"/>
                  </a:cxn>
                  <a:cxn ang="0">
                    <a:pos x="24" y="49"/>
                  </a:cxn>
                  <a:cxn ang="0">
                    <a:pos x="19" y="45"/>
                  </a:cxn>
                  <a:cxn ang="0">
                    <a:pos x="19" y="45"/>
                  </a:cxn>
                  <a:cxn ang="0">
                    <a:pos x="19" y="45"/>
                  </a:cxn>
                  <a:cxn ang="0">
                    <a:pos x="19" y="43"/>
                  </a:cxn>
                  <a:cxn ang="0">
                    <a:pos x="17" y="37"/>
                  </a:cxn>
                  <a:cxn ang="0">
                    <a:pos x="13" y="33"/>
                  </a:cxn>
                  <a:cxn ang="0">
                    <a:pos x="20" y="33"/>
                  </a:cxn>
                  <a:cxn ang="0">
                    <a:pos x="13" y="33"/>
                  </a:cxn>
                  <a:cxn ang="0">
                    <a:pos x="17" y="26"/>
                  </a:cxn>
                  <a:cxn ang="0">
                    <a:pos x="17" y="26"/>
                  </a:cxn>
                </a:cxnLst>
                <a:rect l="0" t="0" r="r" b="b"/>
                <a:pathLst>
                  <a:path w="100" h="79">
                    <a:moveTo>
                      <a:pt x="94" y="32"/>
                    </a:moveTo>
                    <a:lnTo>
                      <a:pt x="94" y="28"/>
                    </a:lnTo>
                    <a:lnTo>
                      <a:pt x="98" y="26"/>
                    </a:lnTo>
                    <a:lnTo>
                      <a:pt x="100" y="26"/>
                    </a:lnTo>
                    <a:lnTo>
                      <a:pt x="100" y="26"/>
                    </a:lnTo>
                    <a:lnTo>
                      <a:pt x="96" y="24"/>
                    </a:lnTo>
                    <a:lnTo>
                      <a:pt x="94" y="22"/>
                    </a:lnTo>
                    <a:lnTo>
                      <a:pt x="92" y="18"/>
                    </a:lnTo>
                    <a:lnTo>
                      <a:pt x="90" y="13"/>
                    </a:lnTo>
                    <a:lnTo>
                      <a:pt x="90" y="13"/>
                    </a:lnTo>
                    <a:lnTo>
                      <a:pt x="86" y="15"/>
                    </a:lnTo>
                    <a:lnTo>
                      <a:pt x="79" y="13"/>
                    </a:lnTo>
                    <a:lnTo>
                      <a:pt x="69" y="13"/>
                    </a:lnTo>
                    <a:lnTo>
                      <a:pt x="66" y="9"/>
                    </a:lnTo>
                    <a:lnTo>
                      <a:pt x="62" y="5"/>
                    </a:lnTo>
                    <a:lnTo>
                      <a:pt x="54" y="0"/>
                    </a:lnTo>
                    <a:lnTo>
                      <a:pt x="52" y="0"/>
                    </a:lnTo>
                    <a:lnTo>
                      <a:pt x="52" y="0"/>
                    </a:lnTo>
                    <a:lnTo>
                      <a:pt x="43" y="0"/>
                    </a:lnTo>
                    <a:lnTo>
                      <a:pt x="34" y="5"/>
                    </a:lnTo>
                    <a:lnTo>
                      <a:pt x="32" y="13"/>
                    </a:lnTo>
                    <a:lnTo>
                      <a:pt x="26" y="13"/>
                    </a:lnTo>
                    <a:lnTo>
                      <a:pt x="24" y="20"/>
                    </a:lnTo>
                    <a:lnTo>
                      <a:pt x="20" y="20"/>
                    </a:lnTo>
                    <a:lnTo>
                      <a:pt x="13" y="18"/>
                    </a:lnTo>
                    <a:lnTo>
                      <a:pt x="11" y="18"/>
                    </a:lnTo>
                    <a:lnTo>
                      <a:pt x="7" y="22"/>
                    </a:lnTo>
                    <a:lnTo>
                      <a:pt x="0" y="22"/>
                    </a:lnTo>
                    <a:lnTo>
                      <a:pt x="0" y="22"/>
                    </a:lnTo>
                    <a:lnTo>
                      <a:pt x="2" y="30"/>
                    </a:lnTo>
                    <a:lnTo>
                      <a:pt x="5" y="35"/>
                    </a:lnTo>
                    <a:lnTo>
                      <a:pt x="5" y="35"/>
                    </a:lnTo>
                    <a:lnTo>
                      <a:pt x="7" y="37"/>
                    </a:lnTo>
                    <a:lnTo>
                      <a:pt x="11" y="30"/>
                    </a:lnTo>
                    <a:lnTo>
                      <a:pt x="13" y="26"/>
                    </a:lnTo>
                    <a:lnTo>
                      <a:pt x="13" y="22"/>
                    </a:lnTo>
                    <a:lnTo>
                      <a:pt x="19" y="22"/>
                    </a:lnTo>
                    <a:lnTo>
                      <a:pt x="19" y="26"/>
                    </a:lnTo>
                    <a:lnTo>
                      <a:pt x="22" y="30"/>
                    </a:lnTo>
                    <a:lnTo>
                      <a:pt x="24" y="35"/>
                    </a:lnTo>
                    <a:lnTo>
                      <a:pt x="26" y="41"/>
                    </a:lnTo>
                    <a:lnTo>
                      <a:pt x="34" y="45"/>
                    </a:lnTo>
                    <a:lnTo>
                      <a:pt x="34" y="45"/>
                    </a:lnTo>
                    <a:lnTo>
                      <a:pt x="37" y="49"/>
                    </a:lnTo>
                    <a:lnTo>
                      <a:pt x="36" y="49"/>
                    </a:lnTo>
                    <a:lnTo>
                      <a:pt x="32" y="49"/>
                    </a:lnTo>
                    <a:lnTo>
                      <a:pt x="30" y="50"/>
                    </a:lnTo>
                    <a:lnTo>
                      <a:pt x="32" y="54"/>
                    </a:lnTo>
                    <a:lnTo>
                      <a:pt x="36" y="54"/>
                    </a:lnTo>
                    <a:lnTo>
                      <a:pt x="41" y="58"/>
                    </a:lnTo>
                    <a:lnTo>
                      <a:pt x="43" y="60"/>
                    </a:lnTo>
                    <a:lnTo>
                      <a:pt x="45" y="64"/>
                    </a:lnTo>
                    <a:lnTo>
                      <a:pt x="47" y="66"/>
                    </a:lnTo>
                    <a:lnTo>
                      <a:pt x="51" y="66"/>
                    </a:lnTo>
                    <a:lnTo>
                      <a:pt x="60" y="66"/>
                    </a:lnTo>
                    <a:lnTo>
                      <a:pt x="62" y="67"/>
                    </a:lnTo>
                    <a:lnTo>
                      <a:pt x="71" y="75"/>
                    </a:lnTo>
                    <a:lnTo>
                      <a:pt x="69" y="79"/>
                    </a:lnTo>
                    <a:lnTo>
                      <a:pt x="66" y="75"/>
                    </a:lnTo>
                    <a:lnTo>
                      <a:pt x="68" y="79"/>
                    </a:lnTo>
                    <a:lnTo>
                      <a:pt x="71" y="79"/>
                    </a:lnTo>
                    <a:lnTo>
                      <a:pt x="71" y="79"/>
                    </a:lnTo>
                    <a:lnTo>
                      <a:pt x="73" y="75"/>
                    </a:lnTo>
                    <a:lnTo>
                      <a:pt x="60" y="60"/>
                    </a:lnTo>
                    <a:lnTo>
                      <a:pt x="45" y="49"/>
                    </a:lnTo>
                    <a:lnTo>
                      <a:pt x="45" y="45"/>
                    </a:lnTo>
                    <a:lnTo>
                      <a:pt x="45" y="45"/>
                    </a:lnTo>
                    <a:lnTo>
                      <a:pt x="43" y="41"/>
                    </a:lnTo>
                    <a:lnTo>
                      <a:pt x="43" y="39"/>
                    </a:lnTo>
                    <a:lnTo>
                      <a:pt x="37" y="33"/>
                    </a:lnTo>
                    <a:lnTo>
                      <a:pt x="37" y="33"/>
                    </a:lnTo>
                    <a:lnTo>
                      <a:pt x="37" y="32"/>
                    </a:lnTo>
                    <a:lnTo>
                      <a:pt x="37" y="30"/>
                    </a:lnTo>
                    <a:lnTo>
                      <a:pt x="37" y="24"/>
                    </a:lnTo>
                    <a:lnTo>
                      <a:pt x="41" y="22"/>
                    </a:lnTo>
                    <a:lnTo>
                      <a:pt x="43" y="26"/>
                    </a:lnTo>
                    <a:lnTo>
                      <a:pt x="45" y="28"/>
                    </a:lnTo>
                    <a:lnTo>
                      <a:pt x="47" y="28"/>
                    </a:lnTo>
                    <a:lnTo>
                      <a:pt x="47" y="26"/>
                    </a:lnTo>
                    <a:lnTo>
                      <a:pt x="51" y="24"/>
                    </a:lnTo>
                    <a:lnTo>
                      <a:pt x="54" y="26"/>
                    </a:lnTo>
                    <a:lnTo>
                      <a:pt x="56" y="22"/>
                    </a:lnTo>
                    <a:lnTo>
                      <a:pt x="58" y="24"/>
                    </a:lnTo>
                    <a:lnTo>
                      <a:pt x="60" y="24"/>
                    </a:lnTo>
                    <a:lnTo>
                      <a:pt x="62" y="24"/>
                    </a:lnTo>
                    <a:lnTo>
                      <a:pt x="66" y="28"/>
                    </a:lnTo>
                    <a:lnTo>
                      <a:pt x="66" y="26"/>
                    </a:lnTo>
                    <a:lnTo>
                      <a:pt x="69" y="26"/>
                    </a:lnTo>
                    <a:lnTo>
                      <a:pt x="73" y="26"/>
                    </a:lnTo>
                    <a:lnTo>
                      <a:pt x="75" y="26"/>
                    </a:lnTo>
                    <a:lnTo>
                      <a:pt x="79" y="26"/>
                    </a:lnTo>
                    <a:lnTo>
                      <a:pt x="81" y="28"/>
                    </a:lnTo>
                    <a:lnTo>
                      <a:pt x="86" y="28"/>
                    </a:lnTo>
                    <a:lnTo>
                      <a:pt x="90" y="32"/>
                    </a:lnTo>
                    <a:lnTo>
                      <a:pt x="94" y="32"/>
                    </a:lnTo>
                    <a:lnTo>
                      <a:pt x="94" y="32"/>
                    </a:lnTo>
                    <a:lnTo>
                      <a:pt x="94" y="32"/>
                    </a:lnTo>
                    <a:lnTo>
                      <a:pt x="94" y="32"/>
                    </a:lnTo>
                    <a:lnTo>
                      <a:pt x="94" y="32"/>
                    </a:lnTo>
                    <a:close/>
                    <a:moveTo>
                      <a:pt x="56" y="75"/>
                    </a:moveTo>
                    <a:lnTo>
                      <a:pt x="56" y="75"/>
                    </a:lnTo>
                    <a:lnTo>
                      <a:pt x="62" y="75"/>
                    </a:lnTo>
                    <a:lnTo>
                      <a:pt x="66" y="79"/>
                    </a:lnTo>
                    <a:lnTo>
                      <a:pt x="60" y="79"/>
                    </a:lnTo>
                    <a:lnTo>
                      <a:pt x="56" y="75"/>
                    </a:lnTo>
                    <a:lnTo>
                      <a:pt x="56" y="75"/>
                    </a:lnTo>
                    <a:lnTo>
                      <a:pt x="56" y="75"/>
                    </a:lnTo>
                    <a:lnTo>
                      <a:pt x="56" y="75"/>
                    </a:lnTo>
                    <a:close/>
                    <a:moveTo>
                      <a:pt x="52" y="71"/>
                    </a:moveTo>
                    <a:lnTo>
                      <a:pt x="62" y="73"/>
                    </a:lnTo>
                    <a:lnTo>
                      <a:pt x="58" y="75"/>
                    </a:lnTo>
                    <a:lnTo>
                      <a:pt x="52" y="71"/>
                    </a:lnTo>
                    <a:lnTo>
                      <a:pt x="52" y="71"/>
                    </a:lnTo>
                    <a:lnTo>
                      <a:pt x="52" y="71"/>
                    </a:lnTo>
                    <a:lnTo>
                      <a:pt x="52" y="71"/>
                    </a:lnTo>
                    <a:close/>
                    <a:moveTo>
                      <a:pt x="52" y="67"/>
                    </a:moveTo>
                    <a:lnTo>
                      <a:pt x="60" y="67"/>
                    </a:lnTo>
                    <a:lnTo>
                      <a:pt x="62" y="69"/>
                    </a:lnTo>
                    <a:lnTo>
                      <a:pt x="58" y="71"/>
                    </a:lnTo>
                    <a:lnTo>
                      <a:pt x="54" y="69"/>
                    </a:lnTo>
                    <a:lnTo>
                      <a:pt x="52" y="67"/>
                    </a:lnTo>
                    <a:lnTo>
                      <a:pt x="52" y="67"/>
                    </a:lnTo>
                    <a:lnTo>
                      <a:pt x="52" y="67"/>
                    </a:lnTo>
                    <a:lnTo>
                      <a:pt x="52" y="67"/>
                    </a:lnTo>
                    <a:close/>
                    <a:moveTo>
                      <a:pt x="26" y="45"/>
                    </a:moveTo>
                    <a:lnTo>
                      <a:pt x="28" y="45"/>
                    </a:lnTo>
                    <a:lnTo>
                      <a:pt x="32" y="49"/>
                    </a:lnTo>
                    <a:lnTo>
                      <a:pt x="30" y="49"/>
                    </a:lnTo>
                    <a:lnTo>
                      <a:pt x="26" y="45"/>
                    </a:lnTo>
                    <a:lnTo>
                      <a:pt x="26" y="45"/>
                    </a:lnTo>
                    <a:lnTo>
                      <a:pt x="26" y="45"/>
                    </a:lnTo>
                    <a:lnTo>
                      <a:pt x="26" y="45"/>
                    </a:lnTo>
                    <a:close/>
                    <a:moveTo>
                      <a:pt x="22" y="39"/>
                    </a:moveTo>
                    <a:lnTo>
                      <a:pt x="26" y="43"/>
                    </a:lnTo>
                    <a:lnTo>
                      <a:pt x="22" y="41"/>
                    </a:lnTo>
                    <a:lnTo>
                      <a:pt x="22" y="39"/>
                    </a:lnTo>
                    <a:lnTo>
                      <a:pt x="22" y="39"/>
                    </a:lnTo>
                    <a:lnTo>
                      <a:pt x="22" y="39"/>
                    </a:lnTo>
                    <a:lnTo>
                      <a:pt x="22" y="39"/>
                    </a:lnTo>
                    <a:close/>
                    <a:moveTo>
                      <a:pt x="24" y="49"/>
                    </a:moveTo>
                    <a:lnTo>
                      <a:pt x="28" y="54"/>
                    </a:lnTo>
                    <a:lnTo>
                      <a:pt x="28" y="56"/>
                    </a:lnTo>
                    <a:lnTo>
                      <a:pt x="24" y="49"/>
                    </a:lnTo>
                    <a:lnTo>
                      <a:pt x="24" y="49"/>
                    </a:lnTo>
                    <a:lnTo>
                      <a:pt x="24" y="49"/>
                    </a:lnTo>
                    <a:lnTo>
                      <a:pt x="24" y="49"/>
                    </a:lnTo>
                    <a:close/>
                    <a:moveTo>
                      <a:pt x="19" y="45"/>
                    </a:moveTo>
                    <a:lnTo>
                      <a:pt x="22" y="45"/>
                    </a:lnTo>
                    <a:lnTo>
                      <a:pt x="22" y="49"/>
                    </a:lnTo>
                    <a:lnTo>
                      <a:pt x="19" y="45"/>
                    </a:lnTo>
                    <a:lnTo>
                      <a:pt x="19" y="45"/>
                    </a:lnTo>
                    <a:lnTo>
                      <a:pt x="19" y="45"/>
                    </a:lnTo>
                    <a:lnTo>
                      <a:pt x="19" y="45"/>
                    </a:lnTo>
                    <a:close/>
                    <a:moveTo>
                      <a:pt x="13" y="33"/>
                    </a:moveTo>
                    <a:lnTo>
                      <a:pt x="17" y="37"/>
                    </a:lnTo>
                    <a:lnTo>
                      <a:pt x="19" y="43"/>
                    </a:lnTo>
                    <a:lnTo>
                      <a:pt x="17" y="43"/>
                    </a:lnTo>
                    <a:lnTo>
                      <a:pt x="13" y="39"/>
                    </a:lnTo>
                    <a:lnTo>
                      <a:pt x="17" y="37"/>
                    </a:lnTo>
                    <a:lnTo>
                      <a:pt x="13" y="33"/>
                    </a:lnTo>
                    <a:lnTo>
                      <a:pt x="13" y="33"/>
                    </a:lnTo>
                    <a:lnTo>
                      <a:pt x="13" y="33"/>
                    </a:lnTo>
                    <a:lnTo>
                      <a:pt x="13" y="33"/>
                    </a:lnTo>
                    <a:close/>
                    <a:moveTo>
                      <a:pt x="17" y="26"/>
                    </a:moveTo>
                    <a:lnTo>
                      <a:pt x="20" y="33"/>
                    </a:lnTo>
                    <a:lnTo>
                      <a:pt x="19" y="35"/>
                    </a:lnTo>
                    <a:lnTo>
                      <a:pt x="17" y="33"/>
                    </a:lnTo>
                    <a:lnTo>
                      <a:pt x="13" y="33"/>
                    </a:lnTo>
                    <a:lnTo>
                      <a:pt x="13" y="28"/>
                    </a:lnTo>
                    <a:lnTo>
                      <a:pt x="13" y="28"/>
                    </a:lnTo>
                    <a:lnTo>
                      <a:pt x="17" y="26"/>
                    </a:lnTo>
                    <a:lnTo>
                      <a:pt x="17" y="26"/>
                    </a:lnTo>
                    <a:lnTo>
                      <a:pt x="17" y="26"/>
                    </a:lnTo>
                    <a:lnTo>
                      <a:pt x="17" y="2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0" name="Freeform 92"/>
              <p:cNvSpPr>
                <a:spLocks/>
              </p:cNvSpPr>
              <p:nvPr/>
            </p:nvSpPr>
            <p:spPr bwMode="auto">
              <a:xfrm>
                <a:off x="3043" y="2193"/>
                <a:ext cx="69" cy="64"/>
              </a:xfrm>
              <a:custGeom>
                <a:avLst/>
                <a:gdLst/>
                <a:ahLst/>
                <a:cxnLst>
                  <a:cxn ang="0">
                    <a:pos x="37" y="55"/>
                  </a:cxn>
                  <a:cxn ang="0">
                    <a:pos x="9" y="27"/>
                  </a:cxn>
                  <a:cxn ang="0">
                    <a:pos x="9" y="21"/>
                  </a:cxn>
                  <a:cxn ang="0">
                    <a:pos x="7" y="17"/>
                  </a:cxn>
                  <a:cxn ang="0">
                    <a:pos x="0" y="12"/>
                  </a:cxn>
                  <a:cxn ang="0">
                    <a:pos x="1" y="8"/>
                  </a:cxn>
                  <a:cxn ang="0">
                    <a:pos x="3" y="0"/>
                  </a:cxn>
                  <a:cxn ang="0">
                    <a:pos x="9" y="6"/>
                  </a:cxn>
                  <a:cxn ang="0">
                    <a:pos x="11" y="2"/>
                  </a:cxn>
                  <a:cxn ang="0">
                    <a:pos x="18" y="2"/>
                  </a:cxn>
                  <a:cxn ang="0">
                    <a:pos x="20" y="2"/>
                  </a:cxn>
                  <a:cxn ang="0">
                    <a:pos x="26" y="2"/>
                  </a:cxn>
                  <a:cxn ang="0">
                    <a:pos x="30" y="2"/>
                  </a:cxn>
                  <a:cxn ang="0">
                    <a:pos x="37" y="2"/>
                  </a:cxn>
                  <a:cxn ang="0">
                    <a:pos x="43" y="2"/>
                  </a:cxn>
                  <a:cxn ang="0">
                    <a:pos x="50" y="6"/>
                  </a:cxn>
                  <a:cxn ang="0">
                    <a:pos x="58" y="8"/>
                  </a:cxn>
                  <a:cxn ang="0">
                    <a:pos x="62" y="8"/>
                  </a:cxn>
                  <a:cxn ang="0">
                    <a:pos x="64" y="15"/>
                  </a:cxn>
                  <a:cxn ang="0">
                    <a:pos x="60" y="21"/>
                  </a:cxn>
                  <a:cxn ang="0">
                    <a:pos x="67" y="27"/>
                  </a:cxn>
                  <a:cxn ang="0">
                    <a:pos x="69" y="30"/>
                  </a:cxn>
                  <a:cxn ang="0">
                    <a:pos x="64" y="30"/>
                  </a:cxn>
                  <a:cxn ang="0">
                    <a:pos x="67" y="40"/>
                  </a:cxn>
                  <a:cxn ang="0">
                    <a:pos x="64" y="40"/>
                  </a:cxn>
                  <a:cxn ang="0">
                    <a:pos x="56" y="40"/>
                  </a:cxn>
                  <a:cxn ang="0">
                    <a:pos x="60" y="46"/>
                  </a:cxn>
                  <a:cxn ang="0">
                    <a:pos x="58" y="49"/>
                  </a:cxn>
                  <a:cxn ang="0">
                    <a:pos x="54" y="53"/>
                  </a:cxn>
                  <a:cxn ang="0">
                    <a:pos x="54" y="62"/>
                  </a:cxn>
                  <a:cxn ang="0">
                    <a:pos x="45" y="59"/>
                  </a:cxn>
                  <a:cxn ang="0">
                    <a:pos x="37" y="59"/>
                  </a:cxn>
                  <a:cxn ang="0">
                    <a:pos x="35" y="57"/>
                  </a:cxn>
                  <a:cxn ang="0">
                    <a:pos x="35" y="57"/>
                  </a:cxn>
                </a:cxnLst>
                <a:rect l="0" t="0" r="r" b="b"/>
                <a:pathLst>
                  <a:path w="69" h="64">
                    <a:moveTo>
                      <a:pt x="35" y="57"/>
                    </a:moveTo>
                    <a:lnTo>
                      <a:pt x="37" y="55"/>
                    </a:lnTo>
                    <a:lnTo>
                      <a:pt x="24" y="38"/>
                    </a:lnTo>
                    <a:lnTo>
                      <a:pt x="9" y="27"/>
                    </a:lnTo>
                    <a:lnTo>
                      <a:pt x="9" y="23"/>
                    </a:lnTo>
                    <a:lnTo>
                      <a:pt x="9" y="21"/>
                    </a:lnTo>
                    <a:lnTo>
                      <a:pt x="7" y="17"/>
                    </a:lnTo>
                    <a:lnTo>
                      <a:pt x="7" y="17"/>
                    </a:lnTo>
                    <a:lnTo>
                      <a:pt x="1" y="12"/>
                    </a:lnTo>
                    <a:lnTo>
                      <a:pt x="0" y="12"/>
                    </a:lnTo>
                    <a:lnTo>
                      <a:pt x="0" y="8"/>
                    </a:lnTo>
                    <a:lnTo>
                      <a:pt x="1" y="8"/>
                    </a:lnTo>
                    <a:lnTo>
                      <a:pt x="1" y="2"/>
                    </a:lnTo>
                    <a:lnTo>
                      <a:pt x="3" y="0"/>
                    </a:lnTo>
                    <a:lnTo>
                      <a:pt x="7" y="2"/>
                    </a:lnTo>
                    <a:lnTo>
                      <a:pt x="9" y="6"/>
                    </a:lnTo>
                    <a:lnTo>
                      <a:pt x="11" y="6"/>
                    </a:lnTo>
                    <a:lnTo>
                      <a:pt x="11" y="2"/>
                    </a:lnTo>
                    <a:lnTo>
                      <a:pt x="15" y="2"/>
                    </a:lnTo>
                    <a:lnTo>
                      <a:pt x="18" y="2"/>
                    </a:lnTo>
                    <a:lnTo>
                      <a:pt x="20" y="0"/>
                    </a:lnTo>
                    <a:lnTo>
                      <a:pt x="20" y="2"/>
                    </a:lnTo>
                    <a:lnTo>
                      <a:pt x="24" y="2"/>
                    </a:lnTo>
                    <a:lnTo>
                      <a:pt x="26" y="2"/>
                    </a:lnTo>
                    <a:lnTo>
                      <a:pt x="30" y="6"/>
                    </a:lnTo>
                    <a:lnTo>
                      <a:pt x="30" y="2"/>
                    </a:lnTo>
                    <a:lnTo>
                      <a:pt x="33" y="2"/>
                    </a:lnTo>
                    <a:lnTo>
                      <a:pt x="37" y="2"/>
                    </a:lnTo>
                    <a:lnTo>
                      <a:pt x="39" y="2"/>
                    </a:lnTo>
                    <a:lnTo>
                      <a:pt x="43" y="2"/>
                    </a:lnTo>
                    <a:lnTo>
                      <a:pt x="45" y="6"/>
                    </a:lnTo>
                    <a:lnTo>
                      <a:pt x="50" y="6"/>
                    </a:lnTo>
                    <a:lnTo>
                      <a:pt x="54" y="8"/>
                    </a:lnTo>
                    <a:lnTo>
                      <a:pt x="58" y="8"/>
                    </a:lnTo>
                    <a:lnTo>
                      <a:pt x="60" y="12"/>
                    </a:lnTo>
                    <a:lnTo>
                      <a:pt x="62" y="8"/>
                    </a:lnTo>
                    <a:lnTo>
                      <a:pt x="64" y="8"/>
                    </a:lnTo>
                    <a:lnTo>
                      <a:pt x="64" y="15"/>
                    </a:lnTo>
                    <a:lnTo>
                      <a:pt x="58" y="21"/>
                    </a:lnTo>
                    <a:lnTo>
                      <a:pt x="60" y="21"/>
                    </a:lnTo>
                    <a:lnTo>
                      <a:pt x="65" y="27"/>
                    </a:lnTo>
                    <a:lnTo>
                      <a:pt x="67" y="27"/>
                    </a:lnTo>
                    <a:lnTo>
                      <a:pt x="69" y="29"/>
                    </a:lnTo>
                    <a:lnTo>
                      <a:pt x="69" y="30"/>
                    </a:lnTo>
                    <a:lnTo>
                      <a:pt x="65" y="29"/>
                    </a:lnTo>
                    <a:lnTo>
                      <a:pt x="64" y="30"/>
                    </a:lnTo>
                    <a:lnTo>
                      <a:pt x="64" y="34"/>
                    </a:lnTo>
                    <a:lnTo>
                      <a:pt x="67" y="40"/>
                    </a:lnTo>
                    <a:lnTo>
                      <a:pt x="65" y="42"/>
                    </a:lnTo>
                    <a:lnTo>
                      <a:pt x="64" y="40"/>
                    </a:lnTo>
                    <a:lnTo>
                      <a:pt x="58" y="38"/>
                    </a:lnTo>
                    <a:lnTo>
                      <a:pt x="56" y="40"/>
                    </a:lnTo>
                    <a:lnTo>
                      <a:pt x="56" y="42"/>
                    </a:lnTo>
                    <a:lnTo>
                      <a:pt x="60" y="46"/>
                    </a:lnTo>
                    <a:lnTo>
                      <a:pt x="62" y="47"/>
                    </a:lnTo>
                    <a:lnTo>
                      <a:pt x="58" y="49"/>
                    </a:lnTo>
                    <a:lnTo>
                      <a:pt x="56" y="49"/>
                    </a:lnTo>
                    <a:lnTo>
                      <a:pt x="54" y="53"/>
                    </a:lnTo>
                    <a:lnTo>
                      <a:pt x="54" y="59"/>
                    </a:lnTo>
                    <a:lnTo>
                      <a:pt x="54" y="62"/>
                    </a:lnTo>
                    <a:lnTo>
                      <a:pt x="50" y="64"/>
                    </a:lnTo>
                    <a:lnTo>
                      <a:pt x="45" y="59"/>
                    </a:lnTo>
                    <a:lnTo>
                      <a:pt x="45" y="59"/>
                    </a:lnTo>
                    <a:lnTo>
                      <a:pt x="37" y="59"/>
                    </a:lnTo>
                    <a:lnTo>
                      <a:pt x="35" y="57"/>
                    </a:lnTo>
                    <a:lnTo>
                      <a:pt x="35" y="57"/>
                    </a:lnTo>
                    <a:lnTo>
                      <a:pt x="35" y="57"/>
                    </a:lnTo>
                    <a:lnTo>
                      <a:pt x="35" y="5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1" name="Freeform 93"/>
              <p:cNvSpPr>
                <a:spLocks/>
              </p:cNvSpPr>
              <p:nvPr/>
            </p:nvSpPr>
            <p:spPr bwMode="auto">
              <a:xfrm>
                <a:off x="3007" y="2161"/>
                <a:ext cx="52" cy="32"/>
              </a:xfrm>
              <a:custGeom>
                <a:avLst/>
                <a:gdLst/>
                <a:ahLst/>
                <a:cxnLst>
                  <a:cxn ang="0">
                    <a:pos x="0" y="32"/>
                  </a:cxn>
                  <a:cxn ang="0">
                    <a:pos x="7" y="32"/>
                  </a:cxn>
                  <a:cxn ang="0">
                    <a:pos x="11" y="29"/>
                  </a:cxn>
                  <a:cxn ang="0">
                    <a:pos x="15" y="27"/>
                  </a:cxn>
                  <a:cxn ang="0">
                    <a:pos x="22" y="30"/>
                  </a:cxn>
                  <a:cxn ang="0">
                    <a:pos x="26" y="30"/>
                  </a:cxn>
                  <a:cxn ang="0">
                    <a:pos x="26" y="23"/>
                  </a:cxn>
                  <a:cxn ang="0">
                    <a:pos x="32" y="23"/>
                  </a:cxn>
                  <a:cxn ang="0">
                    <a:pos x="34" y="17"/>
                  </a:cxn>
                  <a:cxn ang="0">
                    <a:pos x="43" y="10"/>
                  </a:cxn>
                  <a:cxn ang="0">
                    <a:pos x="52" y="10"/>
                  </a:cxn>
                  <a:cxn ang="0">
                    <a:pos x="51" y="6"/>
                  </a:cxn>
                  <a:cxn ang="0">
                    <a:pos x="47" y="0"/>
                  </a:cxn>
                  <a:cxn ang="0">
                    <a:pos x="41" y="0"/>
                  </a:cxn>
                  <a:cxn ang="0">
                    <a:pos x="34" y="6"/>
                  </a:cxn>
                  <a:cxn ang="0">
                    <a:pos x="32" y="6"/>
                  </a:cxn>
                  <a:cxn ang="0">
                    <a:pos x="30" y="6"/>
                  </a:cxn>
                  <a:cxn ang="0">
                    <a:pos x="26" y="6"/>
                  </a:cxn>
                  <a:cxn ang="0">
                    <a:pos x="22" y="6"/>
                  </a:cxn>
                  <a:cxn ang="0">
                    <a:pos x="19" y="10"/>
                  </a:cxn>
                  <a:cxn ang="0">
                    <a:pos x="15" y="6"/>
                  </a:cxn>
                  <a:cxn ang="0">
                    <a:pos x="7" y="6"/>
                  </a:cxn>
                  <a:cxn ang="0">
                    <a:pos x="4" y="6"/>
                  </a:cxn>
                  <a:cxn ang="0">
                    <a:pos x="0" y="12"/>
                  </a:cxn>
                  <a:cxn ang="0">
                    <a:pos x="0" y="13"/>
                  </a:cxn>
                  <a:cxn ang="0">
                    <a:pos x="0" y="19"/>
                  </a:cxn>
                  <a:cxn ang="0">
                    <a:pos x="0" y="23"/>
                  </a:cxn>
                  <a:cxn ang="0">
                    <a:pos x="0" y="23"/>
                  </a:cxn>
                  <a:cxn ang="0">
                    <a:pos x="4" y="25"/>
                  </a:cxn>
                  <a:cxn ang="0">
                    <a:pos x="4" y="29"/>
                  </a:cxn>
                  <a:cxn ang="0">
                    <a:pos x="0" y="29"/>
                  </a:cxn>
                  <a:cxn ang="0">
                    <a:pos x="0" y="32"/>
                  </a:cxn>
                  <a:cxn ang="0">
                    <a:pos x="0" y="32"/>
                  </a:cxn>
                  <a:cxn ang="0">
                    <a:pos x="0" y="32"/>
                  </a:cxn>
                </a:cxnLst>
                <a:rect l="0" t="0" r="r" b="b"/>
                <a:pathLst>
                  <a:path w="52" h="32">
                    <a:moveTo>
                      <a:pt x="0" y="32"/>
                    </a:moveTo>
                    <a:lnTo>
                      <a:pt x="7" y="32"/>
                    </a:lnTo>
                    <a:lnTo>
                      <a:pt x="11" y="29"/>
                    </a:lnTo>
                    <a:lnTo>
                      <a:pt x="15" y="27"/>
                    </a:lnTo>
                    <a:lnTo>
                      <a:pt x="22" y="30"/>
                    </a:lnTo>
                    <a:lnTo>
                      <a:pt x="26" y="30"/>
                    </a:lnTo>
                    <a:lnTo>
                      <a:pt x="26" y="23"/>
                    </a:lnTo>
                    <a:lnTo>
                      <a:pt x="32" y="23"/>
                    </a:lnTo>
                    <a:lnTo>
                      <a:pt x="34" y="17"/>
                    </a:lnTo>
                    <a:lnTo>
                      <a:pt x="43" y="10"/>
                    </a:lnTo>
                    <a:lnTo>
                      <a:pt x="52" y="10"/>
                    </a:lnTo>
                    <a:lnTo>
                      <a:pt x="51" y="6"/>
                    </a:lnTo>
                    <a:lnTo>
                      <a:pt x="47" y="0"/>
                    </a:lnTo>
                    <a:lnTo>
                      <a:pt x="41" y="0"/>
                    </a:lnTo>
                    <a:lnTo>
                      <a:pt x="34" y="6"/>
                    </a:lnTo>
                    <a:lnTo>
                      <a:pt x="32" y="6"/>
                    </a:lnTo>
                    <a:lnTo>
                      <a:pt x="30" y="6"/>
                    </a:lnTo>
                    <a:lnTo>
                      <a:pt x="26" y="6"/>
                    </a:lnTo>
                    <a:lnTo>
                      <a:pt x="22" y="6"/>
                    </a:lnTo>
                    <a:lnTo>
                      <a:pt x="19" y="10"/>
                    </a:lnTo>
                    <a:lnTo>
                      <a:pt x="15" y="6"/>
                    </a:lnTo>
                    <a:lnTo>
                      <a:pt x="7" y="6"/>
                    </a:lnTo>
                    <a:lnTo>
                      <a:pt x="4" y="6"/>
                    </a:lnTo>
                    <a:lnTo>
                      <a:pt x="0" y="12"/>
                    </a:lnTo>
                    <a:lnTo>
                      <a:pt x="0" y="13"/>
                    </a:lnTo>
                    <a:lnTo>
                      <a:pt x="0" y="19"/>
                    </a:lnTo>
                    <a:lnTo>
                      <a:pt x="0" y="23"/>
                    </a:lnTo>
                    <a:lnTo>
                      <a:pt x="0" y="23"/>
                    </a:lnTo>
                    <a:lnTo>
                      <a:pt x="4" y="25"/>
                    </a:lnTo>
                    <a:lnTo>
                      <a:pt x="4" y="29"/>
                    </a:lnTo>
                    <a:lnTo>
                      <a:pt x="0" y="29"/>
                    </a:lnTo>
                    <a:lnTo>
                      <a:pt x="0" y="32"/>
                    </a:lnTo>
                    <a:lnTo>
                      <a:pt x="0" y="32"/>
                    </a:lnTo>
                    <a:lnTo>
                      <a:pt x="0" y="3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2" name="Freeform 94"/>
              <p:cNvSpPr>
                <a:spLocks noEditPoints="1"/>
              </p:cNvSpPr>
              <p:nvPr/>
            </p:nvSpPr>
            <p:spPr bwMode="auto">
              <a:xfrm>
                <a:off x="3118" y="2267"/>
                <a:ext cx="162" cy="160"/>
              </a:xfrm>
              <a:custGeom>
                <a:avLst/>
                <a:gdLst/>
                <a:ahLst/>
                <a:cxnLst>
                  <a:cxn ang="0">
                    <a:pos x="94" y="13"/>
                  </a:cxn>
                  <a:cxn ang="0">
                    <a:pos x="60" y="17"/>
                  </a:cxn>
                  <a:cxn ang="0">
                    <a:pos x="15" y="41"/>
                  </a:cxn>
                  <a:cxn ang="0">
                    <a:pos x="28" y="79"/>
                  </a:cxn>
                  <a:cxn ang="0">
                    <a:pos x="54" y="86"/>
                  </a:cxn>
                  <a:cxn ang="0">
                    <a:pos x="39" y="88"/>
                  </a:cxn>
                  <a:cxn ang="0">
                    <a:pos x="39" y="115"/>
                  </a:cxn>
                  <a:cxn ang="0">
                    <a:pos x="56" y="126"/>
                  </a:cxn>
                  <a:cxn ang="0">
                    <a:pos x="60" y="105"/>
                  </a:cxn>
                  <a:cxn ang="0">
                    <a:pos x="69" y="103"/>
                  </a:cxn>
                  <a:cxn ang="0">
                    <a:pos x="83" y="98"/>
                  </a:cxn>
                  <a:cxn ang="0">
                    <a:pos x="58" y="75"/>
                  </a:cxn>
                  <a:cxn ang="0">
                    <a:pos x="64" y="66"/>
                  </a:cxn>
                  <a:cxn ang="0">
                    <a:pos x="51" y="36"/>
                  </a:cxn>
                  <a:cxn ang="0">
                    <a:pos x="69" y="43"/>
                  </a:cxn>
                  <a:cxn ang="0">
                    <a:pos x="79" y="39"/>
                  </a:cxn>
                  <a:cxn ang="0">
                    <a:pos x="85" y="22"/>
                  </a:cxn>
                  <a:cxn ang="0">
                    <a:pos x="118" y="19"/>
                  </a:cxn>
                  <a:cxn ang="0">
                    <a:pos x="79" y="145"/>
                  </a:cxn>
                  <a:cxn ang="0">
                    <a:pos x="100" y="160"/>
                  </a:cxn>
                  <a:cxn ang="0">
                    <a:pos x="128" y="150"/>
                  </a:cxn>
                  <a:cxn ang="0">
                    <a:pos x="107" y="145"/>
                  </a:cxn>
                  <a:cxn ang="0">
                    <a:pos x="85" y="145"/>
                  </a:cxn>
                  <a:cxn ang="0">
                    <a:pos x="79" y="145"/>
                  </a:cxn>
                  <a:cxn ang="0">
                    <a:pos x="0" y="54"/>
                  </a:cxn>
                  <a:cxn ang="0">
                    <a:pos x="21" y="75"/>
                  </a:cxn>
                  <a:cxn ang="0">
                    <a:pos x="19" y="79"/>
                  </a:cxn>
                  <a:cxn ang="0">
                    <a:pos x="19" y="88"/>
                  </a:cxn>
                  <a:cxn ang="0">
                    <a:pos x="19" y="85"/>
                  </a:cxn>
                  <a:cxn ang="0">
                    <a:pos x="26" y="98"/>
                  </a:cxn>
                  <a:cxn ang="0">
                    <a:pos x="143" y="139"/>
                  </a:cxn>
                  <a:cxn ang="0">
                    <a:pos x="143" y="149"/>
                  </a:cxn>
                  <a:cxn ang="0">
                    <a:pos x="162" y="124"/>
                  </a:cxn>
                  <a:cxn ang="0">
                    <a:pos x="152" y="137"/>
                  </a:cxn>
                  <a:cxn ang="0">
                    <a:pos x="128" y="124"/>
                  </a:cxn>
                  <a:cxn ang="0">
                    <a:pos x="135" y="100"/>
                  </a:cxn>
                  <a:cxn ang="0">
                    <a:pos x="128" y="98"/>
                  </a:cxn>
                  <a:cxn ang="0">
                    <a:pos x="115" y="79"/>
                  </a:cxn>
                  <a:cxn ang="0">
                    <a:pos x="118" y="62"/>
                  </a:cxn>
                  <a:cxn ang="0">
                    <a:pos x="118" y="66"/>
                  </a:cxn>
                  <a:cxn ang="0">
                    <a:pos x="115" y="66"/>
                  </a:cxn>
                  <a:cxn ang="0">
                    <a:pos x="105" y="34"/>
                  </a:cxn>
                  <a:cxn ang="0">
                    <a:pos x="98" y="47"/>
                  </a:cxn>
                  <a:cxn ang="0">
                    <a:pos x="90" y="30"/>
                  </a:cxn>
                  <a:cxn ang="0">
                    <a:pos x="75" y="66"/>
                  </a:cxn>
                  <a:cxn ang="0">
                    <a:pos x="68" y="66"/>
                  </a:cxn>
                  <a:cxn ang="0">
                    <a:pos x="92" y="71"/>
                  </a:cxn>
                  <a:cxn ang="0">
                    <a:pos x="122" y="103"/>
                  </a:cxn>
                  <a:cxn ang="0">
                    <a:pos x="88" y="124"/>
                  </a:cxn>
                  <a:cxn ang="0">
                    <a:pos x="90" y="111"/>
                  </a:cxn>
                  <a:cxn ang="0">
                    <a:pos x="88" y="105"/>
                  </a:cxn>
                  <a:cxn ang="0">
                    <a:pos x="103" y="111"/>
                  </a:cxn>
                  <a:cxn ang="0">
                    <a:pos x="113" y="111"/>
                  </a:cxn>
                  <a:cxn ang="0">
                    <a:pos x="109" y="105"/>
                  </a:cxn>
                  <a:cxn ang="0">
                    <a:pos x="103" y="101"/>
                  </a:cxn>
                  <a:cxn ang="0">
                    <a:pos x="94" y="96"/>
                  </a:cxn>
                  <a:cxn ang="0">
                    <a:pos x="77" y="75"/>
                  </a:cxn>
                  <a:cxn ang="0">
                    <a:pos x="88" y="90"/>
                  </a:cxn>
                  <a:cxn ang="0">
                    <a:pos x="79" y="81"/>
                  </a:cxn>
                  <a:cxn ang="0">
                    <a:pos x="60" y="71"/>
                  </a:cxn>
                  <a:cxn ang="0">
                    <a:pos x="66" y="132"/>
                  </a:cxn>
                  <a:cxn ang="0">
                    <a:pos x="66" y="124"/>
                  </a:cxn>
                </a:cxnLst>
                <a:rect l="0" t="0" r="r" b="b"/>
                <a:pathLst>
                  <a:path w="162" h="160">
                    <a:moveTo>
                      <a:pt x="120" y="0"/>
                    </a:moveTo>
                    <a:lnTo>
                      <a:pt x="118" y="0"/>
                    </a:lnTo>
                    <a:lnTo>
                      <a:pt x="115" y="4"/>
                    </a:lnTo>
                    <a:lnTo>
                      <a:pt x="115" y="7"/>
                    </a:lnTo>
                    <a:lnTo>
                      <a:pt x="115" y="11"/>
                    </a:lnTo>
                    <a:lnTo>
                      <a:pt x="115" y="13"/>
                    </a:lnTo>
                    <a:lnTo>
                      <a:pt x="105" y="13"/>
                    </a:lnTo>
                    <a:lnTo>
                      <a:pt x="101" y="15"/>
                    </a:lnTo>
                    <a:lnTo>
                      <a:pt x="98" y="13"/>
                    </a:lnTo>
                    <a:lnTo>
                      <a:pt x="94" y="13"/>
                    </a:lnTo>
                    <a:lnTo>
                      <a:pt x="92" y="15"/>
                    </a:lnTo>
                    <a:lnTo>
                      <a:pt x="88" y="15"/>
                    </a:lnTo>
                    <a:lnTo>
                      <a:pt x="88" y="11"/>
                    </a:lnTo>
                    <a:lnTo>
                      <a:pt x="83" y="11"/>
                    </a:lnTo>
                    <a:lnTo>
                      <a:pt x="79" y="11"/>
                    </a:lnTo>
                    <a:lnTo>
                      <a:pt x="77" y="15"/>
                    </a:lnTo>
                    <a:lnTo>
                      <a:pt x="69" y="15"/>
                    </a:lnTo>
                    <a:lnTo>
                      <a:pt x="66" y="15"/>
                    </a:lnTo>
                    <a:lnTo>
                      <a:pt x="62" y="15"/>
                    </a:lnTo>
                    <a:lnTo>
                      <a:pt x="60" y="17"/>
                    </a:lnTo>
                    <a:lnTo>
                      <a:pt x="56" y="17"/>
                    </a:lnTo>
                    <a:lnTo>
                      <a:pt x="53" y="19"/>
                    </a:lnTo>
                    <a:lnTo>
                      <a:pt x="43" y="19"/>
                    </a:lnTo>
                    <a:lnTo>
                      <a:pt x="39" y="20"/>
                    </a:lnTo>
                    <a:lnTo>
                      <a:pt x="39" y="22"/>
                    </a:lnTo>
                    <a:lnTo>
                      <a:pt x="34" y="24"/>
                    </a:lnTo>
                    <a:lnTo>
                      <a:pt x="26" y="30"/>
                    </a:lnTo>
                    <a:lnTo>
                      <a:pt x="26" y="36"/>
                    </a:lnTo>
                    <a:lnTo>
                      <a:pt x="22" y="39"/>
                    </a:lnTo>
                    <a:lnTo>
                      <a:pt x="15" y="41"/>
                    </a:lnTo>
                    <a:lnTo>
                      <a:pt x="15" y="47"/>
                    </a:lnTo>
                    <a:lnTo>
                      <a:pt x="13" y="53"/>
                    </a:lnTo>
                    <a:lnTo>
                      <a:pt x="9" y="53"/>
                    </a:lnTo>
                    <a:lnTo>
                      <a:pt x="9" y="54"/>
                    </a:lnTo>
                    <a:lnTo>
                      <a:pt x="9" y="60"/>
                    </a:lnTo>
                    <a:lnTo>
                      <a:pt x="17" y="64"/>
                    </a:lnTo>
                    <a:lnTo>
                      <a:pt x="21" y="69"/>
                    </a:lnTo>
                    <a:lnTo>
                      <a:pt x="22" y="69"/>
                    </a:lnTo>
                    <a:lnTo>
                      <a:pt x="22" y="71"/>
                    </a:lnTo>
                    <a:lnTo>
                      <a:pt x="28" y="79"/>
                    </a:lnTo>
                    <a:lnTo>
                      <a:pt x="30" y="85"/>
                    </a:lnTo>
                    <a:lnTo>
                      <a:pt x="32" y="85"/>
                    </a:lnTo>
                    <a:lnTo>
                      <a:pt x="36" y="81"/>
                    </a:lnTo>
                    <a:lnTo>
                      <a:pt x="37" y="85"/>
                    </a:lnTo>
                    <a:lnTo>
                      <a:pt x="43" y="85"/>
                    </a:lnTo>
                    <a:lnTo>
                      <a:pt x="43" y="85"/>
                    </a:lnTo>
                    <a:lnTo>
                      <a:pt x="49" y="85"/>
                    </a:lnTo>
                    <a:lnTo>
                      <a:pt x="51" y="86"/>
                    </a:lnTo>
                    <a:lnTo>
                      <a:pt x="54" y="85"/>
                    </a:lnTo>
                    <a:lnTo>
                      <a:pt x="54" y="86"/>
                    </a:lnTo>
                    <a:lnTo>
                      <a:pt x="58" y="86"/>
                    </a:lnTo>
                    <a:lnTo>
                      <a:pt x="60" y="88"/>
                    </a:lnTo>
                    <a:lnTo>
                      <a:pt x="64" y="88"/>
                    </a:lnTo>
                    <a:lnTo>
                      <a:pt x="60" y="90"/>
                    </a:lnTo>
                    <a:lnTo>
                      <a:pt x="58" y="94"/>
                    </a:lnTo>
                    <a:lnTo>
                      <a:pt x="56" y="92"/>
                    </a:lnTo>
                    <a:lnTo>
                      <a:pt x="53" y="90"/>
                    </a:lnTo>
                    <a:lnTo>
                      <a:pt x="45" y="85"/>
                    </a:lnTo>
                    <a:lnTo>
                      <a:pt x="43" y="86"/>
                    </a:lnTo>
                    <a:lnTo>
                      <a:pt x="39" y="88"/>
                    </a:lnTo>
                    <a:lnTo>
                      <a:pt x="36" y="86"/>
                    </a:lnTo>
                    <a:lnTo>
                      <a:pt x="34" y="90"/>
                    </a:lnTo>
                    <a:lnTo>
                      <a:pt x="32" y="92"/>
                    </a:lnTo>
                    <a:lnTo>
                      <a:pt x="30" y="94"/>
                    </a:lnTo>
                    <a:lnTo>
                      <a:pt x="34" y="100"/>
                    </a:lnTo>
                    <a:lnTo>
                      <a:pt x="37" y="101"/>
                    </a:lnTo>
                    <a:lnTo>
                      <a:pt x="43" y="105"/>
                    </a:lnTo>
                    <a:lnTo>
                      <a:pt x="43" y="109"/>
                    </a:lnTo>
                    <a:lnTo>
                      <a:pt x="39" y="111"/>
                    </a:lnTo>
                    <a:lnTo>
                      <a:pt x="39" y="115"/>
                    </a:lnTo>
                    <a:lnTo>
                      <a:pt x="43" y="117"/>
                    </a:lnTo>
                    <a:lnTo>
                      <a:pt x="45" y="118"/>
                    </a:lnTo>
                    <a:lnTo>
                      <a:pt x="49" y="117"/>
                    </a:lnTo>
                    <a:lnTo>
                      <a:pt x="45" y="115"/>
                    </a:lnTo>
                    <a:lnTo>
                      <a:pt x="49" y="111"/>
                    </a:lnTo>
                    <a:lnTo>
                      <a:pt x="49" y="117"/>
                    </a:lnTo>
                    <a:lnTo>
                      <a:pt x="54" y="118"/>
                    </a:lnTo>
                    <a:lnTo>
                      <a:pt x="54" y="120"/>
                    </a:lnTo>
                    <a:lnTo>
                      <a:pt x="54" y="124"/>
                    </a:lnTo>
                    <a:lnTo>
                      <a:pt x="56" y="126"/>
                    </a:lnTo>
                    <a:lnTo>
                      <a:pt x="56" y="120"/>
                    </a:lnTo>
                    <a:lnTo>
                      <a:pt x="58" y="117"/>
                    </a:lnTo>
                    <a:lnTo>
                      <a:pt x="62" y="117"/>
                    </a:lnTo>
                    <a:lnTo>
                      <a:pt x="64" y="120"/>
                    </a:lnTo>
                    <a:lnTo>
                      <a:pt x="69" y="124"/>
                    </a:lnTo>
                    <a:lnTo>
                      <a:pt x="66" y="120"/>
                    </a:lnTo>
                    <a:lnTo>
                      <a:pt x="68" y="117"/>
                    </a:lnTo>
                    <a:lnTo>
                      <a:pt x="66" y="115"/>
                    </a:lnTo>
                    <a:lnTo>
                      <a:pt x="62" y="109"/>
                    </a:lnTo>
                    <a:lnTo>
                      <a:pt x="60" y="105"/>
                    </a:lnTo>
                    <a:lnTo>
                      <a:pt x="60" y="103"/>
                    </a:lnTo>
                    <a:lnTo>
                      <a:pt x="62" y="103"/>
                    </a:lnTo>
                    <a:lnTo>
                      <a:pt x="68" y="105"/>
                    </a:lnTo>
                    <a:lnTo>
                      <a:pt x="66" y="105"/>
                    </a:lnTo>
                    <a:lnTo>
                      <a:pt x="68" y="109"/>
                    </a:lnTo>
                    <a:lnTo>
                      <a:pt x="69" y="105"/>
                    </a:lnTo>
                    <a:lnTo>
                      <a:pt x="73" y="105"/>
                    </a:lnTo>
                    <a:lnTo>
                      <a:pt x="73" y="105"/>
                    </a:lnTo>
                    <a:lnTo>
                      <a:pt x="69" y="105"/>
                    </a:lnTo>
                    <a:lnTo>
                      <a:pt x="69" y="103"/>
                    </a:lnTo>
                    <a:lnTo>
                      <a:pt x="69" y="103"/>
                    </a:lnTo>
                    <a:lnTo>
                      <a:pt x="68" y="101"/>
                    </a:lnTo>
                    <a:lnTo>
                      <a:pt x="68" y="100"/>
                    </a:lnTo>
                    <a:lnTo>
                      <a:pt x="64" y="96"/>
                    </a:lnTo>
                    <a:lnTo>
                      <a:pt x="68" y="94"/>
                    </a:lnTo>
                    <a:lnTo>
                      <a:pt x="69" y="94"/>
                    </a:lnTo>
                    <a:lnTo>
                      <a:pt x="73" y="92"/>
                    </a:lnTo>
                    <a:lnTo>
                      <a:pt x="77" y="96"/>
                    </a:lnTo>
                    <a:lnTo>
                      <a:pt x="79" y="98"/>
                    </a:lnTo>
                    <a:lnTo>
                      <a:pt x="83" y="98"/>
                    </a:lnTo>
                    <a:lnTo>
                      <a:pt x="83" y="96"/>
                    </a:lnTo>
                    <a:lnTo>
                      <a:pt x="79" y="92"/>
                    </a:lnTo>
                    <a:lnTo>
                      <a:pt x="79" y="86"/>
                    </a:lnTo>
                    <a:lnTo>
                      <a:pt x="79" y="85"/>
                    </a:lnTo>
                    <a:lnTo>
                      <a:pt x="69" y="79"/>
                    </a:lnTo>
                    <a:lnTo>
                      <a:pt x="68" y="79"/>
                    </a:lnTo>
                    <a:lnTo>
                      <a:pt x="66" y="75"/>
                    </a:lnTo>
                    <a:lnTo>
                      <a:pt x="64" y="79"/>
                    </a:lnTo>
                    <a:lnTo>
                      <a:pt x="62" y="75"/>
                    </a:lnTo>
                    <a:lnTo>
                      <a:pt x="58" y="75"/>
                    </a:lnTo>
                    <a:lnTo>
                      <a:pt x="54" y="69"/>
                    </a:lnTo>
                    <a:lnTo>
                      <a:pt x="58" y="69"/>
                    </a:lnTo>
                    <a:lnTo>
                      <a:pt x="60" y="69"/>
                    </a:lnTo>
                    <a:lnTo>
                      <a:pt x="60" y="66"/>
                    </a:lnTo>
                    <a:lnTo>
                      <a:pt x="56" y="66"/>
                    </a:lnTo>
                    <a:lnTo>
                      <a:pt x="58" y="62"/>
                    </a:lnTo>
                    <a:lnTo>
                      <a:pt x="58" y="60"/>
                    </a:lnTo>
                    <a:lnTo>
                      <a:pt x="62" y="62"/>
                    </a:lnTo>
                    <a:lnTo>
                      <a:pt x="64" y="64"/>
                    </a:lnTo>
                    <a:lnTo>
                      <a:pt x="64" y="66"/>
                    </a:lnTo>
                    <a:lnTo>
                      <a:pt x="64" y="66"/>
                    </a:lnTo>
                    <a:lnTo>
                      <a:pt x="66" y="66"/>
                    </a:lnTo>
                    <a:lnTo>
                      <a:pt x="68" y="62"/>
                    </a:lnTo>
                    <a:lnTo>
                      <a:pt x="64" y="60"/>
                    </a:lnTo>
                    <a:lnTo>
                      <a:pt x="58" y="53"/>
                    </a:lnTo>
                    <a:lnTo>
                      <a:pt x="56" y="51"/>
                    </a:lnTo>
                    <a:lnTo>
                      <a:pt x="54" y="47"/>
                    </a:lnTo>
                    <a:lnTo>
                      <a:pt x="51" y="43"/>
                    </a:lnTo>
                    <a:lnTo>
                      <a:pt x="53" y="41"/>
                    </a:lnTo>
                    <a:lnTo>
                      <a:pt x="51" y="36"/>
                    </a:lnTo>
                    <a:lnTo>
                      <a:pt x="54" y="30"/>
                    </a:lnTo>
                    <a:lnTo>
                      <a:pt x="58" y="30"/>
                    </a:lnTo>
                    <a:lnTo>
                      <a:pt x="60" y="36"/>
                    </a:lnTo>
                    <a:lnTo>
                      <a:pt x="56" y="36"/>
                    </a:lnTo>
                    <a:lnTo>
                      <a:pt x="58" y="36"/>
                    </a:lnTo>
                    <a:lnTo>
                      <a:pt x="64" y="39"/>
                    </a:lnTo>
                    <a:lnTo>
                      <a:pt x="64" y="43"/>
                    </a:lnTo>
                    <a:lnTo>
                      <a:pt x="68" y="45"/>
                    </a:lnTo>
                    <a:lnTo>
                      <a:pt x="73" y="45"/>
                    </a:lnTo>
                    <a:lnTo>
                      <a:pt x="69" y="43"/>
                    </a:lnTo>
                    <a:lnTo>
                      <a:pt x="68" y="41"/>
                    </a:lnTo>
                    <a:lnTo>
                      <a:pt x="68" y="39"/>
                    </a:lnTo>
                    <a:lnTo>
                      <a:pt x="73" y="39"/>
                    </a:lnTo>
                    <a:lnTo>
                      <a:pt x="75" y="43"/>
                    </a:lnTo>
                    <a:lnTo>
                      <a:pt x="79" y="45"/>
                    </a:lnTo>
                    <a:lnTo>
                      <a:pt x="79" y="41"/>
                    </a:lnTo>
                    <a:lnTo>
                      <a:pt x="77" y="39"/>
                    </a:lnTo>
                    <a:lnTo>
                      <a:pt x="73" y="39"/>
                    </a:lnTo>
                    <a:lnTo>
                      <a:pt x="75" y="36"/>
                    </a:lnTo>
                    <a:lnTo>
                      <a:pt x="79" y="39"/>
                    </a:lnTo>
                    <a:lnTo>
                      <a:pt x="83" y="39"/>
                    </a:lnTo>
                    <a:lnTo>
                      <a:pt x="83" y="39"/>
                    </a:lnTo>
                    <a:lnTo>
                      <a:pt x="79" y="36"/>
                    </a:lnTo>
                    <a:lnTo>
                      <a:pt x="77" y="36"/>
                    </a:lnTo>
                    <a:lnTo>
                      <a:pt x="73" y="30"/>
                    </a:lnTo>
                    <a:lnTo>
                      <a:pt x="75" y="26"/>
                    </a:lnTo>
                    <a:lnTo>
                      <a:pt x="79" y="30"/>
                    </a:lnTo>
                    <a:lnTo>
                      <a:pt x="83" y="26"/>
                    </a:lnTo>
                    <a:lnTo>
                      <a:pt x="83" y="22"/>
                    </a:lnTo>
                    <a:lnTo>
                      <a:pt x="85" y="22"/>
                    </a:lnTo>
                    <a:lnTo>
                      <a:pt x="88" y="26"/>
                    </a:lnTo>
                    <a:lnTo>
                      <a:pt x="92" y="26"/>
                    </a:lnTo>
                    <a:lnTo>
                      <a:pt x="96" y="22"/>
                    </a:lnTo>
                    <a:lnTo>
                      <a:pt x="96" y="20"/>
                    </a:lnTo>
                    <a:lnTo>
                      <a:pt x="98" y="20"/>
                    </a:lnTo>
                    <a:lnTo>
                      <a:pt x="100" y="22"/>
                    </a:lnTo>
                    <a:lnTo>
                      <a:pt x="109" y="22"/>
                    </a:lnTo>
                    <a:lnTo>
                      <a:pt x="115" y="24"/>
                    </a:lnTo>
                    <a:lnTo>
                      <a:pt x="118" y="24"/>
                    </a:lnTo>
                    <a:lnTo>
                      <a:pt x="118" y="19"/>
                    </a:lnTo>
                    <a:lnTo>
                      <a:pt x="118" y="15"/>
                    </a:lnTo>
                    <a:lnTo>
                      <a:pt x="124" y="11"/>
                    </a:lnTo>
                    <a:lnTo>
                      <a:pt x="124" y="7"/>
                    </a:lnTo>
                    <a:lnTo>
                      <a:pt x="120" y="5"/>
                    </a:lnTo>
                    <a:lnTo>
                      <a:pt x="120" y="0"/>
                    </a:lnTo>
                    <a:lnTo>
                      <a:pt x="120" y="0"/>
                    </a:lnTo>
                    <a:lnTo>
                      <a:pt x="120" y="0"/>
                    </a:lnTo>
                    <a:lnTo>
                      <a:pt x="120" y="0"/>
                    </a:lnTo>
                    <a:close/>
                    <a:moveTo>
                      <a:pt x="79" y="145"/>
                    </a:moveTo>
                    <a:lnTo>
                      <a:pt x="79" y="145"/>
                    </a:lnTo>
                    <a:lnTo>
                      <a:pt x="79" y="145"/>
                    </a:lnTo>
                    <a:lnTo>
                      <a:pt x="77" y="150"/>
                    </a:lnTo>
                    <a:lnTo>
                      <a:pt x="79" y="150"/>
                    </a:lnTo>
                    <a:lnTo>
                      <a:pt x="79" y="154"/>
                    </a:lnTo>
                    <a:lnTo>
                      <a:pt x="88" y="154"/>
                    </a:lnTo>
                    <a:lnTo>
                      <a:pt x="88" y="154"/>
                    </a:lnTo>
                    <a:lnTo>
                      <a:pt x="90" y="150"/>
                    </a:lnTo>
                    <a:lnTo>
                      <a:pt x="94" y="154"/>
                    </a:lnTo>
                    <a:lnTo>
                      <a:pt x="100" y="154"/>
                    </a:lnTo>
                    <a:lnTo>
                      <a:pt x="100" y="160"/>
                    </a:lnTo>
                    <a:lnTo>
                      <a:pt x="105" y="160"/>
                    </a:lnTo>
                    <a:lnTo>
                      <a:pt x="109" y="154"/>
                    </a:lnTo>
                    <a:lnTo>
                      <a:pt x="113" y="154"/>
                    </a:lnTo>
                    <a:lnTo>
                      <a:pt x="118" y="154"/>
                    </a:lnTo>
                    <a:lnTo>
                      <a:pt x="124" y="154"/>
                    </a:lnTo>
                    <a:lnTo>
                      <a:pt x="128" y="154"/>
                    </a:lnTo>
                    <a:lnTo>
                      <a:pt x="128" y="150"/>
                    </a:lnTo>
                    <a:lnTo>
                      <a:pt x="128" y="150"/>
                    </a:lnTo>
                    <a:lnTo>
                      <a:pt x="128" y="149"/>
                    </a:lnTo>
                    <a:lnTo>
                      <a:pt x="128" y="150"/>
                    </a:lnTo>
                    <a:lnTo>
                      <a:pt x="128" y="150"/>
                    </a:lnTo>
                    <a:lnTo>
                      <a:pt x="124" y="154"/>
                    </a:lnTo>
                    <a:lnTo>
                      <a:pt x="122" y="150"/>
                    </a:lnTo>
                    <a:lnTo>
                      <a:pt x="120" y="150"/>
                    </a:lnTo>
                    <a:lnTo>
                      <a:pt x="118" y="150"/>
                    </a:lnTo>
                    <a:lnTo>
                      <a:pt x="118" y="150"/>
                    </a:lnTo>
                    <a:lnTo>
                      <a:pt x="118" y="149"/>
                    </a:lnTo>
                    <a:lnTo>
                      <a:pt x="115" y="149"/>
                    </a:lnTo>
                    <a:lnTo>
                      <a:pt x="109" y="145"/>
                    </a:lnTo>
                    <a:lnTo>
                      <a:pt x="107" y="145"/>
                    </a:lnTo>
                    <a:lnTo>
                      <a:pt x="101" y="145"/>
                    </a:lnTo>
                    <a:lnTo>
                      <a:pt x="98" y="149"/>
                    </a:lnTo>
                    <a:lnTo>
                      <a:pt x="94" y="150"/>
                    </a:lnTo>
                    <a:lnTo>
                      <a:pt x="90" y="149"/>
                    </a:lnTo>
                    <a:lnTo>
                      <a:pt x="88" y="145"/>
                    </a:lnTo>
                    <a:lnTo>
                      <a:pt x="88" y="145"/>
                    </a:lnTo>
                    <a:lnTo>
                      <a:pt x="88" y="145"/>
                    </a:lnTo>
                    <a:lnTo>
                      <a:pt x="88" y="141"/>
                    </a:lnTo>
                    <a:lnTo>
                      <a:pt x="85" y="141"/>
                    </a:lnTo>
                    <a:lnTo>
                      <a:pt x="85" y="145"/>
                    </a:lnTo>
                    <a:lnTo>
                      <a:pt x="88" y="145"/>
                    </a:lnTo>
                    <a:lnTo>
                      <a:pt x="85" y="145"/>
                    </a:lnTo>
                    <a:lnTo>
                      <a:pt x="83" y="145"/>
                    </a:lnTo>
                    <a:lnTo>
                      <a:pt x="83" y="141"/>
                    </a:lnTo>
                    <a:lnTo>
                      <a:pt x="79" y="141"/>
                    </a:lnTo>
                    <a:lnTo>
                      <a:pt x="79" y="145"/>
                    </a:lnTo>
                    <a:lnTo>
                      <a:pt x="83" y="145"/>
                    </a:lnTo>
                    <a:lnTo>
                      <a:pt x="79" y="145"/>
                    </a:lnTo>
                    <a:lnTo>
                      <a:pt x="79" y="145"/>
                    </a:lnTo>
                    <a:lnTo>
                      <a:pt x="79" y="145"/>
                    </a:lnTo>
                    <a:lnTo>
                      <a:pt x="79" y="145"/>
                    </a:lnTo>
                    <a:close/>
                    <a:moveTo>
                      <a:pt x="4" y="51"/>
                    </a:moveTo>
                    <a:lnTo>
                      <a:pt x="4" y="54"/>
                    </a:lnTo>
                    <a:lnTo>
                      <a:pt x="7" y="58"/>
                    </a:lnTo>
                    <a:lnTo>
                      <a:pt x="9" y="58"/>
                    </a:lnTo>
                    <a:lnTo>
                      <a:pt x="9" y="60"/>
                    </a:lnTo>
                    <a:lnTo>
                      <a:pt x="9" y="60"/>
                    </a:lnTo>
                    <a:lnTo>
                      <a:pt x="4" y="60"/>
                    </a:lnTo>
                    <a:lnTo>
                      <a:pt x="4" y="56"/>
                    </a:lnTo>
                    <a:lnTo>
                      <a:pt x="0" y="54"/>
                    </a:lnTo>
                    <a:lnTo>
                      <a:pt x="0" y="54"/>
                    </a:lnTo>
                    <a:lnTo>
                      <a:pt x="0" y="53"/>
                    </a:lnTo>
                    <a:lnTo>
                      <a:pt x="4" y="51"/>
                    </a:lnTo>
                    <a:lnTo>
                      <a:pt x="4" y="51"/>
                    </a:lnTo>
                    <a:lnTo>
                      <a:pt x="4" y="51"/>
                    </a:lnTo>
                    <a:lnTo>
                      <a:pt x="4" y="51"/>
                    </a:lnTo>
                    <a:lnTo>
                      <a:pt x="4" y="51"/>
                    </a:lnTo>
                    <a:close/>
                    <a:moveTo>
                      <a:pt x="19" y="79"/>
                    </a:moveTo>
                    <a:lnTo>
                      <a:pt x="19" y="79"/>
                    </a:lnTo>
                    <a:lnTo>
                      <a:pt x="21" y="75"/>
                    </a:lnTo>
                    <a:lnTo>
                      <a:pt x="22" y="75"/>
                    </a:lnTo>
                    <a:lnTo>
                      <a:pt x="22" y="79"/>
                    </a:lnTo>
                    <a:lnTo>
                      <a:pt x="21" y="79"/>
                    </a:lnTo>
                    <a:lnTo>
                      <a:pt x="21" y="79"/>
                    </a:lnTo>
                    <a:lnTo>
                      <a:pt x="19" y="79"/>
                    </a:lnTo>
                    <a:lnTo>
                      <a:pt x="19" y="79"/>
                    </a:lnTo>
                    <a:lnTo>
                      <a:pt x="19" y="79"/>
                    </a:lnTo>
                    <a:lnTo>
                      <a:pt x="19" y="79"/>
                    </a:lnTo>
                    <a:close/>
                    <a:moveTo>
                      <a:pt x="19" y="85"/>
                    </a:moveTo>
                    <a:lnTo>
                      <a:pt x="19" y="79"/>
                    </a:lnTo>
                    <a:lnTo>
                      <a:pt x="21" y="81"/>
                    </a:lnTo>
                    <a:lnTo>
                      <a:pt x="22" y="85"/>
                    </a:lnTo>
                    <a:lnTo>
                      <a:pt x="22" y="86"/>
                    </a:lnTo>
                    <a:lnTo>
                      <a:pt x="24" y="86"/>
                    </a:lnTo>
                    <a:lnTo>
                      <a:pt x="24" y="88"/>
                    </a:lnTo>
                    <a:lnTo>
                      <a:pt x="24" y="90"/>
                    </a:lnTo>
                    <a:lnTo>
                      <a:pt x="24" y="92"/>
                    </a:lnTo>
                    <a:lnTo>
                      <a:pt x="21" y="90"/>
                    </a:lnTo>
                    <a:lnTo>
                      <a:pt x="19" y="90"/>
                    </a:lnTo>
                    <a:lnTo>
                      <a:pt x="19" y="88"/>
                    </a:lnTo>
                    <a:lnTo>
                      <a:pt x="19" y="86"/>
                    </a:lnTo>
                    <a:lnTo>
                      <a:pt x="19" y="90"/>
                    </a:lnTo>
                    <a:lnTo>
                      <a:pt x="17" y="90"/>
                    </a:lnTo>
                    <a:lnTo>
                      <a:pt x="15" y="88"/>
                    </a:lnTo>
                    <a:lnTo>
                      <a:pt x="15" y="85"/>
                    </a:lnTo>
                    <a:lnTo>
                      <a:pt x="17" y="85"/>
                    </a:lnTo>
                    <a:lnTo>
                      <a:pt x="19" y="85"/>
                    </a:lnTo>
                    <a:lnTo>
                      <a:pt x="19" y="85"/>
                    </a:lnTo>
                    <a:lnTo>
                      <a:pt x="19" y="85"/>
                    </a:lnTo>
                    <a:lnTo>
                      <a:pt x="19" y="85"/>
                    </a:lnTo>
                    <a:close/>
                    <a:moveTo>
                      <a:pt x="26" y="98"/>
                    </a:moveTo>
                    <a:lnTo>
                      <a:pt x="28" y="100"/>
                    </a:lnTo>
                    <a:lnTo>
                      <a:pt x="26" y="100"/>
                    </a:lnTo>
                    <a:lnTo>
                      <a:pt x="24" y="101"/>
                    </a:lnTo>
                    <a:lnTo>
                      <a:pt x="22" y="100"/>
                    </a:lnTo>
                    <a:lnTo>
                      <a:pt x="21" y="98"/>
                    </a:lnTo>
                    <a:lnTo>
                      <a:pt x="21" y="96"/>
                    </a:lnTo>
                    <a:lnTo>
                      <a:pt x="22" y="94"/>
                    </a:lnTo>
                    <a:lnTo>
                      <a:pt x="24" y="96"/>
                    </a:lnTo>
                    <a:lnTo>
                      <a:pt x="26" y="98"/>
                    </a:lnTo>
                    <a:lnTo>
                      <a:pt x="26" y="98"/>
                    </a:lnTo>
                    <a:lnTo>
                      <a:pt x="26" y="98"/>
                    </a:lnTo>
                    <a:lnTo>
                      <a:pt x="26" y="98"/>
                    </a:lnTo>
                    <a:close/>
                    <a:moveTo>
                      <a:pt x="143" y="139"/>
                    </a:moveTo>
                    <a:lnTo>
                      <a:pt x="143" y="139"/>
                    </a:lnTo>
                    <a:lnTo>
                      <a:pt x="143" y="137"/>
                    </a:lnTo>
                    <a:lnTo>
                      <a:pt x="143" y="139"/>
                    </a:lnTo>
                    <a:lnTo>
                      <a:pt x="143" y="139"/>
                    </a:lnTo>
                    <a:lnTo>
                      <a:pt x="143" y="139"/>
                    </a:lnTo>
                    <a:lnTo>
                      <a:pt x="143" y="139"/>
                    </a:lnTo>
                    <a:lnTo>
                      <a:pt x="143" y="139"/>
                    </a:lnTo>
                    <a:close/>
                    <a:moveTo>
                      <a:pt x="143" y="149"/>
                    </a:moveTo>
                    <a:lnTo>
                      <a:pt x="141" y="145"/>
                    </a:lnTo>
                    <a:lnTo>
                      <a:pt x="141" y="141"/>
                    </a:lnTo>
                    <a:lnTo>
                      <a:pt x="143" y="141"/>
                    </a:lnTo>
                    <a:lnTo>
                      <a:pt x="143" y="141"/>
                    </a:lnTo>
                    <a:lnTo>
                      <a:pt x="145" y="145"/>
                    </a:lnTo>
                    <a:lnTo>
                      <a:pt x="143" y="149"/>
                    </a:lnTo>
                    <a:lnTo>
                      <a:pt x="143" y="149"/>
                    </a:lnTo>
                    <a:lnTo>
                      <a:pt x="143" y="149"/>
                    </a:lnTo>
                    <a:lnTo>
                      <a:pt x="143" y="149"/>
                    </a:lnTo>
                    <a:lnTo>
                      <a:pt x="143" y="149"/>
                    </a:lnTo>
                    <a:close/>
                    <a:moveTo>
                      <a:pt x="152" y="137"/>
                    </a:moveTo>
                    <a:lnTo>
                      <a:pt x="149" y="137"/>
                    </a:lnTo>
                    <a:lnTo>
                      <a:pt x="152" y="134"/>
                    </a:lnTo>
                    <a:lnTo>
                      <a:pt x="152" y="134"/>
                    </a:lnTo>
                    <a:lnTo>
                      <a:pt x="152" y="132"/>
                    </a:lnTo>
                    <a:lnTo>
                      <a:pt x="154" y="128"/>
                    </a:lnTo>
                    <a:lnTo>
                      <a:pt x="158" y="126"/>
                    </a:lnTo>
                    <a:lnTo>
                      <a:pt x="162" y="124"/>
                    </a:lnTo>
                    <a:lnTo>
                      <a:pt x="162" y="126"/>
                    </a:lnTo>
                    <a:lnTo>
                      <a:pt x="160" y="128"/>
                    </a:lnTo>
                    <a:lnTo>
                      <a:pt x="160" y="130"/>
                    </a:lnTo>
                    <a:lnTo>
                      <a:pt x="158" y="132"/>
                    </a:lnTo>
                    <a:lnTo>
                      <a:pt x="158" y="134"/>
                    </a:lnTo>
                    <a:lnTo>
                      <a:pt x="158" y="134"/>
                    </a:lnTo>
                    <a:lnTo>
                      <a:pt x="154" y="135"/>
                    </a:lnTo>
                    <a:lnTo>
                      <a:pt x="154" y="137"/>
                    </a:lnTo>
                    <a:lnTo>
                      <a:pt x="152" y="137"/>
                    </a:lnTo>
                    <a:lnTo>
                      <a:pt x="152" y="137"/>
                    </a:lnTo>
                    <a:lnTo>
                      <a:pt x="152" y="137"/>
                    </a:lnTo>
                    <a:lnTo>
                      <a:pt x="152" y="137"/>
                    </a:lnTo>
                    <a:close/>
                    <a:moveTo>
                      <a:pt x="128" y="124"/>
                    </a:moveTo>
                    <a:lnTo>
                      <a:pt x="124" y="124"/>
                    </a:lnTo>
                    <a:lnTo>
                      <a:pt x="128" y="122"/>
                    </a:lnTo>
                    <a:lnTo>
                      <a:pt x="128" y="120"/>
                    </a:lnTo>
                    <a:lnTo>
                      <a:pt x="130" y="122"/>
                    </a:lnTo>
                    <a:lnTo>
                      <a:pt x="128" y="124"/>
                    </a:lnTo>
                    <a:lnTo>
                      <a:pt x="128" y="124"/>
                    </a:lnTo>
                    <a:lnTo>
                      <a:pt x="128" y="124"/>
                    </a:lnTo>
                    <a:lnTo>
                      <a:pt x="128" y="124"/>
                    </a:lnTo>
                    <a:lnTo>
                      <a:pt x="128" y="124"/>
                    </a:lnTo>
                    <a:lnTo>
                      <a:pt x="128" y="124"/>
                    </a:lnTo>
                    <a:close/>
                    <a:moveTo>
                      <a:pt x="128" y="98"/>
                    </a:moveTo>
                    <a:lnTo>
                      <a:pt x="130" y="96"/>
                    </a:lnTo>
                    <a:lnTo>
                      <a:pt x="132" y="96"/>
                    </a:lnTo>
                    <a:lnTo>
                      <a:pt x="133" y="98"/>
                    </a:lnTo>
                    <a:lnTo>
                      <a:pt x="133" y="98"/>
                    </a:lnTo>
                    <a:lnTo>
                      <a:pt x="135" y="98"/>
                    </a:lnTo>
                    <a:lnTo>
                      <a:pt x="135" y="100"/>
                    </a:lnTo>
                    <a:lnTo>
                      <a:pt x="133" y="100"/>
                    </a:lnTo>
                    <a:lnTo>
                      <a:pt x="133" y="101"/>
                    </a:lnTo>
                    <a:lnTo>
                      <a:pt x="132" y="101"/>
                    </a:lnTo>
                    <a:lnTo>
                      <a:pt x="130" y="100"/>
                    </a:lnTo>
                    <a:lnTo>
                      <a:pt x="128" y="100"/>
                    </a:lnTo>
                    <a:lnTo>
                      <a:pt x="124" y="100"/>
                    </a:lnTo>
                    <a:lnTo>
                      <a:pt x="128" y="98"/>
                    </a:lnTo>
                    <a:lnTo>
                      <a:pt x="128" y="98"/>
                    </a:lnTo>
                    <a:lnTo>
                      <a:pt x="128" y="98"/>
                    </a:lnTo>
                    <a:lnTo>
                      <a:pt x="128" y="98"/>
                    </a:lnTo>
                    <a:close/>
                    <a:moveTo>
                      <a:pt x="118" y="79"/>
                    </a:moveTo>
                    <a:lnTo>
                      <a:pt x="120" y="85"/>
                    </a:lnTo>
                    <a:lnTo>
                      <a:pt x="118" y="86"/>
                    </a:lnTo>
                    <a:lnTo>
                      <a:pt x="118" y="86"/>
                    </a:lnTo>
                    <a:lnTo>
                      <a:pt x="115" y="86"/>
                    </a:lnTo>
                    <a:lnTo>
                      <a:pt x="115" y="85"/>
                    </a:lnTo>
                    <a:lnTo>
                      <a:pt x="118" y="85"/>
                    </a:lnTo>
                    <a:lnTo>
                      <a:pt x="118" y="81"/>
                    </a:lnTo>
                    <a:lnTo>
                      <a:pt x="115" y="79"/>
                    </a:lnTo>
                    <a:lnTo>
                      <a:pt x="115" y="79"/>
                    </a:lnTo>
                    <a:lnTo>
                      <a:pt x="118" y="75"/>
                    </a:lnTo>
                    <a:lnTo>
                      <a:pt x="118" y="79"/>
                    </a:lnTo>
                    <a:lnTo>
                      <a:pt x="118" y="79"/>
                    </a:lnTo>
                    <a:lnTo>
                      <a:pt x="118" y="79"/>
                    </a:lnTo>
                    <a:lnTo>
                      <a:pt x="118" y="79"/>
                    </a:lnTo>
                    <a:lnTo>
                      <a:pt x="118" y="79"/>
                    </a:lnTo>
                    <a:close/>
                    <a:moveTo>
                      <a:pt x="115" y="66"/>
                    </a:moveTo>
                    <a:lnTo>
                      <a:pt x="113" y="66"/>
                    </a:lnTo>
                    <a:lnTo>
                      <a:pt x="115" y="62"/>
                    </a:lnTo>
                    <a:lnTo>
                      <a:pt x="118" y="62"/>
                    </a:lnTo>
                    <a:lnTo>
                      <a:pt x="118" y="60"/>
                    </a:lnTo>
                    <a:lnTo>
                      <a:pt x="124" y="60"/>
                    </a:lnTo>
                    <a:lnTo>
                      <a:pt x="124" y="60"/>
                    </a:lnTo>
                    <a:lnTo>
                      <a:pt x="124" y="62"/>
                    </a:lnTo>
                    <a:lnTo>
                      <a:pt x="124" y="62"/>
                    </a:lnTo>
                    <a:lnTo>
                      <a:pt x="124" y="66"/>
                    </a:lnTo>
                    <a:lnTo>
                      <a:pt x="124" y="69"/>
                    </a:lnTo>
                    <a:lnTo>
                      <a:pt x="120" y="69"/>
                    </a:lnTo>
                    <a:lnTo>
                      <a:pt x="118" y="69"/>
                    </a:lnTo>
                    <a:lnTo>
                      <a:pt x="118" y="66"/>
                    </a:lnTo>
                    <a:lnTo>
                      <a:pt x="120" y="66"/>
                    </a:lnTo>
                    <a:lnTo>
                      <a:pt x="120" y="64"/>
                    </a:lnTo>
                    <a:lnTo>
                      <a:pt x="118" y="64"/>
                    </a:lnTo>
                    <a:lnTo>
                      <a:pt x="118" y="66"/>
                    </a:lnTo>
                    <a:lnTo>
                      <a:pt x="118" y="66"/>
                    </a:lnTo>
                    <a:lnTo>
                      <a:pt x="115" y="66"/>
                    </a:lnTo>
                    <a:lnTo>
                      <a:pt x="115" y="66"/>
                    </a:lnTo>
                    <a:lnTo>
                      <a:pt x="115" y="66"/>
                    </a:lnTo>
                    <a:lnTo>
                      <a:pt x="115" y="66"/>
                    </a:lnTo>
                    <a:lnTo>
                      <a:pt x="115" y="66"/>
                    </a:lnTo>
                    <a:close/>
                    <a:moveTo>
                      <a:pt x="105" y="34"/>
                    </a:moveTo>
                    <a:lnTo>
                      <a:pt x="107" y="34"/>
                    </a:lnTo>
                    <a:lnTo>
                      <a:pt x="109" y="30"/>
                    </a:lnTo>
                    <a:lnTo>
                      <a:pt x="109" y="34"/>
                    </a:lnTo>
                    <a:lnTo>
                      <a:pt x="109" y="36"/>
                    </a:lnTo>
                    <a:lnTo>
                      <a:pt x="109" y="36"/>
                    </a:lnTo>
                    <a:lnTo>
                      <a:pt x="105" y="34"/>
                    </a:lnTo>
                    <a:lnTo>
                      <a:pt x="105" y="34"/>
                    </a:lnTo>
                    <a:lnTo>
                      <a:pt x="105" y="34"/>
                    </a:lnTo>
                    <a:lnTo>
                      <a:pt x="105" y="34"/>
                    </a:lnTo>
                    <a:close/>
                    <a:moveTo>
                      <a:pt x="98" y="43"/>
                    </a:moveTo>
                    <a:lnTo>
                      <a:pt x="100" y="43"/>
                    </a:lnTo>
                    <a:lnTo>
                      <a:pt x="101" y="43"/>
                    </a:lnTo>
                    <a:lnTo>
                      <a:pt x="103" y="41"/>
                    </a:lnTo>
                    <a:lnTo>
                      <a:pt x="105" y="43"/>
                    </a:lnTo>
                    <a:lnTo>
                      <a:pt x="103" y="45"/>
                    </a:lnTo>
                    <a:lnTo>
                      <a:pt x="103" y="49"/>
                    </a:lnTo>
                    <a:lnTo>
                      <a:pt x="100" y="49"/>
                    </a:lnTo>
                    <a:lnTo>
                      <a:pt x="100" y="49"/>
                    </a:lnTo>
                    <a:lnTo>
                      <a:pt x="98" y="47"/>
                    </a:lnTo>
                    <a:lnTo>
                      <a:pt x="96" y="43"/>
                    </a:lnTo>
                    <a:lnTo>
                      <a:pt x="98" y="43"/>
                    </a:lnTo>
                    <a:lnTo>
                      <a:pt x="98" y="43"/>
                    </a:lnTo>
                    <a:lnTo>
                      <a:pt x="98" y="43"/>
                    </a:lnTo>
                    <a:lnTo>
                      <a:pt x="98" y="43"/>
                    </a:lnTo>
                    <a:close/>
                    <a:moveTo>
                      <a:pt x="88" y="26"/>
                    </a:moveTo>
                    <a:lnTo>
                      <a:pt x="90" y="26"/>
                    </a:lnTo>
                    <a:lnTo>
                      <a:pt x="92" y="26"/>
                    </a:lnTo>
                    <a:lnTo>
                      <a:pt x="92" y="30"/>
                    </a:lnTo>
                    <a:lnTo>
                      <a:pt x="90" y="30"/>
                    </a:lnTo>
                    <a:lnTo>
                      <a:pt x="88" y="30"/>
                    </a:lnTo>
                    <a:lnTo>
                      <a:pt x="88" y="30"/>
                    </a:lnTo>
                    <a:lnTo>
                      <a:pt x="88" y="26"/>
                    </a:lnTo>
                    <a:lnTo>
                      <a:pt x="88" y="26"/>
                    </a:lnTo>
                    <a:lnTo>
                      <a:pt x="88" y="26"/>
                    </a:lnTo>
                    <a:lnTo>
                      <a:pt x="88" y="26"/>
                    </a:lnTo>
                    <a:close/>
                    <a:moveTo>
                      <a:pt x="69" y="66"/>
                    </a:moveTo>
                    <a:lnTo>
                      <a:pt x="73" y="66"/>
                    </a:lnTo>
                    <a:lnTo>
                      <a:pt x="75" y="66"/>
                    </a:lnTo>
                    <a:lnTo>
                      <a:pt x="75" y="66"/>
                    </a:lnTo>
                    <a:lnTo>
                      <a:pt x="75" y="69"/>
                    </a:lnTo>
                    <a:lnTo>
                      <a:pt x="69" y="66"/>
                    </a:lnTo>
                    <a:lnTo>
                      <a:pt x="69" y="66"/>
                    </a:lnTo>
                    <a:lnTo>
                      <a:pt x="69" y="66"/>
                    </a:lnTo>
                    <a:lnTo>
                      <a:pt x="69" y="66"/>
                    </a:lnTo>
                    <a:close/>
                    <a:moveTo>
                      <a:pt x="68" y="66"/>
                    </a:moveTo>
                    <a:lnTo>
                      <a:pt x="69" y="64"/>
                    </a:lnTo>
                    <a:lnTo>
                      <a:pt x="69" y="66"/>
                    </a:lnTo>
                    <a:lnTo>
                      <a:pt x="69" y="66"/>
                    </a:lnTo>
                    <a:lnTo>
                      <a:pt x="68" y="66"/>
                    </a:lnTo>
                    <a:lnTo>
                      <a:pt x="68" y="66"/>
                    </a:lnTo>
                    <a:lnTo>
                      <a:pt x="68" y="66"/>
                    </a:lnTo>
                    <a:lnTo>
                      <a:pt x="68" y="66"/>
                    </a:lnTo>
                    <a:close/>
                    <a:moveTo>
                      <a:pt x="88" y="69"/>
                    </a:moveTo>
                    <a:lnTo>
                      <a:pt x="90" y="69"/>
                    </a:lnTo>
                    <a:lnTo>
                      <a:pt x="92" y="69"/>
                    </a:lnTo>
                    <a:lnTo>
                      <a:pt x="94" y="69"/>
                    </a:lnTo>
                    <a:lnTo>
                      <a:pt x="94" y="75"/>
                    </a:lnTo>
                    <a:lnTo>
                      <a:pt x="92" y="75"/>
                    </a:lnTo>
                    <a:lnTo>
                      <a:pt x="92" y="71"/>
                    </a:lnTo>
                    <a:lnTo>
                      <a:pt x="90" y="71"/>
                    </a:lnTo>
                    <a:lnTo>
                      <a:pt x="88" y="69"/>
                    </a:lnTo>
                    <a:lnTo>
                      <a:pt x="88" y="69"/>
                    </a:lnTo>
                    <a:lnTo>
                      <a:pt x="88" y="69"/>
                    </a:lnTo>
                    <a:lnTo>
                      <a:pt x="88" y="69"/>
                    </a:lnTo>
                    <a:close/>
                    <a:moveTo>
                      <a:pt x="118" y="105"/>
                    </a:moveTo>
                    <a:lnTo>
                      <a:pt x="118" y="103"/>
                    </a:lnTo>
                    <a:lnTo>
                      <a:pt x="118" y="101"/>
                    </a:lnTo>
                    <a:lnTo>
                      <a:pt x="122" y="101"/>
                    </a:lnTo>
                    <a:lnTo>
                      <a:pt x="122" y="103"/>
                    </a:lnTo>
                    <a:lnTo>
                      <a:pt x="118" y="105"/>
                    </a:lnTo>
                    <a:lnTo>
                      <a:pt x="118" y="105"/>
                    </a:lnTo>
                    <a:lnTo>
                      <a:pt x="118" y="105"/>
                    </a:lnTo>
                    <a:lnTo>
                      <a:pt x="118" y="105"/>
                    </a:lnTo>
                    <a:close/>
                    <a:moveTo>
                      <a:pt x="88" y="124"/>
                    </a:moveTo>
                    <a:lnTo>
                      <a:pt x="90" y="120"/>
                    </a:lnTo>
                    <a:lnTo>
                      <a:pt x="92" y="120"/>
                    </a:lnTo>
                    <a:lnTo>
                      <a:pt x="92" y="122"/>
                    </a:lnTo>
                    <a:lnTo>
                      <a:pt x="90" y="124"/>
                    </a:lnTo>
                    <a:lnTo>
                      <a:pt x="88" y="124"/>
                    </a:lnTo>
                    <a:lnTo>
                      <a:pt x="88" y="124"/>
                    </a:lnTo>
                    <a:lnTo>
                      <a:pt x="88" y="124"/>
                    </a:lnTo>
                    <a:lnTo>
                      <a:pt x="88" y="124"/>
                    </a:lnTo>
                    <a:close/>
                    <a:moveTo>
                      <a:pt x="90" y="111"/>
                    </a:moveTo>
                    <a:lnTo>
                      <a:pt x="92" y="111"/>
                    </a:lnTo>
                    <a:lnTo>
                      <a:pt x="92" y="115"/>
                    </a:lnTo>
                    <a:lnTo>
                      <a:pt x="90" y="111"/>
                    </a:lnTo>
                    <a:lnTo>
                      <a:pt x="90" y="111"/>
                    </a:lnTo>
                    <a:lnTo>
                      <a:pt x="90" y="111"/>
                    </a:lnTo>
                    <a:lnTo>
                      <a:pt x="90" y="111"/>
                    </a:lnTo>
                    <a:close/>
                    <a:moveTo>
                      <a:pt x="88" y="109"/>
                    </a:moveTo>
                    <a:lnTo>
                      <a:pt x="88" y="105"/>
                    </a:lnTo>
                    <a:lnTo>
                      <a:pt x="90" y="105"/>
                    </a:lnTo>
                    <a:lnTo>
                      <a:pt x="90" y="109"/>
                    </a:lnTo>
                    <a:lnTo>
                      <a:pt x="90" y="109"/>
                    </a:lnTo>
                    <a:lnTo>
                      <a:pt x="88" y="109"/>
                    </a:lnTo>
                    <a:lnTo>
                      <a:pt x="88" y="109"/>
                    </a:lnTo>
                    <a:lnTo>
                      <a:pt x="88" y="109"/>
                    </a:lnTo>
                    <a:lnTo>
                      <a:pt x="88" y="109"/>
                    </a:lnTo>
                    <a:close/>
                    <a:moveTo>
                      <a:pt x="88" y="105"/>
                    </a:moveTo>
                    <a:lnTo>
                      <a:pt x="88" y="103"/>
                    </a:lnTo>
                    <a:lnTo>
                      <a:pt x="88" y="101"/>
                    </a:lnTo>
                    <a:lnTo>
                      <a:pt x="88" y="103"/>
                    </a:lnTo>
                    <a:lnTo>
                      <a:pt x="88" y="105"/>
                    </a:lnTo>
                    <a:lnTo>
                      <a:pt x="88" y="105"/>
                    </a:lnTo>
                    <a:lnTo>
                      <a:pt x="88" y="105"/>
                    </a:lnTo>
                    <a:lnTo>
                      <a:pt x="88" y="105"/>
                    </a:lnTo>
                    <a:close/>
                    <a:moveTo>
                      <a:pt x="105" y="115"/>
                    </a:moveTo>
                    <a:lnTo>
                      <a:pt x="103" y="115"/>
                    </a:lnTo>
                    <a:lnTo>
                      <a:pt x="103" y="111"/>
                    </a:lnTo>
                    <a:lnTo>
                      <a:pt x="105" y="111"/>
                    </a:lnTo>
                    <a:lnTo>
                      <a:pt x="107" y="115"/>
                    </a:lnTo>
                    <a:lnTo>
                      <a:pt x="105" y="115"/>
                    </a:lnTo>
                    <a:lnTo>
                      <a:pt x="105" y="115"/>
                    </a:lnTo>
                    <a:lnTo>
                      <a:pt x="105" y="115"/>
                    </a:lnTo>
                    <a:lnTo>
                      <a:pt x="105" y="115"/>
                    </a:lnTo>
                    <a:close/>
                    <a:moveTo>
                      <a:pt x="109" y="115"/>
                    </a:moveTo>
                    <a:lnTo>
                      <a:pt x="109" y="111"/>
                    </a:lnTo>
                    <a:lnTo>
                      <a:pt x="109" y="111"/>
                    </a:lnTo>
                    <a:lnTo>
                      <a:pt x="113" y="111"/>
                    </a:lnTo>
                    <a:lnTo>
                      <a:pt x="113" y="111"/>
                    </a:lnTo>
                    <a:lnTo>
                      <a:pt x="109" y="115"/>
                    </a:lnTo>
                    <a:lnTo>
                      <a:pt x="109" y="115"/>
                    </a:lnTo>
                    <a:lnTo>
                      <a:pt x="109" y="115"/>
                    </a:lnTo>
                    <a:lnTo>
                      <a:pt x="109" y="115"/>
                    </a:lnTo>
                    <a:lnTo>
                      <a:pt x="109" y="115"/>
                    </a:lnTo>
                    <a:close/>
                    <a:moveTo>
                      <a:pt x="109" y="105"/>
                    </a:moveTo>
                    <a:lnTo>
                      <a:pt x="109" y="105"/>
                    </a:lnTo>
                    <a:lnTo>
                      <a:pt x="109" y="105"/>
                    </a:lnTo>
                    <a:lnTo>
                      <a:pt x="109" y="105"/>
                    </a:lnTo>
                    <a:lnTo>
                      <a:pt x="109" y="105"/>
                    </a:lnTo>
                    <a:lnTo>
                      <a:pt x="109" y="105"/>
                    </a:lnTo>
                    <a:lnTo>
                      <a:pt x="109" y="105"/>
                    </a:lnTo>
                    <a:close/>
                    <a:moveTo>
                      <a:pt x="103" y="101"/>
                    </a:moveTo>
                    <a:lnTo>
                      <a:pt x="105" y="101"/>
                    </a:lnTo>
                    <a:lnTo>
                      <a:pt x="107" y="103"/>
                    </a:lnTo>
                    <a:lnTo>
                      <a:pt x="107" y="105"/>
                    </a:lnTo>
                    <a:lnTo>
                      <a:pt x="105" y="103"/>
                    </a:lnTo>
                    <a:lnTo>
                      <a:pt x="103" y="101"/>
                    </a:lnTo>
                    <a:lnTo>
                      <a:pt x="103" y="101"/>
                    </a:lnTo>
                    <a:lnTo>
                      <a:pt x="103" y="101"/>
                    </a:lnTo>
                    <a:lnTo>
                      <a:pt x="103" y="101"/>
                    </a:lnTo>
                    <a:close/>
                    <a:moveTo>
                      <a:pt x="94" y="94"/>
                    </a:moveTo>
                    <a:lnTo>
                      <a:pt x="96" y="94"/>
                    </a:lnTo>
                    <a:lnTo>
                      <a:pt x="98" y="96"/>
                    </a:lnTo>
                    <a:lnTo>
                      <a:pt x="101" y="100"/>
                    </a:lnTo>
                    <a:lnTo>
                      <a:pt x="101" y="101"/>
                    </a:lnTo>
                    <a:lnTo>
                      <a:pt x="100" y="101"/>
                    </a:lnTo>
                    <a:lnTo>
                      <a:pt x="96" y="98"/>
                    </a:lnTo>
                    <a:lnTo>
                      <a:pt x="94" y="96"/>
                    </a:lnTo>
                    <a:lnTo>
                      <a:pt x="94" y="94"/>
                    </a:lnTo>
                    <a:lnTo>
                      <a:pt x="94" y="94"/>
                    </a:lnTo>
                    <a:lnTo>
                      <a:pt x="94" y="94"/>
                    </a:lnTo>
                    <a:lnTo>
                      <a:pt x="94" y="94"/>
                    </a:lnTo>
                    <a:close/>
                    <a:moveTo>
                      <a:pt x="60" y="71"/>
                    </a:moveTo>
                    <a:lnTo>
                      <a:pt x="62" y="69"/>
                    </a:lnTo>
                    <a:lnTo>
                      <a:pt x="68" y="69"/>
                    </a:lnTo>
                    <a:lnTo>
                      <a:pt x="69" y="71"/>
                    </a:lnTo>
                    <a:lnTo>
                      <a:pt x="73" y="71"/>
                    </a:lnTo>
                    <a:lnTo>
                      <a:pt x="77" y="75"/>
                    </a:lnTo>
                    <a:lnTo>
                      <a:pt x="77" y="75"/>
                    </a:lnTo>
                    <a:lnTo>
                      <a:pt x="79" y="75"/>
                    </a:lnTo>
                    <a:lnTo>
                      <a:pt x="79" y="75"/>
                    </a:lnTo>
                    <a:lnTo>
                      <a:pt x="83" y="79"/>
                    </a:lnTo>
                    <a:lnTo>
                      <a:pt x="85" y="81"/>
                    </a:lnTo>
                    <a:lnTo>
                      <a:pt x="85" y="85"/>
                    </a:lnTo>
                    <a:lnTo>
                      <a:pt x="85" y="85"/>
                    </a:lnTo>
                    <a:lnTo>
                      <a:pt x="85" y="88"/>
                    </a:lnTo>
                    <a:lnTo>
                      <a:pt x="88" y="90"/>
                    </a:lnTo>
                    <a:lnTo>
                      <a:pt x="88" y="90"/>
                    </a:lnTo>
                    <a:lnTo>
                      <a:pt x="92" y="90"/>
                    </a:lnTo>
                    <a:lnTo>
                      <a:pt x="90" y="94"/>
                    </a:lnTo>
                    <a:lnTo>
                      <a:pt x="88" y="94"/>
                    </a:lnTo>
                    <a:lnTo>
                      <a:pt x="88" y="94"/>
                    </a:lnTo>
                    <a:lnTo>
                      <a:pt x="85" y="92"/>
                    </a:lnTo>
                    <a:lnTo>
                      <a:pt x="83" y="90"/>
                    </a:lnTo>
                    <a:lnTo>
                      <a:pt x="85" y="88"/>
                    </a:lnTo>
                    <a:lnTo>
                      <a:pt x="83" y="86"/>
                    </a:lnTo>
                    <a:lnTo>
                      <a:pt x="79" y="85"/>
                    </a:lnTo>
                    <a:lnTo>
                      <a:pt x="79" y="81"/>
                    </a:lnTo>
                    <a:lnTo>
                      <a:pt x="79" y="81"/>
                    </a:lnTo>
                    <a:lnTo>
                      <a:pt x="75" y="79"/>
                    </a:lnTo>
                    <a:lnTo>
                      <a:pt x="73" y="79"/>
                    </a:lnTo>
                    <a:lnTo>
                      <a:pt x="69" y="79"/>
                    </a:lnTo>
                    <a:lnTo>
                      <a:pt x="69" y="75"/>
                    </a:lnTo>
                    <a:lnTo>
                      <a:pt x="68" y="75"/>
                    </a:lnTo>
                    <a:lnTo>
                      <a:pt x="66" y="75"/>
                    </a:lnTo>
                    <a:lnTo>
                      <a:pt x="64" y="71"/>
                    </a:lnTo>
                    <a:lnTo>
                      <a:pt x="62" y="71"/>
                    </a:lnTo>
                    <a:lnTo>
                      <a:pt x="60" y="71"/>
                    </a:lnTo>
                    <a:lnTo>
                      <a:pt x="60" y="71"/>
                    </a:lnTo>
                    <a:lnTo>
                      <a:pt x="60" y="71"/>
                    </a:lnTo>
                    <a:lnTo>
                      <a:pt x="60" y="71"/>
                    </a:lnTo>
                    <a:close/>
                    <a:moveTo>
                      <a:pt x="66" y="128"/>
                    </a:moveTo>
                    <a:lnTo>
                      <a:pt x="66" y="126"/>
                    </a:lnTo>
                    <a:lnTo>
                      <a:pt x="66" y="130"/>
                    </a:lnTo>
                    <a:lnTo>
                      <a:pt x="68" y="132"/>
                    </a:lnTo>
                    <a:lnTo>
                      <a:pt x="68" y="134"/>
                    </a:lnTo>
                    <a:lnTo>
                      <a:pt x="66" y="134"/>
                    </a:lnTo>
                    <a:lnTo>
                      <a:pt x="66" y="132"/>
                    </a:lnTo>
                    <a:lnTo>
                      <a:pt x="64" y="130"/>
                    </a:lnTo>
                    <a:lnTo>
                      <a:pt x="66" y="128"/>
                    </a:lnTo>
                    <a:lnTo>
                      <a:pt x="66" y="128"/>
                    </a:lnTo>
                    <a:lnTo>
                      <a:pt x="66" y="128"/>
                    </a:lnTo>
                    <a:lnTo>
                      <a:pt x="66" y="128"/>
                    </a:lnTo>
                    <a:close/>
                    <a:moveTo>
                      <a:pt x="66" y="124"/>
                    </a:moveTo>
                    <a:lnTo>
                      <a:pt x="66" y="124"/>
                    </a:lnTo>
                    <a:lnTo>
                      <a:pt x="64" y="124"/>
                    </a:lnTo>
                    <a:lnTo>
                      <a:pt x="66" y="124"/>
                    </a:lnTo>
                    <a:lnTo>
                      <a:pt x="66" y="124"/>
                    </a:lnTo>
                    <a:lnTo>
                      <a:pt x="66" y="1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3" name="Freeform 95"/>
              <p:cNvSpPr>
                <a:spLocks noEditPoints="1"/>
              </p:cNvSpPr>
              <p:nvPr/>
            </p:nvSpPr>
            <p:spPr bwMode="auto">
              <a:xfrm>
                <a:off x="3733" y="2591"/>
                <a:ext cx="138" cy="194"/>
              </a:xfrm>
              <a:custGeom>
                <a:avLst/>
                <a:gdLst/>
                <a:ahLst/>
                <a:cxnLst>
                  <a:cxn ang="0">
                    <a:pos x="55" y="126"/>
                  </a:cxn>
                  <a:cxn ang="0">
                    <a:pos x="55" y="71"/>
                  </a:cxn>
                  <a:cxn ang="0">
                    <a:pos x="74" y="22"/>
                  </a:cxn>
                  <a:cxn ang="0">
                    <a:pos x="79" y="41"/>
                  </a:cxn>
                  <a:cxn ang="0">
                    <a:pos x="91" y="53"/>
                  </a:cxn>
                  <a:cxn ang="0">
                    <a:pos x="98" y="53"/>
                  </a:cxn>
                  <a:cxn ang="0">
                    <a:pos x="108" y="54"/>
                  </a:cxn>
                  <a:cxn ang="0">
                    <a:pos x="117" y="54"/>
                  </a:cxn>
                  <a:cxn ang="0">
                    <a:pos x="123" y="66"/>
                  </a:cxn>
                  <a:cxn ang="0">
                    <a:pos x="128" y="71"/>
                  </a:cxn>
                  <a:cxn ang="0">
                    <a:pos x="138" y="77"/>
                  </a:cxn>
                  <a:cxn ang="0">
                    <a:pos x="138" y="83"/>
                  </a:cxn>
                  <a:cxn ang="0">
                    <a:pos x="138" y="90"/>
                  </a:cxn>
                  <a:cxn ang="0">
                    <a:pos x="128" y="101"/>
                  </a:cxn>
                  <a:cxn ang="0">
                    <a:pos x="123" y="111"/>
                  </a:cxn>
                  <a:cxn ang="0">
                    <a:pos x="119" y="120"/>
                  </a:cxn>
                  <a:cxn ang="0">
                    <a:pos x="117" y="118"/>
                  </a:cxn>
                  <a:cxn ang="0">
                    <a:pos x="117" y="115"/>
                  </a:cxn>
                  <a:cxn ang="0">
                    <a:pos x="111" y="117"/>
                  </a:cxn>
                  <a:cxn ang="0">
                    <a:pos x="110" y="120"/>
                  </a:cxn>
                  <a:cxn ang="0">
                    <a:pos x="108" y="122"/>
                  </a:cxn>
                  <a:cxn ang="0">
                    <a:pos x="104" y="132"/>
                  </a:cxn>
                  <a:cxn ang="0">
                    <a:pos x="104" y="135"/>
                  </a:cxn>
                  <a:cxn ang="0">
                    <a:pos x="104" y="139"/>
                  </a:cxn>
                  <a:cxn ang="0">
                    <a:pos x="110" y="147"/>
                  </a:cxn>
                  <a:cxn ang="0">
                    <a:pos x="100" y="150"/>
                  </a:cxn>
                  <a:cxn ang="0">
                    <a:pos x="94" y="150"/>
                  </a:cxn>
                  <a:cxn ang="0">
                    <a:pos x="83" y="160"/>
                  </a:cxn>
                  <a:cxn ang="0">
                    <a:pos x="83" y="166"/>
                  </a:cxn>
                  <a:cxn ang="0">
                    <a:pos x="78" y="169"/>
                  </a:cxn>
                  <a:cxn ang="0">
                    <a:pos x="66" y="169"/>
                  </a:cxn>
                  <a:cxn ang="0">
                    <a:pos x="61" y="173"/>
                  </a:cxn>
                  <a:cxn ang="0">
                    <a:pos x="62" y="179"/>
                  </a:cxn>
                  <a:cxn ang="0">
                    <a:pos x="62" y="182"/>
                  </a:cxn>
                  <a:cxn ang="0">
                    <a:pos x="62" y="182"/>
                  </a:cxn>
                  <a:cxn ang="0">
                    <a:pos x="55" y="190"/>
                  </a:cxn>
                  <a:cxn ang="0">
                    <a:pos x="49" y="186"/>
                  </a:cxn>
                  <a:cxn ang="0">
                    <a:pos x="40" y="190"/>
                  </a:cxn>
                  <a:cxn ang="0">
                    <a:pos x="34" y="194"/>
                  </a:cxn>
                  <a:cxn ang="0">
                    <a:pos x="29" y="194"/>
                  </a:cxn>
                  <a:cxn ang="0">
                    <a:pos x="15" y="182"/>
                  </a:cxn>
                  <a:cxn ang="0">
                    <a:pos x="0" y="152"/>
                  </a:cxn>
                  <a:cxn ang="0">
                    <a:pos x="4" y="143"/>
                  </a:cxn>
                  <a:cxn ang="0">
                    <a:pos x="4" y="143"/>
                  </a:cxn>
                  <a:cxn ang="0">
                    <a:pos x="70" y="11"/>
                  </a:cxn>
                  <a:cxn ang="0">
                    <a:pos x="72" y="4"/>
                  </a:cxn>
                  <a:cxn ang="0">
                    <a:pos x="72" y="2"/>
                  </a:cxn>
                  <a:cxn ang="0">
                    <a:pos x="72" y="0"/>
                  </a:cxn>
                  <a:cxn ang="0">
                    <a:pos x="70" y="0"/>
                  </a:cxn>
                  <a:cxn ang="0">
                    <a:pos x="68" y="0"/>
                  </a:cxn>
                  <a:cxn ang="0">
                    <a:pos x="66" y="4"/>
                  </a:cxn>
                  <a:cxn ang="0">
                    <a:pos x="64" y="7"/>
                  </a:cxn>
                  <a:cxn ang="0">
                    <a:pos x="66" y="7"/>
                  </a:cxn>
                  <a:cxn ang="0">
                    <a:pos x="70" y="17"/>
                  </a:cxn>
                  <a:cxn ang="0">
                    <a:pos x="70" y="17"/>
                  </a:cxn>
                </a:cxnLst>
                <a:rect l="0" t="0" r="r" b="b"/>
                <a:pathLst>
                  <a:path w="138" h="194">
                    <a:moveTo>
                      <a:pt x="4" y="143"/>
                    </a:moveTo>
                    <a:lnTo>
                      <a:pt x="55" y="126"/>
                    </a:lnTo>
                    <a:lnTo>
                      <a:pt x="59" y="88"/>
                    </a:lnTo>
                    <a:lnTo>
                      <a:pt x="55" y="71"/>
                    </a:lnTo>
                    <a:lnTo>
                      <a:pt x="70" y="24"/>
                    </a:lnTo>
                    <a:lnTo>
                      <a:pt x="74" y="22"/>
                    </a:lnTo>
                    <a:lnTo>
                      <a:pt x="74" y="36"/>
                    </a:lnTo>
                    <a:lnTo>
                      <a:pt x="79" y="41"/>
                    </a:lnTo>
                    <a:lnTo>
                      <a:pt x="79" y="43"/>
                    </a:lnTo>
                    <a:lnTo>
                      <a:pt x="91" y="53"/>
                    </a:lnTo>
                    <a:lnTo>
                      <a:pt x="94" y="54"/>
                    </a:lnTo>
                    <a:lnTo>
                      <a:pt x="98" y="53"/>
                    </a:lnTo>
                    <a:lnTo>
                      <a:pt x="102" y="53"/>
                    </a:lnTo>
                    <a:lnTo>
                      <a:pt x="108" y="54"/>
                    </a:lnTo>
                    <a:lnTo>
                      <a:pt x="113" y="53"/>
                    </a:lnTo>
                    <a:lnTo>
                      <a:pt x="117" y="54"/>
                    </a:lnTo>
                    <a:lnTo>
                      <a:pt x="121" y="60"/>
                    </a:lnTo>
                    <a:lnTo>
                      <a:pt x="123" y="66"/>
                    </a:lnTo>
                    <a:lnTo>
                      <a:pt x="126" y="68"/>
                    </a:lnTo>
                    <a:lnTo>
                      <a:pt x="128" y="71"/>
                    </a:lnTo>
                    <a:lnTo>
                      <a:pt x="134" y="77"/>
                    </a:lnTo>
                    <a:lnTo>
                      <a:pt x="138" y="77"/>
                    </a:lnTo>
                    <a:lnTo>
                      <a:pt x="138" y="79"/>
                    </a:lnTo>
                    <a:lnTo>
                      <a:pt x="138" y="83"/>
                    </a:lnTo>
                    <a:lnTo>
                      <a:pt x="138" y="86"/>
                    </a:lnTo>
                    <a:lnTo>
                      <a:pt x="138" y="90"/>
                    </a:lnTo>
                    <a:lnTo>
                      <a:pt x="138" y="92"/>
                    </a:lnTo>
                    <a:lnTo>
                      <a:pt x="128" y="101"/>
                    </a:lnTo>
                    <a:lnTo>
                      <a:pt x="125" y="107"/>
                    </a:lnTo>
                    <a:lnTo>
                      <a:pt x="123" y="111"/>
                    </a:lnTo>
                    <a:lnTo>
                      <a:pt x="121" y="113"/>
                    </a:lnTo>
                    <a:lnTo>
                      <a:pt x="119" y="120"/>
                    </a:lnTo>
                    <a:lnTo>
                      <a:pt x="117" y="120"/>
                    </a:lnTo>
                    <a:lnTo>
                      <a:pt x="117" y="118"/>
                    </a:lnTo>
                    <a:lnTo>
                      <a:pt x="117" y="117"/>
                    </a:lnTo>
                    <a:lnTo>
                      <a:pt x="117" y="115"/>
                    </a:lnTo>
                    <a:lnTo>
                      <a:pt x="113" y="115"/>
                    </a:lnTo>
                    <a:lnTo>
                      <a:pt x="111" y="117"/>
                    </a:lnTo>
                    <a:lnTo>
                      <a:pt x="110" y="120"/>
                    </a:lnTo>
                    <a:lnTo>
                      <a:pt x="110" y="120"/>
                    </a:lnTo>
                    <a:lnTo>
                      <a:pt x="110" y="122"/>
                    </a:lnTo>
                    <a:lnTo>
                      <a:pt x="108" y="122"/>
                    </a:lnTo>
                    <a:lnTo>
                      <a:pt x="104" y="130"/>
                    </a:lnTo>
                    <a:lnTo>
                      <a:pt x="104" y="132"/>
                    </a:lnTo>
                    <a:lnTo>
                      <a:pt x="104" y="135"/>
                    </a:lnTo>
                    <a:lnTo>
                      <a:pt x="104" y="135"/>
                    </a:lnTo>
                    <a:lnTo>
                      <a:pt x="108" y="139"/>
                    </a:lnTo>
                    <a:lnTo>
                      <a:pt x="104" y="139"/>
                    </a:lnTo>
                    <a:lnTo>
                      <a:pt x="108" y="145"/>
                    </a:lnTo>
                    <a:lnTo>
                      <a:pt x="110" y="147"/>
                    </a:lnTo>
                    <a:lnTo>
                      <a:pt x="108" y="149"/>
                    </a:lnTo>
                    <a:lnTo>
                      <a:pt x="100" y="150"/>
                    </a:lnTo>
                    <a:lnTo>
                      <a:pt x="98" y="150"/>
                    </a:lnTo>
                    <a:lnTo>
                      <a:pt x="94" y="150"/>
                    </a:lnTo>
                    <a:lnTo>
                      <a:pt x="91" y="150"/>
                    </a:lnTo>
                    <a:lnTo>
                      <a:pt x="83" y="160"/>
                    </a:lnTo>
                    <a:lnTo>
                      <a:pt x="83" y="166"/>
                    </a:lnTo>
                    <a:lnTo>
                      <a:pt x="83" y="166"/>
                    </a:lnTo>
                    <a:lnTo>
                      <a:pt x="79" y="169"/>
                    </a:lnTo>
                    <a:lnTo>
                      <a:pt x="78" y="169"/>
                    </a:lnTo>
                    <a:lnTo>
                      <a:pt x="72" y="169"/>
                    </a:lnTo>
                    <a:lnTo>
                      <a:pt x="66" y="169"/>
                    </a:lnTo>
                    <a:lnTo>
                      <a:pt x="64" y="171"/>
                    </a:lnTo>
                    <a:lnTo>
                      <a:pt x="61" y="173"/>
                    </a:lnTo>
                    <a:lnTo>
                      <a:pt x="62" y="175"/>
                    </a:lnTo>
                    <a:lnTo>
                      <a:pt x="62" y="179"/>
                    </a:lnTo>
                    <a:lnTo>
                      <a:pt x="64" y="179"/>
                    </a:lnTo>
                    <a:lnTo>
                      <a:pt x="62" y="182"/>
                    </a:lnTo>
                    <a:lnTo>
                      <a:pt x="62" y="182"/>
                    </a:lnTo>
                    <a:lnTo>
                      <a:pt x="62" y="182"/>
                    </a:lnTo>
                    <a:lnTo>
                      <a:pt x="59" y="190"/>
                    </a:lnTo>
                    <a:lnTo>
                      <a:pt x="55" y="190"/>
                    </a:lnTo>
                    <a:lnTo>
                      <a:pt x="55" y="186"/>
                    </a:lnTo>
                    <a:lnTo>
                      <a:pt x="49" y="186"/>
                    </a:lnTo>
                    <a:lnTo>
                      <a:pt x="47" y="186"/>
                    </a:lnTo>
                    <a:lnTo>
                      <a:pt x="40" y="190"/>
                    </a:lnTo>
                    <a:lnTo>
                      <a:pt x="36" y="190"/>
                    </a:lnTo>
                    <a:lnTo>
                      <a:pt x="34" y="194"/>
                    </a:lnTo>
                    <a:lnTo>
                      <a:pt x="29" y="194"/>
                    </a:lnTo>
                    <a:lnTo>
                      <a:pt x="29" y="194"/>
                    </a:lnTo>
                    <a:lnTo>
                      <a:pt x="25" y="194"/>
                    </a:lnTo>
                    <a:lnTo>
                      <a:pt x="15" y="182"/>
                    </a:lnTo>
                    <a:lnTo>
                      <a:pt x="19" y="175"/>
                    </a:lnTo>
                    <a:lnTo>
                      <a:pt x="0" y="152"/>
                    </a:lnTo>
                    <a:lnTo>
                      <a:pt x="4" y="143"/>
                    </a:lnTo>
                    <a:lnTo>
                      <a:pt x="4" y="143"/>
                    </a:lnTo>
                    <a:lnTo>
                      <a:pt x="4" y="143"/>
                    </a:lnTo>
                    <a:lnTo>
                      <a:pt x="4" y="143"/>
                    </a:lnTo>
                    <a:close/>
                    <a:moveTo>
                      <a:pt x="70" y="17"/>
                    </a:moveTo>
                    <a:lnTo>
                      <a:pt x="70" y="11"/>
                    </a:lnTo>
                    <a:lnTo>
                      <a:pt x="70" y="11"/>
                    </a:lnTo>
                    <a:lnTo>
                      <a:pt x="72" y="4"/>
                    </a:lnTo>
                    <a:lnTo>
                      <a:pt x="70" y="4"/>
                    </a:lnTo>
                    <a:lnTo>
                      <a:pt x="72" y="2"/>
                    </a:lnTo>
                    <a:lnTo>
                      <a:pt x="70" y="2"/>
                    </a:lnTo>
                    <a:lnTo>
                      <a:pt x="72" y="0"/>
                    </a:lnTo>
                    <a:lnTo>
                      <a:pt x="72" y="2"/>
                    </a:lnTo>
                    <a:lnTo>
                      <a:pt x="70" y="0"/>
                    </a:lnTo>
                    <a:lnTo>
                      <a:pt x="70" y="0"/>
                    </a:lnTo>
                    <a:lnTo>
                      <a:pt x="68" y="0"/>
                    </a:lnTo>
                    <a:lnTo>
                      <a:pt x="66" y="4"/>
                    </a:lnTo>
                    <a:lnTo>
                      <a:pt x="66" y="4"/>
                    </a:lnTo>
                    <a:lnTo>
                      <a:pt x="64" y="4"/>
                    </a:lnTo>
                    <a:lnTo>
                      <a:pt x="64" y="7"/>
                    </a:lnTo>
                    <a:lnTo>
                      <a:pt x="64" y="7"/>
                    </a:lnTo>
                    <a:lnTo>
                      <a:pt x="66" y="7"/>
                    </a:lnTo>
                    <a:lnTo>
                      <a:pt x="68" y="17"/>
                    </a:lnTo>
                    <a:lnTo>
                      <a:pt x="70" y="17"/>
                    </a:lnTo>
                    <a:lnTo>
                      <a:pt x="70" y="17"/>
                    </a:lnTo>
                    <a:lnTo>
                      <a:pt x="70"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4" name="Freeform 96"/>
              <p:cNvSpPr>
                <a:spLocks noEditPoints="1"/>
              </p:cNvSpPr>
              <p:nvPr/>
            </p:nvSpPr>
            <p:spPr bwMode="auto">
              <a:xfrm>
                <a:off x="3566" y="2732"/>
                <a:ext cx="220" cy="143"/>
              </a:xfrm>
              <a:custGeom>
                <a:avLst/>
                <a:gdLst/>
                <a:ahLst/>
                <a:cxnLst>
                  <a:cxn ang="0">
                    <a:pos x="5" y="55"/>
                  </a:cxn>
                  <a:cxn ang="0">
                    <a:pos x="11" y="53"/>
                  </a:cxn>
                  <a:cxn ang="0">
                    <a:pos x="13" y="45"/>
                  </a:cxn>
                  <a:cxn ang="0">
                    <a:pos x="19" y="32"/>
                  </a:cxn>
                  <a:cxn ang="0">
                    <a:pos x="36" y="38"/>
                  </a:cxn>
                  <a:cxn ang="0">
                    <a:pos x="68" y="51"/>
                  </a:cxn>
                  <a:cxn ang="0">
                    <a:pos x="100" y="23"/>
                  </a:cxn>
                  <a:cxn ang="0">
                    <a:pos x="167" y="9"/>
                  </a:cxn>
                  <a:cxn ang="0">
                    <a:pos x="182" y="40"/>
                  </a:cxn>
                  <a:cxn ang="0">
                    <a:pos x="190" y="55"/>
                  </a:cxn>
                  <a:cxn ang="0">
                    <a:pos x="177" y="64"/>
                  </a:cxn>
                  <a:cxn ang="0">
                    <a:pos x="177" y="72"/>
                  </a:cxn>
                  <a:cxn ang="0">
                    <a:pos x="177" y="73"/>
                  </a:cxn>
                  <a:cxn ang="0">
                    <a:pos x="165" y="79"/>
                  </a:cxn>
                  <a:cxn ang="0">
                    <a:pos x="149" y="85"/>
                  </a:cxn>
                  <a:cxn ang="0">
                    <a:pos x="124" y="92"/>
                  </a:cxn>
                  <a:cxn ang="0">
                    <a:pos x="120" y="94"/>
                  </a:cxn>
                  <a:cxn ang="0">
                    <a:pos x="111" y="106"/>
                  </a:cxn>
                  <a:cxn ang="0">
                    <a:pos x="109" y="104"/>
                  </a:cxn>
                  <a:cxn ang="0">
                    <a:pos x="103" y="107"/>
                  </a:cxn>
                  <a:cxn ang="0">
                    <a:pos x="100" y="104"/>
                  </a:cxn>
                  <a:cxn ang="0">
                    <a:pos x="92" y="113"/>
                  </a:cxn>
                  <a:cxn ang="0">
                    <a:pos x="81" y="115"/>
                  </a:cxn>
                  <a:cxn ang="0">
                    <a:pos x="69" y="119"/>
                  </a:cxn>
                  <a:cxn ang="0">
                    <a:pos x="64" y="115"/>
                  </a:cxn>
                  <a:cxn ang="0">
                    <a:pos x="60" y="115"/>
                  </a:cxn>
                  <a:cxn ang="0">
                    <a:pos x="54" y="119"/>
                  </a:cxn>
                  <a:cxn ang="0">
                    <a:pos x="49" y="124"/>
                  </a:cxn>
                  <a:cxn ang="0">
                    <a:pos x="41" y="130"/>
                  </a:cxn>
                  <a:cxn ang="0">
                    <a:pos x="36" y="128"/>
                  </a:cxn>
                  <a:cxn ang="0">
                    <a:pos x="30" y="134"/>
                  </a:cxn>
                  <a:cxn ang="0">
                    <a:pos x="24" y="134"/>
                  </a:cxn>
                  <a:cxn ang="0">
                    <a:pos x="19" y="128"/>
                  </a:cxn>
                  <a:cxn ang="0">
                    <a:pos x="13" y="121"/>
                  </a:cxn>
                  <a:cxn ang="0">
                    <a:pos x="13" y="115"/>
                  </a:cxn>
                  <a:cxn ang="0">
                    <a:pos x="7" y="104"/>
                  </a:cxn>
                  <a:cxn ang="0">
                    <a:pos x="4" y="79"/>
                  </a:cxn>
                  <a:cxn ang="0">
                    <a:pos x="0" y="79"/>
                  </a:cxn>
                  <a:cxn ang="0">
                    <a:pos x="2" y="75"/>
                  </a:cxn>
                  <a:cxn ang="0">
                    <a:pos x="5" y="75"/>
                  </a:cxn>
                  <a:cxn ang="0">
                    <a:pos x="4" y="58"/>
                  </a:cxn>
                  <a:cxn ang="0">
                    <a:pos x="2" y="55"/>
                  </a:cxn>
                  <a:cxn ang="0">
                    <a:pos x="2" y="55"/>
                  </a:cxn>
                  <a:cxn ang="0">
                    <a:pos x="181" y="141"/>
                  </a:cxn>
                  <a:cxn ang="0">
                    <a:pos x="181" y="143"/>
                  </a:cxn>
                  <a:cxn ang="0">
                    <a:pos x="177" y="141"/>
                  </a:cxn>
                  <a:cxn ang="0">
                    <a:pos x="177" y="141"/>
                  </a:cxn>
                  <a:cxn ang="0">
                    <a:pos x="201" y="134"/>
                  </a:cxn>
                  <a:cxn ang="0">
                    <a:pos x="203" y="130"/>
                  </a:cxn>
                  <a:cxn ang="0">
                    <a:pos x="207" y="134"/>
                  </a:cxn>
                  <a:cxn ang="0">
                    <a:pos x="213" y="134"/>
                  </a:cxn>
                  <a:cxn ang="0">
                    <a:pos x="216" y="134"/>
                  </a:cxn>
                  <a:cxn ang="0">
                    <a:pos x="220" y="134"/>
                  </a:cxn>
                  <a:cxn ang="0">
                    <a:pos x="216" y="136"/>
                  </a:cxn>
                  <a:cxn ang="0">
                    <a:pos x="207" y="139"/>
                  </a:cxn>
                  <a:cxn ang="0">
                    <a:pos x="201" y="138"/>
                  </a:cxn>
                  <a:cxn ang="0">
                    <a:pos x="197" y="136"/>
                  </a:cxn>
                </a:cxnLst>
                <a:rect l="0" t="0" r="r" b="b"/>
                <a:pathLst>
                  <a:path w="220" h="143">
                    <a:moveTo>
                      <a:pt x="2" y="55"/>
                    </a:moveTo>
                    <a:lnTo>
                      <a:pt x="5" y="55"/>
                    </a:lnTo>
                    <a:lnTo>
                      <a:pt x="7" y="58"/>
                    </a:lnTo>
                    <a:lnTo>
                      <a:pt x="11" y="53"/>
                    </a:lnTo>
                    <a:lnTo>
                      <a:pt x="13" y="49"/>
                    </a:lnTo>
                    <a:lnTo>
                      <a:pt x="13" y="45"/>
                    </a:lnTo>
                    <a:lnTo>
                      <a:pt x="13" y="36"/>
                    </a:lnTo>
                    <a:lnTo>
                      <a:pt x="19" y="32"/>
                    </a:lnTo>
                    <a:lnTo>
                      <a:pt x="24" y="38"/>
                    </a:lnTo>
                    <a:lnTo>
                      <a:pt x="36" y="38"/>
                    </a:lnTo>
                    <a:lnTo>
                      <a:pt x="51" y="45"/>
                    </a:lnTo>
                    <a:lnTo>
                      <a:pt x="68" y="51"/>
                    </a:lnTo>
                    <a:lnTo>
                      <a:pt x="68" y="70"/>
                    </a:lnTo>
                    <a:lnTo>
                      <a:pt x="100" y="23"/>
                    </a:lnTo>
                    <a:lnTo>
                      <a:pt x="171" y="0"/>
                    </a:lnTo>
                    <a:lnTo>
                      <a:pt x="167" y="9"/>
                    </a:lnTo>
                    <a:lnTo>
                      <a:pt x="186" y="34"/>
                    </a:lnTo>
                    <a:lnTo>
                      <a:pt x="182" y="40"/>
                    </a:lnTo>
                    <a:lnTo>
                      <a:pt x="192" y="53"/>
                    </a:lnTo>
                    <a:lnTo>
                      <a:pt x="190" y="55"/>
                    </a:lnTo>
                    <a:lnTo>
                      <a:pt x="182" y="58"/>
                    </a:lnTo>
                    <a:lnTo>
                      <a:pt x="177" y="64"/>
                    </a:lnTo>
                    <a:lnTo>
                      <a:pt x="177" y="70"/>
                    </a:lnTo>
                    <a:lnTo>
                      <a:pt x="177" y="72"/>
                    </a:lnTo>
                    <a:lnTo>
                      <a:pt x="177" y="72"/>
                    </a:lnTo>
                    <a:lnTo>
                      <a:pt x="177" y="73"/>
                    </a:lnTo>
                    <a:lnTo>
                      <a:pt x="171" y="75"/>
                    </a:lnTo>
                    <a:lnTo>
                      <a:pt x="165" y="79"/>
                    </a:lnTo>
                    <a:lnTo>
                      <a:pt x="158" y="83"/>
                    </a:lnTo>
                    <a:lnTo>
                      <a:pt x="149" y="85"/>
                    </a:lnTo>
                    <a:lnTo>
                      <a:pt x="147" y="89"/>
                    </a:lnTo>
                    <a:lnTo>
                      <a:pt x="124" y="92"/>
                    </a:lnTo>
                    <a:lnTo>
                      <a:pt x="124" y="92"/>
                    </a:lnTo>
                    <a:lnTo>
                      <a:pt x="120" y="94"/>
                    </a:lnTo>
                    <a:lnTo>
                      <a:pt x="117" y="100"/>
                    </a:lnTo>
                    <a:lnTo>
                      <a:pt x="111" y="106"/>
                    </a:lnTo>
                    <a:lnTo>
                      <a:pt x="109" y="106"/>
                    </a:lnTo>
                    <a:lnTo>
                      <a:pt x="109" y="104"/>
                    </a:lnTo>
                    <a:lnTo>
                      <a:pt x="105" y="106"/>
                    </a:lnTo>
                    <a:lnTo>
                      <a:pt x="103" y="107"/>
                    </a:lnTo>
                    <a:lnTo>
                      <a:pt x="100" y="106"/>
                    </a:lnTo>
                    <a:lnTo>
                      <a:pt x="100" y="104"/>
                    </a:lnTo>
                    <a:lnTo>
                      <a:pt x="92" y="109"/>
                    </a:lnTo>
                    <a:lnTo>
                      <a:pt x="92" y="113"/>
                    </a:lnTo>
                    <a:lnTo>
                      <a:pt x="88" y="115"/>
                    </a:lnTo>
                    <a:lnTo>
                      <a:pt x="81" y="115"/>
                    </a:lnTo>
                    <a:lnTo>
                      <a:pt x="73" y="119"/>
                    </a:lnTo>
                    <a:lnTo>
                      <a:pt x="69" y="119"/>
                    </a:lnTo>
                    <a:lnTo>
                      <a:pt x="69" y="115"/>
                    </a:lnTo>
                    <a:lnTo>
                      <a:pt x="64" y="115"/>
                    </a:lnTo>
                    <a:lnTo>
                      <a:pt x="62" y="115"/>
                    </a:lnTo>
                    <a:lnTo>
                      <a:pt x="60" y="115"/>
                    </a:lnTo>
                    <a:lnTo>
                      <a:pt x="56" y="115"/>
                    </a:lnTo>
                    <a:lnTo>
                      <a:pt x="54" y="119"/>
                    </a:lnTo>
                    <a:lnTo>
                      <a:pt x="51" y="124"/>
                    </a:lnTo>
                    <a:lnTo>
                      <a:pt x="49" y="124"/>
                    </a:lnTo>
                    <a:lnTo>
                      <a:pt x="45" y="128"/>
                    </a:lnTo>
                    <a:lnTo>
                      <a:pt x="41" y="130"/>
                    </a:lnTo>
                    <a:lnTo>
                      <a:pt x="39" y="128"/>
                    </a:lnTo>
                    <a:lnTo>
                      <a:pt x="36" y="128"/>
                    </a:lnTo>
                    <a:lnTo>
                      <a:pt x="32" y="134"/>
                    </a:lnTo>
                    <a:lnTo>
                      <a:pt x="30" y="134"/>
                    </a:lnTo>
                    <a:lnTo>
                      <a:pt x="24" y="130"/>
                    </a:lnTo>
                    <a:lnTo>
                      <a:pt x="24" y="134"/>
                    </a:lnTo>
                    <a:lnTo>
                      <a:pt x="21" y="134"/>
                    </a:lnTo>
                    <a:lnTo>
                      <a:pt x="19" y="128"/>
                    </a:lnTo>
                    <a:lnTo>
                      <a:pt x="19" y="124"/>
                    </a:lnTo>
                    <a:lnTo>
                      <a:pt x="13" y="121"/>
                    </a:lnTo>
                    <a:lnTo>
                      <a:pt x="13" y="115"/>
                    </a:lnTo>
                    <a:lnTo>
                      <a:pt x="13" y="115"/>
                    </a:lnTo>
                    <a:lnTo>
                      <a:pt x="13" y="109"/>
                    </a:lnTo>
                    <a:lnTo>
                      <a:pt x="7" y="104"/>
                    </a:lnTo>
                    <a:lnTo>
                      <a:pt x="7" y="89"/>
                    </a:lnTo>
                    <a:lnTo>
                      <a:pt x="4" y="79"/>
                    </a:lnTo>
                    <a:lnTo>
                      <a:pt x="2" y="79"/>
                    </a:lnTo>
                    <a:lnTo>
                      <a:pt x="0" y="79"/>
                    </a:lnTo>
                    <a:lnTo>
                      <a:pt x="0" y="75"/>
                    </a:lnTo>
                    <a:lnTo>
                      <a:pt x="2" y="75"/>
                    </a:lnTo>
                    <a:lnTo>
                      <a:pt x="2" y="75"/>
                    </a:lnTo>
                    <a:lnTo>
                      <a:pt x="5" y="75"/>
                    </a:lnTo>
                    <a:lnTo>
                      <a:pt x="5" y="68"/>
                    </a:lnTo>
                    <a:lnTo>
                      <a:pt x="4" y="58"/>
                    </a:lnTo>
                    <a:lnTo>
                      <a:pt x="2" y="55"/>
                    </a:lnTo>
                    <a:lnTo>
                      <a:pt x="2" y="55"/>
                    </a:lnTo>
                    <a:lnTo>
                      <a:pt x="2" y="55"/>
                    </a:lnTo>
                    <a:lnTo>
                      <a:pt x="2" y="55"/>
                    </a:lnTo>
                    <a:close/>
                    <a:moveTo>
                      <a:pt x="177" y="141"/>
                    </a:moveTo>
                    <a:lnTo>
                      <a:pt x="181" y="141"/>
                    </a:lnTo>
                    <a:lnTo>
                      <a:pt x="184" y="141"/>
                    </a:lnTo>
                    <a:lnTo>
                      <a:pt x="181" y="143"/>
                    </a:lnTo>
                    <a:lnTo>
                      <a:pt x="177" y="141"/>
                    </a:lnTo>
                    <a:lnTo>
                      <a:pt x="177" y="141"/>
                    </a:lnTo>
                    <a:lnTo>
                      <a:pt x="177" y="141"/>
                    </a:lnTo>
                    <a:lnTo>
                      <a:pt x="177" y="141"/>
                    </a:lnTo>
                    <a:close/>
                    <a:moveTo>
                      <a:pt x="197" y="136"/>
                    </a:moveTo>
                    <a:lnTo>
                      <a:pt x="201" y="134"/>
                    </a:lnTo>
                    <a:lnTo>
                      <a:pt x="201" y="134"/>
                    </a:lnTo>
                    <a:lnTo>
                      <a:pt x="203" y="130"/>
                    </a:lnTo>
                    <a:lnTo>
                      <a:pt x="205" y="130"/>
                    </a:lnTo>
                    <a:lnTo>
                      <a:pt x="207" y="134"/>
                    </a:lnTo>
                    <a:lnTo>
                      <a:pt x="209" y="134"/>
                    </a:lnTo>
                    <a:lnTo>
                      <a:pt x="213" y="134"/>
                    </a:lnTo>
                    <a:lnTo>
                      <a:pt x="216" y="130"/>
                    </a:lnTo>
                    <a:lnTo>
                      <a:pt x="216" y="134"/>
                    </a:lnTo>
                    <a:lnTo>
                      <a:pt x="220" y="134"/>
                    </a:lnTo>
                    <a:lnTo>
                      <a:pt x="220" y="134"/>
                    </a:lnTo>
                    <a:lnTo>
                      <a:pt x="220" y="136"/>
                    </a:lnTo>
                    <a:lnTo>
                      <a:pt x="216" y="136"/>
                    </a:lnTo>
                    <a:lnTo>
                      <a:pt x="213" y="139"/>
                    </a:lnTo>
                    <a:lnTo>
                      <a:pt x="207" y="139"/>
                    </a:lnTo>
                    <a:lnTo>
                      <a:pt x="203" y="139"/>
                    </a:lnTo>
                    <a:lnTo>
                      <a:pt x="201" y="138"/>
                    </a:lnTo>
                    <a:lnTo>
                      <a:pt x="197" y="136"/>
                    </a:lnTo>
                    <a:lnTo>
                      <a:pt x="197" y="136"/>
                    </a:lnTo>
                    <a:lnTo>
                      <a:pt x="197" y="13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5" name="Freeform 97"/>
              <p:cNvSpPr>
                <a:spLocks/>
              </p:cNvSpPr>
              <p:nvPr/>
            </p:nvSpPr>
            <p:spPr bwMode="auto">
              <a:xfrm>
                <a:off x="3223" y="2489"/>
                <a:ext cx="232" cy="196"/>
              </a:xfrm>
              <a:custGeom>
                <a:avLst/>
                <a:gdLst/>
                <a:ahLst/>
                <a:cxnLst>
                  <a:cxn ang="0">
                    <a:pos x="187" y="36"/>
                  </a:cxn>
                  <a:cxn ang="0">
                    <a:pos x="173" y="11"/>
                  </a:cxn>
                  <a:cxn ang="0">
                    <a:pos x="166" y="8"/>
                  </a:cxn>
                  <a:cxn ang="0">
                    <a:pos x="140" y="11"/>
                  </a:cxn>
                  <a:cxn ang="0">
                    <a:pos x="134" y="11"/>
                  </a:cxn>
                  <a:cxn ang="0">
                    <a:pos x="128" y="9"/>
                  </a:cxn>
                  <a:cxn ang="0">
                    <a:pos x="128" y="4"/>
                  </a:cxn>
                  <a:cxn ang="0">
                    <a:pos x="115" y="0"/>
                  </a:cxn>
                  <a:cxn ang="0">
                    <a:pos x="117" y="4"/>
                  </a:cxn>
                  <a:cxn ang="0">
                    <a:pos x="106" y="6"/>
                  </a:cxn>
                  <a:cxn ang="0">
                    <a:pos x="108" y="4"/>
                  </a:cxn>
                  <a:cxn ang="0">
                    <a:pos x="102" y="2"/>
                  </a:cxn>
                  <a:cxn ang="0">
                    <a:pos x="92" y="8"/>
                  </a:cxn>
                  <a:cxn ang="0">
                    <a:pos x="83" y="15"/>
                  </a:cxn>
                  <a:cxn ang="0">
                    <a:pos x="66" y="11"/>
                  </a:cxn>
                  <a:cxn ang="0">
                    <a:pos x="51" y="8"/>
                  </a:cxn>
                  <a:cxn ang="0">
                    <a:pos x="38" y="4"/>
                  </a:cxn>
                  <a:cxn ang="0">
                    <a:pos x="8" y="0"/>
                  </a:cxn>
                  <a:cxn ang="0">
                    <a:pos x="4" y="4"/>
                  </a:cxn>
                  <a:cxn ang="0">
                    <a:pos x="4" y="21"/>
                  </a:cxn>
                  <a:cxn ang="0">
                    <a:pos x="4" y="40"/>
                  </a:cxn>
                  <a:cxn ang="0">
                    <a:pos x="232" y="194"/>
                  </a:cxn>
                  <a:cxn ang="0">
                    <a:pos x="224" y="190"/>
                  </a:cxn>
                  <a:cxn ang="0">
                    <a:pos x="217" y="181"/>
                  </a:cxn>
                  <a:cxn ang="0">
                    <a:pos x="207" y="177"/>
                  </a:cxn>
                  <a:cxn ang="0">
                    <a:pos x="204" y="160"/>
                  </a:cxn>
                  <a:cxn ang="0">
                    <a:pos x="205" y="156"/>
                  </a:cxn>
                  <a:cxn ang="0">
                    <a:pos x="205" y="155"/>
                  </a:cxn>
                  <a:cxn ang="0">
                    <a:pos x="202" y="151"/>
                  </a:cxn>
                  <a:cxn ang="0">
                    <a:pos x="190" y="132"/>
                  </a:cxn>
                  <a:cxn ang="0">
                    <a:pos x="175" y="107"/>
                  </a:cxn>
                  <a:cxn ang="0">
                    <a:pos x="172" y="94"/>
                  </a:cxn>
                  <a:cxn ang="0">
                    <a:pos x="166" y="81"/>
                  </a:cxn>
                  <a:cxn ang="0">
                    <a:pos x="162" y="74"/>
                  </a:cxn>
                  <a:cxn ang="0">
                    <a:pos x="145" y="55"/>
                  </a:cxn>
                  <a:cxn ang="0">
                    <a:pos x="141" y="41"/>
                  </a:cxn>
                  <a:cxn ang="0">
                    <a:pos x="141" y="40"/>
                  </a:cxn>
                  <a:cxn ang="0">
                    <a:pos x="147" y="45"/>
                  </a:cxn>
                  <a:cxn ang="0">
                    <a:pos x="153" y="57"/>
                  </a:cxn>
                  <a:cxn ang="0">
                    <a:pos x="162" y="68"/>
                  </a:cxn>
                  <a:cxn ang="0">
                    <a:pos x="177" y="81"/>
                  </a:cxn>
                  <a:cxn ang="0">
                    <a:pos x="183" y="70"/>
                  </a:cxn>
                  <a:cxn ang="0">
                    <a:pos x="183" y="57"/>
                  </a:cxn>
                  <a:cxn ang="0">
                    <a:pos x="187" y="47"/>
                  </a:cxn>
                </a:cxnLst>
                <a:rect l="0" t="0" r="r" b="b"/>
                <a:pathLst>
                  <a:path w="232" h="196">
                    <a:moveTo>
                      <a:pt x="187" y="47"/>
                    </a:moveTo>
                    <a:lnTo>
                      <a:pt x="185" y="40"/>
                    </a:lnTo>
                    <a:lnTo>
                      <a:pt x="187" y="36"/>
                    </a:lnTo>
                    <a:lnTo>
                      <a:pt x="181" y="25"/>
                    </a:lnTo>
                    <a:lnTo>
                      <a:pt x="175" y="19"/>
                    </a:lnTo>
                    <a:lnTo>
                      <a:pt x="173" y="11"/>
                    </a:lnTo>
                    <a:lnTo>
                      <a:pt x="170" y="6"/>
                    </a:lnTo>
                    <a:lnTo>
                      <a:pt x="168" y="4"/>
                    </a:lnTo>
                    <a:lnTo>
                      <a:pt x="166" y="8"/>
                    </a:lnTo>
                    <a:lnTo>
                      <a:pt x="162" y="9"/>
                    </a:lnTo>
                    <a:lnTo>
                      <a:pt x="149" y="8"/>
                    </a:lnTo>
                    <a:lnTo>
                      <a:pt x="140" y="11"/>
                    </a:lnTo>
                    <a:lnTo>
                      <a:pt x="132" y="6"/>
                    </a:lnTo>
                    <a:lnTo>
                      <a:pt x="132" y="9"/>
                    </a:lnTo>
                    <a:lnTo>
                      <a:pt x="134" y="11"/>
                    </a:lnTo>
                    <a:lnTo>
                      <a:pt x="134" y="15"/>
                    </a:lnTo>
                    <a:lnTo>
                      <a:pt x="132" y="11"/>
                    </a:lnTo>
                    <a:lnTo>
                      <a:pt x="128" y="9"/>
                    </a:lnTo>
                    <a:lnTo>
                      <a:pt x="128" y="6"/>
                    </a:lnTo>
                    <a:lnTo>
                      <a:pt x="128" y="6"/>
                    </a:lnTo>
                    <a:lnTo>
                      <a:pt x="128" y="4"/>
                    </a:lnTo>
                    <a:lnTo>
                      <a:pt x="123" y="4"/>
                    </a:lnTo>
                    <a:lnTo>
                      <a:pt x="121" y="2"/>
                    </a:lnTo>
                    <a:lnTo>
                      <a:pt x="115" y="0"/>
                    </a:lnTo>
                    <a:lnTo>
                      <a:pt x="113" y="2"/>
                    </a:lnTo>
                    <a:lnTo>
                      <a:pt x="117" y="2"/>
                    </a:lnTo>
                    <a:lnTo>
                      <a:pt x="117" y="4"/>
                    </a:lnTo>
                    <a:lnTo>
                      <a:pt x="113" y="4"/>
                    </a:lnTo>
                    <a:lnTo>
                      <a:pt x="109" y="4"/>
                    </a:lnTo>
                    <a:lnTo>
                      <a:pt x="106" y="6"/>
                    </a:lnTo>
                    <a:lnTo>
                      <a:pt x="104" y="4"/>
                    </a:lnTo>
                    <a:lnTo>
                      <a:pt x="104" y="4"/>
                    </a:lnTo>
                    <a:lnTo>
                      <a:pt x="108" y="4"/>
                    </a:lnTo>
                    <a:lnTo>
                      <a:pt x="111" y="2"/>
                    </a:lnTo>
                    <a:lnTo>
                      <a:pt x="108" y="2"/>
                    </a:lnTo>
                    <a:lnTo>
                      <a:pt x="102" y="2"/>
                    </a:lnTo>
                    <a:lnTo>
                      <a:pt x="98" y="4"/>
                    </a:lnTo>
                    <a:lnTo>
                      <a:pt x="96" y="8"/>
                    </a:lnTo>
                    <a:lnTo>
                      <a:pt x="92" y="8"/>
                    </a:lnTo>
                    <a:lnTo>
                      <a:pt x="89" y="9"/>
                    </a:lnTo>
                    <a:lnTo>
                      <a:pt x="83" y="11"/>
                    </a:lnTo>
                    <a:lnTo>
                      <a:pt x="83" y="15"/>
                    </a:lnTo>
                    <a:lnTo>
                      <a:pt x="77" y="15"/>
                    </a:lnTo>
                    <a:lnTo>
                      <a:pt x="72" y="11"/>
                    </a:lnTo>
                    <a:lnTo>
                      <a:pt x="66" y="11"/>
                    </a:lnTo>
                    <a:lnTo>
                      <a:pt x="60" y="11"/>
                    </a:lnTo>
                    <a:lnTo>
                      <a:pt x="55" y="8"/>
                    </a:lnTo>
                    <a:lnTo>
                      <a:pt x="51" y="8"/>
                    </a:lnTo>
                    <a:lnTo>
                      <a:pt x="49" y="9"/>
                    </a:lnTo>
                    <a:lnTo>
                      <a:pt x="44" y="6"/>
                    </a:lnTo>
                    <a:lnTo>
                      <a:pt x="38" y="4"/>
                    </a:lnTo>
                    <a:lnTo>
                      <a:pt x="25" y="2"/>
                    </a:lnTo>
                    <a:lnTo>
                      <a:pt x="17" y="0"/>
                    </a:lnTo>
                    <a:lnTo>
                      <a:pt x="8" y="0"/>
                    </a:lnTo>
                    <a:lnTo>
                      <a:pt x="4" y="2"/>
                    </a:lnTo>
                    <a:lnTo>
                      <a:pt x="4" y="2"/>
                    </a:lnTo>
                    <a:lnTo>
                      <a:pt x="4" y="4"/>
                    </a:lnTo>
                    <a:lnTo>
                      <a:pt x="4" y="11"/>
                    </a:lnTo>
                    <a:lnTo>
                      <a:pt x="4" y="19"/>
                    </a:lnTo>
                    <a:lnTo>
                      <a:pt x="4" y="21"/>
                    </a:lnTo>
                    <a:lnTo>
                      <a:pt x="4" y="30"/>
                    </a:lnTo>
                    <a:lnTo>
                      <a:pt x="0" y="34"/>
                    </a:lnTo>
                    <a:lnTo>
                      <a:pt x="4" y="40"/>
                    </a:lnTo>
                    <a:lnTo>
                      <a:pt x="4" y="49"/>
                    </a:lnTo>
                    <a:lnTo>
                      <a:pt x="10" y="196"/>
                    </a:lnTo>
                    <a:lnTo>
                      <a:pt x="232" y="194"/>
                    </a:lnTo>
                    <a:lnTo>
                      <a:pt x="232" y="194"/>
                    </a:lnTo>
                    <a:lnTo>
                      <a:pt x="230" y="194"/>
                    </a:lnTo>
                    <a:lnTo>
                      <a:pt x="224" y="190"/>
                    </a:lnTo>
                    <a:lnTo>
                      <a:pt x="224" y="187"/>
                    </a:lnTo>
                    <a:lnTo>
                      <a:pt x="220" y="187"/>
                    </a:lnTo>
                    <a:lnTo>
                      <a:pt x="217" y="181"/>
                    </a:lnTo>
                    <a:lnTo>
                      <a:pt x="217" y="181"/>
                    </a:lnTo>
                    <a:lnTo>
                      <a:pt x="213" y="181"/>
                    </a:lnTo>
                    <a:lnTo>
                      <a:pt x="207" y="177"/>
                    </a:lnTo>
                    <a:lnTo>
                      <a:pt x="204" y="168"/>
                    </a:lnTo>
                    <a:lnTo>
                      <a:pt x="204" y="164"/>
                    </a:lnTo>
                    <a:lnTo>
                      <a:pt x="204" y="160"/>
                    </a:lnTo>
                    <a:lnTo>
                      <a:pt x="204" y="156"/>
                    </a:lnTo>
                    <a:lnTo>
                      <a:pt x="204" y="156"/>
                    </a:lnTo>
                    <a:lnTo>
                      <a:pt x="205" y="156"/>
                    </a:lnTo>
                    <a:lnTo>
                      <a:pt x="211" y="156"/>
                    </a:lnTo>
                    <a:lnTo>
                      <a:pt x="207" y="155"/>
                    </a:lnTo>
                    <a:lnTo>
                      <a:pt x="205" y="155"/>
                    </a:lnTo>
                    <a:lnTo>
                      <a:pt x="204" y="151"/>
                    </a:lnTo>
                    <a:lnTo>
                      <a:pt x="202" y="151"/>
                    </a:lnTo>
                    <a:lnTo>
                      <a:pt x="202" y="151"/>
                    </a:lnTo>
                    <a:lnTo>
                      <a:pt x="200" y="149"/>
                    </a:lnTo>
                    <a:lnTo>
                      <a:pt x="198" y="143"/>
                    </a:lnTo>
                    <a:lnTo>
                      <a:pt x="190" y="132"/>
                    </a:lnTo>
                    <a:lnTo>
                      <a:pt x="187" y="130"/>
                    </a:lnTo>
                    <a:lnTo>
                      <a:pt x="187" y="124"/>
                    </a:lnTo>
                    <a:lnTo>
                      <a:pt x="175" y="107"/>
                    </a:lnTo>
                    <a:lnTo>
                      <a:pt x="175" y="104"/>
                    </a:lnTo>
                    <a:lnTo>
                      <a:pt x="173" y="100"/>
                    </a:lnTo>
                    <a:lnTo>
                      <a:pt x="172" y="94"/>
                    </a:lnTo>
                    <a:lnTo>
                      <a:pt x="170" y="90"/>
                    </a:lnTo>
                    <a:lnTo>
                      <a:pt x="170" y="90"/>
                    </a:lnTo>
                    <a:lnTo>
                      <a:pt x="166" y="81"/>
                    </a:lnTo>
                    <a:lnTo>
                      <a:pt x="166" y="81"/>
                    </a:lnTo>
                    <a:lnTo>
                      <a:pt x="166" y="77"/>
                    </a:lnTo>
                    <a:lnTo>
                      <a:pt x="162" y="74"/>
                    </a:lnTo>
                    <a:lnTo>
                      <a:pt x="153" y="64"/>
                    </a:lnTo>
                    <a:lnTo>
                      <a:pt x="153" y="60"/>
                    </a:lnTo>
                    <a:lnTo>
                      <a:pt x="145" y="55"/>
                    </a:lnTo>
                    <a:lnTo>
                      <a:pt x="145" y="49"/>
                    </a:lnTo>
                    <a:lnTo>
                      <a:pt x="140" y="45"/>
                    </a:lnTo>
                    <a:lnTo>
                      <a:pt x="141" y="41"/>
                    </a:lnTo>
                    <a:lnTo>
                      <a:pt x="141" y="40"/>
                    </a:lnTo>
                    <a:lnTo>
                      <a:pt x="141" y="38"/>
                    </a:lnTo>
                    <a:lnTo>
                      <a:pt x="141" y="40"/>
                    </a:lnTo>
                    <a:lnTo>
                      <a:pt x="143" y="40"/>
                    </a:lnTo>
                    <a:lnTo>
                      <a:pt x="145" y="43"/>
                    </a:lnTo>
                    <a:lnTo>
                      <a:pt x="147" y="45"/>
                    </a:lnTo>
                    <a:lnTo>
                      <a:pt x="147" y="49"/>
                    </a:lnTo>
                    <a:lnTo>
                      <a:pt x="153" y="55"/>
                    </a:lnTo>
                    <a:lnTo>
                      <a:pt x="153" y="57"/>
                    </a:lnTo>
                    <a:lnTo>
                      <a:pt x="156" y="60"/>
                    </a:lnTo>
                    <a:lnTo>
                      <a:pt x="162" y="64"/>
                    </a:lnTo>
                    <a:lnTo>
                      <a:pt x="162" y="68"/>
                    </a:lnTo>
                    <a:lnTo>
                      <a:pt x="172" y="77"/>
                    </a:lnTo>
                    <a:lnTo>
                      <a:pt x="177" y="79"/>
                    </a:lnTo>
                    <a:lnTo>
                      <a:pt x="177" y="81"/>
                    </a:lnTo>
                    <a:lnTo>
                      <a:pt x="177" y="79"/>
                    </a:lnTo>
                    <a:lnTo>
                      <a:pt x="181" y="75"/>
                    </a:lnTo>
                    <a:lnTo>
                      <a:pt x="183" y="70"/>
                    </a:lnTo>
                    <a:lnTo>
                      <a:pt x="181" y="68"/>
                    </a:lnTo>
                    <a:lnTo>
                      <a:pt x="183" y="62"/>
                    </a:lnTo>
                    <a:lnTo>
                      <a:pt x="183" y="57"/>
                    </a:lnTo>
                    <a:lnTo>
                      <a:pt x="187" y="49"/>
                    </a:lnTo>
                    <a:lnTo>
                      <a:pt x="187" y="47"/>
                    </a:lnTo>
                    <a:lnTo>
                      <a:pt x="187" y="47"/>
                    </a:lnTo>
                    <a:lnTo>
                      <a:pt x="187" y="4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6" name="Freeform 98"/>
              <p:cNvSpPr>
                <a:spLocks/>
              </p:cNvSpPr>
              <p:nvPr/>
            </p:nvSpPr>
            <p:spPr bwMode="auto">
              <a:xfrm>
                <a:off x="3180" y="2685"/>
                <a:ext cx="307" cy="348"/>
              </a:xfrm>
              <a:custGeom>
                <a:avLst/>
                <a:gdLst/>
                <a:ahLst/>
                <a:cxnLst>
                  <a:cxn ang="0">
                    <a:pos x="275" y="6"/>
                  </a:cxn>
                  <a:cxn ang="0">
                    <a:pos x="277" y="15"/>
                  </a:cxn>
                  <a:cxn ang="0">
                    <a:pos x="277" y="15"/>
                  </a:cxn>
                  <a:cxn ang="0">
                    <a:pos x="282" y="47"/>
                  </a:cxn>
                  <a:cxn ang="0">
                    <a:pos x="297" y="73"/>
                  </a:cxn>
                  <a:cxn ang="0">
                    <a:pos x="305" y="79"/>
                  </a:cxn>
                  <a:cxn ang="0">
                    <a:pos x="290" y="87"/>
                  </a:cxn>
                  <a:cxn ang="0">
                    <a:pos x="282" y="94"/>
                  </a:cxn>
                  <a:cxn ang="0">
                    <a:pos x="282" y="105"/>
                  </a:cxn>
                  <a:cxn ang="0">
                    <a:pos x="273" y="128"/>
                  </a:cxn>
                  <a:cxn ang="0">
                    <a:pos x="275" y="147"/>
                  </a:cxn>
                  <a:cxn ang="0">
                    <a:pos x="263" y="175"/>
                  </a:cxn>
                  <a:cxn ang="0">
                    <a:pos x="252" y="188"/>
                  </a:cxn>
                  <a:cxn ang="0">
                    <a:pos x="239" y="211"/>
                  </a:cxn>
                  <a:cxn ang="0">
                    <a:pos x="235" y="230"/>
                  </a:cxn>
                  <a:cxn ang="0">
                    <a:pos x="228" y="256"/>
                  </a:cxn>
                  <a:cxn ang="0">
                    <a:pos x="215" y="256"/>
                  </a:cxn>
                  <a:cxn ang="0">
                    <a:pos x="215" y="269"/>
                  </a:cxn>
                  <a:cxn ang="0">
                    <a:pos x="228" y="279"/>
                  </a:cxn>
                  <a:cxn ang="0">
                    <a:pos x="241" y="288"/>
                  </a:cxn>
                  <a:cxn ang="0">
                    <a:pos x="250" y="307"/>
                  </a:cxn>
                  <a:cxn ang="0">
                    <a:pos x="235" y="330"/>
                  </a:cxn>
                  <a:cxn ang="0">
                    <a:pos x="228" y="339"/>
                  </a:cxn>
                  <a:cxn ang="0">
                    <a:pos x="205" y="345"/>
                  </a:cxn>
                  <a:cxn ang="0">
                    <a:pos x="194" y="348"/>
                  </a:cxn>
                  <a:cxn ang="0">
                    <a:pos x="183" y="347"/>
                  </a:cxn>
                  <a:cxn ang="0">
                    <a:pos x="173" y="348"/>
                  </a:cxn>
                  <a:cxn ang="0">
                    <a:pos x="164" y="347"/>
                  </a:cxn>
                  <a:cxn ang="0">
                    <a:pos x="154" y="335"/>
                  </a:cxn>
                  <a:cxn ang="0">
                    <a:pos x="143" y="324"/>
                  </a:cxn>
                  <a:cxn ang="0">
                    <a:pos x="134" y="330"/>
                  </a:cxn>
                  <a:cxn ang="0">
                    <a:pos x="122" y="333"/>
                  </a:cxn>
                  <a:cxn ang="0">
                    <a:pos x="109" y="324"/>
                  </a:cxn>
                  <a:cxn ang="0">
                    <a:pos x="103" y="316"/>
                  </a:cxn>
                  <a:cxn ang="0">
                    <a:pos x="90" y="303"/>
                  </a:cxn>
                  <a:cxn ang="0">
                    <a:pos x="85" y="294"/>
                  </a:cxn>
                  <a:cxn ang="0">
                    <a:pos x="71" y="281"/>
                  </a:cxn>
                  <a:cxn ang="0">
                    <a:pos x="64" y="275"/>
                  </a:cxn>
                  <a:cxn ang="0">
                    <a:pos x="58" y="267"/>
                  </a:cxn>
                  <a:cxn ang="0">
                    <a:pos x="45" y="258"/>
                  </a:cxn>
                  <a:cxn ang="0">
                    <a:pos x="38" y="254"/>
                  </a:cxn>
                  <a:cxn ang="0">
                    <a:pos x="32" y="239"/>
                  </a:cxn>
                  <a:cxn ang="0">
                    <a:pos x="24" y="217"/>
                  </a:cxn>
                  <a:cxn ang="0">
                    <a:pos x="19" y="207"/>
                  </a:cxn>
                  <a:cxn ang="0">
                    <a:pos x="11" y="192"/>
                  </a:cxn>
                  <a:cxn ang="0">
                    <a:pos x="9" y="179"/>
                  </a:cxn>
                  <a:cxn ang="0">
                    <a:pos x="0" y="175"/>
                  </a:cxn>
                  <a:cxn ang="0">
                    <a:pos x="6" y="156"/>
                  </a:cxn>
                  <a:cxn ang="0">
                    <a:pos x="11" y="143"/>
                  </a:cxn>
                  <a:cxn ang="0">
                    <a:pos x="21" y="122"/>
                  </a:cxn>
                  <a:cxn ang="0">
                    <a:pos x="38" y="119"/>
                  </a:cxn>
                  <a:cxn ang="0">
                    <a:pos x="51" y="2"/>
                  </a:cxn>
                </a:cxnLst>
                <a:rect l="0" t="0" r="r" b="b"/>
                <a:pathLst>
                  <a:path w="307" h="348">
                    <a:moveTo>
                      <a:pt x="51" y="2"/>
                    </a:moveTo>
                    <a:lnTo>
                      <a:pt x="273" y="0"/>
                    </a:lnTo>
                    <a:lnTo>
                      <a:pt x="273" y="2"/>
                    </a:lnTo>
                    <a:lnTo>
                      <a:pt x="273" y="4"/>
                    </a:lnTo>
                    <a:lnTo>
                      <a:pt x="275" y="6"/>
                    </a:lnTo>
                    <a:lnTo>
                      <a:pt x="273" y="6"/>
                    </a:lnTo>
                    <a:lnTo>
                      <a:pt x="275" y="7"/>
                    </a:lnTo>
                    <a:lnTo>
                      <a:pt x="275" y="7"/>
                    </a:lnTo>
                    <a:lnTo>
                      <a:pt x="275" y="9"/>
                    </a:lnTo>
                    <a:lnTo>
                      <a:pt x="277" y="15"/>
                    </a:lnTo>
                    <a:lnTo>
                      <a:pt x="280" y="19"/>
                    </a:lnTo>
                    <a:lnTo>
                      <a:pt x="280" y="19"/>
                    </a:lnTo>
                    <a:lnTo>
                      <a:pt x="279" y="19"/>
                    </a:lnTo>
                    <a:lnTo>
                      <a:pt x="279" y="19"/>
                    </a:lnTo>
                    <a:lnTo>
                      <a:pt x="277" y="15"/>
                    </a:lnTo>
                    <a:lnTo>
                      <a:pt x="277" y="19"/>
                    </a:lnTo>
                    <a:lnTo>
                      <a:pt x="277" y="21"/>
                    </a:lnTo>
                    <a:lnTo>
                      <a:pt x="282" y="34"/>
                    </a:lnTo>
                    <a:lnTo>
                      <a:pt x="282" y="39"/>
                    </a:lnTo>
                    <a:lnTo>
                      <a:pt x="282" y="47"/>
                    </a:lnTo>
                    <a:lnTo>
                      <a:pt x="282" y="56"/>
                    </a:lnTo>
                    <a:lnTo>
                      <a:pt x="286" y="62"/>
                    </a:lnTo>
                    <a:lnTo>
                      <a:pt x="290" y="64"/>
                    </a:lnTo>
                    <a:lnTo>
                      <a:pt x="297" y="68"/>
                    </a:lnTo>
                    <a:lnTo>
                      <a:pt x="297" y="73"/>
                    </a:lnTo>
                    <a:lnTo>
                      <a:pt x="301" y="73"/>
                    </a:lnTo>
                    <a:lnTo>
                      <a:pt x="307" y="73"/>
                    </a:lnTo>
                    <a:lnTo>
                      <a:pt x="307" y="75"/>
                    </a:lnTo>
                    <a:lnTo>
                      <a:pt x="307" y="75"/>
                    </a:lnTo>
                    <a:lnTo>
                      <a:pt x="305" y="79"/>
                    </a:lnTo>
                    <a:lnTo>
                      <a:pt x="301" y="81"/>
                    </a:lnTo>
                    <a:lnTo>
                      <a:pt x="299" y="83"/>
                    </a:lnTo>
                    <a:lnTo>
                      <a:pt x="297" y="85"/>
                    </a:lnTo>
                    <a:lnTo>
                      <a:pt x="292" y="85"/>
                    </a:lnTo>
                    <a:lnTo>
                      <a:pt x="290" y="87"/>
                    </a:lnTo>
                    <a:lnTo>
                      <a:pt x="286" y="87"/>
                    </a:lnTo>
                    <a:lnTo>
                      <a:pt x="286" y="88"/>
                    </a:lnTo>
                    <a:lnTo>
                      <a:pt x="286" y="92"/>
                    </a:lnTo>
                    <a:lnTo>
                      <a:pt x="286" y="94"/>
                    </a:lnTo>
                    <a:lnTo>
                      <a:pt x="282" y="94"/>
                    </a:lnTo>
                    <a:lnTo>
                      <a:pt x="280" y="94"/>
                    </a:lnTo>
                    <a:lnTo>
                      <a:pt x="280" y="98"/>
                    </a:lnTo>
                    <a:lnTo>
                      <a:pt x="279" y="102"/>
                    </a:lnTo>
                    <a:lnTo>
                      <a:pt x="280" y="104"/>
                    </a:lnTo>
                    <a:lnTo>
                      <a:pt x="282" y="105"/>
                    </a:lnTo>
                    <a:lnTo>
                      <a:pt x="280" y="107"/>
                    </a:lnTo>
                    <a:lnTo>
                      <a:pt x="279" y="113"/>
                    </a:lnTo>
                    <a:lnTo>
                      <a:pt x="277" y="122"/>
                    </a:lnTo>
                    <a:lnTo>
                      <a:pt x="273" y="126"/>
                    </a:lnTo>
                    <a:lnTo>
                      <a:pt x="273" y="128"/>
                    </a:lnTo>
                    <a:lnTo>
                      <a:pt x="271" y="132"/>
                    </a:lnTo>
                    <a:lnTo>
                      <a:pt x="271" y="136"/>
                    </a:lnTo>
                    <a:lnTo>
                      <a:pt x="273" y="143"/>
                    </a:lnTo>
                    <a:lnTo>
                      <a:pt x="273" y="147"/>
                    </a:lnTo>
                    <a:lnTo>
                      <a:pt x="275" y="147"/>
                    </a:lnTo>
                    <a:lnTo>
                      <a:pt x="273" y="149"/>
                    </a:lnTo>
                    <a:lnTo>
                      <a:pt x="271" y="154"/>
                    </a:lnTo>
                    <a:lnTo>
                      <a:pt x="271" y="160"/>
                    </a:lnTo>
                    <a:lnTo>
                      <a:pt x="265" y="168"/>
                    </a:lnTo>
                    <a:lnTo>
                      <a:pt x="263" y="175"/>
                    </a:lnTo>
                    <a:lnTo>
                      <a:pt x="262" y="175"/>
                    </a:lnTo>
                    <a:lnTo>
                      <a:pt x="258" y="175"/>
                    </a:lnTo>
                    <a:lnTo>
                      <a:pt x="258" y="179"/>
                    </a:lnTo>
                    <a:lnTo>
                      <a:pt x="256" y="186"/>
                    </a:lnTo>
                    <a:lnTo>
                      <a:pt x="252" y="188"/>
                    </a:lnTo>
                    <a:lnTo>
                      <a:pt x="250" y="192"/>
                    </a:lnTo>
                    <a:lnTo>
                      <a:pt x="247" y="200"/>
                    </a:lnTo>
                    <a:lnTo>
                      <a:pt x="243" y="213"/>
                    </a:lnTo>
                    <a:lnTo>
                      <a:pt x="241" y="211"/>
                    </a:lnTo>
                    <a:lnTo>
                      <a:pt x="239" y="211"/>
                    </a:lnTo>
                    <a:lnTo>
                      <a:pt x="239" y="215"/>
                    </a:lnTo>
                    <a:lnTo>
                      <a:pt x="235" y="220"/>
                    </a:lnTo>
                    <a:lnTo>
                      <a:pt x="233" y="224"/>
                    </a:lnTo>
                    <a:lnTo>
                      <a:pt x="233" y="226"/>
                    </a:lnTo>
                    <a:lnTo>
                      <a:pt x="235" y="230"/>
                    </a:lnTo>
                    <a:lnTo>
                      <a:pt x="231" y="234"/>
                    </a:lnTo>
                    <a:lnTo>
                      <a:pt x="231" y="239"/>
                    </a:lnTo>
                    <a:lnTo>
                      <a:pt x="231" y="245"/>
                    </a:lnTo>
                    <a:lnTo>
                      <a:pt x="231" y="254"/>
                    </a:lnTo>
                    <a:lnTo>
                      <a:pt x="228" y="256"/>
                    </a:lnTo>
                    <a:lnTo>
                      <a:pt x="228" y="258"/>
                    </a:lnTo>
                    <a:lnTo>
                      <a:pt x="226" y="258"/>
                    </a:lnTo>
                    <a:lnTo>
                      <a:pt x="222" y="256"/>
                    </a:lnTo>
                    <a:lnTo>
                      <a:pt x="218" y="256"/>
                    </a:lnTo>
                    <a:lnTo>
                      <a:pt x="215" y="256"/>
                    </a:lnTo>
                    <a:lnTo>
                      <a:pt x="215" y="260"/>
                    </a:lnTo>
                    <a:lnTo>
                      <a:pt x="213" y="262"/>
                    </a:lnTo>
                    <a:lnTo>
                      <a:pt x="209" y="266"/>
                    </a:lnTo>
                    <a:lnTo>
                      <a:pt x="211" y="269"/>
                    </a:lnTo>
                    <a:lnTo>
                      <a:pt x="215" y="269"/>
                    </a:lnTo>
                    <a:lnTo>
                      <a:pt x="222" y="269"/>
                    </a:lnTo>
                    <a:lnTo>
                      <a:pt x="222" y="271"/>
                    </a:lnTo>
                    <a:lnTo>
                      <a:pt x="228" y="275"/>
                    </a:lnTo>
                    <a:lnTo>
                      <a:pt x="228" y="279"/>
                    </a:lnTo>
                    <a:lnTo>
                      <a:pt x="228" y="279"/>
                    </a:lnTo>
                    <a:lnTo>
                      <a:pt x="231" y="284"/>
                    </a:lnTo>
                    <a:lnTo>
                      <a:pt x="235" y="286"/>
                    </a:lnTo>
                    <a:lnTo>
                      <a:pt x="235" y="288"/>
                    </a:lnTo>
                    <a:lnTo>
                      <a:pt x="237" y="288"/>
                    </a:lnTo>
                    <a:lnTo>
                      <a:pt x="241" y="288"/>
                    </a:lnTo>
                    <a:lnTo>
                      <a:pt x="243" y="292"/>
                    </a:lnTo>
                    <a:lnTo>
                      <a:pt x="245" y="296"/>
                    </a:lnTo>
                    <a:lnTo>
                      <a:pt x="248" y="299"/>
                    </a:lnTo>
                    <a:lnTo>
                      <a:pt x="248" y="303"/>
                    </a:lnTo>
                    <a:lnTo>
                      <a:pt x="250" y="307"/>
                    </a:lnTo>
                    <a:lnTo>
                      <a:pt x="252" y="313"/>
                    </a:lnTo>
                    <a:lnTo>
                      <a:pt x="247" y="320"/>
                    </a:lnTo>
                    <a:lnTo>
                      <a:pt x="241" y="328"/>
                    </a:lnTo>
                    <a:lnTo>
                      <a:pt x="239" y="328"/>
                    </a:lnTo>
                    <a:lnTo>
                      <a:pt x="235" y="330"/>
                    </a:lnTo>
                    <a:lnTo>
                      <a:pt x="233" y="331"/>
                    </a:lnTo>
                    <a:lnTo>
                      <a:pt x="231" y="331"/>
                    </a:lnTo>
                    <a:lnTo>
                      <a:pt x="231" y="335"/>
                    </a:lnTo>
                    <a:lnTo>
                      <a:pt x="231" y="335"/>
                    </a:lnTo>
                    <a:lnTo>
                      <a:pt x="228" y="339"/>
                    </a:lnTo>
                    <a:lnTo>
                      <a:pt x="222" y="341"/>
                    </a:lnTo>
                    <a:lnTo>
                      <a:pt x="218" y="343"/>
                    </a:lnTo>
                    <a:lnTo>
                      <a:pt x="216" y="343"/>
                    </a:lnTo>
                    <a:lnTo>
                      <a:pt x="209" y="343"/>
                    </a:lnTo>
                    <a:lnTo>
                      <a:pt x="205" y="345"/>
                    </a:lnTo>
                    <a:lnTo>
                      <a:pt x="201" y="345"/>
                    </a:lnTo>
                    <a:lnTo>
                      <a:pt x="201" y="345"/>
                    </a:lnTo>
                    <a:lnTo>
                      <a:pt x="198" y="345"/>
                    </a:lnTo>
                    <a:lnTo>
                      <a:pt x="194" y="347"/>
                    </a:lnTo>
                    <a:lnTo>
                      <a:pt x="194" y="348"/>
                    </a:lnTo>
                    <a:lnTo>
                      <a:pt x="194" y="348"/>
                    </a:lnTo>
                    <a:lnTo>
                      <a:pt x="188" y="348"/>
                    </a:lnTo>
                    <a:lnTo>
                      <a:pt x="188" y="347"/>
                    </a:lnTo>
                    <a:lnTo>
                      <a:pt x="186" y="345"/>
                    </a:lnTo>
                    <a:lnTo>
                      <a:pt x="183" y="347"/>
                    </a:lnTo>
                    <a:lnTo>
                      <a:pt x="177" y="345"/>
                    </a:lnTo>
                    <a:lnTo>
                      <a:pt x="173" y="343"/>
                    </a:lnTo>
                    <a:lnTo>
                      <a:pt x="173" y="345"/>
                    </a:lnTo>
                    <a:lnTo>
                      <a:pt x="173" y="347"/>
                    </a:lnTo>
                    <a:lnTo>
                      <a:pt x="173" y="348"/>
                    </a:lnTo>
                    <a:lnTo>
                      <a:pt x="173" y="348"/>
                    </a:lnTo>
                    <a:lnTo>
                      <a:pt x="169" y="348"/>
                    </a:lnTo>
                    <a:lnTo>
                      <a:pt x="167" y="348"/>
                    </a:lnTo>
                    <a:lnTo>
                      <a:pt x="164" y="348"/>
                    </a:lnTo>
                    <a:lnTo>
                      <a:pt x="164" y="347"/>
                    </a:lnTo>
                    <a:lnTo>
                      <a:pt x="164" y="345"/>
                    </a:lnTo>
                    <a:lnTo>
                      <a:pt x="164" y="343"/>
                    </a:lnTo>
                    <a:lnTo>
                      <a:pt x="162" y="339"/>
                    </a:lnTo>
                    <a:lnTo>
                      <a:pt x="160" y="337"/>
                    </a:lnTo>
                    <a:lnTo>
                      <a:pt x="154" y="335"/>
                    </a:lnTo>
                    <a:lnTo>
                      <a:pt x="154" y="333"/>
                    </a:lnTo>
                    <a:lnTo>
                      <a:pt x="152" y="331"/>
                    </a:lnTo>
                    <a:lnTo>
                      <a:pt x="149" y="328"/>
                    </a:lnTo>
                    <a:lnTo>
                      <a:pt x="149" y="328"/>
                    </a:lnTo>
                    <a:lnTo>
                      <a:pt x="143" y="324"/>
                    </a:lnTo>
                    <a:lnTo>
                      <a:pt x="143" y="328"/>
                    </a:lnTo>
                    <a:lnTo>
                      <a:pt x="139" y="330"/>
                    </a:lnTo>
                    <a:lnTo>
                      <a:pt x="137" y="331"/>
                    </a:lnTo>
                    <a:lnTo>
                      <a:pt x="134" y="331"/>
                    </a:lnTo>
                    <a:lnTo>
                      <a:pt x="134" y="330"/>
                    </a:lnTo>
                    <a:lnTo>
                      <a:pt x="132" y="330"/>
                    </a:lnTo>
                    <a:lnTo>
                      <a:pt x="128" y="330"/>
                    </a:lnTo>
                    <a:lnTo>
                      <a:pt x="126" y="331"/>
                    </a:lnTo>
                    <a:lnTo>
                      <a:pt x="124" y="333"/>
                    </a:lnTo>
                    <a:lnTo>
                      <a:pt x="122" y="333"/>
                    </a:lnTo>
                    <a:lnTo>
                      <a:pt x="119" y="331"/>
                    </a:lnTo>
                    <a:lnTo>
                      <a:pt x="113" y="330"/>
                    </a:lnTo>
                    <a:lnTo>
                      <a:pt x="113" y="328"/>
                    </a:lnTo>
                    <a:lnTo>
                      <a:pt x="109" y="328"/>
                    </a:lnTo>
                    <a:lnTo>
                      <a:pt x="109" y="324"/>
                    </a:lnTo>
                    <a:lnTo>
                      <a:pt x="109" y="322"/>
                    </a:lnTo>
                    <a:lnTo>
                      <a:pt x="107" y="322"/>
                    </a:lnTo>
                    <a:lnTo>
                      <a:pt x="107" y="322"/>
                    </a:lnTo>
                    <a:lnTo>
                      <a:pt x="105" y="318"/>
                    </a:lnTo>
                    <a:lnTo>
                      <a:pt x="103" y="316"/>
                    </a:lnTo>
                    <a:lnTo>
                      <a:pt x="100" y="315"/>
                    </a:lnTo>
                    <a:lnTo>
                      <a:pt x="100" y="309"/>
                    </a:lnTo>
                    <a:lnTo>
                      <a:pt x="100" y="307"/>
                    </a:lnTo>
                    <a:lnTo>
                      <a:pt x="98" y="305"/>
                    </a:lnTo>
                    <a:lnTo>
                      <a:pt x="90" y="303"/>
                    </a:lnTo>
                    <a:lnTo>
                      <a:pt x="88" y="303"/>
                    </a:lnTo>
                    <a:lnTo>
                      <a:pt x="88" y="299"/>
                    </a:lnTo>
                    <a:lnTo>
                      <a:pt x="88" y="298"/>
                    </a:lnTo>
                    <a:lnTo>
                      <a:pt x="85" y="296"/>
                    </a:lnTo>
                    <a:lnTo>
                      <a:pt x="85" y="294"/>
                    </a:lnTo>
                    <a:lnTo>
                      <a:pt x="81" y="288"/>
                    </a:lnTo>
                    <a:lnTo>
                      <a:pt x="81" y="286"/>
                    </a:lnTo>
                    <a:lnTo>
                      <a:pt x="75" y="282"/>
                    </a:lnTo>
                    <a:lnTo>
                      <a:pt x="73" y="282"/>
                    </a:lnTo>
                    <a:lnTo>
                      <a:pt x="71" y="281"/>
                    </a:lnTo>
                    <a:lnTo>
                      <a:pt x="70" y="282"/>
                    </a:lnTo>
                    <a:lnTo>
                      <a:pt x="66" y="281"/>
                    </a:lnTo>
                    <a:lnTo>
                      <a:pt x="62" y="279"/>
                    </a:lnTo>
                    <a:lnTo>
                      <a:pt x="64" y="275"/>
                    </a:lnTo>
                    <a:lnTo>
                      <a:pt x="64" y="275"/>
                    </a:lnTo>
                    <a:lnTo>
                      <a:pt x="68" y="273"/>
                    </a:lnTo>
                    <a:lnTo>
                      <a:pt x="68" y="271"/>
                    </a:lnTo>
                    <a:lnTo>
                      <a:pt x="66" y="269"/>
                    </a:lnTo>
                    <a:lnTo>
                      <a:pt x="62" y="269"/>
                    </a:lnTo>
                    <a:lnTo>
                      <a:pt x="58" y="267"/>
                    </a:lnTo>
                    <a:lnTo>
                      <a:pt x="58" y="264"/>
                    </a:lnTo>
                    <a:lnTo>
                      <a:pt x="55" y="262"/>
                    </a:lnTo>
                    <a:lnTo>
                      <a:pt x="51" y="262"/>
                    </a:lnTo>
                    <a:lnTo>
                      <a:pt x="49" y="260"/>
                    </a:lnTo>
                    <a:lnTo>
                      <a:pt x="45" y="258"/>
                    </a:lnTo>
                    <a:lnTo>
                      <a:pt x="45" y="254"/>
                    </a:lnTo>
                    <a:lnTo>
                      <a:pt x="45" y="250"/>
                    </a:lnTo>
                    <a:lnTo>
                      <a:pt x="45" y="250"/>
                    </a:lnTo>
                    <a:lnTo>
                      <a:pt x="38" y="250"/>
                    </a:lnTo>
                    <a:lnTo>
                      <a:pt x="38" y="254"/>
                    </a:lnTo>
                    <a:lnTo>
                      <a:pt x="32" y="250"/>
                    </a:lnTo>
                    <a:lnTo>
                      <a:pt x="30" y="250"/>
                    </a:lnTo>
                    <a:lnTo>
                      <a:pt x="28" y="245"/>
                    </a:lnTo>
                    <a:lnTo>
                      <a:pt x="30" y="241"/>
                    </a:lnTo>
                    <a:lnTo>
                      <a:pt x="32" y="239"/>
                    </a:lnTo>
                    <a:lnTo>
                      <a:pt x="32" y="235"/>
                    </a:lnTo>
                    <a:lnTo>
                      <a:pt x="32" y="232"/>
                    </a:lnTo>
                    <a:lnTo>
                      <a:pt x="28" y="226"/>
                    </a:lnTo>
                    <a:lnTo>
                      <a:pt x="24" y="217"/>
                    </a:lnTo>
                    <a:lnTo>
                      <a:pt x="24" y="217"/>
                    </a:lnTo>
                    <a:lnTo>
                      <a:pt x="19" y="215"/>
                    </a:lnTo>
                    <a:lnTo>
                      <a:pt x="21" y="213"/>
                    </a:lnTo>
                    <a:lnTo>
                      <a:pt x="21" y="209"/>
                    </a:lnTo>
                    <a:lnTo>
                      <a:pt x="19" y="207"/>
                    </a:lnTo>
                    <a:lnTo>
                      <a:pt x="19" y="207"/>
                    </a:lnTo>
                    <a:lnTo>
                      <a:pt x="19" y="205"/>
                    </a:lnTo>
                    <a:lnTo>
                      <a:pt x="21" y="201"/>
                    </a:lnTo>
                    <a:lnTo>
                      <a:pt x="19" y="200"/>
                    </a:lnTo>
                    <a:lnTo>
                      <a:pt x="11" y="196"/>
                    </a:lnTo>
                    <a:lnTo>
                      <a:pt x="11" y="192"/>
                    </a:lnTo>
                    <a:lnTo>
                      <a:pt x="11" y="188"/>
                    </a:lnTo>
                    <a:lnTo>
                      <a:pt x="9" y="186"/>
                    </a:lnTo>
                    <a:lnTo>
                      <a:pt x="9" y="183"/>
                    </a:lnTo>
                    <a:lnTo>
                      <a:pt x="7" y="181"/>
                    </a:lnTo>
                    <a:lnTo>
                      <a:pt x="9" y="179"/>
                    </a:lnTo>
                    <a:lnTo>
                      <a:pt x="9" y="177"/>
                    </a:lnTo>
                    <a:lnTo>
                      <a:pt x="7" y="177"/>
                    </a:lnTo>
                    <a:lnTo>
                      <a:pt x="2" y="179"/>
                    </a:lnTo>
                    <a:lnTo>
                      <a:pt x="0" y="177"/>
                    </a:lnTo>
                    <a:lnTo>
                      <a:pt x="0" y="175"/>
                    </a:lnTo>
                    <a:lnTo>
                      <a:pt x="6" y="168"/>
                    </a:lnTo>
                    <a:lnTo>
                      <a:pt x="7" y="164"/>
                    </a:lnTo>
                    <a:lnTo>
                      <a:pt x="7" y="160"/>
                    </a:lnTo>
                    <a:lnTo>
                      <a:pt x="4" y="158"/>
                    </a:lnTo>
                    <a:lnTo>
                      <a:pt x="6" y="156"/>
                    </a:lnTo>
                    <a:lnTo>
                      <a:pt x="9" y="154"/>
                    </a:lnTo>
                    <a:lnTo>
                      <a:pt x="11" y="149"/>
                    </a:lnTo>
                    <a:lnTo>
                      <a:pt x="9" y="147"/>
                    </a:lnTo>
                    <a:lnTo>
                      <a:pt x="9" y="147"/>
                    </a:lnTo>
                    <a:lnTo>
                      <a:pt x="11" y="143"/>
                    </a:lnTo>
                    <a:lnTo>
                      <a:pt x="15" y="143"/>
                    </a:lnTo>
                    <a:lnTo>
                      <a:pt x="21" y="134"/>
                    </a:lnTo>
                    <a:lnTo>
                      <a:pt x="21" y="130"/>
                    </a:lnTo>
                    <a:lnTo>
                      <a:pt x="21" y="128"/>
                    </a:lnTo>
                    <a:lnTo>
                      <a:pt x="21" y="122"/>
                    </a:lnTo>
                    <a:lnTo>
                      <a:pt x="24" y="119"/>
                    </a:lnTo>
                    <a:lnTo>
                      <a:pt x="28" y="119"/>
                    </a:lnTo>
                    <a:lnTo>
                      <a:pt x="30" y="122"/>
                    </a:lnTo>
                    <a:lnTo>
                      <a:pt x="34" y="119"/>
                    </a:lnTo>
                    <a:lnTo>
                      <a:pt x="38" y="119"/>
                    </a:lnTo>
                    <a:lnTo>
                      <a:pt x="36" y="45"/>
                    </a:lnTo>
                    <a:lnTo>
                      <a:pt x="36" y="45"/>
                    </a:lnTo>
                    <a:lnTo>
                      <a:pt x="36" y="39"/>
                    </a:lnTo>
                    <a:lnTo>
                      <a:pt x="55" y="39"/>
                    </a:lnTo>
                    <a:lnTo>
                      <a:pt x="51" y="2"/>
                    </a:lnTo>
                    <a:lnTo>
                      <a:pt x="51" y="2"/>
                    </a:lnTo>
                    <a:lnTo>
                      <a:pt x="51"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7" name="Freeform 99"/>
              <p:cNvSpPr>
                <a:spLocks/>
              </p:cNvSpPr>
              <p:nvPr/>
            </p:nvSpPr>
            <p:spPr bwMode="auto">
              <a:xfrm>
                <a:off x="3391" y="2822"/>
                <a:ext cx="280" cy="211"/>
              </a:xfrm>
              <a:custGeom>
                <a:avLst/>
                <a:gdLst/>
                <a:ahLst/>
                <a:cxnLst>
                  <a:cxn ang="0">
                    <a:pos x="39" y="168"/>
                  </a:cxn>
                  <a:cxn ang="0">
                    <a:pos x="34" y="157"/>
                  </a:cxn>
                  <a:cxn ang="0">
                    <a:pos x="28" y="153"/>
                  </a:cxn>
                  <a:cxn ang="0">
                    <a:pos x="20" y="142"/>
                  </a:cxn>
                  <a:cxn ang="0">
                    <a:pos x="15" y="134"/>
                  </a:cxn>
                  <a:cxn ang="0">
                    <a:pos x="4" y="134"/>
                  </a:cxn>
                  <a:cxn ang="0">
                    <a:pos x="5" y="125"/>
                  </a:cxn>
                  <a:cxn ang="0">
                    <a:pos x="15" y="121"/>
                  </a:cxn>
                  <a:cxn ang="0">
                    <a:pos x="20" y="121"/>
                  </a:cxn>
                  <a:cxn ang="0">
                    <a:pos x="22" y="104"/>
                  </a:cxn>
                  <a:cxn ang="0">
                    <a:pos x="24" y="89"/>
                  </a:cxn>
                  <a:cxn ang="0">
                    <a:pos x="30" y="80"/>
                  </a:cxn>
                  <a:cxn ang="0">
                    <a:pos x="34" y="76"/>
                  </a:cxn>
                  <a:cxn ang="0">
                    <a:pos x="43" y="51"/>
                  </a:cxn>
                  <a:cxn ang="0">
                    <a:pos x="49" y="40"/>
                  </a:cxn>
                  <a:cxn ang="0">
                    <a:pos x="56" y="32"/>
                  </a:cxn>
                  <a:cxn ang="0">
                    <a:pos x="64" y="14"/>
                  </a:cxn>
                  <a:cxn ang="0">
                    <a:pos x="71" y="14"/>
                  </a:cxn>
                  <a:cxn ang="0">
                    <a:pos x="81" y="0"/>
                  </a:cxn>
                  <a:cxn ang="0">
                    <a:pos x="92" y="8"/>
                  </a:cxn>
                  <a:cxn ang="0">
                    <a:pos x="101" y="2"/>
                  </a:cxn>
                  <a:cxn ang="0">
                    <a:pos x="109" y="2"/>
                  </a:cxn>
                  <a:cxn ang="0">
                    <a:pos x="116" y="8"/>
                  </a:cxn>
                  <a:cxn ang="0">
                    <a:pos x="128" y="12"/>
                  </a:cxn>
                  <a:cxn ang="0">
                    <a:pos x="141" y="21"/>
                  </a:cxn>
                  <a:cxn ang="0">
                    <a:pos x="145" y="25"/>
                  </a:cxn>
                  <a:cxn ang="0">
                    <a:pos x="160" y="32"/>
                  </a:cxn>
                  <a:cxn ang="0">
                    <a:pos x="164" y="44"/>
                  </a:cxn>
                  <a:cxn ang="0">
                    <a:pos x="169" y="51"/>
                  </a:cxn>
                  <a:cxn ang="0">
                    <a:pos x="165" y="64"/>
                  </a:cxn>
                  <a:cxn ang="0">
                    <a:pos x="160" y="74"/>
                  </a:cxn>
                  <a:cxn ang="0">
                    <a:pos x="173" y="74"/>
                  </a:cxn>
                  <a:cxn ang="0">
                    <a:pos x="180" y="76"/>
                  </a:cxn>
                  <a:cxn ang="0">
                    <a:pos x="190" y="97"/>
                  </a:cxn>
                  <a:cxn ang="0">
                    <a:pos x="197" y="110"/>
                  </a:cxn>
                  <a:cxn ang="0">
                    <a:pos x="280" y="129"/>
                  </a:cxn>
                  <a:cxn ang="0">
                    <a:pos x="201" y="187"/>
                  </a:cxn>
                  <a:cxn ang="0">
                    <a:pos x="188" y="189"/>
                  </a:cxn>
                  <a:cxn ang="0">
                    <a:pos x="180" y="198"/>
                  </a:cxn>
                  <a:cxn ang="0">
                    <a:pos x="165" y="206"/>
                  </a:cxn>
                  <a:cxn ang="0">
                    <a:pos x="154" y="208"/>
                  </a:cxn>
                  <a:cxn ang="0">
                    <a:pos x="147" y="198"/>
                  </a:cxn>
                  <a:cxn ang="0">
                    <a:pos x="133" y="202"/>
                  </a:cxn>
                  <a:cxn ang="0">
                    <a:pos x="122" y="211"/>
                  </a:cxn>
                  <a:cxn ang="0">
                    <a:pos x="115" y="211"/>
                  </a:cxn>
                  <a:cxn ang="0">
                    <a:pos x="98" y="211"/>
                  </a:cxn>
                  <a:cxn ang="0">
                    <a:pos x="88" y="204"/>
                  </a:cxn>
                  <a:cxn ang="0">
                    <a:pos x="68" y="194"/>
                  </a:cxn>
                  <a:cxn ang="0">
                    <a:pos x="54" y="194"/>
                  </a:cxn>
                  <a:cxn ang="0">
                    <a:pos x="49" y="179"/>
                  </a:cxn>
                  <a:cxn ang="0">
                    <a:pos x="43" y="178"/>
                  </a:cxn>
                </a:cxnLst>
                <a:rect l="0" t="0" r="r" b="b"/>
                <a:pathLst>
                  <a:path w="280" h="211">
                    <a:moveTo>
                      <a:pt x="43" y="178"/>
                    </a:moveTo>
                    <a:lnTo>
                      <a:pt x="41" y="172"/>
                    </a:lnTo>
                    <a:lnTo>
                      <a:pt x="39" y="168"/>
                    </a:lnTo>
                    <a:lnTo>
                      <a:pt x="39" y="162"/>
                    </a:lnTo>
                    <a:lnTo>
                      <a:pt x="36" y="159"/>
                    </a:lnTo>
                    <a:lnTo>
                      <a:pt x="34" y="157"/>
                    </a:lnTo>
                    <a:lnTo>
                      <a:pt x="32" y="153"/>
                    </a:lnTo>
                    <a:lnTo>
                      <a:pt x="28" y="153"/>
                    </a:lnTo>
                    <a:lnTo>
                      <a:pt x="28" y="153"/>
                    </a:lnTo>
                    <a:lnTo>
                      <a:pt x="28" y="151"/>
                    </a:lnTo>
                    <a:lnTo>
                      <a:pt x="24" y="149"/>
                    </a:lnTo>
                    <a:lnTo>
                      <a:pt x="20" y="142"/>
                    </a:lnTo>
                    <a:lnTo>
                      <a:pt x="20" y="142"/>
                    </a:lnTo>
                    <a:lnTo>
                      <a:pt x="19" y="138"/>
                    </a:lnTo>
                    <a:lnTo>
                      <a:pt x="15" y="134"/>
                    </a:lnTo>
                    <a:lnTo>
                      <a:pt x="13" y="134"/>
                    </a:lnTo>
                    <a:lnTo>
                      <a:pt x="5" y="134"/>
                    </a:lnTo>
                    <a:lnTo>
                      <a:pt x="4" y="134"/>
                    </a:lnTo>
                    <a:lnTo>
                      <a:pt x="0" y="130"/>
                    </a:lnTo>
                    <a:lnTo>
                      <a:pt x="4" y="127"/>
                    </a:lnTo>
                    <a:lnTo>
                      <a:pt x="5" y="125"/>
                    </a:lnTo>
                    <a:lnTo>
                      <a:pt x="5" y="121"/>
                    </a:lnTo>
                    <a:lnTo>
                      <a:pt x="11" y="121"/>
                    </a:lnTo>
                    <a:lnTo>
                      <a:pt x="15" y="121"/>
                    </a:lnTo>
                    <a:lnTo>
                      <a:pt x="17" y="123"/>
                    </a:lnTo>
                    <a:lnTo>
                      <a:pt x="19" y="123"/>
                    </a:lnTo>
                    <a:lnTo>
                      <a:pt x="20" y="121"/>
                    </a:lnTo>
                    <a:lnTo>
                      <a:pt x="22" y="119"/>
                    </a:lnTo>
                    <a:lnTo>
                      <a:pt x="22" y="110"/>
                    </a:lnTo>
                    <a:lnTo>
                      <a:pt x="22" y="104"/>
                    </a:lnTo>
                    <a:lnTo>
                      <a:pt x="24" y="98"/>
                    </a:lnTo>
                    <a:lnTo>
                      <a:pt x="28" y="93"/>
                    </a:lnTo>
                    <a:lnTo>
                      <a:pt x="24" y="89"/>
                    </a:lnTo>
                    <a:lnTo>
                      <a:pt x="24" y="89"/>
                    </a:lnTo>
                    <a:lnTo>
                      <a:pt x="28" y="85"/>
                    </a:lnTo>
                    <a:lnTo>
                      <a:pt x="30" y="80"/>
                    </a:lnTo>
                    <a:lnTo>
                      <a:pt x="30" y="76"/>
                    </a:lnTo>
                    <a:lnTo>
                      <a:pt x="32" y="76"/>
                    </a:lnTo>
                    <a:lnTo>
                      <a:pt x="34" y="76"/>
                    </a:lnTo>
                    <a:lnTo>
                      <a:pt x="37" y="64"/>
                    </a:lnTo>
                    <a:lnTo>
                      <a:pt x="41" y="57"/>
                    </a:lnTo>
                    <a:lnTo>
                      <a:pt x="43" y="51"/>
                    </a:lnTo>
                    <a:lnTo>
                      <a:pt x="47" y="51"/>
                    </a:lnTo>
                    <a:lnTo>
                      <a:pt x="49" y="44"/>
                    </a:lnTo>
                    <a:lnTo>
                      <a:pt x="49" y="40"/>
                    </a:lnTo>
                    <a:lnTo>
                      <a:pt x="52" y="40"/>
                    </a:lnTo>
                    <a:lnTo>
                      <a:pt x="54" y="40"/>
                    </a:lnTo>
                    <a:lnTo>
                      <a:pt x="56" y="32"/>
                    </a:lnTo>
                    <a:lnTo>
                      <a:pt x="62" y="25"/>
                    </a:lnTo>
                    <a:lnTo>
                      <a:pt x="62" y="19"/>
                    </a:lnTo>
                    <a:lnTo>
                      <a:pt x="64" y="14"/>
                    </a:lnTo>
                    <a:lnTo>
                      <a:pt x="66" y="12"/>
                    </a:lnTo>
                    <a:lnTo>
                      <a:pt x="68" y="12"/>
                    </a:lnTo>
                    <a:lnTo>
                      <a:pt x="71" y="14"/>
                    </a:lnTo>
                    <a:lnTo>
                      <a:pt x="71" y="12"/>
                    </a:lnTo>
                    <a:lnTo>
                      <a:pt x="75" y="12"/>
                    </a:lnTo>
                    <a:lnTo>
                      <a:pt x="81" y="0"/>
                    </a:lnTo>
                    <a:lnTo>
                      <a:pt x="83" y="2"/>
                    </a:lnTo>
                    <a:lnTo>
                      <a:pt x="84" y="2"/>
                    </a:lnTo>
                    <a:lnTo>
                      <a:pt x="92" y="8"/>
                    </a:lnTo>
                    <a:lnTo>
                      <a:pt x="96" y="8"/>
                    </a:lnTo>
                    <a:lnTo>
                      <a:pt x="98" y="2"/>
                    </a:lnTo>
                    <a:lnTo>
                      <a:pt x="101" y="2"/>
                    </a:lnTo>
                    <a:lnTo>
                      <a:pt x="103" y="6"/>
                    </a:lnTo>
                    <a:lnTo>
                      <a:pt x="105" y="2"/>
                    </a:lnTo>
                    <a:lnTo>
                      <a:pt x="109" y="2"/>
                    </a:lnTo>
                    <a:lnTo>
                      <a:pt x="115" y="8"/>
                    </a:lnTo>
                    <a:lnTo>
                      <a:pt x="115" y="8"/>
                    </a:lnTo>
                    <a:lnTo>
                      <a:pt x="116" y="8"/>
                    </a:lnTo>
                    <a:lnTo>
                      <a:pt x="120" y="8"/>
                    </a:lnTo>
                    <a:lnTo>
                      <a:pt x="124" y="12"/>
                    </a:lnTo>
                    <a:lnTo>
                      <a:pt x="128" y="12"/>
                    </a:lnTo>
                    <a:lnTo>
                      <a:pt x="133" y="17"/>
                    </a:lnTo>
                    <a:lnTo>
                      <a:pt x="135" y="19"/>
                    </a:lnTo>
                    <a:lnTo>
                      <a:pt x="141" y="21"/>
                    </a:lnTo>
                    <a:lnTo>
                      <a:pt x="141" y="21"/>
                    </a:lnTo>
                    <a:lnTo>
                      <a:pt x="145" y="23"/>
                    </a:lnTo>
                    <a:lnTo>
                      <a:pt x="145" y="25"/>
                    </a:lnTo>
                    <a:lnTo>
                      <a:pt x="150" y="27"/>
                    </a:lnTo>
                    <a:lnTo>
                      <a:pt x="156" y="32"/>
                    </a:lnTo>
                    <a:lnTo>
                      <a:pt x="160" y="32"/>
                    </a:lnTo>
                    <a:lnTo>
                      <a:pt x="164" y="36"/>
                    </a:lnTo>
                    <a:lnTo>
                      <a:pt x="164" y="40"/>
                    </a:lnTo>
                    <a:lnTo>
                      <a:pt x="164" y="44"/>
                    </a:lnTo>
                    <a:lnTo>
                      <a:pt x="165" y="44"/>
                    </a:lnTo>
                    <a:lnTo>
                      <a:pt x="171" y="51"/>
                    </a:lnTo>
                    <a:lnTo>
                      <a:pt x="169" y="51"/>
                    </a:lnTo>
                    <a:lnTo>
                      <a:pt x="165" y="57"/>
                    </a:lnTo>
                    <a:lnTo>
                      <a:pt x="164" y="61"/>
                    </a:lnTo>
                    <a:lnTo>
                      <a:pt x="165" y="64"/>
                    </a:lnTo>
                    <a:lnTo>
                      <a:pt x="164" y="66"/>
                    </a:lnTo>
                    <a:lnTo>
                      <a:pt x="164" y="70"/>
                    </a:lnTo>
                    <a:lnTo>
                      <a:pt x="160" y="74"/>
                    </a:lnTo>
                    <a:lnTo>
                      <a:pt x="164" y="76"/>
                    </a:lnTo>
                    <a:lnTo>
                      <a:pt x="169" y="76"/>
                    </a:lnTo>
                    <a:lnTo>
                      <a:pt x="173" y="74"/>
                    </a:lnTo>
                    <a:lnTo>
                      <a:pt x="179" y="72"/>
                    </a:lnTo>
                    <a:lnTo>
                      <a:pt x="182" y="74"/>
                    </a:lnTo>
                    <a:lnTo>
                      <a:pt x="180" y="76"/>
                    </a:lnTo>
                    <a:lnTo>
                      <a:pt x="182" y="85"/>
                    </a:lnTo>
                    <a:lnTo>
                      <a:pt x="184" y="93"/>
                    </a:lnTo>
                    <a:lnTo>
                      <a:pt x="190" y="97"/>
                    </a:lnTo>
                    <a:lnTo>
                      <a:pt x="188" y="102"/>
                    </a:lnTo>
                    <a:lnTo>
                      <a:pt x="192" y="106"/>
                    </a:lnTo>
                    <a:lnTo>
                      <a:pt x="197" y="110"/>
                    </a:lnTo>
                    <a:lnTo>
                      <a:pt x="203" y="113"/>
                    </a:lnTo>
                    <a:lnTo>
                      <a:pt x="256" y="129"/>
                    </a:lnTo>
                    <a:lnTo>
                      <a:pt x="280" y="129"/>
                    </a:lnTo>
                    <a:lnTo>
                      <a:pt x="224" y="187"/>
                    </a:lnTo>
                    <a:lnTo>
                      <a:pt x="212" y="183"/>
                    </a:lnTo>
                    <a:lnTo>
                      <a:pt x="201" y="187"/>
                    </a:lnTo>
                    <a:lnTo>
                      <a:pt x="197" y="187"/>
                    </a:lnTo>
                    <a:lnTo>
                      <a:pt x="194" y="187"/>
                    </a:lnTo>
                    <a:lnTo>
                      <a:pt x="188" y="189"/>
                    </a:lnTo>
                    <a:lnTo>
                      <a:pt x="188" y="194"/>
                    </a:lnTo>
                    <a:lnTo>
                      <a:pt x="184" y="196"/>
                    </a:lnTo>
                    <a:lnTo>
                      <a:pt x="180" y="198"/>
                    </a:lnTo>
                    <a:lnTo>
                      <a:pt x="173" y="200"/>
                    </a:lnTo>
                    <a:lnTo>
                      <a:pt x="169" y="202"/>
                    </a:lnTo>
                    <a:lnTo>
                      <a:pt x="165" y="206"/>
                    </a:lnTo>
                    <a:lnTo>
                      <a:pt x="165" y="206"/>
                    </a:lnTo>
                    <a:lnTo>
                      <a:pt x="160" y="206"/>
                    </a:lnTo>
                    <a:lnTo>
                      <a:pt x="154" y="208"/>
                    </a:lnTo>
                    <a:lnTo>
                      <a:pt x="150" y="206"/>
                    </a:lnTo>
                    <a:lnTo>
                      <a:pt x="148" y="200"/>
                    </a:lnTo>
                    <a:lnTo>
                      <a:pt x="147" y="198"/>
                    </a:lnTo>
                    <a:lnTo>
                      <a:pt x="139" y="200"/>
                    </a:lnTo>
                    <a:lnTo>
                      <a:pt x="135" y="202"/>
                    </a:lnTo>
                    <a:lnTo>
                      <a:pt x="133" y="202"/>
                    </a:lnTo>
                    <a:lnTo>
                      <a:pt x="130" y="204"/>
                    </a:lnTo>
                    <a:lnTo>
                      <a:pt x="128" y="206"/>
                    </a:lnTo>
                    <a:lnTo>
                      <a:pt x="122" y="211"/>
                    </a:lnTo>
                    <a:lnTo>
                      <a:pt x="120" y="211"/>
                    </a:lnTo>
                    <a:lnTo>
                      <a:pt x="116" y="211"/>
                    </a:lnTo>
                    <a:lnTo>
                      <a:pt x="115" y="211"/>
                    </a:lnTo>
                    <a:lnTo>
                      <a:pt x="109" y="211"/>
                    </a:lnTo>
                    <a:lnTo>
                      <a:pt x="105" y="211"/>
                    </a:lnTo>
                    <a:lnTo>
                      <a:pt x="98" y="211"/>
                    </a:lnTo>
                    <a:lnTo>
                      <a:pt x="96" y="211"/>
                    </a:lnTo>
                    <a:lnTo>
                      <a:pt x="92" y="208"/>
                    </a:lnTo>
                    <a:lnTo>
                      <a:pt x="88" y="204"/>
                    </a:lnTo>
                    <a:lnTo>
                      <a:pt x="81" y="196"/>
                    </a:lnTo>
                    <a:lnTo>
                      <a:pt x="77" y="193"/>
                    </a:lnTo>
                    <a:lnTo>
                      <a:pt x="68" y="194"/>
                    </a:lnTo>
                    <a:lnTo>
                      <a:pt x="64" y="193"/>
                    </a:lnTo>
                    <a:lnTo>
                      <a:pt x="58" y="194"/>
                    </a:lnTo>
                    <a:lnTo>
                      <a:pt x="54" y="194"/>
                    </a:lnTo>
                    <a:lnTo>
                      <a:pt x="52" y="189"/>
                    </a:lnTo>
                    <a:lnTo>
                      <a:pt x="52" y="179"/>
                    </a:lnTo>
                    <a:lnTo>
                      <a:pt x="49" y="179"/>
                    </a:lnTo>
                    <a:lnTo>
                      <a:pt x="47" y="179"/>
                    </a:lnTo>
                    <a:lnTo>
                      <a:pt x="43" y="176"/>
                    </a:lnTo>
                    <a:lnTo>
                      <a:pt x="43" y="178"/>
                    </a:lnTo>
                    <a:lnTo>
                      <a:pt x="43" y="178"/>
                    </a:lnTo>
                    <a:lnTo>
                      <a:pt x="43" y="17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8" name="Freeform 100"/>
              <p:cNvSpPr>
                <a:spLocks/>
              </p:cNvSpPr>
              <p:nvPr/>
            </p:nvSpPr>
            <p:spPr bwMode="auto">
              <a:xfrm>
                <a:off x="3455" y="2758"/>
                <a:ext cx="120" cy="112"/>
              </a:xfrm>
              <a:custGeom>
                <a:avLst/>
                <a:gdLst/>
                <a:ahLst/>
                <a:cxnLst>
                  <a:cxn ang="0">
                    <a:pos x="103" y="106"/>
                  </a:cxn>
                  <a:cxn ang="0">
                    <a:pos x="100" y="102"/>
                  </a:cxn>
                  <a:cxn ang="0">
                    <a:pos x="96" y="95"/>
                  </a:cxn>
                  <a:cxn ang="0">
                    <a:pos x="88" y="87"/>
                  </a:cxn>
                  <a:cxn ang="0">
                    <a:pos x="83" y="83"/>
                  </a:cxn>
                  <a:cxn ang="0">
                    <a:pos x="77" y="83"/>
                  </a:cxn>
                  <a:cxn ang="0">
                    <a:pos x="71" y="80"/>
                  </a:cxn>
                  <a:cxn ang="0">
                    <a:pos x="62" y="72"/>
                  </a:cxn>
                  <a:cxn ang="0">
                    <a:pos x="54" y="68"/>
                  </a:cxn>
                  <a:cxn ang="0">
                    <a:pos x="52" y="70"/>
                  </a:cxn>
                  <a:cxn ang="0">
                    <a:pos x="43" y="64"/>
                  </a:cxn>
                  <a:cxn ang="0">
                    <a:pos x="39" y="64"/>
                  </a:cxn>
                  <a:cxn ang="0">
                    <a:pos x="34" y="68"/>
                  </a:cxn>
                  <a:cxn ang="0">
                    <a:pos x="22" y="64"/>
                  </a:cxn>
                  <a:cxn ang="0">
                    <a:pos x="19" y="63"/>
                  </a:cxn>
                  <a:cxn ang="0">
                    <a:pos x="9" y="72"/>
                  </a:cxn>
                  <a:cxn ang="0">
                    <a:pos x="5" y="74"/>
                  </a:cxn>
                  <a:cxn ang="0">
                    <a:pos x="2" y="70"/>
                  </a:cxn>
                  <a:cxn ang="0">
                    <a:pos x="0" y="59"/>
                  </a:cxn>
                  <a:cxn ang="0">
                    <a:pos x="2" y="53"/>
                  </a:cxn>
                  <a:cxn ang="0">
                    <a:pos x="5" y="38"/>
                  </a:cxn>
                  <a:cxn ang="0">
                    <a:pos x="9" y="32"/>
                  </a:cxn>
                  <a:cxn ang="0">
                    <a:pos x="5" y="29"/>
                  </a:cxn>
                  <a:cxn ang="0">
                    <a:pos x="9" y="19"/>
                  </a:cxn>
                  <a:cxn ang="0">
                    <a:pos x="15" y="19"/>
                  </a:cxn>
                  <a:cxn ang="0">
                    <a:pos x="15" y="15"/>
                  </a:cxn>
                  <a:cxn ang="0">
                    <a:pos x="19" y="14"/>
                  </a:cxn>
                  <a:cxn ang="0">
                    <a:pos x="24" y="10"/>
                  </a:cxn>
                  <a:cxn ang="0">
                    <a:pos x="30" y="8"/>
                  </a:cxn>
                  <a:cxn ang="0">
                    <a:pos x="34" y="0"/>
                  </a:cxn>
                  <a:cxn ang="0">
                    <a:pos x="39" y="8"/>
                  </a:cxn>
                  <a:cxn ang="0">
                    <a:pos x="49" y="40"/>
                  </a:cxn>
                  <a:cxn ang="0">
                    <a:pos x="52" y="46"/>
                  </a:cxn>
                  <a:cxn ang="0">
                    <a:pos x="52" y="47"/>
                  </a:cxn>
                  <a:cxn ang="0">
                    <a:pos x="56" y="59"/>
                  </a:cxn>
                  <a:cxn ang="0">
                    <a:pos x="60" y="53"/>
                  </a:cxn>
                  <a:cxn ang="0">
                    <a:pos x="58" y="49"/>
                  </a:cxn>
                  <a:cxn ang="0">
                    <a:pos x="64" y="55"/>
                  </a:cxn>
                  <a:cxn ang="0">
                    <a:pos x="64" y="59"/>
                  </a:cxn>
                  <a:cxn ang="0">
                    <a:pos x="69" y="63"/>
                  </a:cxn>
                  <a:cxn ang="0">
                    <a:pos x="73" y="63"/>
                  </a:cxn>
                  <a:cxn ang="0">
                    <a:pos x="79" y="64"/>
                  </a:cxn>
                  <a:cxn ang="0">
                    <a:pos x="86" y="66"/>
                  </a:cxn>
                  <a:cxn ang="0">
                    <a:pos x="92" y="74"/>
                  </a:cxn>
                  <a:cxn ang="0">
                    <a:pos x="98" y="83"/>
                  </a:cxn>
                  <a:cxn ang="0">
                    <a:pos x="103" y="87"/>
                  </a:cxn>
                  <a:cxn ang="0">
                    <a:pos x="105" y="87"/>
                  </a:cxn>
                  <a:cxn ang="0">
                    <a:pos x="111" y="95"/>
                  </a:cxn>
                  <a:cxn ang="0">
                    <a:pos x="113" y="100"/>
                  </a:cxn>
                  <a:cxn ang="0">
                    <a:pos x="116" y="104"/>
                  </a:cxn>
                  <a:cxn ang="0">
                    <a:pos x="120" y="102"/>
                  </a:cxn>
                  <a:cxn ang="0">
                    <a:pos x="120" y="104"/>
                  </a:cxn>
                  <a:cxn ang="0">
                    <a:pos x="115" y="108"/>
                  </a:cxn>
                  <a:cxn ang="0">
                    <a:pos x="109" y="112"/>
                  </a:cxn>
                  <a:cxn ang="0">
                    <a:pos x="109" y="112"/>
                  </a:cxn>
                </a:cxnLst>
                <a:rect l="0" t="0" r="r" b="b"/>
                <a:pathLst>
                  <a:path w="120" h="112">
                    <a:moveTo>
                      <a:pt x="109" y="112"/>
                    </a:moveTo>
                    <a:lnTo>
                      <a:pt x="103" y="106"/>
                    </a:lnTo>
                    <a:lnTo>
                      <a:pt x="100" y="106"/>
                    </a:lnTo>
                    <a:lnTo>
                      <a:pt x="100" y="102"/>
                    </a:lnTo>
                    <a:lnTo>
                      <a:pt x="100" y="98"/>
                    </a:lnTo>
                    <a:lnTo>
                      <a:pt x="96" y="95"/>
                    </a:lnTo>
                    <a:lnTo>
                      <a:pt x="92" y="93"/>
                    </a:lnTo>
                    <a:lnTo>
                      <a:pt x="88" y="87"/>
                    </a:lnTo>
                    <a:lnTo>
                      <a:pt x="83" y="87"/>
                    </a:lnTo>
                    <a:lnTo>
                      <a:pt x="83" y="83"/>
                    </a:lnTo>
                    <a:lnTo>
                      <a:pt x="79" y="83"/>
                    </a:lnTo>
                    <a:lnTo>
                      <a:pt x="77" y="83"/>
                    </a:lnTo>
                    <a:lnTo>
                      <a:pt x="73" y="81"/>
                    </a:lnTo>
                    <a:lnTo>
                      <a:pt x="71" y="80"/>
                    </a:lnTo>
                    <a:lnTo>
                      <a:pt x="64" y="72"/>
                    </a:lnTo>
                    <a:lnTo>
                      <a:pt x="62" y="72"/>
                    </a:lnTo>
                    <a:lnTo>
                      <a:pt x="58" y="68"/>
                    </a:lnTo>
                    <a:lnTo>
                      <a:pt x="54" y="68"/>
                    </a:lnTo>
                    <a:lnTo>
                      <a:pt x="52" y="68"/>
                    </a:lnTo>
                    <a:lnTo>
                      <a:pt x="52" y="70"/>
                    </a:lnTo>
                    <a:lnTo>
                      <a:pt x="47" y="64"/>
                    </a:lnTo>
                    <a:lnTo>
                      <a:pt x="43" y="64"/>
                    </a:lnTo>
                    <a:lnTo>
                      <a:pt x="41" y="66"/>
                    </a:lnTo>
                    <a:lnTo>
                      <a:pt x="39" y="64"/>
                    </a:lnTo>
                    <a:lnTo>
                      <a:pt x="36" y="64"/>
                    </a:lnTo>
                    <a:lnTo>
                      <a:pt x="34" y="68"/>
                    </a:lnTo>
                    <a:lnTo>
                      <a:pt x="30" y="68"/>
                    </a:lnTo>
                    <a:lnTo>
                      <a:pt x="22" y="64"/>
                    </a:lnTo>
                    <a:lnTo>
                      <a:pt x="20" y="63"/>
                    </a:lnTo>
                    <a:lnTo>
                      <a:pt x="19" y="63"/>
                    </a:lnTo>
                    <a:lnTo>
                      <a:pt x="13" y="72"/>
                    </a:lnTo>
                    <a:lnTo>
                      <a:pt x="9" y="72"/>
                    </a:lnTo>
                    <a:lnTo>
                      <a:pt x="9" y="74"/>
                    </a:lnTo>
                    <a:lnTo>
                      <a:pt x="5" y="74"/>
                    </a:lnTo>
                    <a:lnTo>
                      <a:pt x="2" y="74"/>
                    </a:lnTo>
                    <a:lnTo>
                      <a:pt x="2" y="70"/>
                    </a:lnTo>
                    <a:lnTo>
                      <a:pt x="0" y="63"/>
                    </a:lnTo>
                    <a:lnTo>
                      <a:pt x="0" y="59"/>
                    </a:lnTo>
                    <a:lnTo>
                      <a:pt x="2" y="55"/>
                    </a:lnTo>
                    <a:lnTo>
                      <a:pt x="2" y="53"/>
                    </a:lnTo>
                    <a:lnTo>
                      <a:pt x="5" y="47"/>
                    </a:lnTo>
                    <a:lnTo>
                      <a:pt x="5" y="38"/>
                    </a:lnTo>
                    <a:lnTo>
                      <a:pt x="9" y="34"/>
                    </a:lnTo>
                    <a:lnTo>
                      <a:pt x="9" y="32"/>
                    </a:lnTo>
                    <a:lnTo>
                      <a:pt x="9" y="29"/>
                    </a:lnTo>
                    <a:lnTo>
                      <a:pt x="5" y="29"/>
                    </a:lnTo>
                    <a:lnTo>
                      <a:pt x="9" y="25"/>
                    </a:lnTo>
                    <a:lnTo>
                      <a:pt x="9" y="19"/>
                    </a:lnTo>
                    <a:lnTo>
                      <a:pt x="9" y="19"/>
                    </a:lnTo>
                    <a:lnTo>
                      <a:pt x="15" y="19"/>
                    </a:lnTo>
                    <a:lnTo>
                      <a:pt x="15" y="17"/>
                    </a:lnTo>
                    <a:lnTo>
                      <a:pt x="15" y="15"/>
                    </a:lnTo>
                    <a:lnTo>
                      <a:pt x="15" y="14"/>
                    </a:lnTo>
                    <a:lnTo>
                      <a:pt x="19" y="14"/>
                    </a:lnTo>
                    <a:lnTo>
                      <a:pt x="20" y="10"/>
                    </a:lnTo>
                    <a:lnTo>
                      <a:pt x="24" y="10"/>
                    </a:lnTo>
                    <a:lnTo>
                      <a:pt x="28" y="10"/>
                    </a:lnTo>
                    <a:lnTo>
                      <a:pt x="30" y="8"/>
                    </a:lnTo>
                    <a:lnTo>
                      <a:pt x="34" y="4"/>
                    </a:lnTo>
                    <a:lnTo>
                      <a:pt x="34" y="0"/>
                    </a:lnTo>
                    <a:lnTo>
                      <a:pt x="34" y="0"/>
                    </a:lnTo>
                    <a:lnTo>
                      <a:pt x="39" y="8"/>
                    </a:lnTo>
                    <a:lnTo>
                      <a:pt x="47" y="25"/>
                    </a:lnTo>
                    <a:lnTo>
                      <a:pt x="49" y="40"/>
                    </a:lnTo>
                    <a:lnTo>
                      <a:pt x="52" y="40"/>
                    </a:lnTo>
                    <a:lnTo>
                      <a:pt x="52" y="46"/>
                    </a:lnTo>
                    <a:lnTo>
                      <a:pt x="52" y="47"/>
                    </a:lnTo>
                    <a:lnTo>
                      <a:pt x="52" y="47"/>
                    </a:lnTo>
                    <a:lnTo>
                      <a:pt x="54" y="53"/>
                    </a:lnTo>
                    <a:lnTo>
                      <a:pt x="56" y="59"/>
                    </a:lnTo>
                    <a:lnTo>
                      <a:pt x="60" y="59"/>
                    </a:lnTo>
                    <a:lnTo>
                      <a:pt x="60" y="53"/>
                    </a:lnTo>
                    <a:lnTo>
                      <a:pt x="58" y="53"/>
                    </a:lnTo>
                    <a:lnTo>
                      <a:pt x="58" y="49"/>
                    </a:lnTo>
                    <a:lnTo>
                      <a:pt x="60" y="49"/>
                    </a:lnTo>
                    <a:lnTo>
                      <a:pt x="64" y="55"/>
                    </a:lnTo>
                    <a:lnTo>
                      <a:pt x="62" y="57"/>
                    </a:lnTo>
                    <a:lnTo>
                      <a:pt x="64" y="59"/>
                    </a:lnTo>
                    <a:lnTo>
                      <a:pt x="68" y="63"/>
                    </a:lnTo>
                    <a:lnTo>
                      <a:pt x="69" y="63"/>
                    </a:lnTo>
                    <a:lnTo>
                      <a:pt x="73" y="59"/>
                    </a:lnTo>
                    <a:lnTo>
                      <a:pt x="73" y="63"/>
                    </a:lnTo>
                    <a:lnTo>
                      <a:pt x="77" y="59"/>
                    </a:lnTo>
                    <a:lnTo>
                      <a:pt x="79" y="64"/>
                    </a:lnTo>
                    <a:lnTo>
                      <a:pt x="81" y="66"/>
                    </a:lnTo>
                    <a:lnTo>
                      <a:pt x="86" y="66"/>
                    </a:lnTo>
                    <a:lnTo>
                      <a:pt x="86" y="70"/>
                    </a:lnTo>
                    <a:lnTo>
                      <a:pt x="92" y="74"/>
                    </a:lnTo>
                    <a:lnTo>
                      <a:pt x="96" y="81"/>
                    </a:lnTo>
                    <a:lnTo>
                      <a:pt x="98" y="83"/>
                    </a:lnTo>
                    <a:lnTo>
                      <a:pt x="101" y="87"/>
                    </a:lnTo>
                    <a:lnTo>
                      <a:pt x="103" y="87"/>
                    </a:lnTo>
                    <a:lnTo>
                      <a:pt x="103" y="83"/>
                    </a:lnTo>
                    <a:lnTo>
                      <a:pt x="105" y="87"/>
                    </a:lnTo>
                    <a:lnTo>
                      <a:pt x="107" y="95"/>
                    </a:lnTo>
                    <a:lnTo>
                      <a:pt x="111" y="95"/>
                    </a:lnTo>
                    <a:lnTo>
                      <a:pt x="113" y="98"/>
                    </a:lnTo>
                    <a:lnTo>
                      <a:pt x="113" y="100"/>
                    </a:lnTo>
                    <a:lnTo>
                      <a:pt x="115" y="104"/>
                    </a:lnTo>
                    <a:lnTo>
                      <a:pt x="116" y="104"/>
                    </a:lnTo>
                    <a:lnTo>
                      <a:pt x="116" y="104"/>
                    </a:lnTo>
                    <a:lnTo>
                      <a:pt x="120" y="102"/>
                    </a:lnTo>
                    <a:lnTo>
                      <a:pt x="120" y="104"/>
                    </a:lnTo>
                    <a:lnTo>
                      <a:pt x="120" y="104"/>
                    </a:lnTo>
                    <a:lnTo>
                      <a:pt x="116" y="108"/>
                    </a:lnTo>
                    <a:lnTo>
                      <a:pt x="115" y="108"/>
                    </a:lnTo>
                    <a:lnTo>
                      <a:pt x="113" y="112"/>
                    </a:lnTo>
                    <a:lnTo>
                      <a:pt x="109" y="112"/>
                    </a:lnTo>
                    <a:lnTo>
                      <a:pt x="109" y="112"/>
                    </a:lnTo>
                    <a:lnTo>
                      <a:pt x="109" y="11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9" name="Freeform 101"/>
              <p:cNvSpPr>
                <a:spLocks/>
              </p:cNvSpPr>
              <p:nvPr/>
            </p:nvSpPr>
            <p:spPr bwMode="auto">
              <a:xfrm>
                <a:off x="3455" y="2758"/>
                <a:ext cx="120" cy="112"/>
              </a:xfrm>
              <a:custGeom>
                <a:avLst/>
                <a:gdLst/>
                <a:ahLst/>
                <a:cxnLst>
                  <a:cxn ang="0">
                    <a:pos x="103" y="106"/>
                  </a:cxn>
                  <a:cxn ang="0">
                    <a:pos x="100" y="102"/>
                  </a:cxn>
                  <a:cxn ang="0">
                    <a:pos x="96" y="95"/>
                  </a:cxn>
                  <a:cxn ang="0">
                    <a:pos x="88" y="87"/>
                  </a:cxn>
                  <a:cxn ang="0">
                    <a:pos x="83" y="83"/>
                  </a:cxn>
                  <a:cxn ang="0">
                    <a:pos x="77" y="83"/>
                  </a:cxn>
                  <a:cxn ang="0">
                    <a:pos x="71" y="80"/>
                  </a:cxn>
                  <a:cxn ang="0">
                    <a:pos x="62" y="72"/>
                  </a:cxn>
                  <a:cxn ang="0">
                    <a:pos x="54" y="68"/>
                  </a:cxn>
                  <a:cxn ang="0">
                    <a:pos x="52" y="70"/>
                  </a:cxn>
                  <a:cxn ang="0">
                    <a:pos x="43" y="64"/>
                  </a:cxn>
                  <a:cxn ang="0">
                    <a:pos x="39" y="64"/>
                  </a:cxn>
                  <a:cxn ang="0">
                    <a:pos x="34" y="68"/>
                  </a:cxn>
                  <a:cxn ang="0">
                    <a:pos x="22" y="64"/>
                  </a:cxn>
                  <a:cxn ang="0">
                    <a:pos x="19" y="63"/>
                  </a:cxn>
                  <a:cxn ang="0">
                    <a:pos x="9" y="72"/>
                  </a:cxn>
                  <a:cxn ang="0">
                    <a:pos x="5" y="74"/>
                  </a:cxn>
                  <a:cxn ang="0">
                    <a:pos x="2" y="70"/>
                  </a:cxn>
                  <a:cxn ang="0">
                    <a:pos x="0" y="59"/>
                  </a:cxn>
                  <a:cxn ang="0">
                    <a:pos x="2" y="53"/>
                  </a:cxn>
                  <a:cxn ang="0">
                    <a:pos x="5" y="38"/>
                  </a:cxn>
                  <a:cxn ang="0">
                    <a:pos x="9" y="32"/>
                  </a:cxn>
                  <a:cxn ang="0">
                    <a:pos x="5" y="29"/>
                  </a:cxn>
                  <a:cxn ang="0">
                    <a:pos x="9" y="19"/>
                  </a:cxn>
                  <a:cxn ang="0">
                    <a:pos x="15" y="19"/>
                  </a:cxn>
                  <a:cxn ang="0">
                    <a:pos x="15" y="15"/>
                  </a:cxn>
                  <a:cxn ang="0">
                    <a:pos x="19" y="14"/>
                  </a:cxn>
                  <a:cxn ang="0">
                    <a:pos x="24" y="10"/>
                  </a:cxn>
                  <a:cxn ang="0">
                    <a:pos x="30" y="8"/>
                  </a:cxn>
                  <a:cxn ang="0">
                    <a:pos x="34" y="0"/>
                  </a:cxn>
                  <a:cxn ang="0">
                    <a:pos x="39" y="8"/>
                  </a:cxn>
                  <a:cxn ang="0">
                    <a:pos x="49" y="40"/>
                  </a:cxn>
                  <a:cxn ang="0">
                    <a:pos x="52" y="46"/>
                  </a:cxn>
                  <a:cxn ang="0">
                    <a:pos x="52" y="47"/>
                  </a:cxn>
                  <a:cxn ang="0">
                    <a:pos x="56" y="59"/>
                  </a:cxn>
                  <a:cxn ang="0">
                    <a:pos x="60" y="53"/>
                  </a:cxn>
                  <a:cxn ang="0">
                    <a:pos x="58" y="49"/>
                  </a:cxn>
                  <a:cxn ang="0">
                    <a:pos x="64" y="55"/>
                  </a:cxn>
                  <a:cxn ang="0">
                    <a:pos x="64" y="59"/>
                  </a:cxn>
                  <a:cxn ang="0">
                    <a:pos x="69" y="63"/>
                  </a:cxn>
                  <a:cxn ang="0">
                    <a:pos x="73" y="63"/>
                  </a:cxn>
                  <a:cxn ang="0">
                    <a:pos x="79" y="64"/>
                  </a:cxn>
                  <a:cxn ang="0">
                    <a:pos x="86" y="66"/>
                  </a:cxn>
                  <a:cxn ang="0">
                    <a:pos x="92" y="74"/>
                  </a:cxn>
                  <a:cxn ang="0">
                    <a:pos x="98" y="83"/>
                  </a:cxn>
                  <a:cxn ang="0">
                    <a:pos x="103" y="87"/>
                  </a:cxn>
                  <a:cxn ang="0">
                    <a:pos x="105" y="87"/>
                  </a:cxn>
                  <a:cxn ang="0">
                    <a:pos x="111" y="95"/>
                  </a:cxn>
                  <a:cxn ang="0">
                    <a:pos x="113" y="100"/>
                  </a:cxn>
                  <a:cxn ang="0">
                    <a:pos x="116" y="104"/>
                  </a:cxn>
                  <a:cxn ang="0">
                    <a:pos x="120" y="102"/>
                  </a:cxn>
                  <a:cxn ang="0">
                    <a:pos x="120" y="104"/>
                  </a:cxn>
                  <a:cxn ang="0">
                    <a:pos x="115" y="108"/>
                  </a:cxn>
                  <a:cxn ang="0">
                    <a:pos x="109" y="112"/>
                  </a:cxn>
                  <a:cxn ang="0">
                    <a:pos x="109" y="112"/>
                  </a:cxn>
                </a:cxnLst>
                <a:rect l="0" t="0" r="r" b="b"/>
                <a:pathLst>
                  <a:path w="120" h="112">
                    <a:moveTo>
                      <a:pt x="109" y="112"/>
                    </a:moveTo>
                    <a:lnTo>
                      <a:pt x="103" y="106"/>
                    </a:lnTo>
                    <a:lnTo>
                      <a:pt x="100" y="106"/>
                    </a:lnTo>
                    <a:lnTo>
                      <a:pt x="100" y="102"/>
                    </a:lnTo>
                    <a:lnTo>
                      <a:pt x="100" y="98"/>
                    </a:lnTo>
                    <a:lnTo>
                      <a:pt x="96" y="95"/>
                    </a:lnTo>
                    <a:lnTo>
                      <a:pt x="92" y="93"/>
                    </a:lnTo>
                    <a:lnTo>
                      <a:pt x="88" y="87"/>
                    </a:lnTo>
                    <a:lnTo>
                      <a:pt x="83" y="87"/>
                    </a:lnTo>
                    <a:lnTo>
                      <a:pt x="83" y="83"/>
                    </a:lnTo>
                    <a:lnTo>
                      <a:pt x="79" y="83"/>
                    </a:lnTo>
                    <a:lnTo>
                      <a:pt x="77" y="83"/>
                    </a:lnTo>
                    <a:lnTo>
                      <a:pt x="73" y="81"/>
                    </a:lnTo>
                    <a:lnTo>
                      <a:pt x="71" y="80"/>
                    </a:lnTo>
                    <a:lnTo>
                      <a:pt x="64" y="72"/>
                    </a:lnTo>
                    <a:lnTo>
                      <a:pt x="62" y="72"/>
                    </a:lnTo>
                    <a:lnTo>
                      <a:pt x="58" y="68"/>
                    </a:lnTo>
                    <a:lnTo>
                      <a:pt x="54" y="68"/>
                    </a:lnTo>
                    <a:lnTo>
                      <a:pt x="52" y="68"/>
                    </a:lnTo>
                    <a:lnTo>
                      <a:pt x="52" y="70"/>
                    </a:lnTo>
                    <a:lnTo>
                      <a:pt x="47" y="64"/>
                    </a:lnTo>
                    <a:lnTo>
                      <a:pt x="43" y="64"/>
                    </a:lnTo>
                    <a:lnTo>
                      <a:pt x="41" y="66"/>
                    </a:lnTo>
                    <a:lnTo>
                      <a:pt x="39" y="64"/>
                    </a:lnTo>
                    <a:lnTo>
                      <a:pt x="36" y="64"/>
                    </a:lnTo>
                    <a:lnTo>
                      <a:pt x="34" y="68"/>
                    </a:lnTo>
                    <a:lnTo>
                      <a:pt x="30" y="68"/>
                    </a:lnTo>
                    <a:lnTo>
                      <a:pt x="22" y="64"/>
                    </a:lnTo>
                    <a:lnTo>
                      <a:pt x="20" y="63"/>
                    </a:lnTo>
                    <a:lnTo>
                      <a:pt x="19" y="63"/>
                    </a:lnTo>
                    <a:lnTo>
                      <a:pt x="13" y="72"/>
                    </a:lnTo>
                    <a:lnTo>
                      <a:pt x="9" y="72"/>
                    </a:lnTo>
                    <a:lnTo>
                      <a:pt x="9" y="74"/>
                    </a:lnTo>
                    <a:lnTo>
                      <a:pt x="5" y="74"/>
                    </a:lnTo>
                    <a:lnTo>
                      <a:pt x="2" y="74"/>
                    </a:lnTo>
                    <a:lnTo>
                      <a:pt x="2" y="70"/>
                    </a:lnTo>
                    <a:lnTo>
                      <a:pt x="0" y="63"/>
                    </a:lnTo>
                    <a:lnTo>
                      <a:pt x="0" y="59"/>
                    </a:lnTo>
                    <a:lnTo>
                      <a:pt x="2" y="55"/>
                    </a:lnTo>
                    <a:lnTo>
                      <a:pt x="2" y="53"/>
                    </a:lnTo>
                    <a:lnTo>
                      <a:pt x="5" y="47"/>
                    </a:lnTo>
                    <a:lnTo>
                      <a:pt x="5" y="38"/>
                    </a:lnTo>
                    <a:lnTo>
                      <a:pt x="9" y="34"/>
                    </a:lnTo>
                    <a:lnTo>
                      <a:pt x="9" y="32"/>
                    </a:lnTo>
                    <a:lnTo>
                      <a:pt x="9" y="29"/>
                    </a:lnTo>
                    <a:lnTo>
                      <a:pt x="5" y="29"/>
                    </a:lnTo>
                    <a:lnTo>
                      <a:pt x="9" y="25"/>
                    </a:lnTo>
                    <a:lnTo>
                      <a:pt x="9" y="19"/>
                    </a:lnTo>
                    <a:lnTo>
                      <a:pt x="9" y="19"/>
                    </a:lnTo>
                    <a:lnTo>
                      <a:pt x="15" y="19"/>
                    </a:lnTo>
                    <a:lnTo>
                      <a:pt x="15" y="17"/>
                    </a:lnTo>
                    <a:lnTo>
                      <a:pt x="15" y="15"/>
                    </a:lnTo>
                    <a:lnTo>
                      <a:pt x="15" y="14"/>
                    </a:lnTo>
                    <a:lnTo>
                      <a:pt x="19" y="14"/>
                    </a:lnTo>
                    <a:lnTo>
                      <a:pt x="20" y="10"/>
                    </a:lnTo>
                    <a:lnTo>
                      <a:pt x="24" y="10"/>
                    </a:lnTo>
                    <a:lnTo>
                      <a:pt x="28" y="10"/>
                    </a:lnTo>
                    <a:lnTo>
                      <a:pt x="30" y="8"/>
                    </a:lnTo>
                    <a:lnTo>
                      <a:pt x="34" y="4"/>
                    </a:lnTo>
                    <a:lnTo>
                      <a:pt x="34" y="0"/>
                    </a:lnTo>
                    <a:lnTo>
                      <a:pt x="34" y="0"/>
                    </a:lnTo>
                    <a:lnTo>
                      <a:pt x="39" y="8"/>
                    </a:lnTo>
                    <a:lnTo>
                      <a:pt x="47" y="25"/>
                    </a:lnTo>
                    <a:lnTo>
                      <a:pt x="49" y="40"/>
                    </a:lnTo>
                    <a:lnTo>
                      <a:pt x="52" y="40"/>
                    </a:lnTo>
                    <a:lnTo>
                      <a:pt x="52" y="46"/>
                    </a:lnTo>
                    <a:lnTo>
                      <a:pt x="52" y="47"/>
                    </a:lnTo>
                    <a:lnTo>
                      <a:pt x="52" y="47"/>
                    </a:lnTo>
                    <a:lnTo>
                      <a:pt x="54" y="53"/>
                    </a:lnTo>
                    <a:lnTo>
                      <a:pt x="56" y="59"/>
                    </a:lnTo>
                    <a:lnTo>
                      <a:pt x="60" y="59"/>
                    </a:lnTo>
                    <a:lnTo>
                      <a:pt x="60" y="53"/>
                    </a:lnTo>
                    <a:lnTo>
                      <a:pt x="58" y="53"/>
                    </a:lnTo>
                    <a:lnTo>
                      <a:pt x="58" y="49"/>
                    </a:lnTo>
                    <a:lnTo>
                      <a:pt x="60" y="49"/>
                    </a:lnTo>
                    <a:lnTo>
                      <a:pt x="64" y="55"/>
                    </a:lnTo>
                    <a:lnTo>
                      <a:pt x="62" y="57"/>
                    </a:lnTo>
                    <a:lnTo>
                      <a:pt x="64" y="59"/>
                    </a:lnTo>
                    <a:lnTo>
                      <a:pt x="68" y="63"/>
                    </a:lnTo>
                    <a:lnTo>
                      <a:pt x="69" y="63"/>
                    </a:lnTo>
                    <a:lnTo>
                      <a:pt x="73" y="59"/>
                    </a:lnTo>
                    <a:lnTo>
                      <a:pt x="73" y="63"/>
                    </a:lnTo>
                    <a:lnTo>
                      <a:pt x="77" y="59"/>
                    </a:lnTo>
                    <a:lnTo>
                      <a:pt x="79" y="64"/>
                    </a:lnTo>
                    <a:lnTo>
                      <a:pt x="81" y="66"/>
                    </a:lnTo>
                    <a:lnTo>
                      <a:pt x="86" y="66"/>
                    </a:lnTo>
                    <a:lnTo>
                      <a:pt x="86" y="70"/>
                    </a:lnTo>
                    <a:lnTo>
                      <a:pt x="92" y="74"/>
                    </a:lnTo>
                    <a:lnTo>
                      <a:pt x="96" y="81"/>
                    </a:lnTo>
                    <a:lnTo>
                      <a:pt x="98" y="83"/>
                    </a:lnTo>
                    <a:lnTo>
                      <a:pt x="101" y="87"/>
                    </a:lnTo>
                    <a:lnTo>
                      <a:pt x="103" y="87"/>
                    </a:lnTo>
                    <a:lnTo>
                      <a:pt x="103" y="83"/>
                    </a:lnTo>
                    <a:lnTo>
                      <a:pt x="105" y="87"/>
                    </a:lnTo>
                    <a:lnTo>
                      <a:pt x="107" y="95"/>
                    </a:lnTo>
                    <a:lnTo>
                      <a:pt x="111" y="95"/>
                    </a:lnTo>
                    <a:lnTo>
                      <a:pt x="113" y="98"/>
                    </a:lnTo>
                    <a:lnTo>
                      <a:pt x="113" y="100"/>
                    </a:lnTo>
                    <a:lnTo>
                      <a:pt x="115" y="104"/>
                    </a:lnTo>
                    <a:lnTo>
                      <a:pt x="116" y="104"/>
                    </a:lnTo>
                    <a:lnTo>
                      <a:pt x="116" y="104"/>
                    </a:lnTo>
                    <a:lnTo>
                      <a:pt x="120" y="102"/>
                    </a:lnTo>
                    <a:lnTo>
                      <a:pt x="120" y="104"/>
                    </a:lnTo>
                    <a:lnTo>
                      <a:pt x="120" y="104"/>
                    </a:lnTo>
                    <a:lnTo>
                      <a:pt x="116" y="108"/>
                    </a:lnTo>
                    <a:lnTo>
                      <a:pt x="115" y="108"/>
                    </a:lnTo>
                    <a:lnTo>
                      <a:pt x="113" y="112"/>
                    </a:lnTo>
                    <a:lnTo>
                      <a:pt x="109" y="112"/>
                    </a:lnTo>
                    <a:lnTo>
                      <a:pt x="109" y="112"/>
                    </a:lnTo>
                    <a:lnTo>
                      <a:pt x="109" y="11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0" name="Freeform 102"/>
              <p:cNvSpPr>
                <a:spLocks/>
              </p:cNvSpPr>
              <p:nvPr/>
            </p:nvSpPr>
            <p:spPr bwMode="auto">
              <a:xfrm>
                <a:off x="3555" y="2866"/>
                <a:ext cx="26" cy="30"/>
              </a:xfrm>
              <a:custGeom>
                <a:avLst/>
                <a:gdLst/>
                <a:ahLst/>
                <a:cxnLst>
                  <a:cxn ang="0">
                    <a:pos x="20" y="28"/>
                  </a:cxn>
                  <a:cxn ang="0">
                    <a:pos x="16" y="26"/>
                  </a:cxn>
                  <a:cxn ang="0">
                    <a:pos x="11" y="28"/>
                  </a:cxn>
                  <a:cxn ang="0">
                    <a:pos x="9" y="30"/>
                  </a:cxn>
                  <a:cxn ang="0">
                    <a:pos x="1" y="30"/>
                  </a:cxn>
                  <a:cxn ang="0">
                    <a:pos x="0" y="28"/>
                  </a:cxn>
                  <a:cxn ang="0">
                    <a:pos x="1" y="24"/>
                  </a:cxn>
                  <a:cxn ang="0">
                    <a:pos x="3" y="20"/>
                  </a:cxn>
                  <a:cxn ang="0">
                    <a:pos x="5" y="19"/>
                  </a:cxn>
                  <a:cxn ang="0">
                    <a:pos x="3" y="15"/>
                  </a:cxn>
                  <a:cxn ang="0">
                    <a:pos x="5" y="11"/>
                  </a:cxn>
                  <a:cxn ang="0">
                    <a:pos x="7" y="7"/>
                  </a:cxn>
                  <a:cxn ang="0">
                    <a:pos x="13" y="5"/>
                  </a:cxn>
                  <a:cxn ang="0">
                    <a:pos x="15" y="4"/>
                  </a:cxn>
                  <a:cxn ang="0">
                    <a:pos x="18" y="2"/>
                  </a:cxn>
                  <a:cxn ang="0">
                    <a:pos x="22" y="0"/>
                  </a:cxn>
                  <a:cxn ang="0">
                    <a:pos x="22" y="0"/>
                  </a:cxn>
                  <a:cxn ang="0">
                    <a:pos x="22" y="2"/>
                  </a:cxn>
                  <a:cxn ang="0">
                    <a:pos x="26" y="4"/>
                  </a:cxn>
                  <a:cxn ang="0">
                    <a:pos x="26" y="4"/>
                  </a:cxn>
                  <a:cxn ang="0">
                    <a:pos x="26" y="5"/>
                  </a:cxn>
                  <a:cxn ang="0">
                    <a:pos x="26" y="11"/>
                  </a:cxn>
                  <a:cxn ang="0">
                    <a:pos x="26" y="11"/>
                  </a:cxn>
                  <a:cxn ang="0">
                    <a:pos x="22" y="15"/>
                  </a:cxn>
                  <a:cxn ang="0">
                    <a:pos x="18" y="15"/>
                  </a:cxn>
                  <a:cxn ang="0">
                    <a:pos x="16" y="19"/>
                  </a:cxn>
                  <a:cxn ang="0">
                    <a:pos x="13" y="19"/>
                  </a:cxn>
                  <a:cxn ang="0">
                    <a:pos x="15" y="20"/>
                  </a:cxn>
                  <a:cxn ang="0">
                    <a:pos x="16" y="20"/>
                  </a:cxn>
                  <a:cxn ang="0">
                    <a:pos x="20" y="20"/>
                  </a:cxn>
                  <a:cxn ang="0">
                    <a:pos x="22" y="20"/>
                  </a:cxn>
                  <a:cxn ang="0">
                    <a:pos x="26" y="20"/>
                  </a:cxn>
                  <a:cxn ang="0">
                    <a:pos x="20" y="28"/>
                  </a:cxn>
                  <a:cxn ang="0">
                    <a:pos x="20" y="28"/>
                  </a:cxn>
                  <a:cxn ang="0">
                    <a:pos x="20" y="28"/>
                  </a:cxn>
                  <a:cxn ang="0">
                    <a:pos x="20" y="28"/>
                  </a:cxn>
                </a:cxnLst>
                <a:rect l="0" t="0" r="r" b="b"/>
                <a:pathLst>
                  <a:path w="26" h="30">
                    <a:moveTo>
                      <a:pt x="20" y="28"/>
                    </a:moveTo>
                    <a:lnTo>
                      <a:pt x="16" y="26"/>
                    </a:lnTo>
                    <a:lnTo>
                      <a:pt x="11" y="28"/>
                    </a:lnTo>
                    <a:lnTo>
                      <a:pt x="9" y="30"/>
                    </a:lnTo>
                    <a:lnTo>
                      <a:pt x="1" y="30"/>
                    </a:lnTo>
                    <a:lnTo>
                      <a:pt x="0" y="28"/>
                    </a:lnTo>
                    <a:lnTo>
                      <a:pt x="1" y="24"/>
                    </a:lnTo>
                    <a:lnTo>
                      <a:pt x="3" y="20"/>
                    </a:lnTo>
                    <a:lnTo>
                      <a:pt x="5" y="19"/>
                    </a:lnTo>
                    <a:lnTo>
                      <a:pt x="3" y="15"/>
                    </a:lnTo>
                    <a:lnTo>
                      <a:pt x="5" y="11"/>
                    </a:lnTo>
                    <a:lnTo>
                      <a:pt x="7" y="7"/>
                    </a:lnTo>
                    <a:lnTo>
                      <a:pt x="13" y="5"/>
                    </a:lnTo>
                    <a:lnTo>
                      <a:pt x="15" y="4"/>
                    </a:lnTo>
                    <a:lnTo>
                      <a:pt x="18" y="2"/>
                    </a:lnTo>
                    <a:lnTo>
                      <a:pt x="22" y="0"/>
                    </a:lnTo>
                    <a:lnTo>
                      <a:pt x="22" y="0"/>
                    </a:lnTo>
                    <a:lnTo>
                      <a:pt x="22" y="2"/>
                    </a:lnTo>
                    <a:lnTo>
                      <a:pt x="26" y="4"/>
                    </a:lnTo>
                    <a:lnTo>
                      <a:pt x="26" y="4"/>
                    </a:lnTo>
                    <a:lnTo>
                      <a:pt x="26" y="5"/>
                    </a:lnTo>
                    <a:lnTo>
                      <a:pt x="26" y="11"/>
                    </a:lnTo>
                    <a:lnTo>
                      <a:pt x="26" y="11"/>
                    </a:lnTo>
                    <a:lnTo>
                      <a:pt x="22" y="15"/>
                    </a:lnTo>
                    <a:lnTo>
                      <a:pt x="18" y="15"/>
                    </a:lnTo>
                    <a:lnTo>
                      <a:pt x="16" y="19"/>
                    </a:lnTo>
                    <a:lnTo>
                      <a:pt x="13" y="19"/>
                    </a:lnTo>
                    <a:lnTo>
                      <a:pt x="15" y="20"/>
                    </a:lnTo>
                    <a:lnTo>
                      <a:pt x="16" y="20"/>
                    </a:lnTo>
                    <a:lnTo>
                      <a:pt x="20" y="20"/>
                    </a:lnTo>
                    <a:lnTo>
                      <a:pt x="22" y="20"/>
                    </a:lnTo>
                    <a:lnTo>
                      <a:pt x="26" y="20"/>
                    </a:lnTo>
                    <a:lnTo>
                      <a:pt x="20" y="28"/>
                    </a:lnTo>
                    <a:lnTo>
                      <a:pt x="20" y="28"/>
                    </a:lnTo>
                    <a:lnTo>
                      <a:pt x="20" y="28"/>
                    </a:lnTo>
                    <a:lnTo>
                      <a:pt x="20" y="2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1" name="Freeform 103"/>
              <p:cNvSpPr>
                <a:spLocks/>
              </p:cNvSpPr>
              <p:nvPr/>
            </p:nvSpPr>
            <p:spPr bwMode="auto">
              <a:xfrm>
                <a:off x="3539" y="2875"/>
                <a:ext cx="191" cy="254"/>
              </a:xfrm>
              <a:custGeom>
                <a:avLst/>
                <a:gdLst/>
                <a:ahLst/>
                <a:cxnLst>
                  <a:cxn ang="0">
                    <a:pos x="19" y="149"/>
                  </a:cxn>
                  <a:cxn ang="0">
                    <a:pos x="36" y="143"/>
                  </a:cxn>
                  <a:cxn ang="0">
                    <a:pos x="46" y="134"/>
                  </a:cxn>
                  <a:cxn ang="0">
                    <a:pos x="64" y="130"/>
                  </a:cxn>
                  <a:cxn ang="0">
                    <a:pos x="110" y="74"/>
                  </a:cxn>
                  <a:cxn ang="0">
                    <a:pos x="44" y="51"/>
                  </a:cxn>
                  <a:cxn ang="0">
                    <a:pos x="36" y="38"/>
                  </a:cxn>
                  <a:cxn ang="0">
                    <a:pos x="34" y="19"/>
                  </a:cxn>
                  <a:cxn ang="0">
                    <a:pos x="40" y="13"/>
                  </a:cxn>
                  <a:cxn ang="0">
                    <a:pos x="55" y="30"/>
                  </a:cxn>
                  <a:cxn ang="0">
                    <a:pos x="70" y="34"/>
                  </a:cxn>
                  <a:cxn ang="0">
                    <a:pos x="80" y="30"/>
                  </a:cxn>
                  <a:cxn ang="0">
                    <a:pos x="89" y="25"/>
                  </a:cxn>
                  <a:cxn ang="0">
                    <a:pos x="100" y="25"/>
                  </a:cxn>
                  <a:cxn ang="0">
                    <a:pos x="119" y="17"/>
                  </a:cxn>
                  <a:cxn ang="0">
                    <a:pos x="130" y="19"/>
                  </a:cxn>
                  <a:cxn ang="0">
                    <a:pos x="144" y="17"/>
                  </a:cxn>
                  <a:cxn ang="0">
                    <a:pos x="159" y="11"/>
                  </a:cxn>
                  <a:cxn ang="0">
                    <a:pos x="164" y="11"/>
                  </a:cxn>
                  <a:cxn ang="0">
                    <a:pos x="176" y="8"/>
                  </a:cxn>
                  <a:cxn ang="0">
                    <a:pos x="177" y="2"/>
                  </a:cxn>
                  <a:cxn ang="0">
                    <a:pos x="181" y="2"/>
                  </a:cxn>
                  <a:cxn ang="0">
                    <a:pos x="191" y="4"/>
                  </a:cxn>
                  <a:cxn ang="0">
                    <a:pos x="185" y="13"/>
                  </a:cxn>
                  <a:cxn ang="0">
                    <a:pos x="189" y="17"/>
                  </a:cxn>
                  <a:cxn ang="0">
                    <a:pos x="185" y="25"/>
                  </a:cxn>
                  <a:cxn ang="0">
                    <a:pos x="185" y="34"/>
                  </a:cxn>
                  <a:cxn ang="0">
                    <a:pos x="191" y="30"/>
                  </a:cxn>
                  <a:cxn ang="0">
                    <a:pos x="189" y="34"/>
                  </a:cxn>
                  <a:cxn ang="0">
                    <a:pos x="183" y="38"/>
                  </a:cxn>
                  <a:cxn ang="0">
                    <a:pos x="181" y="47"/>
                  </a:cxn>
                  <a:cxn ang="0">
                    <a:pos x="170" y="70"/>
                  </a:cxn>
                  <a:cxn ang="0">
                    <a:pos x="164" y="77"/>
                  </a:cxn>
                  <a:cxn ang="0">
                    <a:pos x="160" y="85"/>
                  </a:cxn>
                  <a:cxn ang="0">
                    <a:pos x="144" y="121"/>
                  </a:cxn>
                  <a:cxn ang="0">
                    <a:pos x="130" y="145"/>
                  </a:cxn>
                  <a:cxn ang="0">
                    <a:pos x="95" y="181"/>
                  </a:cxn>
                  <a:cxn ang="0">
                    <a:pos x="74" y="194"/>
                  </a:cxn>
                  <a:cxn ang="0">
                    <a:pos x="51" y="213"/>
                  </a:cxn>
                  <a:cxn ang="0">
                    <a:pos x="36" y="228"/>
                  </a:cxn>
                  <a:cxn ang="0">
                    <a:pos x="29" y="236"/>
                  </a:cxn>
                  <a:cxn ang="0">
                    <a:pos x="0" y="243"/>
                  </a:cxn>
                  <a:cxn ang="0">
                    <a:pos x="17" y="153"/>
                  </a:cxn>
                </a:cxnLst>
                <a:rect l="0" t="0" r="r" b="b"/>
                <a:pathLst>
                  <a:path w="191" h="254">
                    <a:moveTo>
                      <a:pt x="17" y="153"/>
                    </a:moveTo>
                    <a:lnTo>
                      <a:pt x="17" y="153"/>
                    </a:lnTo>
                    <a:lnTo>
                      <a:pt x="19" y="149"/>
                    </a:lnTo>
                    <a:lnTo>
                      <a:pt x="25" y="147"/>
                    </a:lnTo>
                    <a:lnTo>
                      <a:pt x="31" y="145"/>
                    </a:lnTo>
                    <a:lnTo>
                      <a:pt x="36" y="143"/>
                    </a:lnTo>
                    <a:lnTo>
                      <a:pt x="40" y="141"/>
                    </a:lnTo>
                    <a:lnTo>
                      <a:pt x="40" y="136"/>
                    </a:lnTo>
                    <a:lnTo>
                      <a:pt x="46" y="134"/>
                    </a:lnTo>
                    <a:lnTo>
                      <a:pt x="49" y="134"/>
                    </a:lnTo>
                    <a:lnTo>
                      <a:pt x="53" y="134"/>
                    </a:lnTo>
                    <a:lnTo>
                      <a:pt x="64" y="130"/>
                    </a:lnTo>
                    <a:lnTo>
                      <a:pt x="76" y="134"/>
                    </a:lnTo>
                    <a:lnTo>
                      <a:pt x="134" y="74"/>
                    </a:lnTo>
                    <a:lnTo>
                      <a:pt x="110" y="74"/>
                    </a:lnTo>
                    <a:lnTo>
                      <a:pt x="55" y="59"/>
                    </a:lnTo>
                    <a:lnTo>
                      <a:pt x="49" y="55"/>
                    </a:lnTo>
                    <a:lnTo>
                      <a:pt x="44" y="51"/>
                    </a:lnTo>
                    <a:lnTo>
                      <a:pt x="40" y="47"/>
                    </a:lnTo>
                    <a:lnTo>
                      <a:pt x="42" y="42"/>
                    </a:lnTo>
                    <a:lnTo>
                      <a:pt x="36" y="38"/>
                    </a:lnTo>
                    <a:lnTo>
                      <a:pt x="34" y="30"/>
                    </a:lnTo>
                    <a:lnTo>
                      <a:pt x="31" y="21"/>
                    </a:lnTo>
                    <a:lnTo>
                      <a:pt x="34" y="19"/>
                    </a:lnTo>
                    <a:lnTo>
                      <a:pt x="40" y="10"/>
                    </a:lnTo>
                    <a:lnTo>
                      <a:pt x="40" y="13"/>
                    </a:lnTo>
                    <a:lnTo>
                      <a:pt x="40" y="13"/>
                    </a:lnTo>
                    <a:lnTo>
                      <a:pt x="51" y="25"/>
                    </a:lnTo>
                    <a:lnTo>
                      <a:pt x="53" y="27"/>
                    </a:lnTo>
                    <a:lnTo>
                      <a:pt x="55" y="30"/>
                    </a:lnTo>
                    <a:lnTo>
                      <a:pt x="61" y="34"/>
                    </a:lnTo>
                    <a:lnTo>
                      <a:pt x="64" y="34"/>
                    </a:lnTo>
                    <a:lnTo>
                      <a:pt x="70" y="34"/>
                    </a:lnTo>
                    <a:lnTo>
                      <a:pt x="70" y="30"/>
                    </a:lnTo>
                    <a:lnTo>
                      <a:pt x="76" y="30"/>
                    </a:lnTo>
                    <a:lnTo>
                      <a:pt x="80" y="30"/>
                    </a:lnTo>
                    <a:lnTo>
                      <a:pt x="85" y="25"/>
                    </a:lnTo>
                    <a:lnTo>
                      <a:pt x="87" y="25"/>
                    </a:lnTo>
                    <a:lnTo>
                      <a:pt x="89" y="25"/>
                    </a:lnTo>
                    <a:lnTo>
                      <a:pt x="95" y="25"/>
                    </a:lnTo>
                    <a:lnTo>
                      <a:pt x="95" y="25"/>
                    </a:lnTo>
                    <a:lnTo>
                      <a:pt x="100" y="25"/>
                    </a:lnTo>
                    <a:lnTo>
                      <a:pt x="104" y="25"/>
                    </a:lnTo>
                    <a:lnTo>
                      <a:pt x="115" y="17"/>
                    </a:lnTo>
                    <a:lnTo>
                      <a:pt x="119" y="17"/>
                    </a:lnTo>
                    <a:lnTo>
                      <a:pt x="123" y="19"/>
                    </a:lnTo>
                    <a:lnTo>
                      <a:pt x="125" y="17"/>
                    </a:lnTo>
                    <a:lnTo>
                      <a:pt x="130" y="19"/>
                    </a:lnTo>
                    <a:lnTo>
                      <a:pt x="136" y="15"/>
                    </a:lnTo>
                    <a:lnTo>
                      <a:pt x="142" y="15"/>
                    </a:lnTo>
                    <a:lnTo>
                      <a:pt x="144" y="17"/>
                    </a:lnTo>
                    <a:lnTo>
                      <a:pt x="145" y="17"/>
                    </a:lnTo>
                    <a:lnTo>
                      <a:pt x="155" y="15"/>
                    </a:lnTo>
                    <a:lnTo>
                      <a:pt x="159" y="11"/>
                    </a:lnTo>
                    <a:lnTo>
                      <a:pt x="164" y="11"/>
                    </a:lnTo>
                    <a:lnTo>
                      <a:pt x="164" y="11"/>
                    </a:lnTo>
                    <a:lnTo>
                      <a:pt x="164" y="11"/>
                    </a:lnTo>
                    <a:lnTo>
                      <a:pt x="170" y="10"/>
                    </a:lnTo>
                    <a:lnTo>
                      <a:pt x="174" y="6"/>
                    </a:lnTo>
                    <a:lnTo>
                      <a:pt x="176" y="8"/>
                    </a:lnTo>
                    <a:lnTo>
                      <a:pt x="176" y="4"/>
                    </a:lnTo>
                    <a:lnTo>
                      <a:pt x="176" y="4"/>
                    </a:lnTo>
                    <a:lnTo>
                      <a:pt x="177" y="2"/>
                    </a:lnTo>
                    <a:lnTo>
                      <a:pt x="179" y="2"/>
                    </a:lnTo>
                    <a:lnTo>
                      <a:pt x="179" y="0"/>
                    </a:lnTo>
                    <a:lnTo>
                      <a:pt x="181" y="2"/>
                    </a:lnTo>
                    <a:lnTo>
                      <a:pt x="185" y="4"/>
                    </a:lnTo>
                    <a:lnTo>
                      <a:pt x="189" y="4"/>
                    </a:lnTo>
                    <a:lnTo>
                      <a:pt x="191" y="4"/>
                    </a:lnTo>
                    <a:lnTo>
                      <a:pt x="189" y="8"/>
                    </a:lnTo>
                    <a:lnTo>
                      <a:pt x="185" y="10"/>
                    </a:lnTo>
                    <a:lnTo>
                      <a:pt x="185" y="13"/>
                    </a:lnTo>
                    <a:lnTo>
                      <a:pt x="185" y="15"/>
                    </a:lnTo>
                    <a:lnTo>
                      <a:pt x="185" y="17"/>
                    </a:lnTo>
                    <a:lnTo>
                      <a:pt x="189" y="17"/>
                    </a:lnTo>
                    <a:lnTo>
                      <a:pt x="189" y="19"/>
                    </a:lnTo>
                    <a:lnTo>
                      <a:pt x="185" y="21"/>
                    </a:lnTo>
                    <a:lnTo>
                      <a:pt x="185" y="25"/>
                    </a:lnTo>
                    <a:lnTo>
                      <a:pt x="185" y="25"/>
                    </a:lnTo>
                    <a:lnTo>
                      <a:pt x="189" y="30"/>
                    </a:lnTo>
                    <a:lnTo>
                      <a:pt x="185" y="34"/>
                    </a:lnTo>
                    <a:lnTo>
                      <a:pt x="189" y="30"/>
                    </a:lnTo>
                    <a:lnTo>
                      <a:pt x="189" y="30"/>
                    </a:lnTo>
                    <a:lnTo>
                      <a:pt x="191" y="30"/>
                    </a:lnTo>
                    <a:lnTo>
                      <a:pt x="191" y="34"/>
                    </a:lnTo>
                    <a:lnTo>
                      <a:pt x="191" y="34"/>
                    </a:lnTo>
                    <a:lnTo>
                      <a:pt x="189" y="34"/>
                    </a:lnTo>
                    <a:lnTo>
                      <a:pt x="185" y="34"/>
                    </a:lnTo>
                    <a:lnTo>
                      <a:pt x="185" y="34"/>
                    </a:lnTo>
                    <a:lnTo>
                      <a:pt x="183" y="38"/>
                    </a:lnTo>
                    <a:lnTo>
                      <a:pt x="183" y="40"/>
                    </a:lnTo>
                    <a:lnTo>
                      <a:pt x="183" y="45"/>
                    </a:lnTo>
                    <a:lnTo>
                      <a:pt x="181" y="47"/>
                    </a:lnTo>
                    <a:lnTo>
                      <a:pt x="183" y="51"/>
                    </a:lnTo>
                    <a:lnTo>
                      <a:pt x="176" y="60"/>
                    </a:lnTo>
                    <a:lnTo>
                      <a:pt x="170" y="70"/>
                    </a:lnTo>
                    <a:lnTo>
                      <a:pt x="168" y="74"/>
                    </a:lnTo>
                    <a:lnTo>
                      <a:pt x="166" y="74"/>
                    </a:lnTo>
                    <a:lnTo>
                      <a:pt x="164" y="77"/>
                    </a:lnTo>
                    <a:lnTo>
                      <a:pt x="164" y="79"/>
                    </a:lnTo>
                    <a:lnTo>
                      <a:pt x="164" y="83"/>
                    </a:lnTo>
                    <a:lnTo>
                      <a:pt x="160" y="85"/>
                    </a:lnTo>
                    <a:lnTo>
                      <a:pt x="151" y="104"/>
                    </a:lnTo>
                    <a:lnTo>
                      <a:pt x="151" y="111"/>
                    </a:lnTo>
                    <a:lnTo>
                      <a:pt x="144" y="121"/>
                    </a:lnTo>
                    <a:lnTo>
                      <a:pt x="144" y="125"/>
                    </a:lnTo>
                    <a:lnTo>
                      <a:pt x="130" y="140"/>
                    </a:lnTo>
                    <a:lnTo>
                      <a:pt x="130" y="145"/>
                    </a:lnTo>
                    <a:lnTo>
                      <a:pt x="125" y="151"/>
                    </a:lnTo>
                    <a:lnTo>
                      <a:pt x="115" y="164"/>
                    </a:lnTo>
                    <a:lnTo>
                      <a:pt x="95" y="181"/>
                    </a:lnTo>
                    <a:lnTo>
                      <a:pt x="85" y="189"/>
                    </a:lnTo>
                    <a:lnTo>
                      <a:pt x="80" y="190"/>
                    </a:lnTo>
                    <a:lnTo>
                      <a:pt x="74" y="194"/>
                    </a:lnTo>
                    <a:lnTo>
                      <a:pt x="66" y="200"/>
                    </a:lnTo>
                    <a:lnTo>
                      <a:pt x="55" y="211"/>
                    </a:lnTo>
                    <a:lnTo>
                      <a:pt x="51" y="213"/>
                    </a:lnTo>
                    <a:lnTo>
                      <a:pt x="40" y="224"/>
                    </a:lnTo>
                    <a:lnTo>
                      <a:pt x="40" y="226"/>
                    </a:lnTo>
                    <a:lnTo>
                      <a:pt x="36" y="228"/>
                    </a:lnTo>
                    <a:lnTo>
                      <a:pt x="34" y="230"/>
                    </a:lnTo>
                    <a:lnTo>
                      <a:pt x="31" y="234"/>
                    </a:lnTo>
                    <a:lnTo>
                      <a:pt x="29" y="236"/>
                    </a:lnTo>
                    <a:lnTo>
                      <a:pt x="14" y="254"/>
                    </a:lnTo>
                    <a:lnTo>
                      <a:pt x="12" y="254"/>
                    </a:lnTo>
                    <a:lnTo>
                      <a:pt x="0" y="243"/>
                    </a:lnTo>
                    <a:lnTo>
                      <a:pt x="0" y="170"/>
                    </a:lnTo>
                    <a:lnTo>
                      <a:pt x="17" y="153"/>
                    </a:lnTo>
                    <a:lnTo>
                      <a:pt x="17" y="153"/>
                    </a:lnTo>
                    <a:lnTo>
                      <a:pt x="17" y="153"/>
                    </a:lnTo>
                    <a:lnTo>
                      <a:pt x="17" y="15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2" name="Freeform 104"/>
              <p:cNvSpPr>
                <a:spLocks noEditPoints="1"/>
              </p:cNvSpPr>
              <p:nvPr/>
            </p:nvSpPr>
            <p:spPr bwMode="auto">
              <a:xfrm>
                <a:off x="3364" y="2998"/>
                <a:ext cx="196" cy="190"/>
              </a:xfrm>
              <a:custGeom>
                <a:avLst/>
                <a:gdLst/>
                <a:ahLst/>
                <a:cxnLst>
                  <a:cxn ang="0">
                    <a:pos x="51" y="22"/>
                  </a:cxn>
                  <a:cxn ang="0">
                    <a:pos x="55" y="18"/>
                  </a:cxn>
                  <a:cxn ang="0">
                    <a:pos x="61" y="17"/>
                  </a:cxn>
                  <a:cxn ang="0">
                    <a:pos x="72" y="0"/>
                  </a:cxn>
                  <a:cxn ang="0">
                    <a:pos x="78" y="3"/>
                  </a:cxn>
                  <a:cxn ang="0">
                    <a:pos x="81" y="13"/>
                  </a:cxn>
                  <a:cxn ang="0">
                    <a:pos x="87" y="18"/>
                  </a:cxn>
                  <a:cxn ang="0">
                    <a:pos x="95" y="18"/>
                  </a:cxn>
                  <a:cxn ang="0">
                    <a:pos x="110" y="22"/>
                  </a:cxn>
                  <a:cxn ang="0">
                    <a:pos x="121" y="32"/>
                  </a:cxn>
                  <a:cxn ang="0">
                    <a:pos x="127" y="35"/>
                  </a:cxn>
                  <a:cxn ang="0">
                    <a:pos x="138" y="37"/>
                  </a:cxn>
                  <a:cxn ang="0">
                    <a:pos x="147" y="37"/>
                  </a:cxn>
                  <a:cxn ang="0">
                    <a:pos x="151" y="37"/>
                  </a:cxn>
                  <a:cxn ang="0">
                    <a:pos x="159" y="28"/>
                  </a:cxn>
                  <a:cxn ang="0">
                    <a:pos x="166" y="26"/>
                  </a:cxn>
                  <a:cxn ang="0">
                    <a:pos x="177" y="22"/>
                  </a:cxn>
                  <a:cxn ang="0">
                    <a:pos x="181" y="30"/>
                  </a:cxn>
                  <a:cxn ang="0">
                    <a:pos x="191" y="30"/>
                  </a:cxn>
                  <a:cxn ang="0">
                    <a:pos x="179" y="47"/>
                  </a:cxn>
                  <a:cxn ang="0">
                    <a:pos x="191" y="131"/>
                  </a:cxn>
                  <a:cxn ang="0">
                    <a:pos x="185" y="141"/>
                  </a:cxn>
                  <a:cxn ang="0">
                    <a:pos x="183" y="145"/>
                  </a:cxn>
                  <a:cxn ang="0">
                    <a:pos x="177" y="147"/>
                  </a:cxn>
                  <a:cxn ang="0">
                    <a:pos x="168" y="152"/>
                  </a:cxn>
                  <a:cxn ang="0">
                    <a:pos x="164" y="154"/>
                  </a:cxn>
                  <a:cxn ang="0">
                    <a:pos x="164" y="160"/>
                  </a:cxn>
                  <a:cxn ang="0">
                    <a:pos x="160" y="165"/>
                  </a:cxn>
                  <a:cxn ang="0">
                    <a:pos x="157" y="175"/>
                  </a:cxn>
                  <a:cxn ang="0">
                    <a:pos x="149" y="186"/>
                  </a:cxn>
                  <a:cxn ang="0">
                    <a:pos x="143" y="190"/>
                  </a:cxn>
                  <a:cxn ang="0">
                    <a:pos x="119" y="171"/>
                  </a:cxn>
                  <a:cxn ang="0">
                    <a:pos x="119" y="169"/>
                  </a:cxn>
                  <a:cxn ang="0">
                    <a:pos x="46" y="122"/>
                  </a:cxn>
                  <a:cxn ang="0">
                    <a:pos x="46" y="105"/>
                  </a:cxn>
                  <a:cxn ang="0">
                    <a:pos x="49" y="96"/>
                  </a:cxn>
                  <a:cxn ang="0">
                    <a:pos x="55" y="88"/>
                  </a:cxn>
                  <a:cxn ang="0">
                    <a:pos x="57" y="83"/>
                  </a:cxn>
                  <a:cxn ang="0">
                    <a:pos x="64" y="81"/>
                  </a:cxn>
                  <a:cxn ang="0">
                    <a:pos x="66" y="75"/>
                  </a:cxn>
                  <a:cxn ang="0">
                    <a:pos x="70" y="66"/>
                  </a:cxn>
                  <a:cxn ang="0">
                    <a:pos x="66" y="58"/>
                  </a:cxn>
                  <a:cxn ang="0">
                    <a:pos x="66" y="56"/>
                  </a:cxn>
                  <a:cxn ang="0">
                    <a:pos x="61" y="47"/>
                  </a:cxn>
                  <a:cxn ang="0">
                    <a:pos x="57" y="41"/>
                  </a:cxn>
                  <a:cxn ang="0">
                    <a:pos x="55" y="35"/>
                  </a:cxn>
                  <a:cxn ang="0">
                    <a:pos x="51" y="32"/>
                  </a:cxn>
                  <a:cxn ang="0">
                    <a:pos x="49" y="24"/>
                  </a:cxn>
                  <a:cxn ang="0">
                    <a:pos x="49" y="24"/>
                  </a:cxn>
                  <a:cxn ang="0">
                    <a:pos x="49" y="24"/>
                  </a:cxn>
                  <a:cxn ang="0">
                    <a:pos x="0" y="124"/>
                  </a:cxn>
                  <a:cxn ang="0">
                    <a:pos x="15" y="124"/>
                  </a:cxn>
                  <a:cxn ang="0">
                    <a:pos x="0" y="124"/>
                  </a:cxn>
                  <a:cxn ang="0">
                    <a:pos x="0" y="124"/>
                  </a:cxn>
                </a:cxnLst>
                <a:rect l="0" t="0" r="r" b="b"/>
                <a:pathLst>
                  <a:path w="196" h="190">
                    <a:moveTo>
                      <a:pt x="49" y="24"/>
                    </a:moveTo>
                    <a:lnTo>
                      <a:pt x="51" y="22"/>
                    </a:lnTo>
                    <a:lnTo>
                      <a:pt x="51" y="22"/>
                    </a:lnTo>
                    <a:lnTo>
                      <a:pt x="55" y="18"/>
                    </a:lnTo>
                    <a:lnTo>
                      <a:pt x="57" y="17"/>
                    </a:lnTo>
                    <a:lnTo>
                      <a:pt x="61" y="17"/>
                    </a:lnTo>
                    <a:lnTo>
                      <a:pt x="64" y="9"/>
                    </a:lnTo>
                    <a:lnTo>
                      <a:pt x="72" y="0"/>
                    </a:lnTo>
                    <a:lnTo>
                      <a:pt x="74" y="3"/>
                    </a:lnTo>
                    <a:lnTo>
                      <a:pt x="78" y="3"/>
                    </a:lnTo>
                    <a:lnTo>
                      <a:pt x="81" y="3"/>
                    </a:lnTo>
                    <a:lnTo>
                      <a:pt x="81" y="13"/>
                    </a:lnTo>
                    <a:lnTo>
                      <a:pt x="81" y="18"/>
                    </a:lnTo>
                    <a:lnTo>
                      <a:pt x="87" y="18"/>
                    </a:lnTo>
                    <a:lnTo>
                      <a:pt x="91" y="17"/>
                    </a:lnTo>
                    <a:lnTo>
                      <a:pt x="95" y="18"/>
                    </a:lnTo>
                    <a:lnTo>
                      <a:pt x="106" y="17"/>
                    </a:lnTo>
                    <a:lnTo>
                      <a:pt x="110" y="22"/>
                    </a:lnTo>
                    <a:lnTo>
                      <a:pt x="117" y="28"/>
                    </a:lnTo>
                    <a:lnTo>
                      <a:pt x="121" y="32"/>
                    </a:lnTo>
                    <a:lnTo>
                      <a:pt x="125" y="35"/>
                    </a:lnTo>
                    <a:lnTo>
                      <a:pt x="127" y="35"/>
                    </a:lnTo>
                    <a:lnTo>
                      <a:pt x="134" y="35"/>
                    </a:lnTo>
                    <a:lnTo>
                      <a:pt x="138" y="37"/>
                    </a:lnTo>
                    <a:lnTo>
                      <a:pt x="143" y="37"/>
                    </a:lnTo>
                    <a:lnTo>
                      <a:pt x="147" y="37"/>
                    </a:lnTo>
                    <a:lnTo>
                      <a:pt x="149" y="37"/>
                    </a:lnTo>
                    <a:lnTo>
                      <a:pt x="151" y="37"/>
                    </a:lnTo>
                    <a:lnTo>
                      <a:pt x="157" y="30"/>
                    </a:lnTo>
                    <a:lnTo>
                      <a:pt x="159" y="28"/>
                    </a:lnTo>
                    <a:lnTo>
                      <a:pt x="164" y="26"/>
                    </a:lnTo>
                    <a:lnTo>
                      <a:pt x="166" y="26"/>
                    </a:lnTo>
                    <a:lnTo>
                      <a:pt x="168" y="24"/>
                    </a:lnTo>
                    <a:lnTo>
                      <a:pt x="177" y="22"/>
                    </a:lnTo>
                    <a:lnTo>
                      <a:pt x="179" y="24"/>
                    </a:lnTo>
                    <a:lnTo>
                      <a:pt x="181" y="30"/>
                    </a:lnTo>
                    <a:lnTo>
                      <a:pt x="185" y="32"/>
                    </a:lnTo>
                    <a:lnTo>
                      <a:pt x="191" y="30"/>
                    </a:lnTo>
                    <a:lnTo>
                      <a:pt x="196" y="30"/>
                    </a:lnTo>
                    <a:lnTo>
                      <a:pt x="179" y="47"/>
                    </a:lnTo>
                    <a:lnTo>
                      <a:pt x="179" y="120"/>
                    </a:lnTo>
                    <a:lnTo>
                      <a:pt x="191" y="131"/>
                    </a:lnTo>
                    <a:lnTo>
                      <a:pt x="191" y="131"/>
                    </a:lnTo>
                    <a:lnTo>
                      <a:pt x="185" y="141"/>
                    </a:lnTo>
                    <a:lnTo>
                      <a:pt x="185" y="141"/>
                    </a:lnTo>
                    <a:lnTo>
                      <a:pt x="183" y="145"/>
                    </a:lnTo>
                    <a:lnTo>
                      <a:pt x="183" y="145"/>
                    </a:lnTo>
                    <a:lnTo>
                      <a:pt x="177" y="147"/>
                    </a:lnTo>
                    <a:lnTo>
                      <a:pt x="174" y="152"/>
                    </a:lnTo>
                    <a:lnTo>
                      <a:pt x="168" y="152"/>
                    </a:lnTo>
                    <a:lnTo>
                      <a:pt x="166" y="152"/>
                    </a:lnTo>
                    <a:lnTo>
                      <a:pt x="164" y="154"/>
                    </a:lnTo>
                    <a:lnTo>
                      <a:pt x="164" y="158"/>
                    </a:lnTo>
                    <a:lnTo>
                      <a:pt x="164" y="160"/>
                    </a:lnTo>
                    <a:lnTo>
                      <a:pt x="164" y="160"/>
                    </a:lnTo>
                    <a:lnTo>
                      <a:pt x="160" y="165"/>
                    </a:lnTo>
                    <a:lnTo>
                      <a:pt x="157" y="169"/>
                    </a:lnTo>
                    <a:lnTo>
                      <a:pt x="157" y="175"/>
                    </a:lnTo>
                    <a:lnTo>
                      <a:pt x="155" y="179"/>
                    </a:lnTo>
                    <a:lnTo>
                      <a:pt x="149" y="186"/>
                    </a:lnTo>
                    <a:lnTo>
                      <a:pt x="143" y="190"/>
                    </a:lnTo>
                    <a:lnTo>
                      <a:pt x="143" y="190"/>
                    </a:lnTo>
                    <a:lnTo>
                      <a:pt x="121" y="175"/>
                    </a:lnTo>
                    <a:lnTo>
                      <a:pt x="119" y="171"/>
                    </a:lnTo>
                    <a:lnTo>
                      <a:pt x="117" y="169"/>
                    </a:lnTo>
                    <a:lnTo>
                      <a:pt x="119" y="169"/>
                    </a:lnTo>
                    <a:lnTo>
                      <a:pt x="115" y="162"/>
                    </a:lnTo>
                    <a:lnTo>
                      <a:pt x="46" y="122"/>
                    </a:lnTo>
                    <a:lnTo>
                      <a:pt x="40" y="122"/>
                    </a:lnTo>
                    <a:lnTo>
                      <a:pt x="46" y="105"/>
                    </a:lnTo>
                    <a:lnTo>
                      <a:pt x="46" y="99"/>
                    </a:lnTo>
                    <a:lnTo>
                      <a:pt x="49" y="96"/>
                    </a:lnTo>
                    <a:lnTo>
                      <a:pt x="51" y="90"/>
                    </a:lnTo>
                    <a:lnTo>
                      <a:pt x="55" y="88"/>
                    </a:lnTo>
                    <a:lnTo>
                      <a:pt x="57" y="84"/>
                    </a:lnTo>
                    <a:lnTo>
                      <a:pt x="57" y="83"/>
                    </a:lnTo>
                    <a:lnTo>
                      <a:pt x="57" y="81"/>
                    </a:lnTo>
                    <a:lnTo>
                      <a:pt x="64" y="81"/>
                    </a:lnTo>
                    <a:lnTo>
                      <a:pt x="66" y="77"/>
                    </a:lnTo>
                    <a:lnTo>
                      <a:pt x="66" y="75"/>
                    </a:lnTo>
                    <a:lnTo>
                      <a:pt x="70" y="67"/>
                    </a:lnTo>
                    <a:lnTo>
                      <a:pt x="70" y="66"/>
                    </a:lnTo>
                    <a:lnTo>
                      <a:pt x="70" y="62"/>
                    </a:lnTo>
                    <a:lnTo>
                      <a:pt x="66" y="58"/>
                    </a:lnTo>
                    <a:lnTo>
                      <a:pt x="68" y="56"/>
                    </a:lnTo>
                    <a:lnTo>
                      <a:pt x="66" y="56"/>
                    </a:lnTo>
                    <a:lnTo>
                      <a:pt x="63" y="52"/>
                    </a:lnTo>
                    <a:lnTo>
                      <a:pt x="61" y="47"/>
                    </a:lnTo>
                    <a:lnTo>
                      <a:pt x="57" y="43"/>
                    </a:lnTo>
                    <a:lnTo>
                      <a:pt x="57" y="41"/>
                    </a:lnTo>
                    <a:lnTo>
                      <a:pt x="57" y="37"/>
                    </a:lnTo>
                    <a:lnTo>
                      <a:pt x="55" y="35"/>
                    </a:lnTo>
                    <a:lnTo>
                      <a:pt x="55" y="32"/>
                    </a:lnTo>
                    <a:lnTo>
                      <a:pt x="51" y="32"/>
                    </a:lnTo>
                    <a:lnTo>
                      <a:pt x="51" y="26"/>
                    </a:lnTo>
                    <a:lnTo>
                      <a:pt x="49" y="24"/>
                    </a:lnTo>
                    <a:lnTo>
                      <a:pt x="49" y="24"/>
                    </a:lnTo>
                    <a:lnTo>
                      <a:pt x="49" y="24"/>
                    </a:lnTo>
                    <a:lnTo>
                      <a:pt x="49" y="24"/>
                    </a:lnTo>
                    <a:lnTo>
                      <a:pt x="49" y="24"/>
                    </a:lnTo>
                    <a:lnTo>
                      <a:pt x="49" y="24"/>
                    </a:lnTo>
                    <a:close/>
                    <a:moveTo>
                      <a:pt x="0" y="124"/>
                    </a:moveTo>
                    <a:lnTo>
                      <a:pt x="8" y="124"/>
                    </a:lnTo>
                    <a:lnTo>
                      <a:pt x="15" y="124"/>
                    </a:lnTo>
                    <a:lnTo>
                      <a:pt x="0" y="124"/>
                    </a:lnTo>
                    <a:lnTo>
                      <a:pt x="0" y="124"/>
                    </a:lnTo>
                    <a:lnTo>
                      <a:pt x="0" y="124"/>
                    </a:lnTo>
                    <a:lnTo>
                      <a:pt x="0" y="1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3" name="Freeform 105"/>
              <p:cNvSpPr>
                <a:spLocks/>
              </p:cNvSpPr>
              <p:nvPr/>
            </p:nvSpPr>
            <p:spPr bwMode="auto">
              <a:xfrm>
                <a:off x="3323" y="3024"/>
                <a:ext cx="111" cy="105"/>
              </a:xfrm>
              <a:custGeom>
                <a:avLst/>
                <a:gdLst/>
                <a:ahLst/>
                <a:cxnLst>
                  <a:cxn ang="0">
                    <a:pos x="85" y="75"/>
                  </a:cxn>
                  <a:cxn ang="0">
                    <a:pos x="92" y="66"/>
                  </a:cxn>
                  <a:cxn ang="0">
                    <a:pos x="96" y="60"/>
                  </a:cxn>
                  <a:cxn ang="0">
                    <a:pos x="98" y="57"/>
                  </a:cxn>
                  <a:cxn ang="0">
                    <a:pos x="107" y="51"/>
                  </a:cxn>
                  <a:cxn ang="0">
                    <a:pos x="111" y="43"/>
                  </a:cxn>
                  <a:cxn ang="0">
                    <a:pos x="111" y="38"/>
                  </a:cxn>
                  <a:cxn ang="0">
                    <a:pos x="109" y="32"/>
                  </a:cxn>
                  <a:cxn ang="0">
                    <a:pos x="102" y="28"/>
                  </a:cxn>
                  <a:cxn ang="0">
                    <a:pos x="98" y="19"/>
                  </a:cxn>
                  <a:cxn ang="0">
                    <a:pos x="96" y="13"/>
                  </a:cxn>
                  <a:cxn ang="0">
                    <a:pos x="94" y="8"/>
                  </a:cxn>
                  <a:cxn ang="0">
                    <a:pos x="90" y="2"/>
                  </a:cxn>
                  <a:cxn ang="0">
                    <a:pos x="85" y="4"/>
                  </a:cxn>
                  <a:cxn ang="0">
                    <a:pos x="77" y="8"/>
                  </a:cxn>
                  <a:cxn ang="0">
                    <a:pos x="66" y="8"/>
                  </a:cxn>
                  <a:cxn ang="0">
                    <a:pos x="60" y="9"/>
                  </a:cxn>
                  <a:cxn ang="0">
                    <a:pos x="56" y="9"/>
                  </a:cxn>
                  <a:cxn ang="0">
                    <a:pos x="53" y="13"/>
                  </a:cxn>
                  <a:cxn ang="0">
                    <a:pos x="47" y="13"/>
                  </a:cxn>
                  <a:cxn ang="0">
                    <a:pos x="43" y="9"/>
                  </a:cxn>
                  <a:cxn ang="0">
                    <a:pos x="34" y="9"/>
                  </a:cxn>
                  <a:cxn ang="0">
                    <a:pos x="28" y="9"/>
                  </a:cxn>
                  <a:cxn ang="0">
                    <a:pos x="28" y="13"/>
                  </a:cxn>
                  <a:cxn ang="0">
                    <a:pos x="28" y="13"/>
                  </a:cxn>
                  <a:cxn ang="0">
                    <a:pos x="26" y="19"/>
                  </a:cxn>
                  <a:cxn ang="0">
                    <a:pos x="24" y="32"/>
                  </a:cxn>
                  <a:cxn ang="0">
                    <a:pos x="26" y="38"/>
                  </a:cxn>
                  <a:cxn ang="0">
                    <a:pos x="30" y="41"/>
                  </a:cxn>
                  <a:cxn ang="0">
                    <a:pos x="21" y="57"/>
                  </a:cxn>
                  <a:cxn ang="0">
                    <a:pos x="13" y="66"/>
                  </a:cxn>
                  <a:cxn ang="0">
                    <a:pos x="4" y="81"/>
                  </a:cxn>
                  <a:cxn ang="0">
                    <a:pos x="4" y="92"/>
                  </a:cxn>
                  <a:cxn ang="0">
                    <a:pos x="2" y="104"/>
                  </a:cxn>
                  <a:cxn ang="0">
                    <a:pos x="2" y="105"/>
                  </a:cxn>
                  <a:cxn ang="0">
                    <a:pos x="6" y="102"/>
                  </a:cxn>
                  <a:cxn ang="0">
                    <a:pos x="11" y="104"/>
                  </a:cxn>
                  <a:cxn ang="0">
                    <a:pos x="15" y="104"/>
                  </a:cxn>
                  <a:cxn ang="0">
                    <a:pos x="19" y="100"/>
                  </a:cxn>
                  <a:cxn ang="0">
                    <a:pos x="21" y="100"/>
                  </a:cxn>
                  <a:cxn ang="0">
                    <a:pos x="24" y="100"/>
                  </a:cxn>
                  <a:cxn ang="0">
                    <a:pos x="40" y="100"/>
                  </a:cxn>
                  <a:cxn ang="0">
                    <a:pos x="79" y="96"/>
                  </a:cxn>
                  <a:cxn ang="0">
                    <a:pos x="85" y="79"/>
                  </a:cxn>
                </a:cxnLst>
                <a:rect l="0" t="0" r="r" b="b"/>
                <a:pathLst>
                  <a:path w="111" h="105">
                    <a:moveTo>
                      <a:pt x="85" y="79"/>
                    </a:moveTo>
                    <a:lnTo>
                      <a:pt x="85" y="75"/>
                    </a:lnTo>
                    <a:lnTo>
                      <a:pt x="88" y="70"/>
                    </a:lnTo>
                    <a:lnTo>
                      <a:pt x="92" y="66"/>
                    </a:lnTo>
                    <a:lnTo>
                      <a:pt x="94" y="62"/>
                    </a:lnTo>
                    <a:lnTo>
                      <a:pt x="96" y="60"/>
                    </a:lnTo>
                    <a:lnTo>
                      <a:pt x="98" y="58"/>
                    </a:lnTo>
                    <a:lnTo>
                      <a:pt x="98" y="57"/>
                    </a:lnTo>
                    <a:lnTo>
                      <a:pt x="105" y="57"/>
                    </a:lnTo>
                    <a:lnTo>
                      <a:pt x="107" y="51"/>
                    </a:lnTo>
                    <a:lnTo>
                      <a:pt x="107" y="49"/>
                    </a:lnTo>
                    <a:lnTo>
                      <a:pt x="111" y="43"/>
                    </a:lnTo>
                    <a:lnTo>
                      <a:pt x="111" y="41"/>
                    </a:lnTo>
                    <a:lnTo>
                      <a:pt x="111" y="38"/>
                    </a:lnTo>
                    <a:lnTo>
                      <a:pt x="107" y="34"/>
                    </a:lnTo>
                    <a:lnTo>
                      <a:pt x="109" y="32"/>
                    </a:lnTo>
                    <a:lnTo>
                      <a:pt x="107" y="30"/>
                    </a:lnTo>
                    <a:lnTo>
                      <a:pt x="102" y="28"/>
                    </a:lnTo>
                    <a:lnTo>
                      <a:pt x="102" y="23"/>
                    </a:lnTo>
                    <a:lnTo>
                      <a:pt x="98" y="19"/>
                    </a:lnTo>
                    <a:lnTo>
                      <a:pt x="98" y="17"/>
                    </a:lnTo>
                    <a:lnTo>
                      <a:pt x="96" y="13"/>
                    </a:lnTo>
                    <a:lnTo>
                      <a:pt x="94" y="11"/>
                    </a:lnTo>
                    <a:lnTo>
                      <a:pt x="94" y="8"/>
                    </a:lnTo>
                    <a:lnTo>
                      <a:pt x="92" y="8"/>
                    </a:lnTo>
                    <a:lnTo>
                      <a:pt x="90" y="2"/>
                    </a:lnTo>
                    <a:lnTo>
                      <a:pt x="88" y="0"/>
                    </a:lnTo>
                    <a:lnTo>
                      <a:pt x="85" y="4"/>
                    </a:lnTo>
                    <a:lnTo>
                      <a:pt x="81" y="6"/>
                    </a:lnTo>
                    <a:lnTo>
                      <a:pt x="77" y="8"/>
                    </a:lnTo>
                    <a:lnTo>
                      <a:pt x="75" y="8"/>
                    </a:lnTo>
                    <a:lnTo>
                      <a:pt x="66" y="8"/>
                    </a:lnTo>
                    <a:lnTo>
                      <a:pt x="64" y="9"/>
                    </a:lnTo>
                    <a:lnTo>
                      <a:pt x="60" y="9"/>
                    </a:lnTo>
                    <a:lnTo>
                      <a:pt x="58" y="9"/>
                    </a:lnTo>
                    <a:lnTo>
                      <a:pt x="56" y="9"/>
                    </a:lnTo>
                    <a:lnTo>
                      <a:pt x="53" y="11"/>
                    </a:lnTo>
                    <a:lnTo>
                      <a:pt x="53" y="13"/>
                    </a:lnTo>
                    <a:lnTo>
                      <a:pt x="51" y="13"/>
                    </a:lnTo>
                    <a:lnTo>
                      <a:pt x="47" y="13"/>
                    </a:lnTo>
                    <a:lnTo>
                      <a:pt x="47" y="11"/>
                    </a:lnTo>
                    <a:lnTo>
                      <a:pt x="43" y="9"/>
                    </a:lnTo>
                    <a:lnTo>
                      <a:pt x="40" y="11"/>
                    </a:lnTo>
                    <a:lnTo>
                      <a:pt x="34" y="9"/>
                    </a:lnTo>
                    <a:lnTo>
                      <a:pt x="30" y="8"/>
                    </a:lnTo>
                    <a:lnTo>
                      <a:pt x="28" y="9"/>
                    </a:lnTo>
                    <a:lnTo>
                      <a:pt x="28" y="11"/>
                    </a:lnTo>
                    <a:lnTo>
                      <a:pt x="28" y="13"/>
                    </a:lnTo>
                    <a:lnTo>
                      <a:pt x="28" y="13"/>
                    </a:lnTo>
                    <a:lnTo>
                      <a:pt x="28" y="13"/>
                    </a:lnTo>
                    <a:lnTo>
                      <a:pt x="28" y="17"/>
                    </a:lnTo>
                    <a:lnTo>
                      <a:pt x="26" y="19"/>
                    </a:lnTo>
                    <a:lnTo>
                      <a:pt x="26" y="24"/>
                    </a:lnTo>
                    <a:lnTo>
                      <a:pt x="24" y="32"/>
                    </a:lnTo>
                    <a:lnTo>
                      <a:pt x="24" y="36"/>
                    </a:lnTo>
                    <a:lnTo>
                      <a:pt x="26" y="38"/>
                    </a:lnTo>
                    <a:lnTo>
                      <a:pt x="28" y="38"/>
                    </a:lnTo>
                    <a:lnTo>
                      <a:pt x="30" y="41"/>
                    </a:lnTo>
                    <a:lnTo>
                      <a:pt x="30" y="43"/>
                    </a:lnTo>
                    <a:lnTo>
                      <a:pt x="21" y="57"/>
                    </a:lnTo>
                    <a:lnTo>
                      <a:pt x="15" y="62"/>
                    </a:lnTo>
                    <a:lnTo>
                      <a:pt x="13" y="66"/>
                    </a:lnTo>
                    <a:lnTo>
                      <a:pt x="6" y="79"/>
                    </a:lnTo>
                    <a:lnTo>
                      <a:pt x="4" y="81"/>
                    </a:lnTo>
                    <a:lnTo>
                      <a:pt x="4" y="87"/>
                    </a:lnTo>
                    <a:lnTo>
                      <a:pt x="4" y="92"/>
                    </a:lnTo>
                    <a:lnTo>
                      <a:pt x="0" y="100"/>
                    </a:lnTo>
                    <a:lnTo>
                      <a:pt x="2" y="104"/>
                    </a:lnTo>
                    <a:lnTo>
                      <a:pt x="0" y="105"/>
                    </a:lnTo>
                    <a:lnTo>
                      <a:pt x="2" y="105"/>
                    </a:lnTo>
                    <a:lnTo>
                      <a:pt x="4" y="104"/>
                    </a:lnTo>
                    <a:lnTo>
                      <a:pt x="6" y="102"/>
                    </a:lnTo>
                    <a:lnTo>
                      <a:pt x="9" y="104"/>
                    </a:lnTo>
                    <a:lnTo>
                      <a:pt x="11" y="104"/>
                    </a:lnTo>
                    <a:lnTo>
                      <a:pt x="15" y="104"/>
                    </a:lnTo>
                    <a:lnTo>
                      <a:pt x="15" y="104"/>
                    </a:lnTo>
                    <a:lnTo>
                      <a:pt x="15" y="100"/>
                    </a:lnTo>
                    <a:lnTo>
                      <a:pt x="19" y="100"/>
                    </a:lnTo>
                    <a:lnTo>
                      <a:pt x="21" y="100"/>
                    </a:lnTo>
                    <a:lnTo>
                      <a:pt x="21" y="100"/>
                    </a:lnTo>
                    <a:lnTo>
                      <a:pt x="21" y="100"/>
                    </a:lnTo>
                    <a:lnTo>
                      <a:pt x="24" y="100"/>
                    </a:lnTo>
                    <a:lnTo>
                      <a:pt x="40" y="100"/>
                    </a:lnTo>
                    <a:lnTo>
                      <a:pt x="40" y="100"/>
                    </a:lnTo>
                    <a:lnTo>
                      <a:pt x="55" y="100"/>
                    </a:lnTo>
                    <a:lnTo>
                      <a:pt x="79" y="96"/>
                    </a:lnTo>
                    <a:lnTo>
                      <a:pt x="85" y="79"/>
                    </a:lnTo>
                    <a:lnTo>
                      <a:pt x="85" y="79"/>
                    </a:lnTo>
                    <a:lnTo>
                      <a:pt x="85" y="7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4" name="Freeform 106"/>
              <p:cNvSpPr>
                <a:spLocks/>
              </p:cNvSpPr>
              <p:nvPr/>
            </p:nvSpPr>
            <p:spPr bwMode="auto">
              <a:xfrm>
                <a:off x="3323" y="3024"/>
                <a:ext cx="111" cy="105"/>
              </a:xfrm>
              <a:custGeom>
                <a:avLst/>
                <a:gdLst/>
                <a:ahLst/>
                <a:cxnLst>
                  <a:cxn ang="0">
                    <a:pos x="85" y="75"/>
                  </a:cxn>
                  <a:cxn ang="0">
                    <a:pos x="92" y="66"/>
                  </a:cxn>
                  <a:cxn ang="0">
                    <a:pos x="96" y="60"/>
                  </a:cxn>
                  <a:cxn ang="0">
                    <a:pos x="98" y="57"/>
                  </a:cxn>
                  <a:cxn ang="0">
                    <a:pos x="107" y="51"/>
                  </a:cxn>
                  <a:cxn ang="0">
                    <a:pos x="111" y="43"/>
                  </a:cxn>
                  <a:cxn ang="0">
                    <a:pos x="111" y="38"/>
                  </a:cxn>
                  <a:cxn ang="0">
                    <a:pos x="109" y="32"/>
                  </a:cxn>
                  <a:cxn ang="0">
                    <a:pos x="102" y="28"/>
                  </a:cxn>
                  <a:cxn ang="0">
                    <a:pos x="98" y="19"/>
                  </a:cxn>
                  <a:cxn ang="0">
                    <a:pos x="96" y="13"/>
                  </a:cxn>
                  <a:cxn ang="0">
                    <a:pos x="94" y="8"/>
                  </a:cxn>
                  <a:cxn ang="0">
                    <a:pos x="90" y="2"/>
                  </a:cxn>
                  <a:cxn ang="0">
                    <a:pos x="85" y="4"/>
                  </a:cxn>
                  <a:cxn ang="0">
                    <a:pos x="77" y="8"/>
                  </a:cxn>
                  <a:cxn ang="0">
                    <a:pos x="66" y="8"/>
                  </a:cxn>
                  <a:cxn ang="0">
                    <a:pos x="60" y="9"/>
                  </a:cxn>
                  <a:cxn ang="0">
                    <a:pos x="56" y="9"/>
                  </a:cxn>
                  <a:cxn ang="0">
                    <a:pos x="53" y="13"/>
                  </a:cxn>
                  <a:cxn ang="0">
                    <a:pos x="47" y="13"/>
                  </a:cxn>
                  <a:cxn ang="0">
                    <a:pos x="43" y="9"/>
                  </a:cxn>
                  <a:cxn ang="0">
                    <a:pos x="34" y="9"/>
                  </a:cxn>
                  <a:cxn ang="0">
                    <a:pos x="28" y="9"/>
                  </a:cxn>
                  <a:cxn ang="0">
                    <a:pos x="28" y="13"/>
                  </a:cxn>
                  <a:cxn ang="0">
                    <a:pos x="28" y="13"/>
                  </a:cxn>
                  <a:cxn ang="0">
                    <a:pos x="26" y="19"/>
                  </a:cxn>
                  <a:cxn ang="0">
                    <a:pos x="24" y="32"/>
                  </a:cxn>
                  <a:cxn ang="0">
                    <a:pos x="26" y="38"/>
                  </a:cxn>
                  <a:cxn ang="0">
                    <a:pos x="30" y="41"/>
                  </a:cxn>
                  <a:cxn ang="0">
                    <a:pos x="21" y="57"/>
                  </a:cxn>
                  <a:cxn ang="0">
                    <a:pos x="13" y="66"/>
                  </a:cxn>
                  <a:cxn ang="0">
                    <a:pos x="4" y="81"/>
                  </a:cxn>
                  <a:cxn ang="0">
                    <a:pos x="4" y="92"/>
                  </a:cxn>
                  <a:cxn ang="0">
                    <a:pos x="2" y="104"/>
                  </a:cxn>
                  <a:cxn ang="0">
                    <a:pos x="2" y="105"/>
                  </a:cxn>
                  <a:cxn ang="0">
                    <a:pos x="6" y="102"/>
                  </a:cxn>
                  <a:cxn ang="0">
                    <a:pos x="11" y="104"/>
                  </a:cxn>
                  <a:cxn ang="0">
                    <a:pos x="15" y="104"/>
                  </a:cxn>
                  <a:cxn ang="0">
                    <a:pos x="19" y="100"/>
                  </a:cxn>
                  <a:cxn ang="0">
                    <a:pos x="21" y="100"/>
                  </a:cxn>
                  <a:cxn ang="0">
                    <a:pos x="24" y="100"/>
                  </a:cxn>
                  <a:cxn ang="0">
                    <a:pos x="40" y="100"/>
                  </a:cxn>
                  <a:cxn ang="0">
                    <a:pos x="79" y="96"/>
                  </a:cxn>
                  <a:cxn ang="0">
                    <a:pos x="85" y="79"/>
                  </a:cxn>
                </a:cxnLst>
                <a:rect l="0" t="0" r="r" b="b"/>
                <a:pathLst>
                  <a:path w="111" h="105">
                    <a:moveTo>
                      <a:pt x="85" y="79"/>
                    </a:moveTo>
                    <a:lnTo>
                      <a:pt x="85" y="75"/>
                    </a:lnTo>
                    <a:lnTo>
                      <a:pt x="88" y="70"/>
                    </a:lnTo>
                    <a:lnTo>
                      <a:pt x="92" y="66"/>
                    </a:lnTo>
                    <a:lnTo>
                      <a:pt x="94" y="62"/>
                    </a:lnTo>
                    <a:lnTo>
                      <a:pt x="96" y="60"/>
                    </a:lnTo>
                    <a:lnTo>
                      <a:pt x="98" y="58"/>
                    </a:lnTo>
                    <a:lnTo>
                      <a:pt x="98" y="57"/>
                    </a:lnTo>
                    <a:lnTo>
                      <a:pt x="105" y="57"/>
                    </a:lnTo>
                    <a:lnTo>
                      <a:pt x="107" y="51"/>
                    </a:lnTo>
                    <a:lnTo>
                      <a:pt x="107" y="49"/>
                    </a:lnTo>
                    <a:lnTo>
                      <a:pt x="111" y="43"/>
                    </a:lnTo>
                    <a:lnTo>
                      <a:pt x="111" y="41"/>
                    </a:lnTo>
                    <a:lnTo>
                      <a:pt x="111" y="38"/>
                    </a:lnTo>
                    <a:lnTo>
                      <a:pt x="107" y="34"/>
                    </a:lnTo>
                    <a:lnTo>
                      <a:pt x="109" y="32"/>
                    </a:lnTo>
                    <a:lnTo>
                      <a:pt x="107" y="30"/>
                    </a:lnTo>
                    <a:lnTo>
                      <a:pt x="102" y="28"/>
                    </a:lnTo>
                    <a:lnTo>
                      <a:pt x="102" y="23"/>
                    </a:lnTo>
                    <a:lnTo>
                      <a:pt x="98" y="19"/>
                    </a:lnTo>
                    <a:lnTo>
                      <a:pt x="98" y="17"/>
                    </a:lnTo>
                    <a:lnTo>
                      <a:pt x="96" y="13"/>
                    </a:lnTo>
                    <a:lnTo>
                      <a:pt x="94" y="11"/>
                    </a:lnTo>
                    <a:lnTo>
                      <a:pt x="94" y="8"/>
                    </a:lnTo>
                    <a:lnTo>
                      <a:pt x="92" y="8"/>
                    </a:lnTo>
                    <a:lnTo>
                      <a:pt x="90" y="2"/>
                    </a:lnTo>
                    <a:lnTo>
                      <a:pt x="88" y="0"/>
                    </a:lnTo>
                    <a:lnTo>
                      <a:pt x="85" y="4"/>
                    </a:lnTo>
                    <a:lnTo>
                      <a:pt x="81" y="6"/>
                    </a:lnTo>
                    <a:lnTo>
                      <a:pt x="77" y="8"/>
                    </a:lnTo>
                    <a:lnTo>
                      <a:pt x="75" y="8"/>
                    </a:lnTo>
                    <a:lnTo>
                      <a:pt x="66" y="8"/>
                    </a:lnTo>
                    <a:lnTo>
                      <a:pt x="64" y="9"/>
                    </a:lnTo>
                    <a:lnTo>
                      <a:pt x="60" y="9"/>
                    </a:lnTo>
                    <a:lnTo>
                      <a:pt x="58" y="9"/>
                    </a:lnTo>
                    <a:lnTo>
                      <a:pt x="56" y="9"/>
                    </a:lnTo>
                    <a:lnTo>
                      <a:pt x="53" y="11"/>
                    </a:lnTo>
                    <a:lnTo>
                      <a:pt x="53" y="13"/>
                    </a:lnTo>
                    <a:lnTo>
                      <a:pt x="51" y="13"/>
                    </a:lnTo>
                    <a:lnTo>
                      <a:pt x="47" y="13"/>
                    </a:lnTo>
                    <a:lnTo>
                      <a:pt x="47" y="11"/>
                    </a:lnTo>
                    <a:lnTo>
                      <a:pt x="43" y="9"/>
                    </a:lnTo>
                    <a:lnTo>
                      <a:pt x="40" y="11"/>
                    </a:lnTo>
                    <a:lnTo>
                      <a:pt x="34" y="9"/>
                    </a:lnTo>
                    <a:lnTo>
                      <a:pt x="30" y="8"/>
                    </a:lnTo>
                    <a:lnTo>
                      <a:pt x="28" y="9"/>
                    </a:lnTo>
                    <a:lnTo>
                      <a:pt x="28" y="11"/>
                    </a:lnTo>
                    <a:lnTo>
                      <a:pt x="28" y="13"/>
                    </a:lnTo>
                    <a:lnTo>
                      <a:pt x="28" y="13"/>
                    </a:lnTo>
                    <a:lnTo>
                      <a:pt x="28" y="13"/>
                    </a:lnTo>
                    <a:lnTo>
                      <a:pt x="28" y="17"/>
                    </a:lnTo>
                    <a:lnTo>
                      <a:pt x="26" y="19"/>
                    </a:lnTo>
                    <a:lnTo>
                      <a:pt x="26" y="24"/>
                    </a:lnTo>
                    <a:lnTo>
                      <a:pt x="24" y="32"/>
                    </a:lnTo>
                    <a:lnTo>
                      <a:pt x="24" y="36"/>
                    </a:lnTo>
                    <a:lnTo>
                      <a:pt x="26" y="38"/>
                    </a:lnTo>
                    <a:lnTo>
                      <a:pt x="28" y="38"/>
                    </a:lnTo>
                    <a:lnTo>
                      <a:pt x="30" y="41"/>
                    </a:lnTo>
                    <a:lnTo>
                      <a:pt x="30" y="43"/>
                    </a:lnTo>
                    <a:lnTo>
                      <a:pt x="21" y="57"/>
                    </a:lnTo>
                    <a:lnTo>
                      <a:pt x="15" y="62"/>
                    </a:lnTo>
                    <a:lnTo>
                      <a:pt x="13" y="66"/>
                    </a:lnTo>
                    <a:lnTo>
                      <a:pt x="6" y="79"/>
                    </a:lnTo>
                    <a:lnTo>
                      <a:pt x="4" y="81"/>
                    </a:lnTo>
                    <a:lnTo>
                      <a:pt x="4" y="87"/>
                    </a:lnTo>
                    <a:lnTo>
                      <a:pt x="4" y="92"/>
                    </a:lnTo>
                    <a:lnTo>
                      <a:pt x="0" y="100"/>
                    </a:lnTo>
                    <a:lnTo>
                      <a:pt x="2" y="104"/>
                    </a:lnTo>
                    <a:lnTo>
                      <a:pt x="0" y="105"/>
                    </a:lnTo>
                    <a:lnTo>
                      <a:pt x="2" y="105"/>
                    </a:lnTo>
                    <a:lnTo>
                      <a:pt x="4" y="104"/>
                    </a:lnTo>
                    <a:lnTo>
                      <a:pt x="6" y="102"/>
                    </a:lnTo>
                    <a:lnTo>
                      <a:pt x="9" y="104"/>
                    </a:lnTo>
                    <a:lnTo>
                      <a:pt x="11" y="104"/>
                    </a:lnTo>
                    <a:lnTo>
                      <a:pt x="15" y="104"/>
                    </a:lnTo>
                    <a:lnTo>
                      <a:pt x="15" y="104"/>
                    </a:lnTo>
                    <a:lnTo>
                      <a:pt x="15" y="100"/>
                    </a:lnTo>
                    <a:lnTo>
                      <a:pt x="19" y="100"/>
                    </a:lnTo>
                    <a:lnTo>
                      <a:pt x="21" y="100"/>
                    </a:lnTo>
                    <a:lnTo>
                      <a:pt x="21" y="100"/>
                    </a:lnTo>
                    <a:lnTo>
                      <a:pt x="21" y="100"/>
                    </a:lnTo>
                    <a:lnTo>
                      <a:pt x="24" y="100"/>
                    </a:lnTo>
                    <a:lnTo>
                      <a:pt x="40" y="100"/>
                    </a:lnTo>
                    <a:lnTo>
                      <a:pt x="40" y="100"/>
                    </a:lnTo>
                    <a:lnTo>
                      <a:pt x="55" y="100"/>
                    </a:lnTo>
                    <a:lnTo>
                      <a:pt x="79" y="96"/>
                    </a:lnTo>
                    <a:lnTo>
                      <a:pt x="85" y="79"/>
                    </a:lnTo>
                    <a:lnTo>
                      <a:pt x="85" y="79"/>
                    </a:lnTo>
                    <a:lnTo>
                      <a:pt x="85" y="7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5" name="Freeform 107"/>
              <p:cNvSpPr>
                <a:spLocks/>
              </p:cNvSpPr>
              <p:nvPr/>
            </p:nvSpPr>
            <p:spPr bwMode="auto">
              <a:xfrm>
                <a:off x="3048" y="2892"/>
                <a:ext cx="243" cy="164"/>
              </a:xfrm>
              <a:custGeom>
                <a:avLst/>
                <a:gdLst/>
                <a:ahLst/>
                <a:cxnLst>
                  <a:cxn ang="0">
                    <a:pos x="155" y="8"/>
                  </a:cxn>
                  <a:cxn ang="0">
                    <a:pos x="168" y="25"/>
                  </a:cxn>
                  <a:cxn ang="0">
                    <a:pos x="164" y="38"/>
                  </a:cxn>
                  <a:cxn ang="0">
                    <a:pos x="173" y="43"/>
                  </a:cxn>
                  <a:cxn ang="0">
                    <a:pos x="181" y="51"/>
                  </a:cxn>
                  <a:cxn ang="0">
                    <a:pos x="194" y="57"/>
                  </a:cxn>
                  <a:cxn ang="0">
                    <a:pos x="203" y="64"/>
                  </a:cxn>
                  <a:cxn ang="0">
                    <a:pos x="198" y="72"/>
                  </a:cxn>
                  <a:cxn ang="0">
                    <a:pos x="209" y="77"/>
                  </a:cxn>
                  <a:cxn ang="0">
                    <a:pos x="220" y="87"/>
                  </a:cxn>
                  <a:cxn ang="0">
                    <a:pos x="224" y="96"/>
                  </a:cxn>
                  <a:cxn ang="0">
                    <a:pos x="235" y="104"/>
                  </a:cxn>
                  <a:cxn ang="0">
                    <a:pos x="243" y="117"/>
                  </a:cxn>
                  <a:cxn ang="0">
                    <a:pos x="235" y="111"/>
                  </a:cxn>
                  <a:cxn ang="0">
                    <a:pos x="217" y="113"/>
                  </a:cxn>
                  <a:cxn ang="0">
                    <a:pos x="207" y="111"/>
                  </a:cxn>
                  <a:cxn ang="0">
                    <a:pos x="203" y="111"/>
                  </a:cxn>
                  <a:cxn ang="0">
                    <a:pos x="192" y="117"/>
                  </a:cxn>
                  <a:cxn ang="0">
                    <a:pos x="185" y="117"/>
                  </a:cxn>
                  <a:cxn ang="0">
                    <a:pos x="173" y="119"/>
                  </a:cxn>
                  <a:cxn ang="0">
                    <a:pos x="160" y="121"/>
                  </a:cxn>
                  <a:cxn ang="0">
                    <a:pos x="147" y="126"/>
                  </a:cxn>
                  <a:cxn ang="0">
                    <a:pos x="141" y="132"/>
                  </a:cxn>
                  <a:cxn ang="0">
                    <a:pos x="130" y="128"/>
                  </a:cxn>
                  <a:cxn ang="0">
                    <a:pos x="117" y="126"/>
                  </a:cxn>
                  <a:cxn ang="0">
                    <a:pos x="106" y="121"/>
                  </a:cxn>
                  <a:cxn ang="0">
                    <a:pos x="92" y="113"/>
                  </a:cxn>
                  <a:cxn ang="0">
                    <a:pos x="85" y="117"/>
                  </a:cxn>
                  <a:cxn ang="0">
                    <a:pos x="81" y="126"/>
                  </a:cxn>
                  <a:cxn ang="0">
                    <a:pos x="79" y="134"/>
                  </a:cxn>
                  <a:cxn ang="0">
                    <a:pos x="75" y="141"/>
                  </a:cxn>
                  <a:cxn ang="0">
                    <a:pos x="66" y="138"/>
                  </a:cxn>
                  <a:cxn ang="0">
                    <a:pos x="51" y="141"/>
                  </a:cxn>
                  <a:cxn ang="0">
                    <a:pos x="32" y="164"/>
                  </a:cxn>
                  <a:cxn ang="0">
                    <a:pos x="30" y="155"/>
                  </a:cxn>
                  <a:cxn ang="0">
                    <a:pos x="15" y="138"/>
                  </a:cxn>
                  <a:cxn ang="0">
                    <a:pos x="4" y="124"/>
                  </a:cxn>
                  <a:cxn ang="0">
                    <a:pos x="2" y="104"/>
                  </a:cxn>
                  <a:cxn ang="0">
                    <a:pos x="4" y="92"/>
                  </a:cxn>
                  <a:cxn ang="0">
                    <a:pos x="15" y="72"/>
                  </a:cxn>
                  <a:cxn ang="0">
                    <a:pos x="23" y="68"/>
                  </a:cxn>
                  <a:cxn ang="0">
                    <a:pos x="34" y="68"/>
                  </a:cxn>
                  <a:cxn ang="0">
                    <a:pos x="42" y="62"/>
                  </a:cxn>
                  <a:cxn ang="0">
                    <a:pos x="51" y="64"/>
                  </a:cxn>
                  <a:cxn ang="0">
                    <a:pos x="79" y="55"/>
                  </a:cxn>
                  <a:cxn ang="0">
                    <a:pos x="85" y="47"/>
                  </a:cxn>
                  <a:cxn ang="0">
                    <a:pos x="87" y="38"/>
                  </a:cxn>
                  <a:cxn ang="0">
                    <a:pos x="104" y="38"/>
                  </a:cxn>
                  <a:cxn ang="0">
                    <a:pos x="117" y="32"/>
                  </a:cxn>
                  <a:cxn ang="0">
                    <a:pos x="121" y="21"/>
                  </a:cxn>
                  <a:cxn ang="0">
                    <a:pos x="130" y="13"/>
                  </a:cxn>
                  <a:cxn ang="0">
                    <a:pos x="138" y="4"/>
                  </a:cxn>
                  <a:cxn ang="0">
                    <a:pos x="151" y="2"/>
                  </a:cxn>
                </a:cxnLst>
                <a:rect l="0" t="0" r="r" b="b"/>
                <a:pathLst>
                  <a:path w="243" h="164">
                    <a:moveTo>
                      <a:pt x="155" y="0"/>
                    </a:moveTo>
                    <a:lnTo>
                      <a:pt x="155" y="2"/>
                    </a:lnTo>
                    <a:lnTo>
                      <a:pt x="155" y="4"/>
                    </a:lnTo>
                    <a:lnTo>
                      <a:pt x="155" y="8"/>
                    </a:lnTo>
                    <a:lnTo>
                      <a:pt x="160" y="8"/>
                    </a:lnTo>
                    <a:lnTo>
                      <a:pt x="160" y="10"/>
                    </a:lnTo>
                    <a:lnTo>
                      <a:pt x="164" y="17"/>
                    </a:lnTo>
                    <a:lnTo>
                      <a:pt x="168" y="25"/>
                    </a:lnTo>
                    <a:lnTo>
                      <a:pt x="168" y="28"/>
                    </a:lnTo>
                    <a:lnTo>
                      <a:pt x="168" y="32"/>
                    </a:lnTo>
                    <a:lnTo>
                      <a:pt x="166" y="34"/>
                    </a:lnTo>
                    <a:lnTo>
                      <a:pt x="164" y="38"/>
                    </a:lnTo>
                    <a:lnTo>
                      <a:pt x="166" y="43"/>
                    </a:lnTo>
                    <a:lnTo>
                      <a:pt x="168" y="43"/>
                    </a:lnTo>
                    <a:lnTo>
                      <a:pt x="173" y="47"/>
                    </a:lnTo>
                    <a:lnTo>
                      <a:pt x="173" y="43"/>
                    </a:lnTo>
                    <a:lnTo>
                      <a:pt x="181" y="43"/>
                    </a:lnTo>
                    <a:lnTo>
                      <a:pt x="181" y="43"/>
                    </a:lnTo>
                    <a:lnTo>
                      <a:pt x="181" y="47"/>
                    </a:lnTo>
                    <a:lnTo>
                      <a:pt x="181" y="51"/>
                    </a:lnTo>
                    <a:lnTo>
                      <a:pt x="185" y="53"/>
                    </a:lnTo>
                    <a:lnTo>
                      <a:pt x="187" y="55"/>
                    </a:lnTo>
                    <a:lnTo>
                      <a:pt x="190" y="55"/>
                    </a:lnTo>
                    <a:lnTo>
                      <a:pt x="194" y="57"/>
                    </a:lnTo>
                    <a:lnTo>
                      <a:pt x="194" y="60"/>
                    </a:lnTo>
                    <a:lnTo>
                      <a:pt x="198" y="62"/>
                    </a:lnTo>
                    <a:lnTo>
                      <a:pt x="202" y="62"/>
                    </a:lnTo>
                    <a:lnTo>
                      <a:pt x="203" y="64"/>
                    </a:lnTo>
                    <a:lnTo>
                      <a:pt x="203" y="66"/>
                    </a:lnTo>
                    <a:lnTo>
                      <a:pt x="200" y="68"/>
                    </a:lnTo>
                    <a:lnTo>
                      <a:pt x="200" y="68"/>
                    </a:lnTo>
                    <a:lnTo>
                      <a:pt x="198" y="72"/>
                    </a:lnTo>
                    <a:lnTo>
                      <a:pt x="202" y="74"/>
                    </a:lnTo>
                    <a:lnTo>
                      <a:pt x="205" y="77"/>
                    </a:lnTo>
                    <a:lnTo>
                      <a:pt x="207" y="74"/>
                    </a:lnTo>
                    <a:lnTo>
                      <a:pt x="209" y="77"/>
                    </a:lnTo>
                    <a:lnTo>
                      <a:pt x="211" y="77"/>
                    </a:lnTo>
                    <a:lnTo>
                      <a:pt x="217" y="79"/>
                    </a:lnTo>
                    <a:lnTo>
                      <a:pt x="217" y="81"/>
                    </a:lnTo>
                    <a:lnTo>
                      <a:pt x="220" y="87"/>
                    </a:lnTo>
                    <a:lnTo>
                      <a:pt x="220" y="89"/>
                    </a:lnTo>
                    <a:lnTo>
                      <a:pt x="224" y="91"/>
                    </a:lnTo>
                    <a:lnTo>
                      <a:pt x="224" y="92"/>
                    </a:lnTo>
                    <a:lnTo>
                      <a:pt x="224" y="96"/>
                    </a:lnTo>
                    <a:lnTo>
                      <a:pt x="226" y="98"/>
                    </a:lnTo>
                    <a:lnTo>
                      <a:pt x="234" y="100"/>
                    </a:lnTo>
                    <a:lnTo>
                      <a:pt x="235" y="102"/>
                    </a:lnTo>
                    <a:lnTo>
                      <a:pt x="235" y="104"/>
                    </a:lnTo>
                    <a:lnTo>
                      <a:pt x="235" y="108"/>
                    </a:lnTo>
                    <a:lnTo>
                      <a:pt x="239" y="111"/>
                    </a:lnTo>
                    <a:lnTo>
                      <a:pt x="241" y="111"/>
                    </a:lnTo>
                    <a:lnTo>
                      <a:pt x="243" y="117"/>
                    </a:lnTo>
                    <a:lnTo>
                      <a:pt x="243" y="117"/>
                    </a:lnTo>
                    <a:lnTo>
                      <a:pt x="243" y="117"/>
                    </a:lnTo>
                    <a:lnTo>
                      <a:pt x="239" y="113"/>
                    </a:lnTo>
                    <a:lnTo>
                      <a:pt x="235" y="111"/>
                    </a:lnTo>
                    <a:lnTo>
                      <a:pt x="228" y="117"/>
                    </a:lnTo>
                    <a:lnTo>
                      <a:pt x="228" y="117"/>
                    </a:lnTo>
                    <a:lnTo>
                      <a:pt x="220" y="117"/>
                    </a:lnTo>
                    <a:lnTo>
                      <a:pt x="217" y="113"/>
                    </a:lnTo>
                    <a:lnTo>
                      <a:pt x="215" y="111"/>
                    </a:lnTo>
                    <a:lnTo>
                      <a:pt x="215" y="111"/>
                    </a:lnTo>
                    <a:lnTo>
                      <a:pt x="211" y="111"/>
                    </a:lnTo>
                    <a:lnTo>
                      <a:pt x="207" y="111"/>
                    </a:lnTo>
                    <a:lnTo>
                      <a:pt x="205" y="111"/>
                    </a:lnTo>
                    <a:lnTo>
                      <a:pt x="203" y="111"/>
                    </a:lnTo>
                    <a:lnTo>
                      <a:pt x="203" y="111"/>
                    </a:lnTo>
                    <a:lnTo>
                      <a:pt x="203" y="111"/>
                    </a:lnTo>
                    <a:lnTo>
                      <a:pt x="202" y="117"/>
                    </a:lnTo>
                    <a:lnTo>
                      <a:pt x="200" y="117"/>
                    </a:lnTo>
                    <a:lnTo>
                      <a:pt x="196" y="117"/>
                    </a:lnTo>
                    <a:lnTo>
                      <a:pt x="192" y="117"/>
                    </a:lnTo>
                    <a:lnTo>
                      <a:pt x="190" y="119"/>
                    </a:lnTo>
                    <a:lnTo>
                      <a:pt x="187" y="119"/>
                    </a:lnTo>
                    <a:lnTo>
                      <a:pt x="187" y="117"/>
                    </a:lnTo>
                    <a:lnTo>
                      <a:pt x="185" y="117"/>
                    </a:lnTo>
                    <a:lnTo>
                      <a:pt x="185" y="113"/>
                    </a:lnTo>
                    <a:lnTo>
                      <a:pt x="185" y="113"/>
                    </a:lnTo>
                    <a:lnTo>
                      <a:pt x="175" y="117"/>
                    </a:lnTo>
                    <a:lnTo>
                      <a:pt x="173" y="119"/>
                    </a:lnTo>
                    <a:lnTo>
                      <a:pt x="171" y="121"/>
                    </a:lnTo>
                    <a:lnTo>
                      <a:pt x="162" y="121"/>
                    </a:lnTo>
                    <a:lnTo>
                      <a:pt x="160" y="123"/>
                    </a:lnTo>
                    <a:lnTo>
                      <a:pt x="160" y="121"/>
                    </a:lnTo>
                    <a:lnTo>
                      <a:pt x="155" y="119"/>
                    </a:lnTo>
                    <a:lnTo>
                      <a:pt x="151" y="119"/>
                    </a:lnTo>
                    <a:lnTo>
                      <a:pt x="149" y="123"/>
                    </a:lnTo>
                    <a:lnTo>
                      <a:pt x="147" y="126"/>
                    </a:lnTo>
                    <a:lnTo>
                      <a:pt x="147" y="128"/>
                    </a:lnTo>
                    <a:lnTo>
                      <a:pt x="149" y="130"/>
                    </a:lnTo>
                    <a:lnTo>
                      <a:pt x="147" y="132"/>
                    </a:lnTo>
                    <a:lnTo>
                      <a:pt x="141" y="132"/>
                    </a:lnTo>
                    <a:lnTo>
                      <a:pt x="141" y="132"/>
                    </a:lnTo>
                    <a:lnTo>
                      <a:pt x="138" y="130"/>
                    </a:lnTo>
                    <a:lnTo>
                      <a:pt x="134" y="128"/>
                    </a:lnTo>
                    <a:lnTo>
                      <a:pt x="130" y="128"/>
                    </a:lnTo>
                    <a:lnTo>
                      <a:pt x="128" y="130"/>
                    </a:lnTo>
                    <a:lnTo>
                      <a:pt x="124" y="130"/>
                    </a:lnTo>
                    <a:lnTo>
                      <a:pt x="121" y="130"/>
                    </a:lnTo>
                    <a:lnTo>
                      <a:pt x="117" y="126"/>
                    </a:lnTo>
                    <a:lnTo>
                      <a:pt x="111" y="128"/>
                    </a:lnTo>
                    <a:lnTo>
                      <a:pt x="111" y="126"/>
                    </a:lnTo>
                    <a:lnTo>
                      <a:pt x="107" y="123"/>
                    </a:lnTo>
                    <a:lnTo>
                      <a:pt x="106" y="121"/>
                    </a:lnTo>
                    <a:lnTo>
                      <a:pt x="98" y="117"/>
                    </a:lnTo>
                    <a:lnTo>
                      <a:pt x="96" y="117"/>
                    </a:lnTo>
                    <a:lnTo>
                      <a:pt x="94" y="113"/>
                    </a:lnTo>
                    <a:lnTo>
                      <a:pt x="92" y="113"/>
                    </a:lnTo>
                    <a:lnTo>
                      <a:pt x="91" y="117"/>
                    </a:lnTo>
                    <a:lnTo>
                      <a:pt x="91" y="117"/>
                    </a:lnTo>
                    <a:lnTo>
                      <a:pt x="87" y="117"/>
                    </a:lnTo>
                    <a:lnTo>
                      <a:pt x="85" y="117"/>
                    </a:lnTo>
                    <a:lnTo>
                      <a:pt x="81" y="119"/>
                    </a:lnTo>
                    <a:lnTo>
                      <a:pt x="81" y="121"/>
                    </a:lnTo>
                    <a:lnTo>
                      <a:pt x="81" y="124"/>
                    </a:lnTo>
                    <a:lnTo>
                      <a:pt x="81" y="126"/>
                    </a:lnTo>
                    <a:lnTo>
                      <a:pt x="79" y="128"/>
                    </a:lnTo>
                    <a:lnTo>
                      <a:pt x="77" y="128"/>
                    </a:lnTo>
                    <a:lnTo>
                      <a:pt x="77" y="130"/>
                    </a:lnTo>
                    <a:lnTo>
                      <a:pt x="79" y="134"/>
                    </a:lnTo>
                    <a:lnTo>
                      <a:pt x="77" y="136"/>
                    </a:lnTo>
                    <a:lnTo>
                      <a:pt x="77" y="138"/>
                    </a:lnTo>
                    <a:lnTo>
                      <a:pt x="77" y="141"/>
                    </a:lnTo>
                    <a:lnTo>
                      <a:pt x="75" y="141"/>
                    </a:lnTo>
                    <a:lnTo>
                      <a:pt x="74" y="141"/>
                    </a:lnTo>
                    <a:lnTo>
                      <a:pt x="70" y="141"/>
                    </a:lnTo>
                    <a:lnTo>
                      <a:pt x="68" y="138"/>
                    </a:lnTo>
                    <a:lnTo>
                      <a:pt x="66" y="138"/>
                    </a:lnTo>
                    <a:lnTo>
                      <a:pt x="62" y="138"/>
                    </a:lnTo>
                    <a:lnTo>
                      <a:pt x="60" y="141"/>
                    </a:lnTo>
                    <a:lnTo>
                      <a:pt x="57" y="138"/>
                    </a:lnTo>
                    <a:lnTo>
                      <a:pt x="51" y="141"/>
                    </a:lnTo>
                    <a:lnTo>
                      <a:pt x="47" y="143"/>
                    </a:lnTo>
                    <a:lnTo>
                      <a:pt x="45" y="147"/>
                    </a:lnTo>
                    <a:lnTo>
                      <a:pt x="40" y="149"/>
                    </a:lnTo>
                    <a:lnTo>
                      <a:pt x="32" y="164"/>
                    </a:lnTo>
                    <a:lnTo>
                      <a:pt x="30" y="164"/>
                    </a:lnTo>
                    <a:lnTo>
                      <a:pt x="30" y="162"/>
                    </a:lnTo>
                    <a:lnTo>
                      <a:pt x="30" y="160"/>
                    </a:lnTo>
                    <a:lnTo>
                      <a:pt x="30" y="155"/>
                    </a:lnTo>
                    <a:lnTo>
                      <a:pt x="23" y="151"/>
                    </a:lnTo>
                    <a:lnTo>
                      <a:pt x="21" y="149"/>
                    </a:lnTo>
                    <a:lnTo>
                      <a:pt x="21" y="143"/>
                    </a:lnTo>
                    <a:lnTo>
                      <a:pt x="15" y="138"/>
                    </a:lnTo>
                    <a:lnTo>
                      <a:pt x="11" y="134"/>
                    </a:lnTo>
                    <a:lnTo>
                      <a:pt x="11" y="128"/>
                    </a:lnTo>
                    <a:lnTo>
                      <a:pt x="6" y="126"/>
                    </a:lnTo>
                    <a:lnTo>
                      <a:pt x="4" y="124"/>
                    </a:lnTo>
                    <a:lnTo>
                      <a:pt x="4" y="117"/>
                    </a:lnTo>
                    <a:lnTo>
                      <a:pt x="2" y="113"/>
                    </a:lnTo>
                    <a:lnTo>
                      <a:pt x="2" y="108"/>
                    </a:lnTo>
                    <a:lnTo>
                      <a:pt x="2" y="104"/>
                    </a:lnTo>
                    <a:lnTo>
                      <a:pt x="0" y="100"/>
                    </a:lnTo>
                    <a:lnTo>
                      <a:pt x="0" y="94"/>
                    </a:lnTo>
                    <a:lnTo>
                      <a:pt x="2" y="92"/>
                    </a:lnTo>
                    <a:lnTo>
                      <a:pt x="4" y="92"/>
                    </a:lnTo>
                    <a:lnTo>
                      <a:pt x="8" y="87"/>
                    </a:lnTo>
                    <a:lnTo>
                      <a:pt x="10" y="81"/>
                    </a:lnTo>
                    <a:lnTo>
                      <a:pt x="11" y="77"/>
                    </a:lnTo>
                    <a:lnTo>
                      <a:pt x="15" y="72"/>
                    </a:lnTo>
                    <a:lnTo>
                      <a:pt x="17" y="72"/>
                    </a:lnTo>
                    <a:lnTo>
                      <a:pt x="21" y="66"/>
                    </a:lnTo>
                    <a:lnTo>
                      <a:pt x="21" y="64"/>
                    </a:lnTo>
                    <a:lnTo>
                      <a:pt x="23" y="68"/>
                    </a:lnTo>
                    <a:lnTo>
                      <a:pt x="23" y="72"/>
                    </a:lnTo>
                    <a:lnTo>
                      <a:pt x="27" y="72"/>
                    </a:lnTo>
                    <a:lnTo>
                      <a:pt x="30" y="68"/>
                    </a:lnTo>
                    <a:lnTo>
                      <a:pt x="34" y="68"/>
                    </a:lnTo>
                    <a:lnTo>
                      <a:pt x="38" y="66"/>
                    </a:lnTo>
                    <a:lnTo>
                      <a:pt x="38" y="62"/>
                    </a:lnTo>
                    <a:lnTo>
                      <a:pt x="40" y="60"/>
                    </a:lnTo>
                    <a:lnTo>
                      <a:pt x="42" y="62"/>
                    </a:lnTo>
                    <a:lnTo>
                      <a:pt x="43" y="66"/>
                    </a:lnTo>
                    <a:lnTo>
                      <a:pt x="45" y="68"/>
                    </a:lnTo>
                    <a:lnTo>
                      <a:pt x="47" y="68"/>
                    </a:lnTo>
                    <a:lnTo>
                      <a:pt x="51" y="64"/>
                    </a:lnTo>
                    <a:lnTo>
                      <a:pt x="57" y="60"/>
                    </a:lnTo>
                    <a:lnTo>
                      <a:pt x="62" y="59"/>
                    </a:lnTo>
                    <a:lnTo>
                      <a:pt x="74" y="55"/>
                    </a:lnTo>
                    <a:lnTo>
                      <a:pt x="79" y="55"/>
                    </a:lnTo>
                    <a:lnTo>
                      <a:pt x="81" y="53"/>
                    </a:lnTo>
                    <a:lnTo>
                      <a:pt x="87" y="49"/>
                    </a:lnTo>
                    <a:lnTo>
                      <a:pt x="87" y="47"/>
                    </a:lnTo>
                    <a:lnTo>
                      <a:pt x="85" y="47"/>
                    </a:lnTo>
                    <a:lnTo>
                      <a:pt x="81" y="43"/>
                    </a:lnTo>
                    <a:lnTo>
                      <a:pt x="81" y="38"/>
                    </a:lnTo>
                    <a:lnTo>
                      <a:pt x="85" y="38"/>
                    </a:lnTo>
                    <a:lnTo>
                      <a:pt x="87" y="38"/>
                    </a:lnTo>
                    <a:lnTo>
                      <a:pt x="91" y="38"/>
                    </a:lnTo>
                    <a:lnTo>
                      <a:pt x="92" y="38"/>
                    </a:lnTo>
                    <a:lnTo>
                      <a:pt x="98" y="42"/>
                    </a:lnTo>
                    <a:lnTo>
                      <a:pt x="104" y="38"/>
                    </a:lnTo>
                    <a:lnTo>
                      <a:pt x="111" y="38"/>
                    </a:lnTo>
                    <a:lnTo>
                      <a:pt x="115" y="34"/>
                    </a:lnTo>
                    <a:lnTo>
                      <a:pt x="117" y="34"/>
                    </a:lnTo>
                    <a:lnTo>
                      <a:pt x="117" y="32"/>
                    </a:lnTo>
                    <a:lnTo>
                      <a:pt x="117" y="28"/>
                    </a:lnTo>
                    <a:lnTo>
                      <a:pt x="117" y="25"/>
                    </a:lnTo>
                    <a:lnTo>
                      <a:pt x="121" y="23"/>
                    </a:lnTo>
                    <a:lnTo>
                      <a:pt x="121" y="21"/>
                    </a:lnTo>
                    <a:lnTo>
                      <a:pt x="123" y="17"/>
                    </a:lnTo>
                    <a:lnTo>
                      <a:pt x="124" y="19"/>
                    </a:lnTo>
                    <a:lnTo>
                      <a:pt x="126" y="19"/>
                    </a:lnTo>
                    <a:lnTo>
                      <a:pt x="130" y="13"/>
                    </a:lnTo>
                    <a:lnTo>
                      <a:pt x="132" y="13"/>
                    </a:lnTo>
                    <a:lnTo>
                      <a:pt x="132" y="10"/>
                    </a:lnTo>
                    <a:lnTo>
                      <a:pt x="132" y="8"/>
                    </a:lnTo>
                    <a:lnTo>
                      <a:pt x="138" y="4"/>
                    </a:lnTo>
                    <a:lnTo>
                      <a:pt x="141" y="2"/>
                    </a:lnTo>
                    <a:lnTo>
                      <a:pt x="145" y="2"/>
                    </a:lnTo>
                    <a:lnTo>
                      <a:pt x="149" y="4"/>
                    </a:lnTo>
                    <a:lnTo>
                      <a:pt x="151" y="2"/>
                    </a:lnTo>
                    <a:lnTo>
                      <a:pt x="155" y="0"/>
                    </a:lnTo>
                    <a:lnTo>
                      <a:pt x="155" y="0"/>
                    </a:lnTo>
                    <a:lnTo>
                      <a:pt x="155"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6" name="Freeform 108"/>
              <p:cNvSpPr>
                <a:spLocks/>
              </p:cNvSpPr>
              <p:nvPr/>
            </p:nvSpPr>
            <p:spPr bwMode="auto">
              <a:xfrm>
                <a:off x="2948" y="2463"/>
                <a:ext cx="285" cy="265"/>
              </a:xfrm>
              <a:custGeom>
                <a:avLst/>
                <a:gdLst/>
                <a:ahLst/>
                <a:cxnLst>
                  <a:cxn ang="0">
                    <a:pos x="285" y="258"/>
                  </a:cxn>
                  <a:cxn ang="0">
                    <a:pos x="271" y="62"/>
                  </a:cxn>
                  <a:cxn ang="0">
                    <a:pos x="277" y="47"/>
                  </a:cxn>
                  <a:cxn ang="0">
                    <a:pos x="277" y="30"/>
                  </a:cxn>
                  <a:cxn ang="0">
                    <a:pos x="271" y="20"/>
                  </a:cxn>
                  <a:cxn ang="0">
                    <a:pos x="253" y="19"/>
                  </a:cxn>
                  <a:cxn ang="0">
                    <a:pos x="239" y="13"/>
                  </a:cxn>
                  <a:cxn ang="0">
                    <a:pos x="234" y="5"/>
                  </a:cxn>
                  <a:cxn ang="0">
                    <a:pos x="223" y="3"/>
                  </a:cxn>
                  <a:cxn ang="0">
                    <a:pos x="213" y="3"/>
                  </a:cxn>
                  <a:cxn ang="0">
                    <a:pos x="192" y="11"/>
                  </a:cxn>
                  <a:cxn ang="0">
                    <a:pos x="183" y="20"/>
                  </a:cxn>
                  <a:cxn ang="0">
                    <a:pos x="189" y="43"/>
                  </a:cxn>
                  <a:cxn ang="0">
                    <a:pos x="181" y="54"/>
                  </a:cxn>
                  <a:cxn ang="0">
                    <a:pos x="164" y="58"/>
                  </a:cxn>
                  <a:cxn ang="0">
                    <a:pos x="143" y="43"/>
                  </a:cxn>
                  <a:cxn ang="0">
                    <a:pos x="121" y="39"/>
                  </a:cxn>
                  <a:cxn ang="0">
                    <a:pos x="102" y="24"/>
                  </a:cxn>
                  <a:cxn ang="0">
                    <a:pos x="85" y="11"/>
                  </a:cxn>
                  <a:cxn ang="0">
                    <a:pos x="64" y="3"/>
                  </a:cxn>
                  <a:cxn ang="0">
                    <a:pos x="40" y="3"/>
                  </a:cxn>
                  <a:cxn ang="0">
                    <a:pos x="36" y="9"/>
                  </a:cxn>
                  <a:cxn ang="0">
                    <a:pos x="21" y="22"/>
                  </a:cxn>
                  <a:cxn ang="0">
                    <a:pos x="15" y="30"/>
                  </a:cxn>
                  <a:cxn ang="0">
                    <a:pos x="12" y="37"/>
                  </a:cxn>
                  <a:cxn ang="0">
                    <a:pos x="12" y="49"/>
                  </a:cxn>
                  <a:cxn ang="0">
                    <a:pos x="8" y="54"/>
                  </a:cxn>
                  <a:cxn ang="0">
                    <a:pos x="2" y="56"/>
                  </a:cxn>
                  <a:cxn ang="0">
                    <a:pos x="0" y="64"/>
                  </a:cxn>
                  <a:cxn ang="0">
                    <a:pos x="6" y="83"/>
                  </a:cxn>
                  <a:cxn ang="0">
                    <a:pos x="6" y="101"/>
                  </a:cxn>
                  <a:cxn ang="0">
                    <a:pos x="6" y="116"/>
                  </a:cxn>
                  <a:cxn ang="0">
                    <a:pos x="6" y="130"/>
                  </a:cxn>
                  <a:cxn ang="0">
                    <a:pos x="0" y="137"/>
                  </a:cxn>
                  <a:cxn ang="0">
                    <a:pos x="12" y="152"/>
                  </a:cxn>
                  <a:cxn ang="0">
                    <a:pos x="12" y="162"/>
                  </a:cxn>
                  <a:cxn ang="0">
                    <a:pos x="15" y="171"/>
                  </a:cxn>
                  <a:cxn ang="0">
                    <a:pos x="32" y="175"/>
                  </a:cxn>
                  <a:cxn ang="0">
                    <a:pos x="40" y="188"/>
                  </a:cxn>
                  <a:cxn ang="0">
                    <a:pos x="47" y="196"/>
                  </a:cxn>
                  <a:cxn ang="0">
                    <a:pos x="119" y="190"/>
                  </a:cxn>
                  <a:cxn ang="0">
                    <a:pos x="268" y="265"/>
                  </a:cxn>
                </a:cxnLst>
                <a:rect l="0" t="0" r="r" b="b"/>
                <a:pathLst>
                  <a:path w="285" h="265">
                    <a:moveTo>
                      <a:pt x="268" y="265"/>
                    </a:moveTo>
                    <a:lnTo>
                      <a:pt x="268" y="258"/>
                    </a:lnTo>
                    <a:lnTo>
                      <a:pt x="285" y="258"/>
                    </a:lnTo>
                    <a:lnTo>
                      <a:pt x="277" y="77"/>
                    </a:lnTo>
                    <a:lnTo>
                      <a:pt x="275" y="67"/>
                    </a:lnTo>
                    <a:lnTo>
                      <a:pt x="271" y="62"/>
                    </a:lnTo>
                    <a:lnTo>
                      <a:pt x="275" y="56"/>
                    </a:lnTo>
                    <a:lnTo>
                      <a:pt x="277" y="49"/>
                    </a:lnTo>
                    <a:lnTo>
                      <a:pt x="277" y="47"/>
                    </a:lnTo>
                    <a:lnTo>
                      <a:pt x="275" y="39"/>
                    </a:lnTo>
                    <a:lnTo>
                      <a:pt x="277" y="32"/>
                    </a:lnTo>
                    <a:lnTo>
                      <a:pt x="277" y="30"/>
                    </a:lnTo>
                    <a:lnTo>
                      <a:pt x="275" y="24"/>
                    </a:lnTo>
                    <a:lnTo>
                      <a:pt x="275" y="20"/>
                    </a:lnTo>
                    <a:lnTo>
                      <a:pt x="271" y="20"/>
                    </a:lnTo>
                    <a:lnTo>
                      <a:pt x="268" y="20"/>
                    </a:lnTo>
                    <a:lnTo>
                      <a:pt x="255" y="19"/>
                    </a:lnTo>
                    <a:lnTo>
                      <a:pt x="253" y="19"/>
                    </a:lnTo>
                    <a:lnTo>
                      <a:pt x="247" y="19"/>
                    </a:lnTo>
                    <a:lnTo>
                      <a:pt x="241" y="15"/>
                    </a:lnTo>
                    <a:lnTo>
                      <a:pt x="239" y="13"/>
                    </a:lnTo>
                    <a:lnTo>
                      <a:pt x="241" y="13"/>
                    </a:lnTo>
                    <a:lnTo>
                      <a:pt x="241" y="11"/>
                    </a:lnTo>
                    <a:lnTo>
                      <a:pt x="234" y="5"/>
                    </a:lnTo>
                    <a:lnTo>
                      <a:pt x="228" y="5"/>
                    </a:lnTo>
                    <a:lnTo>
                      <a:pt x="223" y="3"/>
                    </a:lnTo>
                    <a:lnTo>
                      <a:pt x="223" y="3"/>
                    </a:lnTo>
                    <a:lnTo>
                      <a:pt x="219" y="5"/>
                    </a:lnTo>
                    <a:lnTo>
                      <a:pt x="217" y="3"/>
                    </a:lnTo>
                    <a:lnTo>
                      <a:pt x="213" y="3"/>
                    </a:lnTo>
                    <a:lnTo>
                      <a:pt x="209" y="5"/>
                    </a:lnTo>
                    <a:lnTo>
                      <a:pt x="198" y="7"/>
                    </a:lnTo>
                    <a:lnTo>
                      <a:pt x="192" y="11"/>
                    </a:lnTo>
                    <a:lnTo>
                      <a:pt x="187" y="15"/>
                    </a:lnTo>
                    <a:lnTo>
                      <a:pt x="187" y="19"/>
                    </a:lnTo>
                    <a:lnTo>
                      <a:pt x="183" y="20"/>
                    </a:lnTo>
                    <a:lnTo>
                      <a:pt x="183" y="32"/>
                    </a:lnTo>
                    <a:lnTo>
                      <a:pt x="187" y="37"/>
                    </a:lnTo>
                    <a:lnTo>
                      <a:pt x="189" y="43"/>
                    </a:lnTo>
                    <a:lnTo>
                      <a:pt x="187" y="49"/>
                    </a:lnTo>
                    <a:lnTo>
                      <a:pt x="183" y="52"/>
                    </a:lnTo>
                    <a:lnTo>
                      <a:pt x="181" y="54"/>
                    </a:lnTo>
                    <a:lnTo>
                      <a:pt x="177" y="60"/>
                    </a:lnTo>
                    <a:lnTo>
                      <a:pt x="172" y="62"/>
                    </a:lnTo>
                    <a:lnTo>
                      <a:pt x="164" y="58"/>
                    </a:lnTo>
                    <a:lnTo>
                      <a:pt x="157" y="52"/>
                    </a:lnTo>
                    <a:lnTo>
                      <a:pt x="151" y="49"/>
                    </a:lnTo>
                    <a:lnTo>
                      <a:pt x="143" y="43"/>
                    </a:lnTo>
                    <a:lnTo>
                      <a:pt x="128" y="37"/>
                    </a:lnTo>
                    <a:lnTo>
                      <a:pt x="123" y="37"/>
                    </a:lnTo>
                    <a:lnTo>
                      <a:pt x="121" y="39"/>
                    </a:lnTo>
                    <a:lnTo>
                      <a:pt x="115" y="39"/>
                    </a:lnTo>
                    <a:lnTo>
                      <a:pt x="108" y="35"/>
                    </a:lnTo>
                    <a:lnTo>
                      <a:pt x="102" y="24"/>
                    </a:lnTo>
                    <a:lnTo>
                      <a:pt x="102" y="19"/>
                    </a:lnTo>
                    <a:lnTo>
                      <a:pt x="96" y="13"/>
                    </a:lnTo>
                    <a:lnTo>
                      <a:pt x="85" y="11"/>
                    </a:lnTo>
                    <a:lnTo>
                      <a:pt x="79" y="7"/>
                    </a:lnTo>
                    <a:lnTo>
                      <a:pt x="68" y="7"/>
                    </a:lnTo>
                    <a:lnTo>
                      <a:pt x="64" y="3"/>
                    </a:lnTo>
                    <a:lnTo>
                      <a:pt x="51" y="7"/>
                    </a:lnTo>
                    <a:lnTo>
                      <a:pt x="42" y="5"/>
                    </a:lnTo>
                    <a:lnTo>
                      <a:pt x="40" y="3"/>
                    </a:lnTo>
                    <a:lnTo>
                      <a:pt x="32" y="0"/>
                    </a:lnTo>
                    <a:lnTo>
                      <a:pt x="32" y="3"/>
                    </a:lnTo>
                    <a:lnTo>
                      <a:pt x="36" y="9"/>
                    </a:lnTo>
                    <a:lnTo>
                      <a:pt x="36" y="11"/>
                    </a:lnTo>
                    <a:lnTo>
                      <a:pt x="32" y="15"/>
                    </a:lnTo>
                    <a:lnTo>
                      <a:pt x="21" y="22"/>
                    </a:lnTo>
                    <a:lnTo>
                      <a:pt x="21" y="28"/>
                    </a:lnTo>
                    <a:lnTo>
                      <a:pt x="17" y="30"/>
                    </a:lnTo>
                    <a:lnTo>
                      <a:pt x="15" y="30"/>
                    </a:lnTo>
                    <a:lnTo>
                      <a:pt x="12" y="32"/>
                    </a:lnTo>
                    <a:lnTo>
                      <a:pt x="12" y="34"/>
                    </a:lnTo>
                    <a:lnTo>
                      <a:pt x="12" y="37"/>
                    </a:lnTo>
                    <a:lnTo>
                      <a:pt x="12" y="43"/>
                    </a:lnTo>
                    <a:lnTo>
                      <a:pt x="12" y="47"/>
                    </a:lnTo>
                    <a:lnTo>
                      <a:pt x="12" y="49"/>
                    </a:lnTo>
                    <a:lnTo>
                      <a:pt x="12" y="49"/>
                    </a:lnTo>
                    <a:lnTo>
                      <a:pt x="12" y="52"/>
                    </a:lnTo>
                    <a:lnTo>
                      <a:pt x="8" y="54"/>
                    </a:lnTo>
                    <a:lnTo>
                      <a:pt x="6" y="56"/>
                    </a:lnTo>
                    <a:lnTo>
                      <a:pt x="2" y="56"/>
                    </a:lnTo>
                    <a:lnTo>
                      <a:pt x="2" y="56"/>
                    </a:lnTo>
                    <a:lnTo>
                      <a:pt x="2" y="56"/>
                    </a:lnTo>
                    <a:lnTo>
                      <a:pt x="0" y="58"/>
                    </a:lnTo>
                    <a:lnTo>
                      <a:pt x="0" y="64"/>
                    </a:lnTo>
                    <a:lnTo>
                      <a:pt x="2" y="64"/>
                    </a:lnTo>
                    <a:lnTo>
                      <a:pt x="6" y="71"/>
                    </a:lnTo>
                    <a:lnTo>
                      <a:pt x="6" y="83"/>
                    </a:lnTo>
                    <a:lnTo>
                      <a:pt x="6" y="88"/>
                    </a:lnTo>
                    <a:lnTo>
                      <a:pt x="6" y="92"/>
                    </a:lnTo>
                    <a:lnTo>
                      <a:pt x="6" y="101"/>
                    </a:lnTo>
                    <a:lnTo>
                      <a:pt x="8" y="105"/>
                    </a:lnTo>
                    <a:lnTo>
                      <a:pt x="6" y="116"/>
                    </a:lnTo>
                    <a:lnTo>
                      <a:pt x="6" y="116"/>
                    </a:lnTo>
                    <a:lnTo>
                      <a:pt x="6" y="122"/>
                    </a:lnTo>
                    <a:lnTo>
                      <a:pt x="8" y="128"/>
                    </a:lnTo>
                    <a:lnTo>
                      <a:pt x="6" y="130"/>
                    </a:lnTo>
                    <a:lnTo>
                      <a:pt x="2" y="133"/>
                    </a:lnTo>
                    <a:lnTo>
                      <a:pt x="0" y="135"/>
                    </a:lnTo>
                    <a:lnTo>
                      <a:pt x="0" y="137"/>
                    </a:lnTo>
                    <a:lnTo>
                      <a:pt x="2" y="141"/>
                    </a:lnTo>
                    <a:lnTo>
                      <a:pt x="6" y="147"/>
                    </a:lnTo>
                    <a:lnTo>
                      <a:pt x="12" y="152"/>
                    </a:lnTo>
                    <a:lnTo>
                      <a:pt x="12" y="154"/>
                    </a:lnTo>
                    <a:lnTo>
                      <a:pt x="12" y="158"/>
                    </a:lnTo>
                    <a:lnTo>
                      <a:pt x="12" y="162"/>
                    </a:lnTo>
                    <a:lnTo>
                      <a:pt x="12" y="165"/>
                    </a:lnTo>
                    <a:lnTo>
                      <a:pt x="15" y="169"/>
                    </a:lnTo>
                    <a:lnTo>
                      <a:pt x="15" y="171"/>
                    </a:lnTo>
                    <a:lnTo>
                      <a:pt x="17" y="175"/>
                    </a:lnTo>
                    <a:lnTo>
                      <a:pt x="25" y="175"/>
                    </a:lnTo>
                    <a:lnTo>
                      <a:pt x="32" y="175"/>
                    </a:lnTo>
                    <a:lnTo>
                      <a:pt x="32" y="175"/>
                    </a:lnTo>
                    <a:lnTo>
                      <a:pt x="36" y="181"/>
                    </a:lnTo>
                    <a:lnTo>
                      <a:pt x="40" y="188"/>
                    </a:lnTo>
                    <a:lnTo>
                      <a:pt x="42" y="190"/>
                    </a:lnTo>
                    <a:lnTo>
                      <a:pt x="44" y="194"/>
                    </a:lnTo>
                    <a:lnTo>
                      <a:pt x="47" y="196"/>
                    </a:lnTo>
                    <a:lnTo>
                      <a:pt x="79" y="201"/>
                    </a:lnTo>
                    <a:lnTo>
                      <a:pt x="83" y="205"/>
                    </a:lnTo>
                    <a:lnTo>
                      <a:pt x="119" y="190"/>
                    </a:lnTo>
                    <a:lnTo>
                      <a:pt x="268" y="265"/>
                    </a:lnTo>
                    <a:lnTo>
                      <a:pt x="268" y="265"/>
                    </a:lnTo>
                    <a:lnTo>
                      <a:pt x="268" y="265"/>
                    </a:lnTo>
                    <a:lnTo>
                      <a:pt x="268" y="265"/>
                    </a:lnTo>
                    <a:lnTo>
                      <a:pt x="268" y="26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7" name="Freeform 109"/>
              <p:cNvSpPr>
                <a:spLocks noEditPoints="1"/>
              </p:cNvSpPr>
              <p:nvPr/>
            </p:nvSpPr>
            <p:spPr bwMode="auto">
              <a:xfrm>
                <a:off x="2911" y="2378"/>
                <a:ext cx="75" cy="143"/>
              </a:xfrm>
              <a:custGeom>
                <a:avLst/>
                <a:gdLst/>
                <a:ahLst/>
                <a:cxnLst>
                  <a:cxn ang="0">
                    <a:pos x="41" y="143"/>
                  </a:cxn>
                  <a:cxn ang="0">
                    <a:pos x="47" y="141"/>
                  </a:cxn>
                  <a:cxn ang="0">
                    <a:pos x="49" y="136"/>
                  </a:cxn>
                  <a:cxn ang="0">
                    <a:pos x="51" y="134"/>
                  </a:cxn>
                  <a:cxn ang="0">
                    <a:pos x="49" y="124"/>
                  </a:cxn>
                  <a:cxn ang="0">
                    <a:pos x="49" y="119"/>
                  </a:cxn>
                  <a:cxn ang="0">
                    <a:pos x="56" y="117"/>
                  </a:cxn>
                  <a:cxn ang="0">
                    <a:pos x="60" y="109"/>
                  </a:cxn>
                  <a:cxn ang="0">
                    <a:pos x="75" y="96"/>
                  </a:cxn>
                  <a:cxn ang="0">
                    <a:pos x="71" y="88"/>
                  </a:cxn>
                  <a:cxn ang="0">
                    <a:pos x="71" y="87"/>
                  </a:cxn>
                  <a:cxn ang="0">
                    <a:pos x="66" y="81"/>
                  </a:cxn>
                  <a:cxn ang="0">
                    <a:pos x="62" y="77"/>
                  </a:cxn>
                  <a:cxn ang="0">
                    <a:pos x="60" y="79"/>
                  </a:cxn>
                  <a:cxn ang="0">
                    <a:pos x="56" y="79"/>
                  </a:cxn>
                  <a:cxn ang="0">
                    <a:pos x="52" y="77"/>
                  </a:cxn>
                  <a:cxn ang="0">
                    <a:pos x="45" y="66"/>
                  </a:cxn>
                  <a:cxn ang="0">
                    <a:pos x="56" y="56"/>
                  </a:cxn>
                  <a:cxn ang="0">
                    <a:pos x="62" y="49"/>
                  </a:cxn>
                  <a:cxn ang="0">
                    <a:pos x="64" y="45"/>
                  </a:cxn>
                  <a:cxn ang="0">
                    <a:pos x="60" y="41"/>
                  </a:cxn>
                  <a:cxn ang="0">
                    <a:pos x="54" y="32"/>
                  </a:cxn>
                  <a:cxn ang="0">
                    <a:pos x="51" y="21"/>
                  </a:cxn>
                  <a:cxn ang="0">
                    <a:pos x="56" y="17"/>
                  </a:cxn>
                  <a:cxn ang="0">
                    <a:pos x="60" y="7"/>
                  </a:cxn>
                  <a:cxn ang="0">
                    <a:pos x="51" y="11"/>
                  </a:cxn>
                  <a:cxn ang="0">
                    <a:pos x="47" y="11"/>
                  </a:cxn>
                  <a:cxn ang="0">
                    <a:pos x="41" y="6"/>
                  </a:cxn>
                  <a:cxn ang="0">
                    <a:pos x="39" y="0"/>
                  </a:cxn>
                  <a:cxn ang="0">
                    <a:pos x="36" y="4"/>
                  </a:cxn>
                  <a:cxn ang="0">
                    <a:pos x="30" y="2"/>
                  </a:cxn>
                  <a:cxn ang="0">
                    <a:pos x="19" y="7"/>
                  </a:cxn>
                  <a:cxn ang="0">
                    <a:pos x="17" y="11"/>
                  </a:cxn>
                  <a:cxn ang="0">
                    <a:pos x="17" y="21"/>
                  </a:cxn>
                  <a:cxn ang="0">
                    <a:pos x="13" y="32"/>
                  </a:cxn>
                  <a:cxn ang="0">
                    <a:pos x="17" y="41"/>
                  </a:cxn>
                  <a:cxn ang="0">
                    <a:pos x="17" y="45"/>
                  </a:cxn>
                  <a:cxn ang="0">
                    <a:pos x="17" y="49"/>
                  </a:cxn>
                  <a:cxn ang="0">
                    <a:pos x="15" y="58"/>
                  </a:cxn>
                  <a:cxn ang="0">
                    <a:pos x="9" y="62"/>
                  </a:cxn>
                  <a:cxn ang="0">
                    <a:pos x="5" y="66"/>
                  </a:cxn>
                  <a:cxn ang="0">
                    <a:pos x="2" y="77"/>
                  </a:cxn>
                  <a:cxn ang="0">
                    <a:pos x="5" y="85"/>
                  </a:cxn>
                  <a:cxn ang="0">
                    <a:pos x="9" y="88"/>
                  </a:cxn>
                  <a:cxn ang="0">
                    <a:pos x="15" y="96"/>
                  </a:cxn>
                  <a:cxn ang="0">
                    <a:pos x="20" y="100"/>
                  </a:cxn>
                  <a:cxn ang="0">
                    <a:pos x="30" y="105"/>
                  </a:cxn>
                  <a:cxn ang="0">
                    <a:pos x="39" y="143"/>
                  </a:cxn>
                  <a:cxn ang="0">
                    <a:pos x="39" y="143"/>
                  </a:cxn>
                  <a:cxn ang="0">
                    <a:pos x="58" y="71"/>
                  </a:cxn>
                  <a:cxn ang="0">
                    <a:pos x="62" y="75"/>
                  </a:cxn>
                  <a:cxn ang="0">
                    <a:pos x="56" y="75"/>
                  </a:cxn>
                  <a:cxn ang="0">
                    <a:pos x="56" y="75"/>
                  </a:cxn>
                </a:cxnLst>
                <a:rect l="0" t="0" r="r" b="b"/>
                <a:pathLst>
                  <a:path w="75" h="143">
                    <a:moveTo>
                      <a:pt x="39" y="143"/>
                    </a:moveTo>
                    <a:lnTo>
                      <a:pt x="41" y="143"/>
                    </a:lnTo>
                    <a:lnTo>
                      <a:pt x="45" y="143"/>
                    </a:lnTo>
                    <a:lnTo>
                      <a:pt x="47" y="141"/>
                    </a:lnTo>
                    <a:lnTo>
                      <a:pt x="49" y="137"/>
                    </a:lnTo>
                    <a:lnTo>
                      <a:pt x="49" y="136"/>
                    </a:lnTo>
                    <a:lnTo>
                      <a:pt x="49" y="134"/>
                    </a:lnTo>
                    <a:lnTo>
                      <a:pt x="51" y="134"/>
                    </a:lnTo>
                    <a:lnTo>
                      <a:pt x="51" y="128"/>
                    </a:lnTo>
                    <a:lnTo>
                      <a:pt x="49" y="124"/>
                    </a:lnTo>
                    <a:lnTo>
                      <a:pt x="49" y="120"/>
                    </a:lnTo>
                    <a:lnTo>
                      <a:pt x="49" y="119"/>
                    </a:lnTo>
                    <a:lnTo>
                      <a:pt x="52" y="117"/>
                    </a:lnTo>
                    <a:lnTo>
                      <a:pt x="56" y="117"/>
                    </a:lnTo>
                    <a:lnTo>
                      <a:pt x="60" y="113"/>
                    </a:lnTo>
                    <a:lnTo>
                      <a:pt x="60" y="109"/>
                    </a:lnTo>
                    <a:lnTo>
                      <a:pt x="71" y="102"/>
                    </a:lnTo>
                    <a:lnTo>
                      <a:pt x="75" y="96"/>
                    </a:lnTo>
                    <a:lnTo>
                      <a:pt x="75" y="96"/>
                    </a:lnTo>
                    <a:lnTo>
                      <a:pt x="71" y="88"/>
                    </a:lnTo>
                    <a:lnTo>
                      <a:pt x="71" y="87"/>
                    </a:lnTo>
                    <a:lnTo>
                      <a:pt x="71" y="87"/>
                    </a:lnTo>
                    <a:lnTo>
                      <a:pt x="66" y="83"/>
                    </a:lnTo>
                    <a:lnTo>
                      <a:pt x="66" y="81"/>
                    </a:lnTo>
                    <a:lnTo>
                      <a:pt x="66" y="77"/>
                    </a:lnTo>
                    <a:lnTo>
                      <a:pt x="62" y="77"/>
                    </a:lnTo>
                    <a:lnTo>
                      <a:pt x="60" y="77"/>
                    </a:lnTo>
                    <a:lnTo>
                      <a:pt x="60" y="79"/>
                    </a:lnTo>
                    <a:lnTo>
                      <a:pt x="60" y="79"/>
                    </a:lnTo>
                    <a:lnTo>
                      <a:pt x="56" y="79"/>
                    </a:lnTo>
                    <a:lnTo>
                      <a:pt x="56" y="75"/>
                    </a:lnTo>
                    <a:lnTo>
                      <a:pt x="52" y="77"/>
                    </a:lnTo>
                    <a:lnTo>
                      <a:pt x="47" y="71"/>
                    </a:lnTo>
                    <a:lnTo>
                      <a:pt x="45" y="66"/>
                    </a:lnTo>
                    <a:lnTo>
                      <a:pt x="45" y="62"/>
                    </a:lnTo>
                    <a:lnTo>
                      <a:pt x="56" y="56"/>
                    </a:lnTo>
                    <a:lnTo>
                      <a:pt x="62" y="49"/>
                    </a:lnTo>
                    <a:lnTo>
                      <a:pt x="62" y="49"/>
                    </a:lnTo>
                    <a:lnTo>
                      <a:pt x="60" y="45"/>
                    </a:lnTo>
                    <a:lnTo>
                      <a:pt x="64" y="45"/>
                    </a:lnTo>
                    <a:lnTo>
                      <a:pt x="62" y="41"/>
                    </a:lnTo>
                    <a:lnTo>
                      <a:pt x="60" y="41"/>
                    </a:lnTo>
                    <a:lnTo>
                      <a:pt x="60" y="36"/>
                    </a:lnTo>
                    <a:lnTo>
                      <a:pt x="54" y="32"/>
                    </a:lnTo>
                    <a:lnTo>
                      <a:pt x="51" y="26"/>
                    </a:lnTo>
                    <a:lnTo>
                      <a:pt x="51" y="21"/>
                    </a:lnTo>
                    <a:lnTo>
                      <a:pt x="56" y="21"/>
                    </a:lnTo>
                    <a:lnTo>
                      <a:pt x="56" y="17"/>
                    </a:lnTo>
                    <a:lnTo>
                      <a:pt x="60" y="11"/>
                    </a:lnTo>
                    <a:lnTo>
                      <a:pt x="60" y="7"/>
                    </a:lnTo>
                    <a:lnTo>
                      <a:pt x="58" y="6"/>
                    </a:lnTo>
                    <a:lnTo>
                      <a:pt x="51" y="11"/>
                    </a:lnTo>
                    <a:lnTo>
                      <a:pt x="49" y="13"/>
                    </a:lnTo>
                    <a:lnTo>
                      <a:pt x="47" y="11"/>
                    </a:lnTo>
                    <a:lnTo>
                      <a:pt x="45" y="6"/>
                    </a:lnTo>
                    <a:lnTo>
                      <a:pt x="41" y="6"/>
                    </a:lnTo>
                    <a:lnTo>
                      <a:pt x="45" y="2"/>
                    </a:lnTo>
                    <a:lnTo>
                      <a:pt x="39" y="0"/>
                    </a:lnTo>
                    <a:lnTo>
                      <a:pt x="36" y="0"/>
                    </a:lnTo>
                    <a:lnTo>
                      <a:pt x="36" y="4"/>
                    </a:lnTo>
                    <a:lnTo>
                      <a:pt x="36" y="0"/>
                    </a:lnTo>
                    <a:lnTo>
                      <a:pt x="30" y="2"/>
                    </a:lnTo>
                    <a:lnTo>
                      <a:pt x="22" y="6"/>
                    </a:lnTo>
                    <a:lnTo>
                      <a:pt x="19" y="7"/>
                    </a:lnTo>
                    <a:lnTo>
                      <a:pt x="19" y="7"/>
                    </a:lnTo>
                    <a:lnTo>
                      <a:pt x="17" y="11"/>
                    </a:lnTo>
                    <a:lnTo>
                      <a:pt x="19" y="13"/>
                    </a:lnTo>
                    <a:lnTo>
                      <a:pt x="17" y="21"/>
                    </a:lnTo>
                    <a:lnTo>
                      <a:pt x="17" y="24"/>
                    </a:lnTo>
                    <a:lnTo>
                      <a:pt x="13" y="32"/>
                    </a:lnTo>
                    <a:lnTo>
                      <a:pt x="15" y="39"/>
                    </a:lnTo>
                    <a:lnTo>
                      <a:pt x="17" y="41"/>
                    </a:lnTo>
                    <a:lnTo>
                      <a:pt x="19" y="41"/>
                    </a:lnTo>
                    <a:lnTo>
                      <a:pt x="17" y="45"/>
                    </a:lnTo>
                    <a:lnTo>
                      <a:pt x="15" y="45"/>
                    </a:lnTo>
                    <a:lnTo>
                      <a:pt x="17" y="49"/>
                    </a:lnTo>
                    <a:lnTo>
                      <a:pt x="15" y="51"/>
                    </a:lnTo>
                    <a:lnTo>
                      <a:pt x="15" y="58"/>
                    </a:lnTo>
                    <a:lnTo>
                      <a:pt x="11" y="60"/>
                    </a:lnTo>
                    <a:lnTo>
                      <a:pt x="9" y="62"/>
                    </a:lnTo>
                    <a:lnTo>
                      <a:pt x="9" y="62"/>
                    </a:lnTo>
                    <a:lnTo>
                      <a:pt x="5" y="66"/>
                    </a:lnTo>
                    <a:lnTo>
                      <a:pt x="0" y="75"/>
                    </a:lnTo>
                    <a:lnTo>
                      <a:pt x="2" y="77"/>
                    </a:lnTo>
                    <a:lnTo>
                      <a:pt x="5" y="81"/>
                    </a:lnTo>
                    <a:lnTo>
                      <a:pt x="5" y="85"/>
                    </a:lnTo>
                    <a:lnTo>
                      <a:pt x="5" y="88"/>
                    </a:lnTo>
                    <a:lnTo>
                      <a:pt x="9" y="88"/>
                    </a:lnTo>
                    <a:lnTo>
                      <a:pt x="13" y="90"/>
                    </a:lnTo>
                    <a:lnTo>
                      <a:pt x="15" y="96"/>
                    </a:lnTo>
                    <a:lnTo>
                      <a:pt x="19" y="100"/>
                    </a:lnTo>
                    <a:lnTo>
                      <a:pt x="20" y="100"/>
                    </a:lnTo>
                    <a:lnTo>
                      <a:pt x="24" y="102"/>
                    </a:lnTo>
                    <a:lnTo>
                      <a:pt x="30" y="105"/>
                    </a:lnTo>
                    <a:lnTo>
                      <a:pt x="39" y="143"/>
                    </a:lnTo>
                    <a:lnTo>
                      <a:pt x="39" y="143"/>
                    </a:lnTo>
                    <a:lnTo>
                      <a:pt x="39" y="143"/>
                    </a:lnTo>
                    <a:lnTo>
                      <a:pt x="39" y="143"/>
                    </a:lnTo>
                    <a:close/>
                    <a:moveTo>
                      <a:pt x="56" y="75"/>
                    </a:moveTo>
                    <a:lnTo>
                      <a:pt x="58" y="71"/>
                    </a:lnTo>
                    <a:lnTo>
                      <a:pt x="62" y="71"/>
                    </a:lnTo>
                    <a:lnTo>
                      <a:pt x="62" y="75"/>
                    </a:lnTo>
                    <a:lnTo>
                      <a:pt x="60" y="75"/>
                    </a:lnTo>
                    <a:lnTo>
                      <a:pt x="56" y="75"/>
                    </a:lnTo>
                    <a:lnTo>
                      <a:pt x="56" y="75"/>
                    </a:lnTo>
                    <a:lnTo>
                      <a:pt x="56" y="7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8" name="Freeform 110"/>
              <p:cNvSpPr>
                <a:spLocks/>
              </p:cNvSpPr>
              <p:nvPr/>
            </p:nvSpPr>
            <p:spPr bwMode="auto">
              <a:xfrm>
                <a:off x="2627" y="2384"/>
                <a:ext cx="368" cy="354"/>
              </a:xfrm>
              <a:custGeom>
                <a:avLst/>
                <a:gdLst/>
                <a:ahLst/>
                <a:cxnLst>
                  <a:cxn ang="0">
                    <a:pos x="363" y="269"/>
                  </a:cxn>
                  <a:cxn ang="0">
                    <a:pos x="355" y="254"/>
                  </a:cxn>
                  <a:cxn ang="0">
                    <a:pos x="338" y="254"/>
                  </a:cxn>
                  <a:cxn ang="0">
                    <a:pos x="335" y="244"/>
                  </a:cxn>
                  <a:cxn ang="0">
                    <a:pos x="333" y="235"/>
                  </a:cxn>
                  <a:cxn ang="0">
                    <a:pos x="323" y="220"/>
                  </a:cxn>
                  <a:cxn ang="0">
                    <a:pos x="323" y="212"/>
                  </a:cxn>
                  <a:cxn ang="0">
                    <a:pos x="329" y="201"/>
                  </a:cxn>
                  <a:cxn ang="0">
                    <a:pos x="331" y="186"/>
                  </a:cxn>
                  <a:cxn ang="0">
                    <a:pos x="327" y="169"/>
                  </a:cxn>
                  <a:cxn ang="0">
                    <a:pos x="323" y="145"/>
                  </a:cxn>
                  <a:cxn ang="0">
                    <a:pos x="323" y="137"/>
                  </a:cxn>
                  <a:cxn ang="0">
                    <a:pos x="304" y="94"/>
                  </a:cxn>
                  <a:cxn ang="0">
                    <a:pos x="297" y="84"/>
                  </a:cxn>
                  <a:cxn ang="0">
                    <a:pos x="289" y="79"/>
                  </a:cxn>
                  <a:cxn ang="0">
                    <a:pos x="286" y="69"/>
                  </a:cxn>
                  <a:cxn ang="0">
                    <a:pos x="293" y="54"/>
                  </a:cxn>
                  <a:cxn ang="0">
                    <a:pos x="299" y="45"/>
                  </a:cxn>
                  <a:cxn ang="0">
                    <a:pos x="301" y="39"/>
                  </a:cxn>
                  <a:cxn ang="0">
                    <a:pos x="299" y="33"/>
                  </a:cxn>
                  <a:cxn ang="0">
                    <a:pos x="301" y="15"/>
                  </a:cxn>
                  <a:cxn ang="0">
                    <a:pos x="303" y="1"/>
                  </a:cxn>
                  <a:cxn ang="0">
                    <a:pos x="293" y="1"/>
                  </a:cxn>
                  <a:cxn ang="0">
                    <a:pos x="276" y="0"/>
                  </a:cxn>
                  <a:cxn ang="0">
                    <a:pos x="269" y="1"/>
                  </a:cxn>
                  <a:cxn ang="0">
                    <a:pos x="259" y="0"/>
                  </a:cxn>
                  <a:cxn ang="0">
                    <a:pos x="254" y="5"/>
                  </a:cxn>
                  <a:cxn ang="0">
                    <a:pos x="244" y="7"/>
                  </a:cxn>
                  <a:cxn ang="0">
                    <a:pos x="231" y="1"/>
                  </a:cxn>
                  <a:cxn ang="0">
                    <a:pos x="222" y="1"/>
                  </a:cxn>
                  <a:cxn ang="0">
                    <a:pos x="214" y="1"/>
                  </a:cxn>
                  <a:cxn ang="0">
                    <a:pos x="207" y="5"/>
                  </a:cxn>
                  <a:cxn ang="0">
                    <a:pos x="193" y="7"/>
                  </a:cxn>
                  <a:cxn ang="0">
                    <a:pos x="176" y="7"/>
                  </a:cxn>
                  <a:cxn ang="0">
                    <a:pos x="161" y="17"/>
                  </a:cxn>
                  <a:cxn ang="0">
                    <a:pos x="156" y="24"/>
                  </a:cxn>
                  <a:cxn ang="0">
                    <a:pos x="150" y="24"/>
                  </a:cxn>
                  <a:cxn ang="0">
                    <a:pos x="141" y="26"/>
                  </a:cxn>
                  <a:cxn ang="0">
                    <a:pos x="133" y="33"/>
                  </a:cxn>
                  <a:cxn ang="0">
                    <a:pos x="118" y="39"/>
                  </a:cxn>
                  <a:cxn ang="0">
                    <a:pos x="124" y="47"/>
                  </a:cxn>
                  <a:cxn ang="0">
                    <a:pos x="124" y="58"/>
                  </a:cxn>
                  <a:cxn ang="0">
                    <a:pos x="128" y="79"/>
                  </a:cxn>
                  <a:cxn ang="0">
                    <a:pos x="133" y="90"/>
                  </a:cxn>
                  <a:cxn ang="0">
                    <a:pos x="139" y="92"/>
                  </a:cxn>
                  <a:cxn ang="0">
                    <a:pos x="135" y="103"/>
                  </a:cxn>
                  <a:cxn ang="0">
                    <a:pos x="103" y="113"/>
                  </a:cxn>
                  <a:cxn ang="0">
                    <a:pos x="97" y="124"/>
                  </a:cxn>
                  <a:cxn ang="0">
                    <a:pos x="65" y="148"/>
                  </a:cxn>
                  <a:cxn ang="0">
                    <a:pos x="35" y="158"/>
                  </a:cxn>
                  <a:cxn ang="0">
                    <a:pos x="18" y="162"/>
                  </a:cxn>
                  <a:cxn ang="0">
                    <a:pos x="0" y="177"/>
                  </a:cxn>
                  <a:cxn ang="0">
                    <a:pos x="0" y="195"/>
                  </a:cxn>
                  <a:cxn ang="0">
                    <a:pos x="67" y="241"/>
                  </a:cxn>
                  <a:cxn ang="0">
                    <a:pos x="188" y="327"/>
                  </a:cxn>
                  <a:cxn ang="0">
                    <a:pos x="205" y="333"/>
                  </a:cxn>
                  <a:cxn ang="0">
                    <a:pos x="216" y="342"/>
                  </a:cxn>
                  <a:cxn ang="0">
                    <a:pos x="214" y="354"/>
                  </a:cxn>
                  <a:cxn ang="0">
                    <a:pos x="235" y="352"/>
                  </a:cxn>
                  <a:cxn ang="0">
                    <a:pos x="263" y="346"/>
                  </a:cxn>
                  <a:cxn ang="0">
                    <a:pos x="368" y="275"/>
                  </a:cxn>
                </a:cxnLst>
                <a:rect l="0" t="0" r="r" b="b"/>
                <a:pathLst>
                  <a:path w="368" h="354">
                    <a:moveTo>
                      <a:pt x="368" y="275"/>
                    </a:moveTo>
                    <a:lnTo>
                      <a:pt x="367" y="273"/>
                    </a:lnTo>
                    <a:lnTo>
                      <a:pt x="363" y="269"/>
                    </a:lnTo>
                    <a:lnTo>
                      <a:pt x="363" y="267"/>
                    </a:lnTo>
                    <a:lnTo>
                      <a:pt x="359" y="260"/>
                    </a:lnTo>
                    <a:lnTo>
                      <a:pt x="355" y="254"/>
                    </a:lnTo>
                    <a:lnTo>
                      <a:pt x="353" y="254"/>
                    </a:lnTo>
                    <a:lnTo>
                      <a:pt x="348" y="254"/>
                    </a:lnTo>
                    <a:lnTo>
                      <a:pt x="338" y="254"/>
                    </a:lnTo>
                    <a:lnTo>
                      <a:pt x="336" y="250"/>
                    </a:lnTo>
                    <a:lnTo>
                      <a:pt x="336" y="248"/>
                    </a:lnTo>
                    <a:lnTo>
                      <a:pt x="335" y="244"/>
                    </a:lnTo>
                    <a:lnTo>
                      <a:pt x="333" y="241"/>
                    </a:lnTo>
                    <a:lnTo>
                      <a:pt x="335" y="237"/>
                    </a:lnTo>
                    <a:lnTo>
                      <a:pt x="333" y="235"/>
                    </a:lnTo>
                    <a:lnTo>
                      <a:pt x="333" y="231"/>
                    </a:lnTo>
                    <a:lnTo>
                      <a:pt x="329" y="226"/>
                    </a:lnTo>
                    <a:lnTo>
                      <a:pt x="323" y="220"/>
                    </a:lnTo>
                    <a:lnTo>
                      <a:pt x="321" y="216"/>
                    </a:lnTo>
                    <a:lnTo>
                      <a:pt x="321" y="214"/>
                    </a:lnTo>
                    <a:lnTo>
                      <a:pt x="323" y="212"/>
                    </a:lnTo>
                    <a:lnTo>
                      <a:pt x="329" y="211"/>
                    </a:lnTo>
                    <a:lnTo>
                      <a:pt x="331" y="207"/>
                    </a:lnTo>
                    <a:lnTo>
                      <a:pt x="329" y="201"/>
                    </a:lnTo>
                    <a:lnTo>
                      <a:pt x="327" y="197"/>
                    </a:lnTo>
                    <a:lnTo>
                      <a:pt x="329" y="195"/>
                    </a:lnTo>
                    <a:lnTo>
                      <a:pt x="331" y="186"/>
                    </a:lnTo>
                    <a:lnTo>
                      <a:pt x="327" y="180"/>
                    </a:lnTo>
                    <a:lnTo>
                      <a:pt x="327" y="171"/>
                    </a:lnTo>
                    <a:lnTo>
                      <a:pt x="327" y="169"/>
                    </a:lnTo>
                    <a:lnTo>
                      <a:pt x="327" y="162"/>
                    </a:lnTo>
                    <a:lnTo>
                      <a:pt x="327" y="150"/>
                    </a:lnTo>
                    <a:lnTo>
                      <a:pt x="323" y="145"/>
                    </a:lnTo>
                    <a:lnTo>
                      <a:pt x="321" y="145"/>
                    </a:lnTo>
                    <a:lnTo>
                      <a:pt x="321" y="137"/>
                    </a:lnTo>
                    <a:lnTo>
                      <a:pt x="323" y="137"/>
                    </a:lnTo>
                    <a:lnTo>
                      <a:pt x="314" y="99"/>
                    </a:lnTo>
                    <a:lnTo>
                      <a:pt x="308" y="96"/>
                    </a:lnTo>
                    <a:lnTo>
                      <a:pt x="304" y="94"/>
                    </a:lnTo>
                    <a:lnTo>
                      <a:pt x="303" y="92"/>
                    </a:lnTo>
                    <a:lnTo>
                      <a:pt x="299" y="90"/>
                    </a:lnTo>
                    <a:lnTo>
                      <a:pt x="297" y="84"/>
                    </a:lnTo>
                    <a:lnTo>
                      <a:pt x="293" y="82"/>
                    </a:lnTo>
                    <a:lnTo>
                      <a:pt x="289" y="82"/>
                    </a:lnTo>
                    <a:lnTo>
                      <a:pt x="289" y="79"/>
                    </a:lnTo>
                    <a:lnTo>
                      <a:pt x="289" y="75"/>
                    </a:lnTo>
                    <a:lnTo>
                      <a:pt x="286" y="71"/>
                    </a:lnTo>
                    <a:lnTo>
                      <a:pt x="286" y="69"/>
                    </a:lnTo>
                    <a:lnTo>
                      <a:pt x="289" y="60"/>
                    </a:lnTo>
                    <a:lnTo>
                      <a:pt x="293" y="54"/>
                    </a:lnTo>
                    <a:lnTo>
                      <a:pt x="293" y="54"/>
                    </a:lnTo>
                    <a:lnTo>
                      <a:pt x="295" y="54"/>
                    </a:lnTo>
                    <a:lnTo>
                      <a:pt x="299" y="50"/>
                    </a:lnTo>
                    <a:lnTo>
                      <a:pt x="299" y="45"/>
                    </a:lnTo>
                    <a:lnTo>
                      <a:pt x="301" y="43"/>
                    </a:lnTo>
                    <a:lnTo>
                      <a:pt x="299" y="39"/>
                    </a:lnTo>
                    <a:lnTo>
                      <a:pt x="301" y="39"/>
                    </a:lnTo>
                    <a:lnTo>
                      <a:pt x="303" y="35"/>
                    </a:lnTo>
                    <a:lnTo>
                      <a:pt x="301" y="35"/>
                    </a:lnTo>
                    <a:lnTo>
                      <a:pt x="299" y="33"/>
                    </a:lnTo>
                    <a:lnTo>
                      <a:pt x="297" y="26"/>
                    </a:lnTo>
                    <a:lnTo>
                      <a:pt x="301" y="18"/>
                    </a:lnTo>
                    <a:lnTo>
                      <a:pt x="301" y="15"/>
                    </a:lnTo>
                    <a:lnTo>
                      <a:pt x="303" y="7"/>
                    </a:lnTo>
                    <a:lnTo>
                      <a:pt x="301" y="5"/>
                    </a:lnTo>
                    <a:lnTo>
                      <a:pt x="303" y="1"/>
                    </a:lnTo>
                    <a:lnTo>
                      <a:pt x="301" y="1"/>
                    </a:lnTo>
                    <a:lnTo>
                      <a:pt x="295" y="1"/>
                    </a:lnTo>
                    <a:lnTo>
                      <a:pt x="293" y="1"/>
                    </a:lnTo>
                    <a:lnTo>
                      <a:pt x="286" y="5"/>
                    </a:lnTo>
                    <a:lnTo>
                      <a:pt x="280" y="1"/>
                    </a:lnTo>
                    <a:lnTo>
                      <a:pt x="276" y="0"/>
                    </a:lnTo>
                    <a:lnTo>
                      <a:pt x="276" y="1"/>
                    </a:lnTo>
                    <a:lnTo>
                      <a:pt x="272" y="5"/>
                    </a:lnTo>
                    <a:lnTo>
                      <a:pt x="269" y="1"/>
                    </a:lnTo>
                    <a:lnTo>
                      <a:pt x="265" y="1"/>
                    </a:lnTo>
                    <a:lnTo>
                      <a:pt x="263" y="0"/>
                    </a:lnTo>
                    <a:lnTo>
                      <a:pt x="259" y="0"/>
                    </a:lnTo>
                    <a:lnTo>
                      <a:pt x="259" y="1"/>
                    </a:lnTo>
                    <a:lnTo>
                      <a:pt x="256" y="1"/>
                    </a:lnTo>
                    <a:lnTo>
                      <a:pt x="254" y="5"/>
                    </a:lnTo>
                    <a:lnTo>
                      <a:pt x="252" y="5"/>
                    </a:lnTo>
                    <a:lnTo>
                      <a:pt x="248" y="5"/>
                    </a:lnTo>
                    <a:lnTo>
                      <a:pt x="244" y="7"/>
                    </a:lnTo>
                    <a:lnTo>
                      <a:pt x="240" y="7"/>
                    </a:lnTo>
                    <a:lnTo>
                      <a:pt x="237" y="5"/>
                    </a:lnTo>
                    <a:lnTo>
                      <a:pt x="231" y="1"/>
                    </a:lnTo>
                    <a:lnTo>
                      <a:pt x="231" y="1"/>
                    </a:lnTo>
                    <a:lnTo>
                      <a:pt x="225" y="5"/>
                    </a:lnTo>
                    <a:lnTo>
                      <a:pt x="222" y="1"/>
                    </a:lnTo>
                    <a:lnTo>
                      <a:pt x="220" y="1"/>
                    </a:lnTo>
                    <a:lnTo>
                      <a:pt x="216" y="1"/>
                    </a:lnTo>
                    <a:lnTo>
                      <a:pt x="214" y="1"/>
                    </a:lnTo>
                    <a:lnTo>
                      <a:pt x="212" y="5"/>
                    </a:lnTo>
                    <a:lnTo>
                      <a:pt x="210" y="5"/>
                    </a:lnTo>
                    <a:lnTo>
                      <a:pt x="207" y="5"/>
                    </a:lnTo>
                    <a:lnTo>
                      <a:pt x="201" y="11"/>
                    </a:lnTo>
                    <a:lnTo>
                      <a:pt x="197" y="11"/>
                    </a:lnTo>
                    <a:lnTo>
                      <a:pt x="193" y="7"/>
                    </a:lnTo>
                    <a:lnTo>
                      <a:pt x="190" y="7"/>
                    </a:lnTo>
                    <a:lnTo>
                      <a:pt x="182" y="11"/>
                    </a:lnTo>
                    <a:lnTo>
                      <a:pt x="176" y="7"/>
                    </a:lnTo>
                    <a:lnTo>
                      <a:pt x="169" y="15"/>
                    </a:lnTo>
                    <a:lnTo>
                      <a:pt x="163" y="17"/>
                    </a:lnTo>
                    <a:lnTo>
                      <a:pt x="161" y="17"/>
                    </a:lnTo>
                    <a:lnTo>
                      <a:pt x="156" y="18"/>
                    </a:lnTo>
                    <a:lnTo>
                      <a:pt x="156" y="22"/>
                    </a:lnTo>
                    <a:lnTo>
                      <a:pt x="156" y="24"/>
                    </a:lnTo>
                    <a:lnTo>
                      <a:pt x="152" y="24"/>
                    </a:lnTo>
                    <a:lnTo>
                      <a:pt x="152" y="24"/>
                    </a:lnTo>
                    <a:lnTo>
                      <a:pt x="150" y="24"/>
                    </a:lnTo>
                    <a:lnTo>
                      <a:pt x="148" y="26"/>
                    </a:lnTo>
                    <a:lnTo>
                      <a:pt x="146" y="26"/>
                    </a:lnTo>
                    <a:lnTo>
                      <a:pt x="141" y="26"/>
                    </a:lnTo>
                    <a:lnTo>
                      <a:pt x="135" y="30"/>
                    </a:lnTo>
                    <a:lnTo>
                      <a:pt x="133" y="30"/>
                    </a:lnTo>
                    <a:lnTo>
                      <a:pt x="133" y="33"/>
                    </a:lnTo>
                    <a:lnTo>
                      <a:pt x="131" y="39"/>
                    </a:lnTo>
                    <a:lnTo>
                      <a:pt x="124" y="39"/>
                    </a:lnTo>
                    <a:lnTo>
                      <a:pt x="118" y="39"/>
                    </a:lnTo>
                    <a:lnTo>
                      <a:pt x="122" y="41"/>
                    </a:lnTo>
                    <a:lnTo>
                      <a:pt x="122" y="43"/>
                    </a:lnTo>
                    <a:lnTo>
                      <a:pt x="124" y="47"/>
                    </a:lnTo>
                    <a:lnTo>
                      <a:pt x="124" y="50"/>
                    </a:lnTo>
                    <a:lnTo>
                      <a:pt x="124" y="50"/>
                    </a:lnTo>
                    <a:lnTo>
                      <a:pt x="124" y="58"/>
                    </a:lnTo>
                    <a:lnTo>
                      <a:pt x="124" y="64"/>
                    </a:lnTo>
                    <a:lnTo>
                      <a:pt x="124" y="65"/>
                    </a:lnTo>
                    <a:lnTo>
                      <a:pt x="128" y="79"/>
                    </a:lnTo>
                    <a:lnTo>
                      <a:pt x="131" y="84"/>
                    </a:lnTo>
                    <a:lnTo>
                      <a:pt x="131" y="88"/>
                    </a:lnTo>
                    <a:lnTo>
                      <a:pt x="133" y="90"/>
                    </a:lnTo>
                    <a:lnTo>
                      <a:pt x="135" y="92"/>
                    </a:lnTo>
                    <a:lnTo>
                      <a:pt x="137" y="92"/>
                    </a:lnTo>
                    <a:lnTo>
                      <a:pt x="139" y="92"/>
                    </a:lnTo>
                    <a:lnTo>
                      <a:pt x="137" y="98"/>
                    </a:lnTo>
                    <a:lnTo>
                      <a:pt x="137" y="99"/>
                    </a:lnTo>
                    <a:lnTo>
                      <a:pt x="135" y="103"/>
                    </a:lnTo>
                    <a:lnTo>
                      <a:pt x="112" y="103"/>
                    </a:lnTo>
                    <a:lnTo>
                      <a:pt x="109" y="103"/>
                    </a:lnTo>
                    <a:lnTo>
                      <a:pt x="103" y="113"/>
                    </a:lnTo>
                    <a:lnTo>
                      <a:pt x="99" y="113"/>
                    </a:lnTo>
                    <a:lnTo>
                      <a:pt x="97" y="118"/>
                    </a:lnTo>
                    <a:lnTo>
                      <a:pt x="97" y="124"/>
                    </a:lnTo>
                    <a:lnTo>
                      <a:pt x="97" y="128"/>
                    </a:lnTo>
                    <a:lnTo>
                      <a:pt x="84" y="137"/>
                    </a:lnTo>
                    <a:lnTo>
                      <a:pt x="65" y="148"/>
                    </a:lnTo>
                    <a:lnTo>
                      <a:pt x="48" y="158"/>
                    </a:lnTo>
                    <a:lnTo>
                      <a:pt x="43" y="158"/>
                    </a:lnTo>
                    <a:lnTo>
                      <a:pt x="35" y="158"/>
                    </a:lnTo>
                    <a:lnTo>
                      <a:pt x="32" y="158"/>
                    </a:lnTo>
                    <a:lnTo>
                      <a:pt x="26" y="158"/>
                    </a:lnTo>
                    <a:lnTo>
                      <a:pt x="18" y="162"/>
                    </a:lnTo>
                    <a:lnTo>
                      <a:pt x="13" y="163"/>
                    </a:lnTo>
                    <a:lnTo>
                      <a:pt x="9" y="169"/>
                    </a:lnTo>
                    <a:lnTo>
                      <a:pt x="0" y="177"/>
                    </a:lnTo>
                    <a:lnTo>
                      <a:pt x="0" y="190"/>
                    </a:lnTo>
                    <a:lnTo>
                      <a:pt x="0" y="192"/>
                    </a:lnTo>
                    <a:lnTo>
                      <a:pt x="0" y="195"/>
                    </a:lnTo>
                    <a:lnTo>
                      <a:pt x="0" y="197"/>
                    </a:lnTo>
                    <a:lnTo>
                      <a:pt x="0" y="195"/>
                    </a:lnTo>
                    <a:lnTo>
                      <a:pt x="67" y="241"/>
                    </a:lnTo>
                    <a:lnTo>
                      <a:pt x="67" y="241"/>
                    </a:lnTo>
                    <a:lnTo>
                      <a:pt x="186" y="320"/>
                    </a:lnTo>
                    <a:lnTo>
                      <a:pt x="188" y="327"/>
                    </a:lnTo>
                    <a:lnTo>
                      <a:pt x="192" y="333"/>
                    </a:lnTo>
                    <a:lnTo>
                      <a:pt x="199" y="333"/>
                    </a:lnTo>
                    <a:lnTo>
                      <a:pt x="205" y="333"/>
                    </a:lnTo>
                    <a:lnTo>
                      <a:pt x="207" y="339"/>
                    </a:lnTo>
                    <a:lnTo>
                      <a:pt x="212" y="339"/>
                    </a:lnTo>
                    <a:lnTo>
                      <a:pt x="216" y="342"/>
                    </a:lnTo>
                    <a:lnTo>
                      <a:pt x="216" y="346"/>
                    </a:lnTo>
                    <a:lnTo>
                      <a:pt x="214" y="352"/>
                    </a:lnTo>
                    <a:lnTo>
                      <a:pt x="214" y="354"/>
                    </a:lnTo>
                    <a:lnTo>
                      <a:pt x="220" y="354"/>
                    </a:lnTo>
                    <a:lnTo>
                      <a:pt x="229" y="354"/>
                    </a:lnTo>
                    <a:lnTo>
                      <a:pt x="235" y="352"/>
                    </a:lnTo>
                    <a:lnTo>
                      <a:pt x="235" y="352"/>
                    </a:lnTo>
                    <a:lnTo>
                      <a:pt x="235" y="352"/>
                    </a:lnTo>
                    <a:lnTo>
                      <a:pt x="263" y="346"/>
                    </a:lnTo>
                    <a:lnTo>
                      <a:pt x="286" y="324"/>
                    </a:lnTo>
                    <a:lnTo>
                      <a:pt x="368" y="275"/>
                    </a:lnTo>
                    <a:lnTo>
                      <a:pt x="368" y="275"/>
                    </a:lnTo>
                    <a:lnTo>
                      <a:pt x="368" y="275"/>
                    </a:lnTo>
                    <a:lnTo>
                      <a:pt x="368" y="27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9" name="Freeform 111"/>
              <p:cNvSpPr>
                <a:spLocks/>
              </p:cNvSpPr>
              <p:nvPr/>
            </p:nvSpPr>
            <p:spPr bwMode="auto">
              <a:xfrm>
                <a:off x="2474" y="2579"/>
                <a:ext cx="222" cy="243"/>
              </a:xfrm>
              <a:custGeom>
                <a:avLst/>
                <a:gdLst/>
                <a:ahLst/>
                <a:cxnLst>
                  <a:cxn ang="0">
                    <a:pos x="75" y="117"/>
                  </a:cxn>
                  <a:cxn ang="0">
                    <a:pos x="77" y="80"/>
                  </a:cxn>
                  <a:cxn ang="0">
                    <a:pos x="87" y="76"/>
                  </a:cxn>
                  <a:cxn ang="0">
                    <a:pos x="94" y="27"/>
                  </a:cxn>
                  <a:cxn ang="0">
                    <a:pos x="154" y="0"/>
                  </a:cxn>
                  <a:cxn ang="0">
                    <a:pos x="222" y="46"/>
                  </a:cxn>
                  <a:cxn ang="0">
                    <a:pos x="198" y="46"/>
                  </a:cxn>
                  <a:cxn ang="0">
                    <a:pos x="217" y="215"/>
                  </a:cxn>
                  <a:cxn ang="0">
                    <a:pos x="145" y="230"/>
                  </a:cxn>
                  <a:cxn ang="0">
                    <a:pos x="141" y="228"/>
                  </a:cxn>
                  <a:cxn ang="0">
                    <a:pos x="136" y="230"/>
                  </a:cxn>
                  <a:cxn ang="0">
                    <a:pos x="134" y="225"/>
                  </a:cxn>
                  <a:cxn ang="0">
                    <a:pos x="121" y="225"/>
                  </a:cxn>
                  <a:cxn ang="0">
                    <a:pos x="113" y="234"/>
                  </a:cxn>
                  <a:cxn ang="0">
                    <a:pos x="109" y="223"/>
                  </a:cxn>
                  <a:cxn ang="0">
                    <a:pos x="100" y="225"/>
                  </a:cxn>
                  <a:cxn ang="0">
                    <a:pos x="100" y="234"/>
                  </a:cxn>
                  <a:cxn ang="0">
                    <a:pos x="90" y="240"/>
                  </a:cxn>
                  <a:cxn ang="0">
                    <a:pos x="89" y="243"/>
                  </a:cxn>
                  <a:cxn ang="0">
                    <a:pos x="81" y="238"/>
                  </a:cxn>
                  <a:cxn ang="0">
                    <a:pos x="77" y="234"/>
                  </a:cxn>
                  <a:cxn ang="0">
                    <a:pos x="73" y="228"/>
                  </a:cxn>
                  <a:cxn ang="0">
                    <a:pos x="70" y="219"/>
                  </a:cxn>
                  <a:cxn ang="0">
                    <a:pos x="64" y="219"/>
                  </a:cxn>
                  <a:cxn ang="0">
                    <a:pos x="60" y="219"/>
                  </a:cxn>
                  <a:cxn ang="0">
                    <a:pos x="57" y="215"/>
                  </a:cxn>
                  <a:cxn ang="0">
                    <a:pos x="49" y="210"/>
                  </a:cxn>
                  <a:cxn ang="0">
                    <a:pos x="36" y="206"/>
                  </a:cxn>
                  <a:cxn ang="0">
                    <a:pos x="17" y="211"/>
                  </a:cxn>
                  <a:cxn ang="0">
                    <a:pos x="9" y="215"/>
                  </a:cxn>
                  <a:cxn ang="0">
                    <a:pos x="9" y="210"/>
                  </a:cxn>
                  <a:cxn ang="0">
                    <a:pos x="15" y="193"/>
                  </a:cxn>
                  <a:cxn ang="0">
                    <a:pos x="15" y="161"/>
                  </a:cxn>
                  <a:cxn ang="0">
                    <a:pos x="9" y="149"/>
                  </a:cxn>
                  <a:cxn ang="0">
                    <a:pos x="15" y="144"/>
                  </a:cxn>
                  <a:cxn ang="0">
                    <a:pos x="15" y="136"/>
                  </a:cxn>
                  <a:cxn ang="0">
                    <a:pos x="6" y="130"/>
                  </a:cxn>
                  <a:cxn ang="0">
                    <a:pos x="6" y="127"/>
                  </a:cxn>
                  <a:cxn ang="0">
                    <a:pos x="0" y="123"/>
                  </a:cxn>
                  <a:cxn ang="0">
                    <a:pos x="2" y="119"/>
                  </a:cxn>
                  <a:cxn ang="0">
                    <a:pos x="2" y="119"/>
                  </a:cxn>
                </a:cxnLst>
                <a:rect l="0" t="0" r="r" b="b"/>
                <a:pathLst>
                  <a:path w="222" h="243">
                    <a:moveTo>
                      <a:pt x="2" y="119"/>
                    </a:moveTo>
                    <a:lnTo>
                      <a:pt x="75" y="117"/>
                    </a:lnTo>
                    <a:lnTo>
                      <a:pt x="75" y="83"/>
                    </a:lnTo>
                    <a:lnTo>
                      <a:pt x="77" y="80"/>
                    </a:lnTo>
                    <a:lnTo>
                      <a:pt x="81" y="76"/>
                    </a:lnTo>
                    <a:lnTo>
                      <a:pt x="87" y="76"/>
                    </a:lnTo>
                    <a:lnTo>
                      <a:pt x="94" y="76"/>
                    </a:lnTo>
                    <a:lnTo>
                      <a:pt x="94" y="27"/>
                    </a:lnTo>
                    <a:lnTo>
                      <a:pt x="153" y="27"/>
                    </a:lnTo>
                    <a:lnTo>
                      <a:pt x="154" y="0"/>
                    </a:lnTo>
                    <a:lnTo>
                      <a:pt x="222" y="46"/>
                    </a:lnTo>
                    <a:lnTo>
                      <a:pt x="222" y="46"/>
                    </a:lnTo>
                    <a:lnTo>
                      <a:pt x="218" y="46"/>
                    </a:lnTo>
                    <a:lnTo>
                      <a:pt x="198" y="46"/>
                    </a:lnTo>
                    <a:lnTo>
                      <a:pt x="213" y="210"/>
                    </a:lnTo>
                    <a:lnTo>
                      <a:pt x="217" y="215"/>
                    </a:lnTo>
                    <a:lnTo>
                      <a:pt x="213" y="230"/>
                    </a:lnTo>
                    <a:lnTo>
                      <a:pt x="145" y="230"/>
                    </a:lnTo>
                    <a:lnTo>
                      <a:pt x="143" y="230"/>
                    </a:lnTo>
                    <a:lnTo>
                      <a:pt x="141" y="228"/>
                    </a:lnTo>
                    <a:lnTo>
                      <a:pt x="139" y="228"/>
                    </a:lnTo>
                    <a:lnTo>
                      <a:pt x="136" y="230"/>
                    </a:lnTo>
                    <a:lnTo>
                      <a:pt x="134" y="228"/>
                    </a:lnTo>
                    <a:lnTo>
                      <a:pt x="134" y="225"/>
                    </a:lnTo>
                    <a:lnTo>
                      <a:pt x="128" y="223"/>
                    </a:lnTo>
                    <a:lnTo>
                      <a:pt x="121" y="225"/>
                    </a:lnTo>
                    <a:lnTo>
                      <a:pt x="115" y="234"/>
                    </a:lnTo>
                    <a:lnTo>
                      <a:pt x="113" y="234"/>
                    </a:lnTo>
                    <a:lnTo>
                      <a:pt x="109" y="228"/>
                    </a:lnTo>
                    <a:lnTo>
                      <a:pt x="109" y="223"/>
                    </a:lnTo>
                    <a:lnTo>
                      <a:pt x="105" y="223"/>
                    </a:lnTo>
                    <a:lnTo>
                      <a:pt x="100" y="225"/>
                    </a:lnTo>
                    <a:lnTo>
                      <a:pt x="100" y="230"/>
                    </a:lnTo>
                    <a:lnTo>
                      <a:pt x="100" y="234"/>
                    </a:lnTo>
                    <a:lnTo>
                      <a:pt x="98" y="240"/>
                    </a:lnTo>
                    <a:lnTo>
                      <a:pt x="90" y="240"/>
                    </a:lnTo>
                    <a:lnTo>
                      <a:pt x="89" y="243"/>
                    </a:lnTo>
                    <a:lnTo>
                      <a:pt x="89" y="243"/>
                    </a:lnTo>
                    <a:lnTo>
                      <a:pt x="87" y="240"/>
                    </a:lnTo>
                    <a:lnTo>
                      <a:pt x="81" y="238"/>
                    </a:lnTo>
                    <a:lnTo>
                      <a:pt x="79" y="238"/>
                    </a:lnTo>
                    <a:lnTo>
                      <a:pt x="77" y="234"/>
                    </a:lnTo>
                    <a:lnTo>
                      <a:pt x="73" y="230"/>
                    </a:lnTo>
                    <a:lnTo>
                      <a:pt x="73" y="228"/>
                    </a:lnTo>
                    <a:lnTo>
                      <a:pt x="70" y="225"/>
                    </a:lnTo>
                    <a:lnTo>
                      <a:pt x="70" y="219"/>
                    </a:lnTo>
                    <a:lnTo>
                      <a:pt x="66" y="217"/>
                    </a:lnTo>
                    <a:lnTo>
                      <a:pt x="64" y="219"/>
                    </a:lnTo>
                    <a:lnTo>
                      <a:pt x="64" y="217"/>
                    </a:lnTo>
                    <a:lnTo>
                      <a:pt x="60" y="219"/>
                    </a:lnTo>
                    <a:lnTo>
                      <a:pt x="57" y="217"/>
                    </a:lnTo>
                    <a:lnTo>
                      <a:pt x="57" y="215"/>
                    </a:lnTo>
                    <a:lnTo>
                      <a:pt x="53" y="210"/>
                    </a:lnTo>
                    <a:lnTo>
                      <a:pt x="49" y="210"/>
                    </a:lnTo>
                    <a:lnTo>
                      <a:pt x="40" y="206"/>
                    </a:lnTo>
                    <a:lnTo>
                      <a:pt x="36" y="206"/>
                    </a:lnTo>
                    <a:lnTo>
                      <a:pt x="26" y="210"/>
                    </a:lnTo>
                    <a:lnTo>
                      <a:pt x="17" y="211"/>
                    </a:lnTo>
                    <a:lnTo>
                      <a:pt x="15" y="215"/>
                    </a:lnTo>
                    <a:lnTo>
                      <a:pt x="9" y="215"/>
                    </a:lnTo>
                    <a:lnTo>
                      <a:pt x="6" y="217"/>
                    </a:lnTo>
                    <a:lnTo>
                      <a:pt x="9" y="210"/>
                    </a:lnTo>
                    <a:lnTo>
                      <a:pt x="11" y="198"/>
                    </a:lnTo>
                    <a:lnTo>
                      <a:pt x="15" y="193"/>
                    </a:lnTo>
                    <a:lnTo>
                      <a:pt x="17" y="179"/>
                    </a:lnTo>
                    <a:lnTo>
                      <a:pt x="15" y="161"/>
                    </a:lnTo>
                    <a:lnTo>
                      <a:pt x="9" y="151"/>
                    </a:lnTo>
                    <a:lnTo>
                      <a:pt x="9" y="149"/>
                    </a:lnTo>
                    <a:lnTo>
                      <a:pt x="11" y="149"/>
                    </a:lnTo>
                    <a:lnTo>
                      <a:pt x="15" y="144"/>
                    </a:lnTo>
                    <a:lnTo>
                      <a:pt x="11" y="140"/>
                    </a:lnTo>
                    <a:lnTo>
                      <a:pt x="15" y="136"/>
                    </a:lnTo>
                    <a:lnTo>
                      <a:pt x="9" y="130"/>
                    </a:lnTo>
                    <a:lnTo>
                      <a:pt x="6" y="130"/>
                    </a:lnTo>
                    <a:lnTo>
                      <a:pt x="6" y="130"/>
                    </a:lnTo>
                    <a:lnTo>
                      <a:pt x="6" y="127"/>
                    </a:lnTo>
                    <a:lnTo>
                      <a:pt x="0" y="130"/>
                    </a:lnTo>
                    <a:lnTo>
                      <a:pt x="0" y="123"/>
                    </a:lnTo>
                    <a:lnTo>
                      <a:pt x="2" y="119"/>
                    </a:lnTo>
                    <a:lnTo>
                      <a:pt x="2" y="119"/>
                    </a:lnTo>
                    <a:lnTo>
                      <a:pt x="2" y="119"/>
                    </a:lnTo>
                    <a:lnTo>
                      <a:pt x="2" y="1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0" name="Freeform 112"/>
              <p:cNvSpPr>
                <a:spLocks/>
              </p:cNvSpPr>
              <p:nvPr/>
            </p:nvSpPr>
            <p:spPr bwMode="auto">
              <a:xfrm>
                <a:off x="2564" y="2627"/>
                <a:ext cx="300" cy="280"/>
              </a:xfrm>
              <a:custGeom>
                <a:avLst/>
                <a:gdLst/>
                <a:ahLst/>
                <a:cxnLst>
                  <a:cxn ang="0">
                    <a:pos x="8" y="192"/>
                  </a:cxn>
                  <a:cxn ang="0">
                    <a:pos x="10" y="177"/>
                  </a:cxn>
                  <a:cxn ang="0">
                    <a:pos x="21" y="180"/>
                  </a:cxn>
                  <a:cxn ang="0">
                    <a:pos x="31" y="178"/>
                  </a:cxn>
                  <a:cxn ang="0">
                    <a:pos x="46" y="182"/>
                  </a:cxn>
                  <a:cxn ang="0">
                    <a:pos x="53" y="180"/>
                  </a:cxn>
                  <a:cxn ang="0">
                    <a:pos x="123" y="182"/>
                  </a:cxn>
                  <a:cxn ang="0">
                    <a:pos x="108" y="0"/>
                  </a:cxn>
                  <a:cxn ang="0">
                    <a:pos x="253" y="88"/>
                  </a:cxn>
                  <a:cxn ang="0">
                    <a:pos x="270" y="94"/>
                  </a:cxn>
                  <a:cxn ang="0">
                    <a:pos x="281" y="103"/>
                  </a:cxn>
                  <a:cxn ang="0">
                    <a:pos x="279" y="114"/>
                  </a:cxn>
                  <a:cxn ang="0">
                    <a:pos x="300" y="113"/>
                  </a:cxn>
                  <a:cxn ang="0">
                    <a:pos x="296" y="165"/>
                  </a:cxn>
                  <a:cxn ang="0">
                    <a:pos x="294" y="177"/>
                  </a:cxn>
                  <a:cxn ang="0">
                    <a:pos x="271" y="186"/>
                  </a:cxn>
                  <a:cxn ang="0">
                    <a:pos x="256" y="190"/>
                  </a:cxn>
                  <a:cxn ang="0">
                    <a:pos x="232" y="192"/>
                  </a:cxn>
                  <a:cxn ang="0">
                    <a:pos x="228" y="190"/>
                  </a:cxn>
                  <a:cxn ang="0">
                    <a:pos x="215" y="190"/>
                  </a:cxn>
                  <a:cxn ang="0">
                    <a:pos x="194" y="197"/>
                  </a:cxn>
                  <a:cxn ang="0">
                    <a:pos x="170" y="216"/>
                  </a:cxn>
                  <a:cxn ang="0">
                    <a:pos x="153" y="220"/>
                  </a:cxn>
                  <a:cxn ang="0">
                    <a:pos x="145" y="229"/>
                  </a:cxn>
                  <a:cxn ang="0">
                    <a:pos x="134" y="246"/>
                  </a:cxn>
                  <a:cxn ang="0">
                    <a:pos x="128" y="256"/>
                  </a:cxn>
                  <a:cxn ang="0">
                    <a:pos x="127" y="265"/>
                  </a:cxn>
                  <a:cxn ang="0">
                    <a:pos x="125" y="275"/>
                  </a:cxn>
                  <a:cxn ang="0">
                    <a:pos x="113" y="276"/>
                  </a:cxn>
                  <a:cxn ang="0">
                    <a:pos x="104" y="275"/>
                  </a:cxn>
                  <a:cxn ang="0">
                    <a:pos x="95" y="278"/>
                  </a:cxn>
                  <a:cxn ang="0">
                    <a:pos x="83" y="278"/>
                  </a:cxn>
                  <a:cxn ang="0">
                    <a:pos x="74" y="275"/>
                  </a:cxn>
                  <a:cxn ang="0">
                    <a:pos x="74" y="265"/>
                  </a:cxn>
                  <a:cxn ang="0">
                    <a:pos x="66" y="271"/>
                  </a:cxn>
                  <a:cxn ang="0">
                    <a:pos x="70" y="258"/>
                  </a:cxn>
                  <a:cxn ang="0">
                    <a:pos x="66" y="250"/>
                  </a:cxn>
                  <a:cxn ang="0">
                    <a:pos x="61" y="241"/>
                  </a:cxn>
                  <a:cxn ang="0">
                    <a:pos x="49" y="241"/>
                  </a:cxn>
                  <a:cxn ang="0">
                    <a:pos x="42" y="246"/>
                  </a:cxn>
                  <a:cxn ang="0">
                    <a:pos x="29" y="246"/>
                  </a:cxn>
                  <a:cxn ang="0">
                    <a:pos x="21" y="246"/>
                  </a:cxn>
                  <a:cxn ang="0">
                    <a:pos x="21" y="241"/>
                  </a:cxn>
                  <a:cxn ang="0">
                    <a:pos x="15" y="233"/>
                  </a:cxn>
                  <a:cxn ang="0">
                    <a:pos x="14" y="226"/>
                  </a:cxn>
                  <a:cxn ang="0">
                    <a:pos x="8" y="222"/>
                  </a:cxn>
                  <a:cxn ang="0">
                    <a:pos x="0" y="212"/>
                  </a:cxn>
                  <a:cxn ang="0">
                    <a:pos x="0" y="197"/>
                  </a:cxn>
                  <a:cxn ang="0">
                    <a:pos x="0" y="195"/>
                  </a:cxn>
                </a:cxnLst>
                <a:rect l="0" t="0" r="r" b="b"/>
                <a:pathLst>
                  <a:path w="300" h="280">
                    <a:moveTo>
                      <a:pt x="0" y="195"/>
                    </a:moveTo>
                    <a:lnTo>
                      <a:pt x="2" y="192"/>
                    </a:lnTo>
                    <a:lnTo>
                      <a:pt x="8" y="192"/>
                    </a:lnTo>
                    <a:lnTo>
                      <a:pt x="10" y="186"/>
                    </a:lnTo>
                    <a:lnTo>
                      <a:pt x="10" y="182"/>
                    </a:lnTo>
                    <a:lnTo>
                      <a:pt x="10" y="177"/>
                    </a:lnTo>
                    <a:lnTo>
                      <a:pt x="15" y="175"/>
                    </a:lnTo>
                    <a:lnTo>
                      <a:pt x="21" y="175"/>
                    </a:lnTo>
                    <a:lnTo>
                      <a:pt x="21" y="180"/>
                    </a:lnTo>
                    <a:lnTo>
                      <a:pt x="25" y="186"/>
                    </a:lnTo>
                    <a:lnTo>
                      <a:pt x="25" y="186"/>
                    </a:lnTo>
                    <a:lnTo>
                      <a:pt x="31" y="178"/>
                    </a:lnTo>
                    <a:lnTo>
                      <a:pt x="40" y="175"/>
                    </a:lnTo>
                    <a:lnTo>
                      <a:pt x="46" y="177"/>
                    </a:lnTo>
                    <a:lnTo>
                      <a:pt x="46" y="182"/>
                    </a:lnTo>
                    <a:lnTo>
                      <a:pt x="46" y="182"/>
                    </a:lnTo>
                    <a:lnTo>
                      <a:pt x="49" y="180"/>
                    </a:lnTo>
                    <a:lnTo>
                      <a:pt x="53" y="180"/>
                    </a:lnTo>
                    <a:lnTo>
                      <a:pt x="53" y="182"/>
                    </a:lnTo>
                    <a:lnTo>
                      <a:pt x="55" y="182"/>
                    </a:lnTo>
                    <a:lnTo>
                      <a:pt x="123" y="182"/>
                    </a:lnTo>
                    <a:lnTo>
                      <a:pt x="128" y="167"/>
                    </a:lnTo>
                    <a:lnTo>
                      <a:pt x="123" y="162"/>
                    </a:lnTo>
                    <a:lnTo>
                      <a:pt x="108" y="0"/>
                    </a:lnTo>
                    <a:lnTo>
                      <a:pt x="128" y="0"/>
                    </a:lnTo>
                    <a:lnTo>
                      <a:pt x="251" y="79"/>
                    </a:lnTo>
                    <a:lnTo>
                      <a:pt x="253" y="88"/>
                    </a:lnTo>
                    <a:lnTo>
                      <a:pt x="256" y="92"/>
                    </a:lnTo>
                    <a:lnTo>
                      <a:pt x="264" y="92"/>
                    </a:lnTo>
                    <a:lnTo>
                      <a:pt x="270" y="94"/>
                    </a:lnTo>
                    <a:lnTo>
                      <a:pt x="271" y="99"/>
                    </a:lnTo>
                    <a:lnTo>
                      <a:pt x="277" y="99"/>
                    </a:lnTo>
                    <a:lnTo>
                      <a:pt x="281" y="103"/>
                    </a:lnTo>
                    <a:lnTo>
                      <a:pt x="281" y="107"/>
                    </a:lnTo>
                    <a:lnTo>
                      <a:pt x="279" y="111"/>
                    </a:lnTo>
                    <a:lnTo>
                      <a:pt x="279" y="114"/>
                    </a:lnTo>
                    <a:lnTo>
                      <a:pt x="285" y="114"/>
                    </a:lnTo>
                    <a:lnTo>
                      <a:pt x="294" y="114"/>
                    </a:lnTo>
                    <a:lnTo>
                      <a:pt x="300" y="113"/>
                    </a:lnTo>
                    <a:lnTo>
                      <a:pt x="300" y="113"/>
                    </a:lnTo>
                    <a:lnTo>
                      <a:pt x="300" y="148"/>
                    </a:lnTo>
                    <a:lnTo>
                      <a:pt x="296" y="165"/>
                    </a:lnTo>
                    <a:lnTo>
                      <a:pt x="294" y="165"/>
                    </a:lnTo>
                    <a:lnTo>
                      <a:pt x="294" y="173"/>
                    </a:lnTo>
                    <a:lnTo>
                      <a:pt x="294" y="177"/>
                    </a:lnTo>
                    <a:lnTo>
                      <a:pt x="283" y="182"/>
                    </a:lnTo>
                    <a:lnTo>
                      <a:pt x="277" y="186"/>
                    </a:lnTo>
                    <a:lnTo>
                      <a:pt x="271" y="186"/>
                    </a:lnTo>
                    <a:lnTo>
                      <a:pt x="266" y="190"/>
                    </a:lnTo>
                    <a:lnTo>
                      <a:pt x="264" y="190"/>
                    </a:lnTo>
                    <a:lnTo>
                      <a:pt x="256" y="190"/>
                    </a:lnTo>
                    <a:lnTo>
                      <a:pt x="251" y="190"/>
                    </a:lnTo>
                    <a:lnTo>
                      <a:pt x="245" y="190"/>
                    </a:lnTo>
                    <a:lnTo>
                      <a:pt x="232" y="192"/>
                    </a:lnTo>
                    <a:lnTo>
                      <a:pt x="230" y="190"/>
                    </a:lnTo>
                    <a:lnTo>
                      <a:pt x="228" y="192"/>
                    </a:lnTo>
                    <a:lnTo>
                      <a:pt x="228" y="190"/>
                    </a:lnTo>
                    <a:lnTo>
                      <a:pt x="224" y="190"/>
                    </a:lnTo>
                    <a:lnTo>
                      <a:pt x="221" y="190"/>
                    </a:lnTo>
                    <a:lnTo>
                      <a:pt x="215" y="190"/>
                    </a:lnTo>
                    <a:lnTo>
                      <a:pt x="206" y="190"/>
                    </a:lnTo>
                    <a:lnTo>
                      <a:pt x="200" y="195"/>
                    </a:lnTo>
                    <a:lnTo>
                      <a:pt x="194" y="197"/>
                    </a:lnTo>
                    <a:lnTo>
                      <a:pt x="181" y="205"/>
                    </a:lnTo>
                    <a:lnTo>
                      <a:pt x="172" y="212"/>
                    </a:lnTo>
                    <a:lnTo>
                      <a:pt x="170" y="216"/>
                    </a:lnTo>
                    <a:lnTo>
                      <a:pt x="159" y="220"/>
                    </a:lnTo>
                    <a:lnTo>
                      <a:pt x="157" y="220"/>
                    </a:lnTo>
                    <a:lnTo>
                      <a:pt x="153" y="220"/>
                    </a:lnTo>
                    <a:lnTo>
                      <a:pt x="153" y="220"/>
                    </a:lnTo>
                    <a:lnTo>
                      <a:pt x="149" y="222"/>
                    </a:lnTo>
                    <a:lnTo>
                      <a:pt x="145" y="229"/>
                    </a:lnTo>
                    <a:lnTo>
                      <a:pt x="145" y="231"/>
                    </a:lnTo>
                    <a:lnTo>
                      <a:pt x="140" y="237"/>
                    </a:lnTo>
                    <a:lnTo>
                      <a:pt x="134" y="246"/>
                    </a:lnTo>
                    <a:lnTo>
                      <a:pt x="132" y="250"/>
                    </a:lnTo>
                    <a:lnTo>
                      <a:pt x="128" y="252"/>
                    </a:lnTo>
                    <a:lnTo>
                      <a:pt x="128" y="256"/>
                    </a:lnTo>
                    <a:lnTo>
                      <a:pt x="128" y="261"/>
                    </a:lnTo>
                    <a:lnTo>
                      <a:pt x="127" y="263"/>
                    </a:lnTo>
                    <a:lnTo>
                      <a:pt x="127" y="265"/>
                    </a:lnTo>
                    <a:lnTo>
                      <a:pt x="128" y="269"/>
                    </a:lnTo>
                    <a:lnTo>
                      <a:pt x="127" y="275"/>
                    </a:lnTo>
                    <a:lnTo>
                      <a:pt x="125" y="275"/>
                    </a:lnTo>
                    <a:lnTo>
                      <a:pt x="121" y="280"/>
                    </a:lnTo>
                    <a:lnTo>
                      <a:pt x="115" y="278"/>
                    </a:lnTo>
                    <a:lnTo>
                      <a:pt x="113" y="276"/>
                    </a:lnTo>
                    <a:lnTo>
                      <a:pt x="113" y="275"/>
                    </a:lnTo>
                    <a:lnTo>
                      <a:pt x="110" y="275"/>
                    </a:lnTo>
                    <a:lnTo>
                      <a:pt x="104" y="275"/>
                    </a:lnTo>
                    <a:lnTo>
                      <a:pt x="104" y="276"/>
                    </a:lnTo>
                    <a:lnTo>
                      <a:pt x="102" y="278"/>
                    </a:lnTo>
                    <a:lnTo>
                      <a:pt x="95" y="278"/>
                    </a:lnTo>
                    <a:lnTo>
                      <a:pt x="89" y="275"/>
                    </a:lnTo>
                    <a:lnTo>
                      <a:pt x="87" y="275"/>
                    </a:lnTo>
                    <a:lnTo>
                      <a:pt x="83" y="278"/>
                    </a:lnTo>
                    <a:lnTo>
                      <a:pt x="83" y="276"/>
                    </a:lnTo>
                    <a:lnTo>
                      <a:pt x="79" y="275"/>
                    </a:lnTo>
                    <a:lnTo>
                      <a:pt x="74" y="275"/>
                    </a:lnTo>
                    <a:lnTo>
                      <a:pt x="74" y="271"/>
                    </a:lnTo>
                    <a:lnTo>
                      <a:pt x="74" y="271"/>
                    </a:lnTo>
                    <a:lnTo>
                      <a:pt x="74" y="265"/>
                    </a:lnTo>
                    <a:lnTo>
                      <a:pt x="70" y="265"/>
                    </a:lnTo>
                    <a:lnTo>
                      <a:pt x="70" y="271"/>
                    </a:lnTo>
                    <a:lnTo>
                      <a:pt x="66" y="271"/>
                    </a:lnTo>
                    <a:lnTo>
                      <a:pt x="68" y="265"/>
                    </a:lnTo>
                    <a:lnTo>
                      <a:pt x="70" y="259"/>
                    </a:lnTo>
                    <a:lnTo>
                      <a:pt x="70" y="258"/>
                    </a:lnTo>
                    <a:lnTo>
                      <a:pt x="68" y="258"/>
                    </a:lnTo>
                    <a:lnTo>
                      <a:pt x="66" y="256"/>
                    </a:lnTo>
                    <a:lnTo>
                      <a:pt x="66" y="250"/>
                    </a:lnTo>
                    <a:lnTo>
                      <a:pt x="64" y="246"/>
                    </a:lnTo>
                    <a:lnTo>
                      <a:pt x="61" y="244"/>
                    </a:lnTo>
                    <a:lnTo>
                      <a:pt x="61" y="241"/>
                    </a:lnTo>
                    <a:lnTo>
                      <a:pt x="59" y="241"/>
                    </a:lnTo>
                    <a:lnTo>
                      <a:pt x="55" y="244"/>
                    </a:lnTo>
                    <a:lnTo>
                      <a:pt x="49" y="241"/>
                    </a:lnTo>
                    <a:lnTo>
                      <a:pt x="46" y="241"/>
                    </a:lnTo>
                    <a:lnTo>
                      <a:pt x="44" y="246"/>
                    </a:lnTo>
                    <a:lnTo>
                      <a:pt x="42" y="246"/>
                    </a:lnTo>
                    <a:lnTo>
                      <a:pt x="36" y="248"/>
                    </a:lnTo>
                    <a:lnTo>
                      <a:pt x="32" y="248"/>
                    </a:lnTo>
                    <a:lnTo>
                      <a:pt x="29" y="246"/>
                    </a:lnTo>
                    <a:lnTo>
                      <a:pt x="25" y="244"/>
                    </a:lnTo>
                    <a:lnTo>
                      <a:pt x="21" y="246"/>
                    </a:lnTo>
                    <a:lnTo>
                      <a:pt x="21" y="246"/>
                    </a:lnTo>
                    <a:lnTo>
                      <a:pt x="21" y="246"/>
                    </a:lnTo>
                    <a:lnTo>
                      <a:pt x="21" y="244"/>
                    </a:lnTo>
                    <a:lnTo>
                      <a:pt x="21" y="241"/>
                    </a:lnTo>
                    <a:lnTo>
                      <a:pt x="15" y="239"/>
                    </a:lnTo>
                    <a:lnTo>
                      <a:pt x="15" y="235"/>
                    </a:lnTo>
                    <a:lnTo>
                      <a:pt x="15" y="233"/>
                    </a:lnTo>
                    <a:lnTo>
                      <a:pt x="15" y="231"/>
                    </a:lnTo>
                    <a:lnTo>
                      <a:pt x="15" y="227"/>
                    </a:lnTo>
                    <a:lnTo>
                      <a:pt x="14" y="226"/>
                    </a:lnTo>
                    <a:lnTo>
                      <a:pt x="12" y="224"/>
                    </a:lnTo>
                    <a:lnTo>
                      <a:pt x="10" y="224"/>
                    </a:lnTo>
                    <a:lnTo>
                      <a:pt x="8" y="222"/>
                    </a:lnTo>
                    <a:lnTo>
                      <a:pt x="4" y="216"/>
                    </a:lnTo>
                    <a:lnTo>
                      <a:pt x="0" y="214"/>
                    </a:lnTo>
                    <a:lnTo>
                      <a:pt x="0" y="212"/>
                    </a:lnTo>
                    <a:lnTo>
                      <a:pt x="2" y="203"/>
                    </a:lnTo>
                    <a:lnTo>
                      <a:pt x="0" y="201"/>
                    </a:lnTo>
                    <a:lnTo>
                      <a:pt x="0" y="197"/>
                    </a:lnTo>
                    <a:lnTo>
                      <a:pt x="0" y="195"/>
                    </a:lnTo>
                    <a:lnTo>
                      <a:pt x="0" y="195"/>
                    </a:lnTo>
                    <a:lnTo>
                      <a:pt x="0" y="19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1" name="Freeform 113"/>
              <p:cNvSpPr>
                <a:spLocks/>
              </p:cNvSpPr>
              <p:nvPr/>
            </p:nvSpPr>
            <p:spPr bwMode="auto">
              <a:xfrm>
                <a:off x="2691" y="2817"/>
                <a:ext cx="137" cy="102"/>
              </a:xfrm>
              <a:custGeom>
                <a:avLst/>
                <a:gdLst/>
                <a:ahLst/>
                <a:cxnLst>
                  <a:cxn ang="0">
                    <a:pos x="0" y="81"/>
                  </a:cxn>
                  <a:cxn ang="0">
                    <a:pos x="0" y="75"/>
                  </a:cxn>
                  <a:cxn ang="0">
                    <a:pos x="1" y="68"/>
                  </a:cxn>
                  <a:cxn ang="0">
                    <a:pos x="3" y="62"/>
                  </a:cxn>
                  <a:cxn ang="0">
                    <a:pos x="13" y="47"/>
                  </a:cxn>
                  <a:cxn ang="0">
                    <a:pos x="18" y="41"/>
                  </a:cxn>
                  <a:cxn ang="0">
                    <a:pos x="24" y="32"/>
                  </a:cxn>
                  <a:cxn ang="0">
                    <a:pos x="30" y="30"/>
                  </a:cxn>
                  <a:cxn ang="0">
                    <a:pos x="43" y="26"/>
                  </a:cxn>
                  <a:cxn ang="0">
                    <a:pos x="52" y="17"/>
                  </a:cxn>
                  <a:cxn ang="0">
                    <a:pos x="73" y="5"/>
                  </a:cxn>
                  <a:cxn ang="0">
                    <a:pos x="86" y="0"/>
                  </a:cxn>
                  <a:cxn ang="0">
                    <a:pos x="96" y="2"/>
                  </a:cxn>
                  <a:cxn ang="0">
                    <a:pos x="99" y="4"/>
                  </a:cxn>
                  <a:cxn ang="0">
                    <a:pos x="99" y="7"/>
                  </a:cxn>
                  <a:cxn ang="0">
                    <a:pos x="96" y="19"/>
                  </a:cxn>
                  <a:cxn ang="0">
                    <a:pos x="116" y="37"/>
                  </a:cxn>
                  <a:cxn ang="0">
                    <a:pos x="129" y="37"/>
                  </a:cxn>
                  <a:cxn ang="0">
                    <a:pos x="131" y="41"/>
                  </a:cxn>
                  <a:cxn ang="0">
                    <a:pos x="133" y="47"/>
                  </a:cxn>
                  <a:cxn ang="0">
                    <a:pos x="135" y="54"/>
                  </a:cxn>
                  <a:cxn ang="0">
                    <a:pos x="137" y="58"/>
                  </a:cxn>
                  <a:cxn ang="0">
                    <a:pos x="129" y="64"/>
                  </a:cxn>
                  <a:cxn ang="0">
                    <a:pos x="120" y="66"/>
                  </a:cxn>
                  <a:cxn ang="0">
                    <a:pos x="116" y="71"/>
                  </a:cxn>
                  <a:cxn ang="0">
                    <a:pos x="116" y="75"/>
                  </a:cxn>
                  <a:cxn ang="0">
                    <a:pos x="111" y="81"/>
                  </a:cxn>
                  <a:cxn ang="0">
                    <a:pos x="88" y="75"/>
                  </a:cxn>
                  <a:cxn ang="0">
                    <a:pos x="88" y="75"/>
                  </a:cxn>
                  <a:cxn ang="0">
                    <a:pos x="80" y="75"/>
                  </a:cxn>
                  <a:cxn ang="0">
                    <a:pos x="64" y="77"/>
                  </a:cxn>
                  <a:cxn ang="0">
                    <a:pos x="48" y="77"/>
                  </a:cxn>
                  <a:cxn ang="0">
                    <a:pos x="43" y="83"/>
                  </a:cxn>
                  <a:cxn ang="0">
                    <a:pos x="45" y="90"/>
                  </a:cxn>
                  <a:cxn ang="0">
                    <a:pos x="48" y="102"/>
                  </a:cxn>
                  <a:cxn ang="0">
                    <a:pos x="41" y="100"/>
                  </a:cxn>
                  <a:cxn ang="0">
                    <a:pos x="35" y="102"/>
                  </a:cxn>
                  <a:cxn ang="0">
                    <a:pos x="24" y="100"/>
                  </a:cxn>
                  <a:cxn ang="0">
                    <a:pos x="20" y="94"/>
                  </a:cxn>
                  <a:cxn ang="0">
                    <a:pos x="15" y="92"/>
                  </a:cxn>
                  <a:cxn ang="0">
                    <a:pos x="3" y="88"/>
                  </a:cxn>
                  <a:cxn ang="0">
                    <a:pos x="0" y="85"/>
                  </a:cxn>
                  <a:cxn ang="0">
                    <a:pos x="0" y="85"/>
                  </a:cxn>
                </a:cxnLst>
                <a:rect l="0" t="0" r="r" b="b"/>
                <a:pathLst>
                  <a:path w="137" h="102">
                    <a:moveTo>
                      <a:pt x="0" y="85"/>
                    </a:moveTo>
                    <a:lnTo>
                      <a:pt x="0" y="81"/>
                    </a:lnTo>
                    <a:lnTo>
                      <a:pt x="0" y="77"/>
                    </a:lnTo>
                    <a:lnTo>
                      <a:pt x="0" y="75"/>
                    </a:lnTo>
                    <a:lnTo>
                      <a:pt x="1" y="71"/>
                    </a:lnTo>
                    <a:lnTo>
                      <a:pt x="1" y="68"/>
                    </a:lnTo>
                    <a:lnTo>
                      <a:pt x="0" y="64"/>
                    </a:lnTo>
                    <a:lnTo>
                      <a:pt x="3" y="62"/>
                    </a:lnTo>
                    <a:lnTo>
                      <a:pt x="7" y="58"/>
                    </a:lnTo>
                    <a:lnTo>
                      <a:pt x="13" y="47"/>
                    </a:lnTo>
                    <a:lnTo>
                      <a:pt x="18" y="41"/>
                    </a:lnTo>
                    <a:lnTo>
                      <a:pt x="18" y="41"/>
                    </a:lnTo>
                    <a:lnTo>
                      <a:pt x="20" y="34"/>
                    </a:lnTo>
                    <a:lnTo>
                      <a:pt x="24" y="32"/>
                    </a:lnTo>
                    <a:lnTo>
                      <a:pt x="24" y="30"/>
                    </a:lnTo>
                    <a:lnTo>
                      <a:pt x="30" y="30"/>
                    </a:lnTo>
                    <a:lnTo>
                      <a:pt x="32" y="30"/>
                    </a:lnTo>
                    <a:lnTo>
                      <a:pt x="43" y="26"/>
                    </a:lnTo>
                    <a:lnTo>
                      <a:pt x="45" y="22"/>
                    </a:lnTo>
                    <a:lnTo>
                      <a:pt x="52" y="17"/>
                    </a:lnTo>
                    <a:lnTo>
                      <a:pt x="67" y="7"/>
                    </a:lnTo>
                    <a:lnTo>
                      <a:pt x="73" y="5"/>
                    </a:lnTo>
                    <a:lnTo>
                      <a:pt x="77" y="2"/>
                    </a:lnTo>
                    <a:lnTo>
                      <a:pt x="86" y="0"/>
                    </a:lnTo>
                    <a:lnTo>
                      <a:pt x="92" y="0"/>
                    </a:lnTo>
                    <a:lnTo>
                      <a:pt x="96" y="2"/>
                    </a:lnTo>
                    <a:lnTo>
                      <a:pt x="99" y="2"/>
                    </a:lnTo>
                    <a:lnTo>
                      <a:pt x="99" y="4"/>
                    </a:lnTo>
                    <a:lnTo>
                      <a:pt x="99" y="5"/>
                    </a:lnTo>
                    <a:lnTo>
                      <a:pt x="99" y="7"/>
                    </a:lnTo>
                    <a:lnTo>
                      <a:pt x="96" y="13"/>
                    </a:lnTo>
                    <a:lnTo>
                      <a:pt x="96" y="19"/>
                    </a:lnTo>
                    <a:lnTo>
                      <a:pt x="112" y="30"/>
                    </a:lnTo>
                    <a:lnTo>
                      <a:pt x="116" y="37"/>
                    </a:lnTo>
                    <a:lnTo>
                      <a:pt x="120" y="41"/>
                    </a:lnTo>
                    <a:lnTo>
                      <a:pt x="129" y="37"/>
                    </a:lnTo>
                    <a:lnTo>
                      <a:pt x="131" y="37"/>
                    </a:lnTo>
                    <a:lnTo>
                      <a:pt x="131" y="41"/>
                    </a:lnTo>
                    <a:lnTo>
                      <a:pt x="133" y="45"/>
                    </a:lnTo>
                    <a:lnTo>
                      <a:pt x="133" y="47"/>
                    </a:lnTo>
                    <a:lnTo>
                      <a:pt x="131" y="51"/>
                    </a:lnTo>
                    <a:lnTo>
                      <a:pt x="135" y="54"/>
                    </a:lnTo>
                    <a:lnTo>
                      <a:pt x="137" y="54"/>
                    </a:lnTo>
                    <a:lnTo>
                      <a:pt x="137" y="58"/>
                    </a:lnTo>
                    <a:lnTo>
                      <a:pt x="133" y="64"/>
                    </a:lnTo>
                    <a:lnTo>
                      <a:pt x="129" y="64"/>
                    </a:lnTo>
                    <a:lnTo>
                      <a:pt x="122" y="66"/>
                    </a:lnTo>
                    <a:lnTo>
                      <a:pt x="120" y="66"/>
                    </a:lnTo>
                    <a:lnTo>
                      <a:pt x="116" y="68"/>
                    </a:lnTo>
                    <a:lnTo>
                      <a:pt x="116" y="71"/>
                    </a:lnTo>
                    <a:lnTo>
                      <a:pt x="116" y="71"/>
                    </a:lnTo>
                    <a:lnTo>
                      <a:pt x="116" y="75"/>
                    </a:lnTo>
                    <a:lnTo>
                      <a:pt x="111" y="77"/>
                    </a:lnTo>
                    <a:lnTo>
                      <a:pt x="111" y="81"/>
                    </a:lnTo>
                    <a:lnTo>
                      <a:pt x="92" y="75"/>
                    </a:lnTo>
                    <a:lnTo>
                      <a:pt x="88" y="75"/>
                    </a:lnTo>
                    <a:lnTo>
                      <a:pt x="88" y="75"/>
                    </a:lnTo>
                    <a:lnTo>
                      <a:pt x="88" y="75"/>
                    </a:lnTo>
                    <a:lnTo>
                      <a:pt x="84" y="75"/>
                    </a:lnTo>
                    <a:lnTo>
                      <a:pt x="80" y="75"/>
                    </a:lnTo>
                    <a:lnTo>
                      <a:pt x="73" y="77"/>
                    </a:lnTo>
                    <a:lnTo>
                      <a:pt x="64" y="77"/>
                    </a:lnTo>
                    <a:lnTo>
                      <a:pt x="60" y="77"/>
                    </a:lnTo>
                    <a:lnTo>
                      <a:pt x="48" y="77"/>
                    </a:lnTo>
                    <a:lnTo>
                      <a:pt x="43" y="77"/>
                    </a:lnTo>
                    <a:lnTo>
                      <a:pt x="43" y="83"/>
                    </a:lnTo>
                    <a:lnTo>
                      <a:pt x="43" y="88"/>
                    </a:lnTo>
                    <a:lnTo>
                      <a:pt x="45" y="90"/>
                    </a:lnTo>
                    <a:lnTo>
                      <a:pt x="48" y="96"/>
                    </a:lnTo>
                    <a:lnTo>
                      <a:pt x="48" y="102"/>
                    </a:lnTo>
                    <a:lnTo>
                      <a:pt x="45" y="102"/>
                    </a:lnTo>
                    <a:lnTo>
                      <a:pt x="41" y="100"/>
                    </a:lnTo>
                    <a:lnTo>
                      <a:pt x="39" y="98"/>
                    </a:lnTo>
                    <a:lnTo>
                      <a:pt x="35" y="102"/>
                    </a:lnTo>
                    <a:lnTo>
                      <a:pt x="30" y="102"/>
                    </a:lnTo>
                    <a:lnTo>
                      <a:pt x="24" y="100"/>
                    </a:lnTo>
                    <a:lnTo>
                      <a:pt x="24" y="96"/>
                    </a:lnTo>
                    <a:lnTo>
                      <a:pt x="20" y="94"/>
                    </a:lnTo>
                    <a:lnTo>
                      <a:pt x="16" y="94"/>
                    </a:lnTo>
                    <a:lnTo>
                      <a:pt x="15" y="92"/>
                    </a:lnTo>
                    <a:lnTo>
                      <a:pt x="11" y="92"/>
                    </a:lnTo>
                    <a:lnTo>
                      <a:pt x="3" y="88"/>
                    </a:lnTo>
                    <a:lnTo>
                      <a:pt x="0" y="85"/>
                    </a:lnTo>
                    <a:lnTo>
                      <a:pt x="0" y="85"/>
                    </a:lnTo>
                    <a:lnTo>
                      <a:pt x="0" y="85"/>
                    </a:lnTo>
                    <a:lnTo>
                      <a:pt x="0" y="8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2" name="Freeform 114"/>
              <p:cNvSpPr>
                <a:spLocks/>
              </p:cNvSpPr>
              <p:nvPr/>
            </p:nvSpPr>
            <p:spPr bwMode="auto">
              <a:xfrm>
                <a:off x="2691" y="2817"/>
                <a:ext cx="137" cy="102"/>
              </a:xfrm>
              <a:custGeom>
                <a:avLst/>
                <a:gdLst/>
                <a:ahLst/>
                <a:cxnLst>
                  <a:cxn ang="0">
                    <a:pos x="0" y="81"/>
                  </a:cxn>
                  <a:cxn ang="0">
                    <a:pos x="0" y="75"/>
                  </a:cxn>
                  <a:cxn ang="0">
                    <a:pos x="1" y="68"/>
                  </a:cxn>
                  <a:cxn ang="0">
                    <a:pos x="3" y="62"/>
                  </a:cxn>
                  <a:cxn ang="0">
                    <a:pos x="13" y="47"/>
                  </a:cxn>
                  <a:cxn ang="0">
                    <a:pos x="18" y="41"/>
                  </a:cxn>
                  <a:cxn ang="0">
                    <a:pos x="24" y="32"/>
                  </a:cxn>
                  <a:cxn ang="0">
                    <a:pos x="30" y="30"/>
                  </a:cxn>
                  <a:cxn ang="0">
                    <a:pos x="43" y="26"/>
                  </a:cxn>
                  <a:cxn ang="0">
                    <a:pos x="52" y="17"/>
                  </a:cxn>
                  <a:cxn ang="0">
                    <a:pos x="73" y="5"/>
                  </a:cxn>
                  <a:cxn ang="0">
                    <a:pos x="86" y="0"/>
                  </a:cxn>
                  <a:cxn ang="0">
                    <a:pos x="96" y="2"/>
                  </a:cxn>
                  <a:cxn ang="0">
                    <a:pos x="99" y="4"/>
                  </a:cxn>
                  <a:cxn ang="0">
                    <a:pos x="99" y="7"/>
                  </a:cxn>
                  <a:cxn ang="0">
                    <a:pos x="96" y="19"/>
                  </a:cxn>
                  <a:cxn ang="0">
                    <a:pos x="116" y="37"/>
                  </a:cxn>
                  <a:cxn ang="0">
                    <a:pos x="129" y="37"/>
                  </a:cxn>
                  <a:cxn ang="0">
                    <a:pos x="131" y="41"/>
                  </a:cxn>
                  <a:cxn ang="0">
                    <a:pos x="133" y="47"/>
                  </a:cxn>
                  <a:cxn ang="0">
                    <a:pos x="135" y="54"/>
                  </a:cxn>
                  <a:cxn ang="0">
                    <a:pos x="137" y="58"/>
                  </a:cxn>
                  <a:cxn ang="0">
                    <a:pos x="129" y="64"/>
                  </a:cxn>
                  <a:cxn ang="0">
                    <a:pos x="120" y="66"/>
                  </a:cxn>
                  <a:cxn ang="0">
                    <a:pos x="116" y="71"/>
                  </a:cxn>
                  <a:cxn ang="0">
                    <a:pos x="116" y="75"/>
                  </a:cxn>
                  <a:cxn ang="0">
                    <a:pos x="111" y="81"/>
                  </a:cxn>
                  <a:cxn ang="0">
                    <a:pos x="88" y="75"/>
                  </a:cxn>
                  <a:cxn ang="0">
                    <a:pos x="88" y="75"/>
                  </a:cxn>
                  <a:cxn ang="0">
                    <a:pos x="80" y="75"/>
                  </a:cxn>
                  <a:cxn ang="0">
                    <a:pos x="64" y="77"/>
                  </a:cxn>
                  <a:cxn ang="0">
                    <a:pos x="48" y="77"/>
                  </a:cxn>
                  <a:cxn ang="0">
                    <a:pos x="43" y="83"/>
                  </a:cxn>
                  <a:cxn ang="0">
                    <a:pos x="45" y="90"/>
                  </a:cxn>
                  <a:cxn ang="0">
                    <a:pos x="48" y="102"/>
                  </a:cxn>
                  <a:cxn ang="0">
                    <a:pos x="41" y="100"/>
                  </a:cxn>
                  <a:cxn ang="0">
                    <a:pos x="35" y="102"/>
                  </a:cxn>
                  <a:cxn ang="0">
                    <a:pos x="24" y="100"/>
                  </a:cxn>
                  <a:cxn ang="0">
                    <a:pos x="20" y="94"/>
                  </a:cxn>
                  <a:cxn ang="0">
                    <a:pos x="15" y="92"/>
                  </a:cxn>
                  <a:cxn ang="0">
                    <a:pos x="3" y="88"/>
                  </a:cxn>
                  <a:cxn ang="0">
                    <a:pos x="0" y="85"/>
                  </a:cxn>
                  <a:cxn ang="0">
                    <a:pos x="0" y="85"/>
                  </a:cxn>
                </a:cxnLst>
                <a:rect l="0" t="0" r="r" b="b"/>
                <a:pathLst>
                  <a:path w="137" h="102">
                    <a:moveTo>
                      <a:pt x="0" y="85"/>
                    </a:moveTo>
                    <a:lnTo>
                      <a:pt x="0" y="81"/>
                    </a:lnTo>
                    <a:lnTo>
                      <a:pt x="0" y="77"/>
                    </a:lnTo>
                    <a:lnTo>
                      <a:pt x="0" y="75"/>
                    </a:lnTo>
                    <a:lnTo>
                      <a:pt x="1" y="71"/>
                    </a:lnTo>
                    <a:lnTo>
                      <a:pt x="1" y="68"/>
                    </a:lnTo>
                    <a:lnTo>
                      <a:pt x="0" y="64"/>
                    </a:lnTo>
                    <a:lnTo>
                      <a:pt x="3" y="62"/>
                    </a:lnTo>
                    <a:lnTo>
                      <a:pt x="7" y="58"/>
                    </a:lnTo>
                    <a:lnTo>
                      <a:pt x="13" y="47"/>
                    </a:lnTo>
                    <a:lnTo>
                      <a:pt x="18" y="41"/>
                    </a:lnTo>
                    <a:lnTo>
                      <a:pt x="18" y="41"/>
                    </a:lnTo>
                    <a:lnTo>
                      <a:pt x="20" y="34"/>
                    </a:lnTo>
                    <a:lnTo>
                      <a:pt x="24" y="32"/>
                    </a:lnTo>
                    <a:lnTo>
                      <a:pt x="24" y="30"/>
                    </a:lnTo>
                    <a:lnTo>
                      <a:pt x="30" y="30"/>
                    </a:lnTo>
                    <a:lnTo>
                      <a:pt x="32" y="30"/>
                    </a:lnTo>
                    <a:lnTo>
                      <a:pt x="43" y="26"/>
                    </a:lnTo>
                    <a:lnTo>
                      <a:pt x="45" y="22"/>
                    </a:lnTo>
                    <a:lnTo>
                      <a:pt x="52" y="17"/>
                    </a:lnTo>
                    <a:lnTo>
                      <a:pt x="67" y="7"/>
                    </a:lnTo>
                    <a:lnTo>
                      <a:pt x="73" y="5"/>
                    </a:lnTo>
                    <a:lnTo>
                      <a:pt x="77" y="2"/>
                    </a:lnTo>
                    <a:lnTo>
                      <a:pt x="86" y="0"/>
                    </a:lnTo>
                    <a:lnTo>
                      <a:pt x="92" y="0"/>
                    </a:lnTo>
                    <a:lnTo>
                      <a:pt x="96" y="2"/>
                    </a:lnTo>
                    <a:lnTo>
                      <a:pt x="99" y="2"/>
                    </a:lnTo>
                    <a:lnTo>
                      <a:pt x="99" y="4"/>
                    </a:lnTo>
                    <a:lnTo>
                      <a:pt x="99" y="5"/>
                    </a:lnTo>
                    <a:lnTo>
                      <a:pt x="99" y="7"/>
                    </a:lnTo>
                    <a:lnTo>
                      <a:pt x="96" y="13"/>
                    </a:lnTo>
                    <a:lnTo>
                      <a:pt x="96" y="19"/>
                    </a:lnTo>
                    <a:lnTo>
                      <a:pt x="112" y="30"/>
                    </a:lnTo>
                    <a:lnTo>
                      <a:pt x="116" y="37"/>
                    </a:lnTo>
                    <a:lnTo>
                      <a:pt x="120" y="41"/>
                    </a:lnTo>
                    <a:lnTo>
                      <a:pt x="129" y="37"/>
                    </a:lnTo>
                    <a:lnTo>
                      <a:pt x="131" y="37"/>
                    </a:lnTo>
                    <a:lnTo>
                      <a:pt x="131" y="41"/>
                    </a:lnTo>
                    <a:lnTo>
                      <a:pt x="133" y="45"/>
                    </a:lnTo>
                    <a:lnTo>
                      <a:pt x="133" y="47"/>
                    </a:lnTo>
                    <a:lnTo>
                      <a:pt x="131" y="51"/>
                    </a:lnTo>
                    <a:lnTo>
                      <a:pt x="135" y="54"/>
                    </a:lnTo>
                    <a:lnTo>
                      <a:pt x="137" y="54"/>
                    </a:lnTo>
                    <a:lnTo>
                      <a:pt x="137" y="58"/>
                    </a:lnTo>
                    <a:lnTo>
                      <a:pt x="133" y="64"/>
                    </a:lnTo>
                    <a:lnTo>
                      <a:pt x="129" y="64"/>
                    </a:lnTo>
                    <a:lnTo>
                      <a:pt x="122" y="66"/>
                    </a:lnTo>
                    <a:lnTo>
                      <a:pt x="120" y="66"/>
                    </a:lnTo>
                    <a:lnTo>
                      <a:pt x="116" y="68"/>
                    </a:lnTo>
                    <a:lnTo>
                      <a:pt x="116" y="71"/>
                    </a:lnTo>
                    <a:lnTo>
                      <a:pt x="116" y="71"/>
                    </a:lnTo>
                    <a:lnTo>
                      <a:pt x="116" y="75"/>
                    </a:lnTo>
                    <a:lnTo>
                      <a:pt x="111" y="77"/>
                    </a:lnTo>
                    <a:lnTo>
                      <a:pt x="111" y="81"/>
                    </a:lnTo>
                    <a:lnTo>
                      <a:pt x="92" y="75"/>
                    </a:lnTo>
                    <a:lnTo>
                      <a:pt x="88" y="75"/>
                    </a:lnTo>
                    <a:lnTo>
                      <a:pt x="88" y="75"/>
                    </a:lnTo>
                    <a:lnTo>
                      <a:pt x="88" y="75"/>
                    </a:lnTo>
                    <a:lnTo>
                      <a:pt x="84" y="75"/>
                    </a:lnTo>
                    <a:lnTo>
                      <a:pt x="80" y="75"/>
                    </a:lnTo>
                    <a:lnTo>
                      <a:pt x="73" y="77"/>
                    </a:lnTo>
                    <a:lnTo>
                      <a:pt x="64" y="77"/>
                    </a:lnTo>
                    <a:lnTo>
                      <a:pt x="60" y="77"/>
                    </a:lnTo>
                    <a:lnTo>
                      <a:pt x="48" y="77"/>
                    </a:lnTo>
                    <a:lnTo>
                      <a:pt x="43" y="77"/>
                    </a:lnTo>
                    <a:lnTo>
                      <a:pt x="43" y="83"/>
                    </a:lnTo>
                    <a:lnTo>
                      <a:pt x="43" y="88"/>
                    </a:lnTo>
                    <a:lnTo>
                      <a:pt x="45" y="90"/>
                    </a:lnTo>
                    <a:lnTo>
                      <a:pt x="48" y="96"/>
                    </a:lnTo>
                    <a:lnTo>
                      <a:pt x="48" y="102"/>
                    </a:lnTo>
                    <a:lnTo>
                      <a:pt x="45" y="102"/>
                    </a:lnTo>
                    <a:lnTo>
                      <a:pt x="41" y="100"/>
                    </a:lnTo>
                    <a:lnTo>
                      <a:pt x="39" y="98"/>
                    </a:lnTo>
                    <a:lnTo>
                      <a:pt x="35" y="102"/>
                    </a:lnTo>
                    <a:lnTo>
                      <a:pt x="30" y="102"/>
                    </a:lnTo>
                    <a:lnTo>
                      <a:pt x="24" y="100"/>
                    </a:lnTo>
                    <a:lnTo>
                      <a:pt x="24" y="96"/>
                    </a:lnTo>
                    <a:lnTo>
                      <a:pt x="20" y="94"/>
                    </a:lnTo>
                    <a:lnTo>
                      <a:pt x="16" y="94"/>
                    </a:lnTo>
                    <a:lnTo>
                      <a:pt x="15" y="92"/>
                    </a:lnTo>
                    <a:lnTo>
                      <a:pt x="11" y="92"/>
                    </a:lnTo>
                    <a:lnTo>
                      <a:pt x="3" y="88"/>
                    </a:lnTo>
                    <a:lnTo>
                      <a:pt x="0" y="85"/>
                    </a:lnTo>
                    <a:lnTo>
                      <a:pt x="0" y="85"/>
                    </a:lnTo>
                    <a:lnTo>
                      <a:pt x="0" y="85"/>
                    </a:lnTo>
                    <a:lnTo>
                      <a:pt x="0" y="8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3" name="Freeform 115"/>
              <p:cNvSpPr>
                <a:spLocks/>
              </p:cNvSpPr>
              <p:nvPr/>
            </p:nvSpPr>
            <p:spPr bwMode="auto">
              <a:xfrm>
                <a:off x="2463" y="2785"/>
                <a:ext cx="122" cy="90"/>
              </a:xfrm>
              <a:custGeom>
                <a:avLst/>
                <a:gdLst/>
                <a:ahLst/>
                <a:cxnLst>
                  <a:cxn ang="0">
                    <a:pos x="20" y="9"/>
                  </a:cxn>
                  <a:cxn ang="0">
                    <a:pos x="26" y="7"/>
                  </a:cxn>
                  <a:cxn ang="0">
                    <a:pos x="47" y="0"/>
                  </a:cxn>
                  <a:cxn ang="0">
                    <a:pos x="60" y="5"/>
                  </a:cxn>
                  <a:cxn ang="0">
                    <a:pos x="68" y="9"/>
                  </a:cxn>
                  <a:cxn ang="0">
                    <a:pos x="71" y="13"/>
                  </a:cxn>
                  <a:cxn ang="0">
                    <a:pos x="75" y="13"/>
                  </a:cxn>
                  <a:cxn ang="0">
                    <a:pos x="81" y="13"/>
                  </a:cxn>
                  <a:cxn ang="0">
                    <a:pos x="86" y="22"/>
                  </a:cxn>
                  <a:cxn ang="0">
                    <a:pos x="90" y="28"/>
                  </a:cxn>
                  <a:cxn ang="0">
                    <a:pos x="92" y="32"/>
                  </a:cxn>
                  <a:cxn ang="0">
                    <a:pos x="100" y="39"/>
                  </a:cxn>
                  <a:cxn ang="0">
                    <a:pos x="101" y="45"/>
                  </a:cxn>
                  <a:cxn ang="0">
                    <a:pos x="101" y="54"/>
                  </a:cxn>
                  <a:cxn ang="0">
                    <a:pos x="105" y="60"/>
                  </a:cxn>
                  <a:cxn ang="0">
                    <a:pos x="111" y="68"/>
                  </a:cxn>
                  <a:cxn ang="0">
                    <a:pos x="115" y="69"/>
                  </a:cxn>
                  <a:cxn ang="0">
                    <a:pos x="118" y="75"/>
                  </a:cxn>
                  <a:cxn ang="0">
                    <a:pos x="116" y="79"/>
                  </a:cxn>
                  <a:cxn ang="0">
                    <a:pos x="122" y="85"/>
                  </a:cxn>
                  <a:cxn ang="0">
                    <a:pos x="122" y="90"/>
                  </a:cxn>
                  <a:cxn ang="0">
                    <a:pos x="116" y="88"/>
                  </a:cxn>
                  <a:cxn ang="0">
                    <a:pos x="111" y="85"/>
                  </a:cxn>
                  <a:cxn ang="0">
                    <a:pos x="101" y="85"/>
                  </a:cxn>
                  <a:cxn ang="0">
                    <a:pos x="92" y="83"/>
                  </a:cxn>
                  <a:cxn ang="0">
                    <a:pos x="73" y="79"/>
                  </a:cxn>
                  <a:cxn ang="0">
                    <a:pos x="69" y="79"/>
                  </a:cxn>
                  <a:cxn ang="0">
                    <a:pos x="47" y="77"/>
                  </a:cxn>
                  <a:cxn ang="0">
                    <a:pos x="36" y="85"/>
                  </a:cxn>
                  <a:cxn ang="0">
                    <a:pos x="19" y="88"/>
                  </a:cxn>
                  <a:cxn ang="0">
                    <a:pos x="15" y="83"/>
                  </a:cxn>
                  <a:cxn ang="0">
                    <a:pos x="15" y="81"/>
                  </a:cxn>
                  <a:cxn ang="0">
                    <a:pos x="22" y="79"/>
                  </a:cxn>
                  <a:cxn ang="0">
                    <a:pos x="11" y="79"/>
                  </a:cxn>
                  <a:cxn ang="0">
                    <a:pos x="11" y="77"/>
                  </a:cxn>
                  <a:cxn ang="0">
                    <a:pos x="13" y="69"/>
                  </a:cxn>
                  <a:cxn ang="0">
                    <a:pos x="30" y="66"/>
                  </a:cxn>
                  <a:cxn ang="0">
                    <a:pos x="36" y="62"/>
                  </a:cxn>
                  <a:cxn ang="0">
                    <a:pos x="41" y="64"/>
                  </a:cxn>
                  <a:cxn ang="0">
                    <a:pos x="45" y="60"/>
                  </a:cxn>
                  <a:cxn ang="0">
                    <a:pos x="52" y="64"/>
                  </a:cxn>
                  <a:cxn ang="0">
                    <a:pos x="64" y="68"/>
                  </a:cxn>
                  <a:cxn ang="0">
                    <a:pos x="69" y="66"/>
                  </a:cxn>
                  <a:cxn ang="0">
                    <a:pos x="68" y="64"/>
                  </a:cxn>
                  <a:cxn ang="0">
                    <a:pos x="54" y="58"/>
                  </a:cxn>
                  <a:cxn ang="0">
                    <a:pos x="45" y="54"/>
                  </a:cxn>
                  <a:cxn ang="0">
                    <a:pos x="36" y="54"/>
                  </a:cxn>
                  <a:cxn ang="0">
                    <a:pos x="26" y="60"/>
                  </a:cxn>
                  <a:cxn ang="0">
                    <a:pos x="15" y="62"/>
                  </a:cxn>
                  <a:cxn ang="0">
                    <a:pos x="17" y="58"/>
                  </a:cxn>
                  <a:cxn ang="0">
                    <a:pos x="13" y="54"/>
                  </a:cxn>
                  <a:cxn ang="0">
                    <a:pos x="9" y="51"/>
                  </a:cxn>
                  <a:cxn ang="0">
                    <a:pos x="0" y="39"/>
                  </a:cxn>
                  <a:cxn ang="0">
                    <a:pos x="17" y="19"/>
                  </a:cxn>
                  <a:cxn ang="0">
                    <a:pos x="17" y="13"/>
                  </a:cxn>
                </a:cxnLst>
                <a:rect l="0" t="0" r="r" b="b"/>
                <a:pathLst>
                  <a:path w="122" h="90">
                    <a:moveTo>
                      <a:pt x="17" y="13"/>
                    </a:moveTo>
                    <a:lnTo>
                      <a:pt x="20" y="9"/>
                    </a:lnTo>
                    <a:lnTo>
                      <a:pt x="24" y="9"/>
                    </a:lnTo>
                    <a:lnTo>
                      <a:pt x="26" y="7"/>
                    </a:lnTo>
                    <a:lnTo>
                      <a:pt x="36" y="5"/>
                    </a:lnTo>
                    <a:lnTo>
                      <a:pt x="47" y="0"/>
                    </a:lnTo>
                    <a:lnTo>
                      <a:pt x="51" y="0"/>
                    </a:lnTo>
                    <a:lnTo>
                      <a:pt x="60" y="5"/>
                    </a:lnTo>
                    <a:lnTo>
                      <a:pt x="64" y="5"/>
                    </a:lnTo>
                    <a:lnTo>
                      <a:pt x="68" y="9"/>
                    </a:lnTo>
                    <a:lnTo>
                      <a:pt x="68" y="13"/>
                    </a:lnTo>
                    <a:lnTo>
                      <a:pt x="71" y="13"/>
                    </a:lnTo>
                    <a:lnTo>
                      <a:pt x="75" y="13"/>
                    </a:lnTo>
                    <a:lnTo>
                      <a:pt x="75" y="13"/>
                    </a:lnTo>
                    <a:lnTo>
                      <a:pt x="77" y="13"/>
                    </a:lnTo>
                    <a:lnTo>
                      <a:pt x="81" y="13"/>
                    </a:lnTo>
                    <a:lnTo>
                      <a:pt x="81" y="19"/>
                    </a:lnTo>
                    <a:lnTo>
                      <a:pt x="86" y="22"/>
                    </a:lnTo>
                    <a:lnTo>
                      <a:pt x="86" y="26"/>
                    </a:lnTo>
                    <a:lnTo>
                      <a:pt x="90" y="28"/>
                    </a:lnTo>
                    <a:lnTo>
                      <a:pt x="90" y="32"/>
                    </a:lnTo>
                    <a:lnTo>
                      <a:pt x="92" y="32"/>
                    </a:lnTo>
                    <a:lnTo>
                      <a:pt x="98" y="36"/>
                    </a:lnTo>
                    <a:lnTo>
                      <a:pt x="100" y="39"/>
                    </a:lnTo>
                    <a:lnTo>
                      <a:pt x="101" y="39"/>
                    </a:lnTo>
                    <a:lnTo>
                      <a:pt x="101" y="45"/>
                    </a:lnTo>
                    <a:lnTo>
                      <a:pt x="103" y="45"/>
                    </a:lnTo>
                    <a:lnTo>
                      <a:pt x="101" y="54"/>
                    </a:lnTo>
                    <a:lnTo>
                      <a:pt x="101" y="58"/>
                    </a:lnTo>
                    <a:lnTo>
                      <a:pt x="105" y="60"/>
                    </a:lnTo>
                    <a:lnTo>
                      <a:pt x="109" y="66"/>
                    </a:lnTo>
                    <a:lnTo>
                      <a:pt x="111" y="68"/>
                    </a:lnTo>
                    <a:lnTo>
                      <a:pt x="113" y="68"/>
                    </a:lnTo>
                    <a:lnTo>
                      <a:pt x="115" y="69"/>
                    </a:lnTo>
                    <a:lnTo>
                      <a:pt x="116" y="71"/>
                    </a:lnTo>
                    <a:lnTo>
                      <a:pt x="118" y="75"/>
                    </a:lnTo>
                    <a:lnTo>
                      <a:pt x="118" y="77"/>
                    </a:lnTo>
                    <a:lnTo>
                      <a:pt x="116" y="79"/>
                    </a:lnTo>
                    <a:lnTo>
                      <a:pt x="118" y="83"/>
                    </a:lnTo>
                    <a:lnTo>
                      <a:pt x="122" y="85"/>
                    </a:lnTo>
                    <a:lnTo>
                      <a:pt x="122" y="88"/>
                    </a:lnTo>
                    <a:lnTo>
                      <a:pt x="122" y="90"/>
                    </a:lnTo>
                    <a:lnTo>
                      <a:pt x="120" y="88"/>
                    </a:lnTo>
                    <a:lnTo>
                      <a:pt x="116" y="88"/>
                    </a:lnTo>
                    <a:lnTo>
                      <a:pt x="115" y="85"/>
                    </a:lnTo>
                    <a:lnTo>
                      <a:pt x="111" y="85"/>
                    </a:lnTo>
                    <a:lnTo>
                      <a:pt x="107" y="88"/>
                    </a:lnTo>
                    <a:lnTo>
                      <a:pt x="101" y="85"/>
                    </a:lnTo>
                    <a:lnTo>
                      <a:pt x="96" y="85"/>
                    </a:lnTo>
                    <a:lnTo>
                      <a:pt x="92" y="83"/>
                    </a:lnTo>
                    <a:lnTo>
                      <a:pt x="86" y="79"/>
                    </a:lnTo>
                    <a:lnTo>
                      <a:pt x="73" y="79"/>
                    </a:lnTo>
                    <a:lnTo>
                      <a:pt x="69" y="79"/>
                    </a:lnTo>
                    <a:lnTo>
                      <a:pt x="69" y="79"/>
                    </a:lnTo>
                    <a:lnTo>
                      <a:pt x="66" y="77"/>
                    </a:lnTo>
                    <a:lnTo>
                      <a:pt x="47" y="77"/>
                    </a:lnTo>
                    <a:lnTo>
                      <a:pt x="41" y="81"/>
                    </a:lnTo>
                    <a:lnTo>
                      <a:pt x="36" y="85"/>
                    </a:lnTo>
                    <a:lnTo>
                      <a:pt x="24" y="85"/>
                    </a:lnTo>
                    <a:lnTo>
                      <a:pt x="19" y="88"/>
                    </a:lnTo>
                    <a:lnTo>
                      <a:pt x="13" y="85"/>
                    </a:lnTo>
                    <a:lnTo>
                      <a:pt x="15" y="83"/>
                    </a:lnTo>
                    <a:lnTo>
                      <a:pt x="13" y="81"/>
                    </a:lnTo>
                    <a:lnTo>
                      <a:pt x="15" y="81"/>
                    </a:lnTo>
                    <a:lnTo>
                      <a:pt x="19" y="83"/>
                    </a:lnTo>
                    <a:lnTo>
                      <a:pt x="22" y="79"/>
                    </a:lnTo>
                    <a:lnTo>
                      <a:pt x="15" y="77"/>
                    </a:lnTo>
                    <a:lnTo>
                      <a:pt x="11" y="79"/>
                    </a:lnTo>
                    <a:lnTo>
                      <a:pt x="9" y="79"/>
                    </a:lnTo>
                    <a:lnTo>
                      <a:pt x="11" y="77"/>
                    </a:lnTo>
                    <a:lnTo>
                      <a:pt x="11" y="71"/>
                    </a:lnTo>
                    <a:lnTo>
                      <a:pt x="13" y="69"/>
                    </a:lnTo>
                    <a:lnTo>
                      <a:pt x="26" y="69"/>
                    </a:lnTo>
                    <a:lnTo>
                      <a:pt x="30" y="66"/>
                    </a:lnTo>
                    <a:lnTo>
                      <a:pt x="34" y="66"/>
                    </a:lnTo>
                    <a:lnTo>
                      <a:pt x="36" y="62"/>
                    </a:lnTo>
                    <a:lnTo>
                      <a:pt x="39" y="62"/>
                    </a:lnTo>
                    <a:lnTo>
                      <a:pt x="41" y="64"/>
                    </a:lnTo>
                    <a:lnTo>
                      <a:pt x="45" y="62"/>
                    </a:lnTo>
                    <a:lnTo>
                      <a:pt x="45" y="60"/>
                    </a:lnTo>
                    <a:lnTo>
                      <a:pt x="51" y="64"/>
                    </a:lnTo>
                    <a:lnTo>
                      <a:pt x="52" y="64"/>
                    </a:lnTo>
                    <a:lnTo>
                      <a:pt x="58" y="66"/>
                    </a:lnTo>
                    <a:lnTo>
                      <a:pt x="64" y="68"/>
                    </a:lnTo>
                    <a:lnTo>
                      <a:pt x="69" y="68"/>
                    </a:lnTo>
                    <a:lnTo>
                      <a:pt x="69" y="66"/>
                    </a:lnTo>
                    <a:lnTo>
                      <a:pt x="69" y="64"/>
                    </a:lnTo>
                    <a:lnTo>
                      <a:pt x="68" y="64"/>
                    </a:lnTo>
                    <a:lnTo>
                      <a:pt x="58" y="58"/>
                    </a:lnTo>
                    <a:lnTo>
                      <a:pt x="54" y="58"/>
                    </a:lnTo>
                    <a:lnTo>
                      <a:pt x="51" y="54"/>
                    </a:lnTo>
                    <a:lnTo>
                      <a:pt x="45" y="54"/>
                    </a:lnTo>
                    <a:lnTo>
                      <a:pt x="41" y="54"/>
                    </a:lnTo>
                    <a:lnTo>
                      <a:pt x="36" y="54"/>
                    </a:lnTo>
                    <a:lnTo>
                      <a:pt x="30" y="60"/>
                    </a:lnTo>
                    <a:lnTo>
                      <a:pt x="26" y="60"/>
                    </a:lnTo>
                    <a:lnTo>
                      <a:pt x="24" y="62"/>
                    </a:lnTo>
                    <a:lnTo>
                      <a:pt x="15" y="62"/>
                    </a:lnTo>
                    <a:lnTo>
                      <a:pt x="15" y="60"/>
                    </a:lnTo>
                    <a:lnTo>
                      <a:pt x="17" y="58"/>
                    </a:lnTo>
                    <a:lnTo>
                      <a:pt x="13" y="54"/>
                    </a:lnTo>
                    <a:lnTo>
                      <a:pt x="13" y="54"/>
                    </a:lnTo>
                    <a:lnTo>
                      <a:pt x="13" y="51"/>
                    </a:lnTo>
                    <a:lnTo>
                      <a:pt x="9" y="51"/>
                    </a:lnTo>
                    <a:lnTo>
                      <a:pt x="5" y="45"/>
                    </a:lnTo>
                    <a:lnTo>
                      <a:pt x="0" y="39"/>
                    </a:lnTo>
                    <a:lnTo>
                      <a:pt x="11" y="28"/>
                    </a:lnTo>
                    <a:lnTo>
                      <a:pt x="17" y="19"/>
                    </a:lnTo>
                    <a:lnTo>
                      <a:pt x="17" y="13"/>
                    </a:lnTo>
                    <a:lnTo>
                      <a:pt x="17" y="13"/>
                    </a:lnTo>
                    <a:lnTo>
                      <a:pt x="17" y="1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4" name="Freeform 116"/>
              <p:cNvSpPr>
                <a:spLocks/>
              </p:cNvSpPr>
              <p:nvPr/>
            </p:nvSpPr>
            <p:spPr bwMode="auto">
              <a:xfrm>
                <a:off x="2474" y="2839"/>
                <a:ext cx="58" cy="15"/>
              </a:xfrm>
              <a:custGeom>
                <a:avLst/>
                <a:gdLst/>
                <a:ahLst/>
                <a:cxnLst>
                  <a:cxn ang="0">
                    <a:pos x="2" y="15"/>
                  </a:cxn>
                  <a:cxn ang="0">
                    <a:pos x="4" y="14"/>
                  </a:cxn>
                  <a:cxn ang="0">
                    <a:pos x="15" y="14"/>
                  </a:cxn>
                  <a:cxn ang="0">
                    <a:pos x="19" y="10"/>
                  </a:cxn>
                  <a:cxn ang="0">
                    <a:pos x="23" y="10"/>
                  </a:cxn>
                  <a:cxn ang="0">
                    <a:pos x="26" y="8"/>
                  </a:cxn>
                  <a:cxn ang="0">
                    <a:pos x="28" y="8"/>
                  </a:cxn>
                  <a:cxn ang="0">
                    <a:pos x="30" y="10"/>
                  </a:cxn>
                  <a:cxn ang="0">
                    <a:pos x="34" y="8"/>
                  </a:cxn>
                  <a:cxn ang="0">
                    <a:pos x="34" y="6"/>
                  </a:cxn>
                  <a:cxn ang="0">
                    <a:pos x="38" y="10"/>
                  </a:cxn>
                  <a:cxn ang="0">
                    <a:pos x="41" y="10"/>
                  </a:cxn>
                  <a:cxn ang="0">
                    <a:pos x="47" y="10"/>
                  </a:cxn>
                  <a:cxn ang="0">
                    <a:pos x="53" y="14"/>
                  </a:cxn>
                  <a:cxn ang="0">
                    <a:pos x="58" y="14"/>
                  </a:cxn>
                  <a:cxn ang="0">
                    <a:pos x="58" y="10"/>
                  </a:cxn>
                  <a:cxn ang="0">
                    <a:pos x="58" y="10"/>
                  </a:cxn>
                  <a:cxn ang="0">
                    <a:pos x="55" y="10"/>
                  </a:cxn>
                  <a:cxn ang="0">
                    <a:pos x="47" y="4"/>
                  </a:cxn>
                  <a:cxn ang="0">
                    <a:pos x="43" y="4"/>
                  </a:cxn>
                  <a:cxn ang="0">
                    <a:pos x="38" y="0"/>
                  </a:cxn>
                  <a:cxn ang="0">
                    <a:pos x="34" y="0"/>
                  </a:cxn>
                  <a:cxn ang="0">
                    <a:pos x="30" y="0"/>
                  </a:cxn>
                  <a:cxn ang="0">
                    <a:pos x="26" y="0"/>
                  </a:cxn>
                  <a:cxn ang="0">
                    <a:pos x="19" y="6"/>
                  </a:cxn>
                  <a:cxn ang="0">
                    <a:pos x="15" y="6"/>
                  </a:cxn>
                  <a:cxn ang="0">
                    <a:pos x="13" y="8"/>
                  </a:cxn>
                  <a:cxn ang="0">
                    <a:pos x="6" y="8"/>
                  </a:cxn>
                  <a:cxn ang="0">
                    <a:pos x="6" y="10"/>
                  </a:cxn>
                  <a:cxn ang="0">
                    <a:pos x="9" y="14"/>
                  </a:cxn>
                  <a:cxn ang="0">
                    <a:pos x="15" y="10"/>
                  </a:cxn>
                  <a:cxn ang="0">
                    <a:pos x="11" y="14"/>
                  </a:cxn>
                  <a:cxn ang="0">
                    <a:pos x="6" y="14"/>
                  </a:cxn>
                  <a:cxn ang="0">
                    <a:pos x="4" y="10"/>
                  </a:cxn>
                  <a:cxn ang="0">
                    <a:pos x="0" y="14"/>
                  </a:cxn>
                  <a:cxn ang="0">
                    <a:pos x="2" y="14"/>
                  </a:cxn>
                  <a:cxn ang="0">
                    <a:pos x="2" y="15"/>
                  </a:cxn>
                  <a:cxn ang="0">
                    <a:pos x="2" y="15"/>
                  </a:cxn>
                  <a:cxn ang="0">
                    <a:pos x="2" y="15"/>
                  </a:cxn>
                </a:cxnLst>
                <a:rect l="0" t="0" r="r" b="b"/>
                <a:pathLst>
                  <a:path w="58" h="15">
                    <a:moveTo>
                      <a:pt x="2" y="15"/>
                    </a:moveTo>
                    <a:lnTo>
                      <a:pt x="4" y="14"/>
                    </a:lnTo>
                    <a:lnTo>
                      <a:pt x="15" y="14"/>
                    </a:lnTo>
                    <a:lnTo>
                      <a:pt x="19" y="10"/>
                    </a:lnTo>
                    <a:lnTo>
                      <a:pt x="23" y="10"/>
                    </a:lnTo>
                    <a:lnTo>
                      <a:pt x="26" y="8"/>
                    </a:lnTo>
                    <a:lnTo>
                      <a:pt x="28" y="8"/>
                    </a:lnTo>
                    <a:lnTo>
                      <a:pt x="30" y="10"/>
                    </a:lnTo>
                    <a:lnTo>
                      <a:pt x="34" y="8"/>
                    </a:lnTo>
                    <a:lnTo>
                      <a:pt x="34" y="6"/>
                    </a:lnTo>
                    <a:lnTo>
                      <a:pt x="38" y="10"/>
                    </a:lnTo>
                    <a:lnTo>
                      <a:pt x="41" y="10"/>
                    </a:lnTo>
                    <a:lnTo>
                      <a:pt x="47" y="10"/>
                    </a:lnTo>
                    <a:lnTo>
                      <a:pt x="53" y="14"/>
                    </a:lnTo>
                    <a:lnTo>
                      <a:pt x="58" y="14"/>
                    </a:lnTo>
                    <a:lnTo>
                      <a:pt x="58" y="10"/>
                    </a:lnTo>
                    <a:lnTo>
                      <a:pt x="58" y="10"/>
                    </a:lnTo>
                    <a:lnTo>
                      <a:pt x="55" y="10"/>
                    </a:lnTo>
                    <a:lnTo>
                      <a:pt x="47" y="4"/>
                    </a:lnTo>
                    <a:lnTo>
                      <a:pt x="43" y="4"/>
                    </a:lnTo>
                    <a:lnTo>
                      <a:pt x="38" y="0"/>
                    </a:lnTo>
                    <a:lnTo>
                      <a:pt x="34" y="0"/>
                    </a:lnTo>
                    <a:lnTo>
                      <a:pt x="30" y="0"/>
                    </a:lnTo>
                    <a:lnTo>
                      <a:pt x="26" y="0"/>
                    </a:lnTo>
                    <a:lnTo>
                      <a:pt x="19" y="6"/>
                    </a:lnTo>
                    <a:lnTo>
                      <a:pt x="15" y="6"/>
                    </a:lnTo>
                    <a:lnTo>
                      <a:pt x="13" y="8"/>
                    </a:lnTo>
                    <a:lnTo>
                      <a:pt x="6" y="8"/>
                    </a:lnTo>
                    <a:lnTo>
                      <a:pt x="6" y="10"/>
                    </a:lnTo>
                    <a:lnTo>
                      <a:pt x="9" y="14"/>
                    </a:lnTo>
                    <a:lnTo>
                      <a:pt x="15" y="10"/>
                    </a:lnTo>
                    <a:lnTo>
                      <a:pt x="11" y="14"/>
                    </a:lnTo>
                    <a:lnTo>
                      <a:pt x="6" y="14"/>
                    </a:lnTo>
                    <a:lnTo>
                      <a:pt x="4" y="10"/>
                    </a:lnTo>
                    <a:lnTo>
                      <a:pt x="0" y="14"/>
                    </a:lnTo>
                    <a:lnTo>
                      <a:pt x="2" y="14"/>
                    </a:lnTo>
                    <a:lnTo>
                      <a:pt x="2" y="15"/>
                    </a:lnTo>
                    <a:lnTo>
                      <a:pt x="2" y="15"/>
                    </a:lnTo>
                    <a:lnTo>
                      <a:pt x="2"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5" name="Freeform 117"/>
              <p:cNvSpPr>
                <a:spLocks/>
              </p:cNvSpPr>
              <p:nvPr/>
            </p:nvSpPr>
            <p:spPr bwMode="auto">
              <a:xfrm>
                <a:off x="2480" y="2860"/>
                <a:ext cx="52" cy="36"/>
              </a:xfrm>
              <a:custGeom>
                <a:avLst/>
                <a:gdLst/>
                <a:ahLst/>
                <a:cxnLst>
                  <a:cxn ang="0">
                    <a:pos x="0" y="8"/>
                  </a:cxn>
                  <a:cxn ang="0">
                    <a:pos x="3" y="11"/>
                  </a:cxn>
                  <a:cxn ang="0">
                    <a:pos x="9" y="6"/>
                  </a:cxn>
                  <a:cxn ang="0">
                    <a:pos x="20" y="6"/>
                  </a:cxn>
                  <a:cxn ang="0">
                    <a:pos x="24" y="2"/>
                  </a:cxn>
                  <a:cxn ang="0">
                    <a:pos x="30" y="0"/>
                  </a:cxn>
                  <a:cxn ang="0">
                    <a:pos x="47" y="0"/>
                  </a:cxn>
                  <a:cxn ang="0">
                    <a:pos x="51" y="0"/>
                  </a:cxn>
                  <a:cxn ang="0">
                    <a:pos x="52" y="6"/>
                  </a:cxn>
                  <a:cxn ang="0">
                    <a:pos x="51" y="11"/>
                  </a:cxn>
                  <a:cxn ang="0">
                    <a:pos x="51" y="17"/>
                  </a:cxn>
                  <a:cxn ang="0">
                    <a:pos x="52" y="19"/>
                  </a:cxn>
                  <a:cxn ang="0">
                    <a:pos x="52" y="23"/>
                  </a:cxn>
                  <a:cxn ang="0">
                    <a:pos x="51" y="26"/>
                  </a:cxn>
                  <a:cxn ang="0">
                    <a:pos x="43" y="26"/>
                  </a:cxn>
                  <a:cxn ang="0">
                    <a:pos x="39" y="28"/>
                  </a:cxn>
                  <a:cxn ang="0">
                    <a:pos x="35" y="30"/>
                  </a:cxn>
                  <a:cxn ang="0">
                    <a:pos x="34" y="34"/>
                  </a:cxn>
                  <a:cxn ang="0">
                    <a:pos x="28" y="36"/>
                  </a:cxn>
                  <a:cxn ang="0">
                    <a:pos x="28" y="34"/>
                  </a:cxn>
                  <a:cxn ang="0">
                    <a:pos x="28" y="32"/>
                  </a:cxn>
                  <a:cxn ang="0">
                    <a:pos x="22" y="32"/>
                  </a:cxn>
                  <a:cxn ang="0">
                    <a:pos x="24" y="26"/>
                  </a:cxn>
                  <a:cxn ang="0">
                    <a:pos x="24" y="26"/>
                  </a:cxn>
                  <a:cxn ang="0">
                    <a:pos x="24" y="26"/>
                  </a:cxn>
                  <a:cxn ang="0">
                    <a:pos x="22" y="23"/>
                  </a:cxn>
                  <a:cxn ang="0">
                    <a:pos x="20" y="23"/>
                  </a:cxn>
                  <a:cxn ang="0">
                    <a:pos x="19" y="21"/>
                  </a:cxn>
                  <a:cxn ang="0">
                    <a:pos x="28" y="21"/>
                  </a:cxn>
                  <a:cxn ang="0">
                    <a:pos x="28" y="21"/>
                  </a:cxn>
                  <a:cxn ang="0">
                    <a:pos x="24" y="17"/>
                  </a:cxn>
                  <a:cxn ang="0">
                    <a:pos x="20" y="19"/>
                  </a:cxn>
                  <a:cxn ang="0">
                    <a:pos x="15" y="19"/>
                  </a:cxn>
                  <a:cxn ang="0">
                    <a:pos x="15" y="19"/>
                  </a:cxn>
                  <a:cxn ang="0">
                    <a:pos x="11" y="17"/>
                  </a:cxn>
                  <a:cxn ang="0">
                    <a:pos x="9" y="17"/>
                  </a:cxn>
                  <a:cxn ang="0">
                    <a:pos x="5" y="13"/>
                  </a:cxn>
                  <a:cxn ang="0">
                    <a:pos x="9" y="11"/>
                  </a:cxn>
                  <a:cxn ang="0">
                    <a:pos x="7" y="11"/>
                  </a:cxn>
                  <a:cxn ang="0">
                    <a:pos x="0" y="11"/>
                  </a:cxn>
                  <a:cxn ang="0">
                    <a:pos x="0" y="8"/>
                  </a:cxn>
                  <a:cxn ang="0">
                    <a:pos x="0" y="8"/>
                  </a:cxn>
                  <a:cxn ang="0">
                    <a:pos x="0" y="8"/>
                  </a:cxn>
                  <a:cxn ang="0">
                    <a:pos x="0" y="8"/>
                  </a:cxn>
                </a:cxnLst>
                <a:rect l="0" t="0" r="r" b="b"/>
                <a:pathLst>
                  <a:path w="52" h="36">
                    <a:moveTo>
                      <a:pt x="0" y="8"/>
                    </a:moveTo>
                    <a:lnTo>
                      <a:pt x="3" y="11"/>
                    </a:lnTo>
                    <a:lnTo>
                      <a:pt x="9" y="6"/>
                    </a:lnTo>
                    <a:lnTo>
                      <a:pt x="20" y="6"/>
                    </a:lnTo>
                    <a:lnTo>
                      <a:pt x="24" y="2"/>
                    </a:lnTo>
                    <a:lnTo>
                      <a:pt x="30" y="0"/>
                    </a:lnTo>
                    <a:lnTo>
                      <a:pt x="47" y="0"/>
                    </a:lnTo>
                    <a:lnTo>
                      <a:pt x="51" y="0"/>
                    </a:lnTo>
                    <a:lnTo>
                      <a:pt x="52" y="6"/>
                    </a:lnTo>
                    <a:lnTo>
                      <a:pt x="51" y="11"/>
                    </a:lnTo>
                    <a:lnTo>
                      <a:pt x="51" y="17"/>
                    </a:lnTo>
                    <a:lnTo>
                      <a:pt x="52" y="19"/>
                    </a:lnTo>
                    <a:lnTo>
                      <a:pt x="52" y="23"/>
                    </a:lnTo>
                    <a:lnTo>
                      <a:pt x="51" y="26"/>
                    </a:lnTo>
                    <a:lnTo>
                      <a:pt x="43" y="26"/>
                    </a:lnTo>
                    <a:lnTo>
                      <a:pt x="39" y="28"/>
                    </a:lnTo>
                    <a:lnTo>
                      <a:pt x="35" y="30"/>
                    </a:lnTo>
                    <a:lnTo>
                      <a:pt x="34" y="34"/>
                    </a:lnTo>
                    <a:lnTo>
                      <a:pt x="28" y="36"/>
                    </a:lnTo>
                    <a:lnTo>
                      <a:pt x="28" y="34"/>
                    </a:lnTo>
                    <a:lnTo>
                      <a:pt x="28" y="32"/>
                    </a:lnTo>
                    <a:lnTo>
                      <a:pt x="22" y="32"/>
                    </a:lnTo>
                    <a:lnTo>
                      <a:pt x="24" y="26"/>
                    </a:lnTo>
                    <a:lnTo>
                      <a:pt x="24" y="26"/>
                    </a:lnTo>
                    <a:lnTo>
                      <a:pt x="24" y="26"/>
                    </a:lnTo>
                    <a:lnTo>
                      <a:pt x="22" y="23"/>
                    </a:lnTo>
                    <a:lnTo>
                      <a:pt x="20" y="23"/>
                    </a:lnTo>
                    <a:lnTo>
                      <a:pt x="19" y="21"/>
                    </a:lnTo>
                    <a:lnTo>
                      <a:pt x="28" y="21"/>
                    </a:lnTo>
                    <a:lnTo>
                      <a:pt x="28" y="21"/>
                    </a:lnTo>
                    <a:lnTo>
                      <a:pt x="24" y="17"/>
                    </a:lnTo>
                    <a:lnTo>
                      <a:pt x="20" y="19"/>
                    </a:lnTo>
                    <a:lnTo>
                      <a:pt x="15" y="19"/>
                    </a:lnTo>
                    <a:lnTo>
                      <a:pt x="15" y="19"/>
                    </a:lnTo>
                    <a:lnTo>
                      <a:pt x="11" y="17"/>
                    </a:lnTo>
                    <a:lnTo>
                      <a:pt x="9" y="17"/>
                    </a:lnTo>
                    <a:lnTo>
                      <a:pt x="5" y="13"/>
                    </a:lnTo>
                    <a:lnTo>
                      <a:pt x="9" y="11"/>
                    </a:lnTo>
                    <a:lnTo>
                      <a:pt x="7" y="11"/>
                    </a:lnTo>
                    <a:lnTo>
                      <a:pt x="0" y="11"/>
                    </a:lnTo>
                    <a:lnTo>
                      <a:pt x="0" y="8"/>
                    </a:lnTo>
                    <a:lnTo>
                      <a:pt x="0" y="8"/>
                    </a:lnTo>
                    <a:lnTo>
                      <a:pt x="0" y="8"/>
                    </a:lnTo>
                    <a:lnTo>
                      <a:pt x="0" y="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6" name="Freeform 118"/>
              <p:cNvSpPr>
                <a:spLocks/>
              </p:cNvSpPr>
              <p:nvPr/>
            </p:nvSpPr>
            <p:spPr bwMode="auto">
              <a:xfrm>
                <a:off x="2515" y="2860"/>
                <a:ext cx="128" cy="132"/>
              </a:xfrm>
              <a:custGeom>
                <a:avLst/>
                <a:gdLst/>
                <a:ahLst/>
                <a:cxnLst>
                  <a:cxn ang="0">
                    <a:pos x="2" y="28"/>
                  </a:cxn>
                  <a:cxn ang="0">
                    <a:pos x="12" y="25"/>
                  </a:cxn>
                  <a:cxn ang="0">
                    <a:pos x="19" y="21"/>
                  </a:cxn>
                  <a:cxn ang="0">
                    <a:pos x="19" y="15"/>
                  </a:cxn>
                  <a:cxn ang="0">
                    <a:pos x="19" y="6"/>
                  </a:cxn>
                  <a:cxn ang="0">
                    <a:pos x="21" y="0"/>
                  </a:cxn>
                  <a:cxn ang="0">
                    <a:pos x="40" y="4"/>
                  </a:cxn>
                  <a:cxn ang="0">
                    <a:pos x="49" y="6"/>
                  </a:cxn>
                  <a:cxn ang="0">
                    <a:pos x="57" y="6"/>
                  </a:cxn>
                  <a:cxn ang="0">
                    <a:pos x="63" y="10"/>
                  </a:cxn>
                  <a:cxn ang="0">
                    <a:pos x="68" y="11"/>
                  </a:cxn>
                  <a:cxn ang="0">
                    <a:pos x="72" y="10"/>
                  </a:cxn>
                  <a:cxn ang="0">
                    <a:pos x="80" y="15"/>
                  </a:cxn>
                  <a:cxn ang="0">
                    <a:pos x="87" y="11"/>
                  </a:cxn>
                  <a:cxn ang="0">
                    <a:pos x="93" y="6"/>
                  </a:cxn>
                  <a:cxn ang="0">
                    <a:pos x="102" y="10"/>
                  </a:cxn>
                  <a:cxn ang="0">
                    <a:pos x="106" y="6"/>
                  </a:cxn>
                  <a:cxn ang="0">
                    <a:pos x="110" y="11"/>
                  </a:cxn>
                  <a:cxn ang="0">
                    <a:pos x="112" y="21"/>
                  </a:cxn>
                  <a:cxn ang="0">
                    <a:pos x="117" y="25"/>
                  </a:cxn>
                  <a:cxn ang="0">
                    <a:pos x="113" y="30"/>
                  </a:cxn>
                  <a:cxn ang="0">
                    <a:pos x="115" y="36"/>
                  </a:cxn>
                  <a:cxn ang="0">
                    <a:pos x="119" y="32"/>
                  </a:cxn>
                  <a:cxn ang="0">
                    <a:pos x="121" y="38"/>
                  </a:cxn>
                  <a:cxn ang="0">
                    <a:pos x="125" y="42"/>
                  </a:cxn>
                  <a:cxn ang="0">
                    <a:pos x="128" y="45"/>
                  </a:cxn>
                  <a:cxn ang="0">
                    <a:pos x="119" y="49"/>
                  </a:cxn>
                  <a:cxn ang="0">
                    <a:pos x="121" y="55"/>
                  </a:cxn>
                  <a:cxn ang="0">
                    <a:pos x="121" y="64"/>
                  </a:cxn>
                  <a:cxn ang="0">
                    <a:pos x="123" y="74"/>
                  </a:cxn>
                  <a:cxn ang="0">
                    <a:pos x="125" y="79"/>
                  </a:cxn>
                  <a:cxn ang="0">
                    <a:pos x="119" y="81"/>
                  </a:cxn>
                  <a:cxn ang="0">
                    <a:pos x="123" y="87"/>
                  </a:cxn>
                  <a:cxn ang="0">
                    <a:pos x="125" y="92"/>
                  </a:cxn>
                  <a:cxn ang="0">
                    <a:pos x="115" y="106"/>
                  </a:cxn>
                  <a:cxn ang="0">
                    <a:pos x="115" y="111"/>
                  </a:cxn>
                  <a:cxn ang="0">
                    <a:pos x="110" y="121"/>
                  </a:cxn>
                  <a:cxn ang="0">
                    <a:pos x="83" y="132"/>
                  </a:cxn>
                  <a:cxn ang="0">
                    <a:pos x="76" y="126"/>
                  </a:cxn>
                  <a:cxn ang="0">
                    <a:pos x="68" y="121"/>
                  </a:cxn>
                  <a:cxn ang="0">
                    <a:pos x="68" y="115"/>
                  </a:cxn>
                  <a:cxn ang="0">
                    <a:pos x="76" y="85"/>
                  </a:cxn>
                  <a:cxn ang="0">
                    <a:pos x="76" y="81"/>
                  </a:cxn>
                  <a:cxn ang="0">
                    <a:pos x="78" y="77"/>
                  </a:cxn>
                  <a:cxn ang="0">
                    <a:pos x="76" y="70"/>
                  </a:cxn>
                  <a:cxn ang="0">
                    <a:pos x="72" y="60"/>
                  </a:cxn>
                  <a:cxn ang="0">
                    <a:pos x="66" y="51"/>
                  </a:cxn>
                  <a:cxn ang="0">
                    <a:pos x="48" y="51"/>
                  </a:cxn>
                  <a:cxn ang="0">
                    <a:pos x="38" y="60"/>
                  </a:cxn>
                  <a:cxn ang="0">
                    <a:pos x="34" y="66"/>
                  </a:cxn>
                  <a:cxn ang="0">
                    <a:pos x="29" y="64"/>
                  </a:cxn>
                  <a:cxn ang="0">
                    <a:pos x="21" y="57"/>
                  </a:cxn>
                  <a:cxn ang="0">
                    <a:pos x="16" y="55"/>
                  </a:cxn>
                  <a:cxn ang="0">
                    <a:pos x="19" y="49"/>
                  </a:cxn>
                  <a:cxn ang="0">
                    <a:pos x="14" y="51"/>
                  </a:cxn>
                  <a:cxn ang="0">
                    <a:pos x="6" y="49"/>
                  </a:cxn>
                  <a:cxn ang="0">
                    <a:pos x="4" y="36"/>
                  </a:cxn>
                  <a:cxn ang="0">
                    <a:pos x="0" y="32"/>
                  </a:cxn>
                  <a:cxn ang="0">
                    <a:pos x="0" y="32"/>
                  </a:cxn>
                </a:cxnLst>
                <a:rect l="0" t="0" r="r" b="b"/>
                <a:pathLst>
                  <a:path w="128" h="132">
                    <a:moveTo>
                      <a:pt x="0" y="32"/>
                    </a:moveTo>
                    <a:lnTo>
                      <a:pt x="2" y="28"/>
                    </a:lnTo>
                    <a:lnTo>
                      <a:pt x="6" y="26"/>
                    </a:lnTo>
                    <a:lnTo>
                      <a:pt x="12" y="25"/>
                    </a:lnTo>
                    <a:lnTo>
                      <a:pt x="19" y="25"/>
                    </a:lnTo>
                    <a:lnTo>
                      <a:pt x="19" y="21"/>
                    </a:lnTo>
                    <a:lnTo>
                      <a:pt x="19" y="17"/>
                    </a:lnTo>
                    <a:lnTo>
                      <a:pt x="19" y="15"/>
                    </a:lnTo>
                    <a:lnTo>
                      <a:pt x="19" y="10"/>
                    </a:lnTo>
                    <a:lnTo>
                      <a:pt x="19" y="6"/>
                    </a:lnTo>
                    <a:lnTo>
                      <a:pt x="19" y="0"/>
                    </a:lnTo>
                    <a:lnTo>
                      <a:pt x="21" y="0"/>
                    </a:lnTo>
                    <a:lnTo>
                      <a:pt x="34" y="0"/>
                    </a:lnTo>
                    <a:lnTo>
                      <a:pt x="40" y="4"/>
                    </a:lnTo>
                    <a:lnTo>
                      <a:pt x="44" y="6"/>
                    </a:lnTo>
                    <a:lnTo>
                      <a:pt x="49" y="6"/>
                    </a:lnTo>
                    <a:lnTo>
                      <a:pt x="53" y="10"/>
                    </a:lnTo>
                    <a:lnTo>
                      <a:pt x="57" y="6"/>
                    </a:lnTo>
                    <a:lnTo>
                      <a:pt x="61" y="6"/>
                    </a:lnTo>
                    <a:lnTo>
                      <a:pt x="63" y="10"/>
                    </a:lnTo>
                    <a:lnTo>
                      <a:pt x="66" y="10"/>
                    </a:lnTo>
                    <a:lnTo>
                      <a:pt x="68" y="11"/>
                    </a:lnTo>
                    <a:lnTo>
                      <a:pt x="68" y="11"/>
                    </a:lnTo>
                    <a:lnTo>
                      <a:pt x="72" y="10"/>
                    </a:lnTo>
                    <a:lnTo>
                      <a:pt x="76" y="11"/>
                    </a:lnTo>
                    <a:lnTo>
                      <a:pt x="80" y="15"/>
                    </a:lnTo>
                    <a:lnTo>
                      <a:pt x="83" y="15"/>
                    </a:lnTo>
                    <a:lnTo>
                      <a:pt x="87" y="11"/>
                    </a:lnTo>
                    <a:lnTo>
                      <a:pt x="91" y="11"/>
                    </a:lnTo>
                    <a:lnTo>
                      <a:pt x="93" y="6"/>
                    </a:lnTo>
                    <a:lnTo>
                      <a:pt x="96" y="6"/>
                    </a:lnTo>
                    <a:lnTo>
                      <a:pt x="102" y="10"/>
                    </a:lnTo>
                    <a:lnTo>
                      <a:pt x="104" y="6"/>
                    </a:lnTo>
                    <a:lnTo>
                      <a:pt x="106" y="6"/>
                    </a:lnTo>
                    <a:lnTo>
                      <a:pt x="106" y="10"/>
                    </a:lnTo>
                    <a:lnTo>
                      <a:pt x="110" y="11"/>
                    </a:lnTo>
                    <a:lnTo>
                      <a:pt x="112" y="15"/>
                    </a:lnTo>
                    <a:lnTo>
                      <a:pt x="112" y="21"/>
                    </a:lnTo>
                    <a:lnTo>
                      <a:pt x="113" y="25"/>
                    </a:lnTo>
                    <a:lnTo>
                      <a:pt x="117" y="25"/>
                    </a:lnTo>
                    <a:lnTo>
                      <a:pt x="117" y="25"/>
                    </a:lnTo>
                    <a:lnTo>
                      <a:pt x="113" y="30"/>
                    </a:lnTo>
                    <a:lnTo>
                      <a:pt x="112" y="36"/>
                    </a:lnTo>
                    <a:lnTo>
                      <a:pt x="115" y="36"/>
                    </a:lnTo>
                    <a:lnTo>
                      <a:pt x="117" y="32"/>
                    </a:lnTo>
                    <a:lnTo>
                      <a:pt x="119" y="32"/>
                    </a:lnTo>
                    <a:lnTo>
                      <a:pt x="119" y="36"/>
                    </a:lnTo>
                    <a:lnTo>
                      <a:pt x="121" y="38"/>
                    </a:lnTo>
                    <a:lnTo>
                      <a:pt x="121" y="42"/>
                    </a:lnTo>
                    <a:lnTo>
                      <a:pt x="125" y="42"/>
                    </a:lnTo>
                    <a:lnTo>
                      <a:pt x="128" y="42"/>
                    </a:lnTo>
                    <a:lnTo>
                      <a:pt x="128" y="45"/>
                    </a:lnTo>
                    <a:lnTo>
                      <a:pt x="125" y="47"/>
                    </a:lnTo>
                    <a:lnTo>
                      <a:pt x="119" y="49"/>
                    </a:lnTo>
                    <a:lnTo>
                      <a:pt x="119" y="51"/>
                    </a:lnTo>
                    <a:lnTo>
                      <a:pt x="121" y="55"/>
                    </a:lnTo>
                    <a:lnTo>
                      <a:pt x="121" y="60"/>
                    </a:lnTo>
                    <a:lnTo>
                      <a:pt x="121" y="64"/>
                    </a:lnTo>
                    <a:lnTo>
                      <a:pt x="121" y="72"/>
                    </a:lnTo>
                    <a:lnTo>
                      <a:pt x="123" y="74"/>
                    </a:lnTo>
                    <a:lnTo>
                      <a:pt x="125" y="77"/>
                    </a:lnTo>
                    <a:lnTo>
                      <a:pt x="125" y="79"/>
                    </a:lnTo>
                    <a:lnTo>
                      <a:pt x="123" y="79"/>
                    </a:lnTo>
                    <a:lnTo>
                      <a:pt x="119" y="81"/>
                    </a:lnTo>
                    <a:lnTo>
                      <a:pt x="119" y="83"/>
                    </a:lnTo>
                    <a:lnTo>
                      <a:pt x="123" y="87"/>
                    </a:lnTo>
                    <a:lnTo>
                      <a:pt x="125" y="89"/>
                    </a:lnTo>
                    <a:lnTo>
                      <a:pt x="125" y="92"/>
                    </a:lnTo>
                    <a:lnTo>
                      <a:pt x="119" y="102"/>
                    </a:lnTo>
                    <a:lnTo>
                      <a:pt x="115" y="106"/>
                    </a:lnTo>
                    <a:lnTo>
                      <a:pt x="115" y="106"/>
                    </a:lnTo>
                    <a:lnTo>
                      <a:pt x="115" y="111"/>
                    </a:lnTo>
                    <a:lnTo>
                      <a:pt x="113" y="117"/>
                    </a:lnTo>
                    <a:lnTo>
                      <a:pt x="110" y="121"/>
                    </a:lnTo>
                    <a:lnTo>
                      <a:pt x="110" y="123"/>
                    </a:lnTo>
                    <a:lnTo>
                      <a:pt x="83" y="132"/>
                    </a:lnTo>
                    <a:lnTo>
                      <a:pt x="78" y="126"/>
                    </a:lnTo>
                    <a:lnTo>
                      <a:pt x="76" y="126"/>
                    </a:lnTo>
                    <a:lnTo>
                      <a:pt x="68" y="121"/>
                    </a:lnTo>
                    <a:lnTo>
                      <a:pt x="68" y="121"/>
                    </a:lnTo>
                    <a:lnTo>
                      <a:pt x="68" y="115"/>
                    </a:lnTo>
                    <a:lnTo>
                      <a:pt x="68" y="115"/>
                    </a:lnTo>
                    <a:lnTo>
                      <a:pt x="76" y="111"/>
                    </a:lnTo>
                    <a:lnTo>
                      <a:pt x="76" y="85"/>
                    </a:lnTo>
                    <a:lnTo>
                      <a:pt x="78" y="81"/>
                    </a:lnTo>
                    <a:lnTo>
                      <a:pt x="76" y="81"/>
                    </a:lnTo>
                    <a:lnTo>
                      <a:pt x="76" y="77"/>
                    </a:lnTo>
                    <a:lnTo>
                      <a:pt x="78" y="77"/>
                    </a:lnTo>
                    <a:lnTo>
                      <a:pt x="78" y="74"/>
                    </a:lnTo>
                    <a:lnTo>
                      <a:pt x="76" y="70"/>
                    </a:lnTo>
                    <a:lnTo>
                      <a:pt x="76" y="66"/>
                    </a:lnTo>
                    <a:lnTo>
                      <a:pt x="72" y="60"/>
                    </a:lnTo>
                    <a:lnTo>
                      <a:pt x="68" y="57"/>
                    </a:lnTo>
                    <a:lnTo>
                      <a:pt x="66" y="51"/>
                    </a:lnTo>
                    <a:lnTo>
                      <a:pt x="49" y="51"/>
                    </a:lnTo>
                    <a:lnTo>
                      <a:pt x="48" y="51"/>
                    </a:lnTo>
                    <a:lnTo>
                      <a:pt x="44" y="57"/>
                    </a:lnTo>
                    <a:lnTo>
                      <a:pt x="38" y="60"/>
                    </a:lnTo>
                    <a:lnTo>
                      <a:pt x="38" y="62"/>
                    </a:lnTo>
                    <a:lnTo>
                      <a:pt x="34" y="66"/>
                    </a:lnTo>
                    <a:lnTo>
                      <a:pt x="31" y="66"/>
                    </a:lnTo>
                    <a:lnTo>
                      <a:pt x="29" y="64"/>
                    </a:lnTo>
                    <a:lnTo>
                      <a:pt x="23" y="60"/>
                    </a:lnTo>
                    <a:lnTo>
                      <a:pt x="21" y="57"/>
                    </a:lnTo>
                    <a:lnTo>
                      <a:pt x="19" y="57"/>
                    </a:lnTo>
                    <a:lnTo>
                      <a:pt x="16" y="55"/>
                    </a:lnTo>
                    <a:lnTo>
                      <a:pt x="16" y="51"/>
                    </a:lnTo>
                    <a:lnTo>
                      <a:pt x="19" y="49"/>
                    </a:lnTo>
                    <a:lnTo>
                      <a:pt x="16" y="49"/>
                    </a:lnTo>
                    <a:lnTo>
                      <a:pt x="14" y="51"/>
                    </a:lnTo>
                    <a:lnTo>
                      <a:pt x="10" y="49"/>
                    </a:lnTo>
                    <a:lnTo>
                      <a:pt x="6" y="49"/>
                    </a:lnTo>
                    <a:lnTo>
                      <a:pt x="2" y="42"/>
                    </a:lnTo>
                    <a:lnTo>
                      <a:pt x="4" y="36"/>
                    </a:lnTo>
                    <a:lnTo>
                      <a:pt x="0" y="32"/>
                    </a:lnTo>
                    <a:lnTo>
                      <a:pt x="0" y="32"/>
                    </a:lnTo>
                    <a:lnTo>
                      <a:pt x="0" y="32"/>
                    </a:lnTo>
                    <a:lnTo>
                      <a:pt x="0" y="3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7" name="Freeform 119"/>
              <p:cNvSpPr>
                <a:spLocks noEditPoints="1"/>
              </p:cNvSpPr>
              <p:nvPr/>
            </p:nvSpPr>
            <p:spPr bwMode="auto">
              <a:xfrm>
                <a:off x="2542" y="2913"/>
                <a:ext cx="53" cy="64"/>
              </a:xfrm>
              <a:custGeom>
                <a:avLst/>
                <a:gdLst/>
                <a:ahLst/>
                <a:cxnLst>
                  <a:cxn ang="0">
                    <a:pos x="15" y="54"/>
                  </a:cxn>
                  <a:cxn ang="0">
                    <a:pos x="15" y="51"/>
                  </a:cxn>
                  <a:cxn ang="0">
                    <a:pos x="13" y="49"/>
                  </a:cxn>
                  <a:cxn ang="0">
                    <a:pos x="11" y="49"/>
                  </a:cxn>
                  <a:cxn ang="0">
                    <a:pos x="9" y="51"/>
                  </a:cxn>
                  <a:cxn ang="0">
                    <a:pos x="11" y="53"/>
                  </a:cxn>
                  <a:cxn ang="0">
                    <a:pos x="13" y="54"/>
                  </a:cxn>
                  <a:cxn ang="0">
                    <a:pos x="15" y="54"/>
                  </a:cxn>
                  <a:cxn ang="0">
                    <a:pos x="15" y="54"/>
                  </a:cxn>
                  <a:cxn ang="0">
                    <a:pos x="15" y="54"/>
                  </a:cxn>
                  <a:cxn ang="0">
                    <a:pos x="15" y="54"/>
                  </a:cxn>
                  <a:cxn ang="0">
                    <a:pos x="2" y="15"/>
                  </a:cxn>
                  <a:cxn ang="0">
                    <a:pos x="5" y="15"/>
                  </a:cxn>
                  <a:cxn ang="0">
                    <a:pos x="11" y="11"/>
                  </a:cxn>
                  <a:cxn ang="0">
                    <a:pos x="11" y="9"/>
                  </a:cxn>
                  <a:cxn ang="0">
                    <a:pos x="17" y="6"/>
                  </a:cxn>
                  <a:cxn ang="0">
                    <a:pos x="21" y="2"/>
                  </a:cxn>
                  <a:cxn ang="0">
                    <a:pos x="24" y="0"/>
                  </a:cxn>
                  <a:cxn ang="0">
                    <a:pos x="41" y="0"/>
                  </a:cxn>
                  <a:cxn ang="0">
                    <a:pos x="43" y="6"/>
                  </a:cxn>
                  <a:cxn ang="0">
                    <a:pos x="47" y="9"/>
                  </a:cxn>
                  <a:cxn ang="0">
                    <a:pos x="51" y="15"/>
                  </a:cxn>
                  <a:cxn ang="0">
                    <a:pos x="51" y="19"/>
                  </a:cxn>
                  <a:cxn ang="0">
                    <a:pos x="53" y="22"/>
                  </a:cxn>
                  <a:cxn ang="0">
                    <a:pos x="53" y="26"/>
                  </a:cxn>
                  <a:cxn ang="0">
                    <a:pos x="53" y="26"/>
                  </a:cxn>
                  <a:cxn ang="0">
                    <a:pos x="51" y="30"/>
                  </a:cxn>
                  <a:cxn ang="0">
                    <a:pos x="53" y="30"/>
                  </a:cxn>
                  <a:cxn ang="0">
                    <a:pos x="53" y="34"/>
                  </a:cxn>
                  <a:cxn ang="0">
                    <a:pos x="51" y="58"/>
                  </a:cxn>
                  <a:cxn ang="0">
                    <a:pos x="43" y="64"/>
                  </a:cxn>
                  <a:cxn ang="0">
                    <a:pos x="41" y="60"/>
                  </a:cxn>
                  <a:cxn ang="0">
                    <a:pos x="34" y="60"/>
                  </a:cxn>
                  <a:cxn ang="0">
                    <a:pos x="22" y="54"/>
                  </a:cxn>
                  <a:cxn ang="0">
                    <a:pos x="19" y="54"/>
                  </a:cxn>
                  <a:cxn ang="0">
                    <a:pos x="19" y="54"/>
                  </a:cxn>
                  <a:cxn ang="0">
                    <a:pos x="17" y="51"/>
                  </a:cxn>
                  <a:cxn ang="0">
                    <a:pos x="15" y="49"/>
                  </a:cxn>
                  <a:cxn ang="0">
                    <a:pos x="15" y="45"/>
                  </a:cxn>
                  <a:cxn ang="0">
                    <a:pos x="15" y="43"/>
                  </a:cxn>
                  <a:cxn ang="0">
                    <a:pos x="11" y="45"/>
                  </a:cxn>
                  <a:cxn ang="0">
                    <a:pos x="7" y="43"/>
                  </a:cxn>
                  <a:cxn ang="0">
                    <a:pos x="7" y="36"/>
                  </a:cxn>
                  <a:cxn ang="0">
                    <a:pos x="5" y="30"/>
                  </a:cxn>
                  <a:cxn ang="0">
                    <a:pos x="2" y="30"/>
                  </a:cxn>
                  <a:cxn ang="0">
                    <a:pos x="0" y="28"/>
                  </a:cxn>
                  <a:cxn ang="0">
                    <a:pos x="4" y="22"/>
                  </a:cxn>
                  <a:cxn ang="0">
                    <a:pos x="0" y="21"/>
                  </a:cxn>
                  <a:cxn ang="0">
                    <a:pos x="0" y="19"/>
                  </a:cxn>
                  <a:cxn ang="0">
                    <a:pos x="2" y="15"/>
                  </a:cxn>
                  <a:cxn ang="0">
                    <a:pos x="2" y="15"/>
                  </a:cxn>
                  <a:cxn ang="0">
                    <a:pos x="2" y="15"/>
                  </a:cxn>
                  <a:cxn ang="0">
                    <a:pos x="2" y="15"/>
                  </a:cxn>
                </a:cxnLst>
                <a:rect l="0" t="0" r="r" b="b"/>
                <a:pathLst>
                  <a:path w="53" h="64">
                    <a:moveTo>
                      <a:pt x="15" y="54"/>
                    </a:moveTo>
                    <a:lnTo>
                      <a:pt x="15" y="51"/>
                    </a:lnTo>
                    <a:lnTo>
                      <a:pt x="13" y="49"/>
                    </a:lnTo>
                    <a:lnTo>
                      <a:pt x="11" y="49"/>
                    </a:lnTo>
                    <a:lnTo>
                      <a:pt x="9" y="51"/>
                    </a:lnTo>
                    <a:lnTo>
                      <a:pt x="11" y="53"/>
                    </a:lnTo>
                    <a:lnTo>
                      <a:pt x="13" y="54"/>
                    </a:lnTo>
                    <a:lnTo>
                      <a:pt x="15" y="54"/>
                    </a:lnTo>
                    <a:lnTo>
                      <a:pt x="15" y="54"/>
                    </a:lnTo>
                    <a:lnTo>
                      <a:pt x="15" y="54"/>
                    </a:lnTo>
                    <a:lnTo>
                      <a:pt x="15" y="54"/>
                    </a:lnTo>
                    <a:close/>
                    <a:moveTo>
                      <a:pt x="2" y="15"/>
                    </a:moveTo>
                    <a:lnTo>
                      <a:pt x="5" y="15"/>
                    </a:lnTo>
                    <a:lnTo>
                      <a:pt x="11" y="11"/>
                    </a:lnTo>
                    <a:lnTo>
                      <a:pt x="11" y="9"/>
                    </a:lnTo>
                    <a:lnTo>
                      <a:pt x="17" y="6"/>
                    </a:lnTo>
                    <a:lnTo>
                      <a:pt x="21" y="2"/>
                    </a:lnTo>
                    <a:lnTo>
                      <a:pt x="24" y="0"/>
                    </a:lnTo>
                    <a:lnTo>
                      <a:pt x="41" y="0"/>
                    </a:lnTo>
                    <a:lnTo>
                      <a:pt x="43" y="6"/>
                    </a:lnTo>
                    <a:lnTo>
                      <a:pt x="47" y="9"/>
                    </a:lnTo>
                    <a:lnTo>
                      <a:pt x="51" y="15"/>
                    </a:lnTo>
                    <a:lnTo>
                      <a:pt x="51" y="19"/>
                    </a:lnTo>
                    <a:lnTo>
                      <a:pt x="53" y="22"/>
                    </a:lnTo>
                    <a:lnTo>
                      <a:pt x="53" y="26"/>
                    </a:lnTo>
                    <a:lnTo>
                      <a:pt x="53" y="26"/>
                    </a:lnTo>
                    <a:lnTo>
                      <a:pt x="51" y="30"/>
                    </a:lnTo>
                    <a:lnTo>
                      <a:pt x="53" y="30"/>
                    </a:lnTo>
                    <a:lnTo>
                      <a:pt x="53" y="34"/>
                    </a:lnTo>
                    <a:lnTo>
                      <a:pt x="51" y="58"/>
                    </a:lnTo>
                    <a:lnTo>
                      <a:pt x="43" y="64"/>
                    </a:lnTo>
                    <a:lnTo>
                      <a:pt x="41" y="60"/>
                    </a:lnTo>
                    <a:lnTo>
                      <a:pt x="34" y="60"/>
                    </a:lnTo>
                    <a:lnTo>
                      <a:pt x="22" y="54"/>
                    </a:lnTo>
                    <a:lnTo>
                      <a:pt x="19" y="54"/>
                    </a:lnTo>
                    <a:lnTo>
                      <a:pt x="19" y="54"/>
                    </a:lnTo>
                    <a:lnTo>
                      <a:pt x="17" y="51"/>
                    </a:lnTo>
                    <a:lnTo>
                      <a:pt x="15" y="49"/>
                    </a:lnTo>
                    <a:lnTo>
                      <a:pt x="15" y="45"/>
                    </a:lnTo>
                    <a:lnTo>
                      <a:pt x="15" y="43"/>
                    </a:lnTo>
                    <a:lnTo>
                      <a:pt x="11" y="45"/>
                    </a:lnTo>
                    <a:lnTo>
                      <a:pt x="7" y="43"/>
                    </a:lnTo>
                    <a:lnTo>
                      <a:pt x="7" y="36"/>
                    </a:lnTo>
                    <a:lnTo>
                      <a:pt x="5" y="30"/>
                    </a:lnTo>
                    <a:lnTo>
                      <a:pt x="2" y="30"/>
                    </a:lnTo>
                    <a:lnTo>
                      <a:pt x="0" y="28"/>
                    </a:lnTo>
                    <a:lnTo>
                      <a:pt x="4" y="22"/>
                    </a:lnTo>
                    <a:lnTo>
                      <a:pt x="0" y="21"/>
                    </a:lnTo>
                    <a:lnTo>
                      <a:pt x="0" y="19"/>
                    </a:lnTo>
                    <a:lnTo>
                      <a:pt x="2" y="15"/>
                    </a:lnTo>
                    <a:lnTo>
                      <a:pt x="2" y="15"/>
                    </a:lnTo>
                    <a:lnTo>
                      <a:pt x="2" y="15"/>
                    </a:lnTo>
                    <a:lnTo>
                      <a:pt x="2"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8" name="Freeform 120"/>
              <p:cNvSpPr>
                <a:spLocks/>
              </p:cNvSpPr>
              <p:nvPr/>
            </p:nvSpPr>
            <p:spPr bwMode="auto">
              <a:xfrm>
                <a:off x="2627" y="2902"/>
                <a:ext cx="116" cy="116"/>
              </a:xfrm>
              <a:custGeom>
                <a:avLst/>
                <a:gdLst/>
                <a:ahLst/>
                <a:cxnLst>
                  <a:cxn ang="0">
                    <a:pos x="20" y="111"/>
                  </a:cxn>
                  <a:cxn ang="0">
                    <a:pos x="20" y="105"/>
                  </a:cxn>
                  <a:cxn ang="0">
                    <a:pos x="20" y="99"/>
                  </a:cxn>
                  <a:cxn ang="0">
                    <a:pos x="20" y="94"/>
                  </a:cxn>
                  <a:cxn ang="0">
                    <a:pos x="24" y="88"/>
                  </a:cxn>
                  <a:cxn ang="0">
                    <a:pos x="18" y="88"/>
                  </a:cxn>
                  <a:cxn ang="0">
                    <a:pos x="15" y="82"/>
                  </a:cxn>
                  <a:cxn ang="0">
                    <a:pos x="9" y="81"/>
                  </a:cxn>
                  <a:cxn ang="0">
                    <a:pos x="3" y="81"/>
                  </a:cxn>
                  <a:cxn ang="0">
                    <a:pos x="0" y="77"/>
                  </a:cxn>
                  <a:cxn ang="0">
                    <a:pos x="5" y="67"/>
                  </a:cxn>
                  <a:cxn ang="0">
                    <a:pos x="5" y="62"/>
                  </a:cxn>
                  <a:cxn ang="0">
                    <a:pos x="15" y="49"/>
                  </a:cxn>
                  <a:cxn ang="0">
                    <a:pos x="13" y="45"/>
                  </a:cxn>
                  <a:cxn ang="0">
                    <a:pos x="9" y="39"/>
                  </a:cxn>
                  <a:cxn ang="0">
                    <a:pos x="15" y="37"/>
                  </a:cxn>
                  <a:cxn ang="0">
                    <a:pos x="13" y="33"/>
                  </a:cxn>
                  <a:cxn ang="0">
                    <a:pos x="11" y="24"/>
                  </a:cxn>
                  <a:cxn ang="0">
                    <a:pos x="11" y="15"/>
                  </a:cxn>
                  <a:cxn ang="0">
                    <a:pos x="9" y="9"/>
                  </a:cxn>
                  <a:cxn ang="0">
                    <a:pos x="24" y="1"/>
                  </a:cxn>
                  <a:cxn ang="0">
                    <a:pos x="30" y="5"/>
                  </a:cxn>
                  <a:cxn ang="0">
                    <a:pos x="39" y="3"/>
                  </a:cxn>
                  <a:cxn ang="0">
                    <a:pos x="47" y="0"/>
                  </a:cxn>
                  <a:cxn ang="0">
                    <a:pos x="50" y="3"/>
                  </a:cxn>
                  <a:cxn ang="0">
                    <a:pos x="58" y="7"/>
                  </a:cxn>
                  <a:cxn ang="0">
                    <a:pos x="64" y="0"/>
                  </a:cxn>
                  <a:cxn ang="0">
                    <a:pos x="75" y="7"/>
                  </a:cxn>
                  <a:cxn ang="0">
                    <a:pos x="80" y="9"/>
                  </a:cxn>
                  <a:cxn ang="0">
                    <a:pos x="88" y="11"/>
                  </a:cxn>
                  <a:cxn ang="0">
                    <a:pos x="96" y="15"/>
                  </a:cxn>
                  <a:cxn ang="0">
                    <a:pos x="103" y="11"/>
                  </a:cxn>
                  <a:cxn ang="0">
                    <a:pos x="109" y="15"/>
                  </a:cxn>
                  <a:cxn ang="0">
                    <a:pos x="112" y="17"/>
                  </a:cxn>
                  <a:cxn ang="0">
                    <a:pos x="112" y="26"/>
                  </a:cxn>
                  <a:cxn ang="0">
                    <a:pos x="116" y="33"/>
                  </a:cxn>
                  <a:cxn ang="0">
                    <a:pos x="116" y="39"/>
                  </a:cxn>
                  <a:cxn ang="0">
                    <a:pos x="111" y="45"/>
                  </a:cxn>
                  <a:cxn ang="0">
                    <a:pos x="105" y="58"/>
                  </a:cxn>
                  <a:cxn ang="0">
                    <a:pos x="103" y="64"/>
                  </a:cxn>
                  <a:cxn ang="0">
                    <a:pos x="103" y="75"/>
                  </a:cxn>
                  <a:cxn ang="0">
                    <a:pos x="101" y="79"/>
                  </a:cxn>
                  <a:cxn ang="0">
                    <a:pos x="105" y="88"/>
                  </a:cxn>
                  <a:cxn ang="0">
                    <a:pos x="111" y="92"/>
                  </a:cxn>
                  <a:cxn ang="0">
                    <a:pos x="112" y="101"/>
                  </a:cxn>
                  <a:cxn ang="0">
                    <a:pos x="105" y="101"/>
                  </a:cxn>
                  <a:cxn ang="0">
                    <a:pos x="101" y="98"/>
                  </a:cxn>
                  <a:cxn ang="0">
                    <a:pos x="99" y="103"/>
                  </a:cxn>
                  <a:cxn ang="0">
                    <a:pos x="80" y="103"/>
                  </a:cxn>
                  <a:cxn ang="0">
                    <a:pos x="48" y="103"/>
                  </a:cxn>
                  <a:cxn ang="0">
                    <a:pos x="35" y="111"/>
                  </a:cxn>
                  <a:cxn ang="0">
                    <a:pos x="30" y="111"/>
                  </a:cxn>
                  <a:cxn ang="0">
                    <a:pos x="20" y="116"/>
                  </a:cxn>
                  <a:cxn ang="0">
                    <a:pos x="20" y="116"/>
                  </a:cxn>
                </a:cxnLst>
                <a:rect l="0" t="0" r="r" b="b"/>
                <a:pathLst>
                  <a:path w="116" h="116">
                    <a:moveTo>
                      <a:pt x="20" y="116"/>
                    </a:moveTo>
                    <a:lnTo>
                      <a:pt x="20" y="111"/>
                    </a:lnTo>
                    <a:lnTo>
                      <a:pt x="20" y="111"/>
                    </a:lnTo>
                    <a:lnTo>
                      <a:pt x="20" y="105"/>
                    </a:lnTo>
                    <a:lnTo>
                      <a:pt x="20" y="103"/>
                    </a:lnTo>
                    <a:lnTo>
                      <a:pt x="20" y="99"/>
                    </a:lnTo>
                    <a:lnTo>
                      <a:pt x="20" y="96"/>
                    </a:lnTo>
                    <a:lnTo>
                      <a:pt x="20" y="94"/>
                    </a:lnTo>
                    <a:lnTo>
                      <a:pt x="24" y="92"/>
                    </a:lnTo>
                    <a:lnTo>
                      <a:pt x="24" y="88"/>
                    </a:lnTo>
                    <a:lnTo>
                      <a:pt x="20" y="88"/>
                    </a:lnTo>
                    <a:lnTo>
                      <a:pt x="18" y="88"/>
                    </a:lnTo>
                    <a:lnTo>
                      <a:pt x="16" y="84"/>
                    </a:lnTo>
                    <a:lnTo>
                      <a:pt x="15" y="82"/>
                    </a:lnTo>
                    <a:lnTo>
                      <a:pt x="11" y="82"/>
                    </a:lnTo>
                    <a:lnTo>
                      <a:pt x="9" y="81"/>
                    </a:lnTo>
                    <a:lnTo>
                      <a:pt x="5" y="81"/>
                    </a:lnTo>
                    <a:lnTo>
                      <a:pt x="3" y="81"/>
                    </a:lnTo>
                    <a:lnTo>
                      <a:pt x="1" y="81"/>
                    </a:lnTo>
                    <a:lnTo>
                      <a:pt x="0" y="77"/>
                    </a:lnTo>
                    <a:lnTo>
                      <a:pt x="3" y="73"/>
                    </a:lnTo>
                    <a:lnTo>
                      <a:pt x="5" y="67"/>
                    </a:lnTo>
                    <a:lnTo>
                      <a:pt x="5" y="64"/>
                    </a:lnTo>
                    <a:lnTo>
                      <a:pt x="5" y="62"/>
                    </a:lnTo>
                    <a:lnTo>
                      <a:pt x="9" y="60"/>
                    </a:lnTo>
                    <a:lnTo>
                      <a:pt x="15" y="49"/>
                    </a:lnTo>
                    <a:lnTo>
                      <a:pt x="15" y="45"/>
                    </a:lnTo>
                    <a:lnTo>
                      <a:pt x="13" y="45"/>
                    </a:lnTo>
                    <a:lnTo>
                      <a:pt x="9" y="41"/>
                    </a:lnTo>
                    <a:lnTo>
                      <a:pt x="9" y="39"/>
                    </a:lnTo>
                    <a:lnTo>
                      <a:pt x="13" y="37"/>
                    </a:lnTo>
                    <a:lnTo>
                      <a:pt x="15" y="37"/>
                    </a:lnTo>
                    <a:lnTo>
                      <a:pt x="16" y="35"/>
                    </a:lnTo>
                    <a:lnTo>
                      <a:pt x="13" y="33"/>
                    </a:lnTo>
                    <a:lnTo>
                      <a:pt x="11" y="30"/>
                    </a:lnTo>
                    <a:lnTo>
                      <a:pt x="11" y="24"/>
                    </a:lnTo>
                    <a:lnTo>
                      <a:pt x="11" y="20"/>
                    </a:lnTo>
                    <a:lnTo>
                      <a:pt x="11" y="15"/>
                    </a:lnTo>
                    <a:lnTo>
                      <a:pt x="9" y="11"/>
                    </a:lnTo>
                    <a:lnTo>
                      <a:pt x="9" y="9"/>
                    </a:lnTo>
                    <a:lnTo>
                      <a:pt x="16" y="7"/>
                    </a:lnTo>
                    <a:lnTo>
                      <a:pt x="24" y="1"/>
                    </a:lnTo>
                    <a:lnTo>
                      <a:pt x="24" y="1"/>
                    </a:lnTo>
                    <a:lnTo>
                      <a:pt x="30" y="5"/>
                    </a:lnTo>
                    <a:lnTo>
                      <a:pt x="37" y="5"/>
                    </a:lnTo>
                    <a:lnTo>
                      <a:pt x="39" y="3"/>
                    </a:lnTo>
                    <a:lnTo>
                      <a:pt x="39" y="1"/>
                    </a:lnTo>
                    <a:lnTo>
                      <a:pt x="47" y="0"/>
                    </a:lnTo>
                    <a:lnTo>
                      <a:pt x="50" y="1"/>
                    </a:lnTo>
                    <a:lnTo>
                      <a:pt x="50" y="3"/>
                    </a:lnTo>
                    <a:lnTo>
                      <a:pt x="50" y="5"/>
                    </a:lnTo>
                    <a:lnTo>
                      <a:pt x="58" y="7"/>
                    </a:lnTo>
                    <a:lnTo>
                      <a:pt x="60" y="1"/>
                    </a:lnTo>
                    <a:lnTo>
                      <a:pt x="64" y="0"/>
                    </a:lnTo>
                    <a:lnTo>
                      <a:pt x="69" y="3"/>
                    </a:lnTo>
                    <a:lnTo>
                      <a:pt x="75" y="7"/>
                    </a:lnTo>
                    <a:lnTo>
                      <a:pt x="79" y="7"/>
                    </a:lnTo>
                    <a:lnTo>
                      <a:pt x="80" y="9"/>
                    </a:lnTo>
                    <a:lnTo>
                      <a:pt x="84" y="9"/>
                    </a:lnTo>
                    <a:lnTo>
                      <a:pt x="88" y="11"/>
                    </a:lnTo>
                    <a:lnTo>
                      <a:pt x="90" y="15"/>
                    </a:lnTo>
                    <a:lnTo>
                      <a:pt x="96" y="15"/>
                    </a:lnTo>
                    <a:lnTo>
                      <a:pt x="99" y="15"/>
                    </a:lnTo>
                    <a:lnTo>
                      <a:pt x="103" y="11"/>
                    </a:lnTo>
                    <a:lnTo>
                      <a:pt x="105" y="15"/>
                    </a:lnTo>
                    <a:lnTo>
                      <a:pt x="109" y="15"/>
                    </a:lnTo>
                    <a:lnTo>
                      <a:pt x="112" y="15"/>
                    </a:lnTo>
                    <a:lnTo>
                      <a:pt x="112" y="17"/>
                    </a:lnTo>
                    <a:lnTo>
                      <a:pt x="111" y="22"/>
                    </a:lnTo>
                    <a:lnTo>
                      <a:pt x="112" y="26"/>
                    </a:lnTo>
                    <a:lnTo>
                      <a:pt x="112" y="30"/>
                    </a:lnTo>
                    <a:lnTo>
                      <a:pt x="116" y="33"/>
                    </a:lnTo>
                    <a:lnTo>
                      <a:pt x="116" y="35"/>
                    </a:lnTo>
                    <a:lnTo>
                      <a:pt x="116" y="39"/>
                    </a:lnTo>
                    <a:lnTo>
                      <a:pt x="116" y="45"/>
                    </a:lnTo>
                    <a:lnTo>
                      <a:pt x="111" y="45"/>
                    </a:lnTo>
                    <a:lnTo>
                      <a:pt x="105" y="54"/>
                    </a:lnTo>
                    <a:lnTo>
                      <a:pt x="105" y="58"/>
                    </a:lnTo>
                    <a:lnTo>
                      <a:pt x="103" y="62"/>
                    </a:lnTo>
                    <a:lnTo>
                      <a:pt x="103" y="64"/>
                    </a:lnTo>
                    <a:lnTo>
                      <a:pt x="101" y="67"/>
                    </a:lnTo>
                    <a:lnTo>
                      <a:pt x="103" y="75"/>
                    </a:lnTo>
                    <a:lnTo>
                      <a:pt x="101" y="77"/>
                    </a:lnTo>
                    <a:lnTo>
                      <a:pt x="101" y="79"/>
                    </a:lnTo>
                    <a:lnTo>
                      <a:pt x="103" y="81"/>
                    </a:lnTo>
                    <a:lnTo>
                      <a:pt x="105" y="88"/>
                    </a:lnTo>
                    <a:lnTo>
                      <a:pt x="109" y="92"/>
                    </a:lnTo>
                    <a:lnTo>
                      <a:pt x="111" y="92"/>
                    </a:lnTo>
                    <a:lnTo>
                      <a:pt x="112" y="96"/>
                    </a:lnTo>
                    <a:lnTo>
                      <a:pt x="112" y="101"/>
                    </a:lnTo>
                    <a:lnTo>
                      <a:pt x="109" y="101"/>
                    </a:lnTo>
                    <a:lnTo>
                      <a:pt x="105" y="101"/>
                    </a:lnTo>
                    <a:lnTo>
                      <a:pt x="105" y="103"/>
                    </a:lnTo>
                    <a:lnTo>
                      <a:pt x="101" y="98"/>
                    </a:lnTo>
                    <a:lnTo>
                      <a:pt x="99" y="99"/>
                    </a:lnTo>
                    <a:lnTo>
                      <a:pt x="99" y="103"/>
                    </a:lnTo>
                    <a:lnTo>
                      <a:pt x="90" y="99"/>
                    </a:lnTo>
                    <a:lnTo>
                      <a:pt x="80" y="103"/>
                    </a:lnTo>
                    <a:lnTo>
                      <a:pt x="56" y="103"/>
                    </a:lnTo>
                    <a:lnTo>
                      <a:pt x="48" y="103"/>
                    </a:lnTo>
                    <a:lnTo>
                      <a:pt x="48" y="105"/>
                    </a:lnTo>
                    <a:lnTo>
                      <a:pt x="35" y="111"/>
                    </a:lnTo>
                    <a:lnTo>
                      <a:pt x="33" y="111"/>
                    </a:lnTo>
                    <a:lnTo>
                      <a:pt x="30" y="111"/>
                    </a:lnTo>
                    <a:lnTo>
                      <a:pt x="24" y="116"/>
                    </a:lnTo>
                    <a:lnTo>
                      <a:pt x="20" y="116"/>
                    </a:lnTo>
                    <a:lnTo>
                      <a:pt x="20" y="116"/>
                    </a:lnTo>
                    <a:lnTo>
                      <a:pt x="20" y="11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9" name="Freeform 121"/>
              <p:cNvSpPr>
                <a:spLocks/>
              </p:cNvSpPr>
              <p:nvPr/>
            </p:nvSpPr>
            <p:spPr bwMode="auto">
              <a:xfrm>
                <a:off x="2726" y="2892"/>
                <a:ext cx="79" cy="121"/>
              </a:xfrm>
              <a:custGeom>
                <a:avLst/>
                <a:gdLst/>
                <a:ahLst/>
                <a:cxnLst>
                  <a:cxn ang="0">
                    <a:pos x="4" y="115"/>
                  </a:cxn>
                  <a:cxn ang="0">
                    <a:pos x="13" y="115"/>
                  </a:cxn>
                  <a:cxn ang="0">
                    <a:pos x="10" y="106"/>
                  </a:cxn>
                  <a:cxn ang="0">
                    <a:pos x="4" y="100"/>
                  </a:cxn>
                  <a:cxn ang="0">
                    <a:pos x="0" y="91"/>
                  </a:cxn>
                  <a:cxn ang="0">
                    <a:pos x="4" y="89"/>
                  </a:cxn>
                  <a:cxn ang="0">
                    <a:pos x="4" y="77"/>
                  </a:cxn>
                  <a:cxn ang="0">
                    <a:pos x="4" y="70"/>
                  </a:cxn>
                  <a:cxn ang="0">
                    <a:pos x="10" y="57"/>
                  </a:cxn>
                  <a:cxn ang="0">
                    <a:pos x="15" y="51"/>
                  </a:cxn>
                  <a:cxn ang="0">
                    <a:pos x="15" y="43"/>
                  </a:cxn>
                  <a:cxn ang="0">
                    <a:pos x="13" y="36"/>
                  </a:cxn>
                  <a:cxn ang="0">
                    <a:pos x="13" y="27"/>
                  </a:cxn>
                  <a:cxn ang="0">
                    <a:pos x="10" y="15"/>
                  </a:cxn>
                  <a:cxn ang="0">
                    <a:pos x="8" y="8"/>
                  </a:cxn>
                  <a:cxn ang="0">
                    <a:pos x="13" y="2"/>
                  </a:cxn>
                  <a:cxn ang="0">
                    <a:pos x="29" y="2"/>
                  </a:cxn>
                  <a:cxn ang="0">
                    <a:pos x="45" y="0"/>
                  </a:cxn>
                  <a:cxn ang="0">
                    <a:pos x="55" y="0"/>
                  </a:cxn>
                  <a:cxn ang="0">
                    <a:pos x="57" y="4"/>
                  </a:cxn>
                  <a:cxn ang="0">
                    <a:pos x="59" y="10"/>
                  </a:cxn>
                  <a:cxn ang="0">
                    <a:pos x="66" y="15"/>
                  </a:cxn>
                  <a:cxn ang="0">
                    <a:pos x="68" y="21"/>
                  </a:cxn>
                  <a:cxn ang="0">
                    <a:pos x="70" y="30"/>
                  </a:cxn>
                  <a:cxn ang="0">
                    <a:pos x="70" y="38"/>
                  </a:cxn>
                  <a:cxn ang="0">
                    <a:pos x="70" y="43"/>
                  </a:cxn>
                  <a:cxn ang="0">
                    <a:pos x="74" y="49"/>
                  </a:cxn>
                  <a:cxn ang="0">
                    <a:pos x="74" y="55"/>
                  </a:cxn>
                  <a:cxn ang="0">
                    <a:pos x="74" y="64"/>
                  </a:cxn>
                  <a:cxn ang="0">
                    <a:pos x="70" y="77"/>
                  </a:cxn>
                  <a:cxn ang="0">
                    <a:pos x="70" y="85"/>
                  </a:cxn>
                  <a:cxn ang="0">
                    <a:pos x="74" y="94"/>
                  </a:cxn>
                  <a:cxn ang="0">
                    <a:pos x="77" y="96"/>
                  </a:cxn>
                  <a:cxn ang="0">
                    <a:pos x="70" y="102"/>
                  </a:cxn>
                  <a:cxn ang="0">
                    <a:pos x="49" y="115"/>
                  </a:cxn>
                  <a:cxn ang="0">
                    <a:pos x="23" y="121"/>
                  </a:cxn>
                  <a:cxn ang="0">
                    <a:pos x="4" y="119"/>
                  </a:cxn>
                  <a:cxn ang="0">
                    <a:pos x="4" y="115"/>
                  </a:cxn>
                </a:cxnLst>
                <a:rect l="0" t="0" r="r" b="b"/>
                <a:pathLst>
                  <a:path w="79" h="121">
                    <a:moveTo>
                      <a:pt x="4" y="115"/>
                    </a:moveTo>
                    <a:lnTo>
                      <a:pt x="4" y="115"/>
                    </a:lnTo>
                    <a:lnTo>
                      <a:pt x="10" y="115"/>
                    </a:lnTo>
                    <a:lnTo>
                      <a:pt x="13" y="115"/>
                    </a:lnTo>
                    <a:lnTo>
                      <a:pt x="13" y="109"/>
                    </a:lnTo>
                    <a:lnTo>
                      <a:pt x="10" y="106"/>
                    </a:lnTo>
                    <a:lnTo>
                      <a:pt x="8" y="104"/>
                    </a:lnTo>
                    <a:lnTo>
                      <a:pt x="4" y="100"/>
                    </a:lnTo>
                    <a:lnTo>
                      <a:pt x="4" y="94"/>
                    </a:lnTo>
                    <a:lnTo>
                      <a:pt x="0" y="91"/>
                    </a:lnTo>
                    <a:lnTo>
                      <a:pt x="0" y="91"/>
                    </a:lnTo>
                    <a:lnTo>
                      <a:pt x="4" y="89"/>
                    </a:lnTo>
                    <a:lnTo>
                      <a:pt x="0" y="79"/>
                    </a:lnTo>
                    <a:lnTo>
                      <a:pt x="4" y="77"/>
                    </a:lnTo>
                    <a:lnTo>
                      <a:pt x="4" y="74"/>
                    </a:lnTo>
                    <a:lnTo>
                      <a:pt x="4" y="70"/>
                    </a:lnTo>
                    <a:lnTo>
                      <a:pt x="4" y="66"/>
                    </a:lnTo>
                    <a:lnTo>
                      <a:pt x="10" y="57"/>
                    </a:lnTo>
                    <a:lnTo>
                      <a:pt x="15" y="55"/>
                    </a:lnTo>
                    <a:lnTo>
                      <a:pt x="15" y="51"/>
                    </a:lnTo>
                    <a:lnTo>
                      <a:pt x="15" y="47"/>
                    </a:lnTo>
                    <a:lnTo>
                      <a:pt x="15" y="43"/>
                    </a:lnTo>
                    <a:lnTo>
                      <a:pt x="13" y="40"/>
                    </a:lnTo>
                    <a:lnTo>
                      <a:pt x="13" y="36"/>
                    </a:lnTo>
                    <a:lnTo>
                      <a:pt x="10" y="32"/>
                    </a:lnTo>
                    <a:lnTo>
                      <a:pt x="13" y="27"/>
                    </a:lnTo>
                    <a:lnTo>
                      <a:pt x="13" y="21"/>
                    </a:lnTo>
                    <a:lnTo>
                      <a:pt x="10" y="15"/>
                    </a:lnTo>
                    <a:lnTo>
                      <a:pt x="8" y="13"/>
                    </a:lnTo>
                    <a:lnTo>
                      <a:pt x="8" y="8"/>
                    </a:lnTo>
                    <a:lnTo>
                      <a:pt x="8" y="2"/>
                    </a:lnTo>
                    <a:lnTo>
                      <a:pt x="13" y="2"/>
                    </a:lnTo>
                    <a:lnTo>
                      <a:pt x="27" y="2"/>
                    </a:lnTo>
                    <a:lnTo>
                      <a:pt x="29" y="2"/>
                    </a:lnTo>
                    <a:lnTo>
                      <a:pt x="40" y="2"/>
                    </a:lnTo>
                    <a:lnTo>
                      <a:pt x="45" y="0"/>
                    </a:lnTo>
                    <a:lnTo>
                      <a:pt x="49" y="0"/>
                    </a:lnTo>
                    <a:lnTo>
                      <a:pt x="55" y="0"/>
                    </a:lnTo>
                    <a:lnTo>
                      <a:pt x="55" y="0"/>
                    </a:lnTo>
                    <a:lnTo>
                      <a:pt x="57" y="4"/>
                    </a:lnTo>
                    <a:lnTo>
                      <a:pt x="59" y="6"/>
                    </a:lnTo>
                    <a:lnTo>
                      <a:pt x="59" y="10"/>
                    </a:lnTo>
                    <a:lnTo>
                      <a:pt x="64" y="13"/>
                    </a:lnTo>
                    <a:lnTo>
                      <a:pt x="66" y="15"/>
                    </a:lnTo>
                    <a:lnTo>
                      <a:pt x="70" y="19"/>
                    </a:lnTo>
                    <a:lnTo>
                      <a:pt x="68" y="21"/>
                    </a:lnTo>
                    <a:lnTo>
                      <a:pt x="68" y="30"/>
                    </a:lnTo>
                    <a:lnTo>
                      <a:pt x="70" y="30"/>
                    </a:lnTo>
                    <a:lnTo>
                      <a:pt x="70" y="30"/>
                    </a:lnTo>
                    <a:lnTo>
                      <a:pt x="70" y="38"/>
                    </a:lnTo>
                    <a:lnTo>
                      <a:pt x="70" y="40"/>
                    </a:lnTo>
                    <a:lnTo>
                      <a:pt x="70" y="43"/>
                    </a:lnTo>
                    <a:lnTo>
                      <a:pt x="70" y="45"/>
                    </a:lnTo>
                    <a:lnTo>
                      <a:pt x="74" y="49"/>
                    </a:lnTo>
                    <a:lnTo>
                      <a:pt x="70" y="51"/>
                    </a:lnTo>
                    <a:lnTo>
                      <a:pt x="74" y="55"/>
                    </a:lnTo>
                    <a:lnTo>
                      <a:pt x="70" y="60"/>
                    </a:lnTo>
                    <a:lnTo>
                      <a:pt x="74" y="64"/>
                    </a:lnTo>
                    <a:lnTo>
                      <a:pt x="74" y="74"/>
                    </a:lnTo>
                    <a:lnTo>
                      <a:pt x="70" y="77"/>
                    </a:lnTo>
                    <a:lnTo>
                      <a:pt x="70" y="79"/>
                    </a:lnTo>
                    <a:lnTo>
                      <a:pt x="70" y="85"/>
                    </a:lnTo>
                    <a:lnTo>
                      <a:pt x="70" y="91"/>
                    </a:lnTo>
                    <a:lnTo>
                      <a:pt x="74" y="94"/>
                    </a:lnTo>
                    <a:lnTo>
                      <a:pt x="76" y="94"/>
                    </a:lnTo>
                    <a:lnTo>
                      <a:pt x="77" y="96"/>
                    </a:lnTo>
                    <a:lnTo>
                      <a:pt x="79" y="100"/>
                    </a:lnTo>
                    <a:lnTo>
                      <a:pt x="70" y="102"/>
                    </a:lnTo>
                    <a:lnTo>
                      <a:pt x="61" y="106"/>
                    </a:lnTo>
                    <a:lnTo>
                      <a:pt x="49" y="115"/>
                    </a:lnTo>
                    <a:lnTo>
                      <a:pt x="40" y="115"/>
                    </a:lnTo>
                    <a:lnTo>
                      <a:pt x="23" y="121"/>
                    </a:lnTo>
                    <a:lnTo>
                      <a:pt x="15" y="119"/>
                    </a:lnTo>
                    <a:lnTo>
                      <a:pt x="4" y="119"/>
                    </a:lnTo>
                    <a:lnTo>
                      <a:pt x="4" y="115"/>
                    </a:lnTo>
                    <a:lnTo>
                      <a:pt x="4" y="115"/>
                    </a:lnTo>
                    <a:lnTo>
                      <a:pt x="4" y="1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0" name="Freeform 122"/>
              <p:cNvSpPr>
                <a:spLocks/>
              </p:cNvSpPr>
              <p:nvPr/>
            </p:nvSpPr>
            <p:spPr bwMode="auto">
              <a:xfrm>
                <a:off x="2779" y="2892"/>
                <a:ext cx="38" cy="100"/>
              </a:xfrm>
              <a:custGeom>
                <a:avLst/>
                <a:gdLst/>
                <a:ahLst/>
                <a:cxnLst>
                  <a:cxn ang="0">
                    <a:pos x="23" y="4"/>
                  </a:cxn>
                  <a:cxn ang="0">
                    <a:pos x="4" y="0"/>
                  </a:cxn>
                  <a:cxn ang="0">
                    <a:pos x="0" y="0"/>
                  </a:cxn>
                  <a:cxn ang="0">
                    <a:pos x="4" y="4"/>
                  </a:cxn>
                  <a:cxn ang="0">
                    <a:pos x="4" y="6"/>
                  </a:cxn>
                  <a:cxn ang="0">
                    <a:pos x="4" y="10"/>
                  </a:cxn>
                  <a:cxn ang="0">
                    <a:pos x="9" y="13"/>
                  </a:cxn>
                  <a:cxn ang="0">
                    <a:pos x="11" y="15"/>
                  </a:cxn>
                  <a:cxn ang="0">
                    <a:pos x="15" y="19"/>
                  </a:cxn>
                  <a:cxn ang="0">
                    <a:pos x="13" y="21"/>
                  </a:cxn>
                  <a:cxn ang="0">
                    <a:pos x="13" y="30"/>
                  </a:cxn>
                  <a:cxn ang="0">
                    <a:pos x="15" y="30"/>
                  </a:cxn>
                  <a:cxn ang="0">
                    <a:pos x="15" y="30"/>
                  </a:cxn>
                  <a:cxn ang="0">
                    <a:pos x="15" y="38"/>
                  </a:cxn>
                  <a:cxn ang="0">
                    <a:pos x="15" y="40"/>
                  </a:cxn>
                  <a:cxn ang="0">
                    <a:pos x="15" y="43"/>
                  </a:cxn>
                  <a:cxn ang="0">
                    <a:pos x="15" y="45"/>
                  </a:cxn>
                  <a:cxn ang="0">
                    <a:pos x="19" y="49"/>
                  </a:cxn>
                  <a:cxn ang="0">
                    <a:pos x="15" y="51"/>
                  </a:cxn>
                  <a:cxn ang="0">
                    <a:pos x="19" y="55"/>
                  </a:cxn>
                  <a:cxn ang="0">
                    <a:pos x="15" y="59"/>
                  </a:cxn>
                  <a:cxn ang="0">
                    <a:pos x="19" y="64"/>
                  </a:cxn>
                  <a:cxn ang="0">
                    <a:pos x="19" y="74"/>
                  </a:cxn>
                  <a:cxn ang="0">
                    <a:pos x="15" y="75"/>
                  </a:cxn>
                  <a:cxn ang="0">
                    <a:pos x="15" y="79"/>
                  </a:cxn>
                  <a:cxn ang="0">
                    <a:pos x="15" y="85"/>
                  </a:cxn>
                  <a:cxn ang="0">
                    <a:pos x="15" y="89"/>
                  </a:cxn>
                  <a:cxn ang="0">
                    <a:pos x="19" y="94"/>
                  </a:cxn>
                  <a:cxn ang="0">
                    <a:pos x="21" y="94"/>
                  </a:cxn>
                  <a:cxn ang="0">
                    <a:pos x="23" y="96"/>
                  </a:cxn>
                  <a:cxn ang="0">
                    <a:pos x="24" y="100"/>
                  </a:cxn>
                  <a:cxn ang="0">
                    <a:pos x="24" y="100"/>
                  </a:cxn>
                  <a:cxn ang="0">
                    <a:pos x="36" y="92"/>
                  </a:cxn>
                  <a:cxn ang="0">
                    <a:pos x="38" y="92"/>
                  </a:cxn>
                  <a:cxn ang="0">
                    <a:pos x="38" y="89"/>
                  </a:cxn>
                  <a:cxn ang="0">
                    <a:pos x="36" y="85"/>
                  </a:cxn>
                  <a:cxn ang="0">
                    <a:pos x="36" y="81"/>
                  </a:cxn>
                  <a:cxn ang="0">
                    <a:pos x="34" y="75"/>
                  </a:cxn>
                  <a:cxn ang="0">
                    <a:pos x="36" y="55"/>
                  </a:cxn>
                  <a:cxn ang="0">
                    <a:pos x="36" y="51"/>
                  </a:cxn>
                  <a:cxn ang="0">
                    <a:pos x="38" y="49"/>
                  </a:cxn>
                  <a:cxn ang="0">
                    <a:pos x="38" y="43"/>
                  </a:cxn>
                  <a:cxn ang="0">
                    <a:pos x="36" y="42"/>
                  </a:cxn>
                  <a:cxn ang="0">
                    <a:pos x="36" y="36"/>
                  </a:cxn>
                  <a:cxn ang="0">
                    <a:pos x="34" y="27"/>
                  </a:cxn>
                  <a:cxn ang="0">
                    <a:pos x="30" y="19"/>
                  </a:cxn>
                  <a:cxn ang="0">
                    <a:pos x="28" y="17"/>
                  </a:cxn>
                  <a:cxn ang="0">
                    <a:pos x="28" y="15"/>
                  </a:cxn>
                  <a:cxn ang="0">
                    <a:pos x="23" y="11"/>
                  </a:cxn>
                  <a:cxn ang="0">
                    <a:pos x="21" y="6"/>
                  </a:cxn>
                  <a:cxn ang="0">
                    <a:pos x="23" y="4"/>
                  </a:cxn>
                  <a:cxn ang="0">
                    <a:pos x="23" y="4"/>
                  </a:cxn>
                  <a:cxn ang="0">
                    <a:pos x="23" y="4"/>
                  </a:cxn>
                </a:cxnLst>
                <a:rect l="0" t="0" r="r" b="b"/>
                <a:pathLst>
                  <a:path w="38" h="100">
                    <a:moveTo>
                      <a:pt x="23" y="4"/>
                    </a:moveTo>
                    <a:lnTo>
                      <a:pt x="4" y="0"/>
                    </a:lnTo>
                    <a:lnTo>
                      <a:pt x="0" y="0"/>
                    </a:lnTo>
                    <a:lnTo>
                      <a:pt x="4" y="4"/>
                    </a:lnTo>
                    <a:lnTo>
                      <a:pt x="4" y="6"/>
                    </a:lnTo>
                    <a:lnTo>
                      <a:pt x="4" y="10"/>
                    </a:lnTo>
                    <a:lnTo>
                      <a:pt x="9" y="13"/>
                    </a:lnTo>
                    <a:lnTo>
                      <a:pt x="11" y="15"/>
                    </a:lnTo>
                    <a:lnTo>
                      <a:pt x="15" y="19"/>
                    </a:lnTo>
                    <a:lnTo>
                      <a:pt x="13" y="21"/>
                    </a:lnTo>
                    <a:lnTo>
                      <a:pt x="13" y="30"/>
                    </a:lnTo>
                    <a:lnTo>
                      <a:pt x="15" y="30"/>
                    </a:lnTo>
                    <a:lnTo>
                      <a:pt x="15" y="30"/>
                    </a:lnTo>
                    <a:lnTo>
                      <a:pt x="15" y="38"/>
                    </a:lnTo>
                    <a:lnTo>
                      <a:pt x="15" y="40"/>
                    </a:lnTo>
                    <a:lnTo>
                      <a:pt x="15" y="43"/>
                    </a:lnTo>
                    <a:lnTo>
                      <a:pt x="15" y="45"/>
                    </a:lnTo>
                    <a:lnTo>
                      <a:pt x="19" y="49"/>
                    </a:lnTo>
                    <a:lnTo>
                      <a:pt x="15" y="51"/>
                    </a:lnTo>
                    <a:lnTo>
                      <a:pt x="19" y="55"/>
                    </a:lnTo>
                    <a:lnTo>
                      <a:pt x="15" y="59"/>
                    </a:lnTo>
                    <a:lnTo>
                      <a:pt x="19" y="64"/>
                    </a:lnTo>
                    <a:lnTo>
                      <a:pt x="19" y="74"/>
                    </a:lnTo>
                    <a:lnTo>
                      <a:pt x="15" y="75"/>
                    </a:lnTo>
                    <a:lnTo>
                      <a:pt x="15" y="79"/>
                    </a:lnTo>
                    <a:lnTo>
                      <a:pt x="15" y="85"/>
                    </a:lnTo>
                    <a:lnTo>
                      <a:pt x="15" y="89"/>
                    </a:lnTo>
                    <a:lnTo>
                      <a:pt x="19" y="94"/>
                    </a:lnTo>
                    <a:lnTo>
                      <a:pt x="21" y="94"/>
                    </a:lnTo>
                    <a:lnTo>
                      <a:pt x="23" y="96"/>
                    </a:lnTo>
                    <a:lnTo>
                      <a:pt x="24" y="100"/>
                    </a:lnTo>
                    <a:lnTo>
                      <a:pt x="24" y="100"/>
                    </a:lnTo>
                    <a:lnTo>
                      <a:pt x="36" y="92"/>
                    </a:lnTo>
                    <a:lnTo>
                      <a:pt x="38" y="92"/>
                    </a:lnTo>
                    <a:lnTo>
                      <a:pt x="38" y="89"/>
                    </a:lnTo>
                    <a:lnTo>
                      <a:pt x="36" y="85"/>
                    </a:lnTo>
                    <a:lnTo>
                      <a:pt x="36" y="81"/>
                    </a:lnTo>
                    <a:lnTo>
                      <a:pt x="34" y="75"/>
                    </a:lnTo>
                    <a:lnTo>
                      <a:pt x="36" y="55"/>
                    </a:lnTo>
                    <a:lnTo>
                      <a:pt x="36" y="51"/>
                    </a:lnTo>
                    <a:lnTo>
                      <a:pt x="38" y="49"/>
                    </a:lnTo>
                    <a:lnTo>
                      <a:pt x="38" y="43"/>
                    </a:lnTo>
                    <a:lnTo>
                      <a:pt x="36" y="42"/>
                    </a:lnTo>
                    <a:lnTo>
                      <a:pt x="36" y="36"/>
                    </a:lnTo>
                    <a:lnTo>
                      <a:pt x="34" y="27"/>
                    </a:lnTo>
                    <a:lnTo>
                      <a:pt x="30" y="19"/>
                    </a:lnTo>
                    <a:lnTo>
                      <a:pt x="28" y="17"/>
                    </a:lnTo>
                    <a:lnTo>
                      <a:pt x="28" y="15"/>
                    </a:lnTo>
                    <a:lnTo>
                      <a:pt x="23" y="11"/>
                    </a:lnTo>
                    <a:lnTo>
                      <a:pt x="21" y="6"/>
                    </a:lnTo>
                    <a:lnTo>
                      <a:pt x="23" y="4"/>
                    </a:lnTo>
                    <a:lnTo>
                      <a:pt x="23" y="4"/>
                    </a:lnTo>
                    <a:lnTo>
                      <a:pt x="23" y="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1" name="Freeform 123"/>
              <p:cNvSpPr>
                <a:spLocks/>
              </p:cNvSpPr>
              <p:nvPr/>
            </p:nvSpPr>
            <p:spPr bwMode="auto">
              <a:xfrm>
                <a:off x="2802" y="2866"/>
                <a:ext cx="56" cy="120"/>
              </a:xfrm>
              <a:custGeom>
                <a:avLst/>
                <a:gdLst/>
                <a:ahLst/>
                <a:cxnLst>
                  <a:cxn ang="0">
                    <a:pos x="28" y="9"/>
                  </a:cxn>
                  <a:cxn ang="0">
                    <a:pos x="20" y="15"/>
                  </a:cxn>
                  <a:cxn ang="0">
                    <a:pos x="11" y="17"/>
                  </a:cxn>
                  <a:cxn ang="0">
                    <a:pos x="7" y="22"/>
                  </a:cxn>
                  <a:cxn ang="0">
                    <a:pos x="7" y="28"/>
                  </a:cxn>
                  <a:cxn ang="0">
                    <a:pos x="0" y="32"/>
                  </a:cxn>
                  <a:cxn ang="0">
                    <a:pos x="7" y="41"/>
                  </a:cxn>
                  <a:cxn ang="0">
                    <a:pos x="9" y="45"/>
                  </a:cxn>
                  <a:cxn ang="0">
                    <a:pos x="15" y="62"/>
                  </a:cxn>
                  <a:cxn ang="0">
                    <a:pos x="17" y="69"/>
                  </a:cxn>
                  <a:cxn ang="0">
                    <a:pos x="15" y="77"/>
                  </a:cxn>
                  <a:cxn ang="0">
                    <a:pos x="13" y="101"/>
                  </a:cxn>
                  <a:cxn ang="0">
                    <a:pos x="15" y="111"/>
                  </a:cxn>
                  <a:cxn ang="0">
                    <a:pos x="17" y="118"/>
                  </a:cxn>
                  <a:cxn ang="0">
                    <a:pos x="35" y="115"/>
                  </a:cxn>
                  <a:cxn ang="0">
                    <a:pos x="35" y="111"/>
                  </a:cxn>
                  <a:cxn ang="0">
                    <a:pos x="35" y="100"/>
                  </a:cxn>
                  <a:cxn ang="0">
                    <a:pos x="35" y="90"/>
                  </a:cxn>
                  <a:cxn ang="0">
                    <a:pos x="35" y="86"/>
                  </a:cxn>
                  <a:cxn ang="0">
                    <a:pos x="35" y="83"/>
                  </a:cxn>
                  <a:cxn ang="0">
                    <a:pos x="35" y="77"/>
                  </a:cxn>
                  <a:cxn ang="0">
                    <a:pos x="35" y="71"/>
                  </a:cxn>
                  <a:cxn ang="0">
                    <a:pos x="37" y="66"/>
                  </a:cxn>
                  <a:cxn ang="0">
                    <a:pos x="41" y="64"/>
                  </a:cxn>
                  <a:cxn ang="0">
                    <a:pos x="45" y="58"/>
                  </a:cxn>
                  <a:cxn ang="0">
                    <a:pos x="49" y="53"/>
                  </a:cxn>
                  <a:cxn ang="0">
                    <a:pos x="52" y="51"/>
                  </a:cxn>
                  <a:cxn ang="0">
                    <a:pos x="52" y="43"/>
                  </a:cxn>
                  <a:cxn ang="0">
                    <a:pos x="52" y="39"/>
                  </a:cxn>
                  <a:cxn ang="0">
                    <a:pos x="56" y="37"/>
                  </a:cxn>
                  <a:cxn ang="0">
                    <a:pos x="56" y="28"/>
                  </a:cxn>
                  <a:cxn ang="0">
                    <a:pos x="50" y="20"/>
                  </a:cxn>
                  <a:cxn ang="0">
                    <a:pos x="52" y="15"/>
                  </a:cxn>
                  <a:cxn ang="0">
                    <a:pos x="43" y="9"/>
                  </a:cxn>
                  <a:cxn ang="0">
                    <a:pos x="33" y="0"/>
                  </a:cxn>
                  <a:cxn ang="0">
                    <a:pos x="32" y="4"/>
                  </a:cxn>
                  <a:cxn ang="0">
                    <a:pos x="28" y="7"/>
                  </a:cxn>
                  <a:cxn ang="0">
                    <a:pos x="28" y="7"/>
                  </a:cxn>
                </a:cxnLst>
                <a:rect l="0" t="0" r="r" b="b"/>
                <a:pathLst>
                  <a:path w="56" h="120">
                    <a:moveTo>
                      <a:pt x="28" y="7"/>
                    </a:moveTo>
                    <a:lnTo>
                      <a:pt x="28" y="9"/>
                    </a:lnTo>
                    <a:lnTo>
                      <a:pt x="24" y="15"/>
                    </a:lnTo>
                    <a:lnTo>
                      <a:pt x="20" y="15"/>
                    </a:lnTo>
                    <a:lnTo>
                      <a:pt x="13" y="17"/>
                    </a:lnTo>
                    <a:lnTo>
                      <a:pt x="11" y="17"/>
                    </a:lnTo>
                    <a:lnTo>
                      <a:pt x="7" y="19"/>
                    </a:lnTo>
                    <a:lnTo>
                      <a:pt x="7" y="22"/>
                    </a:lnTo>
                    <a:lnTo>
                      <a:pt x="7" y="24"/>
                    </a:lnTo>
                    <a:lnTo>
                      <a:pt x="7" y="28"/>
                    </a:lnTo>
                    <a:lnTo>
                      <a:pt x="1" y="28"/>
                    </a:lnTo>
                    <a:lnTo>
                      <a:pt x="0" y="32"/>
                    </a:lnTo>
                    <a:lnTo>
                      <a:pt x="1" y="37"/>
                    </a:lnTo>
                    <a:lnTo>
                      <a:pt x="7" y="41"/>
                    </a:lnTo>
                    <a:lnTo>
                      <a:pt x="7" y="43"/>
                    </a:lnTo>
                    <a:lnTo>
                      <a:pt x="9" y="45"/>
                    </a:lnTo>
                    <a:lnTo>
                      <a:pt x="13" y="53"/>
                    </a:lnTo>
                    <a:lnTo>
                      <a:pt x="15" y="62"/>
                    </a:lnTo>
                    <a:lnTo>
                      <a:pt x="15" y="68"/>
                    </a:lnTo>
                    <a:lnTo>
                      <a:pt x="17" y="69"/>
                    </a:lnTo>
                    <a:lnTo>
                      <a:pt x="17" y="75"/>
                    </a:lnTo>
                    <a:lnTo>
                      <a:pt x="15" y="77"/>
                    </a:lnTo>
                    <a:lnTo>
                      <a:pt x="15" y="81"/>
                    </a:lnTo>
                    <a:lnTo>
                      <a:pt x="13" y="101"/>
                    </a:lnTo>
                    <a:lnTo>
                      <a:pt x="15" y="107"/>
                    </a:lnTo>
                    <a:lnTo>
                      <a:pt x="15" y="111"/>
                    </a:lnTo>
                    <a:lnTo>
                      <a:pt x="17" y="115"/>
                    </a:lnTo>
                    <a:lnTo>
                      <a:pt x="17" y="118"/>
                    </a:lnTo>
                    <a:lnTo>
                      <a:pt x="24" y="120"/>
                    </a:lnTo>
                    <a:lnTo>
                      <a:pt x="35" y="115"/>
                    </a:lnTo>
                    <a:lnTo>
                      <a:pt x="35" y="115"/>
                    </a:lnTo>
                    <a:lnTo>
                      <a:pt x="35" y="111"/>
                    </a:lnTo>
                    <a:lnTo>
                      <a:pt x="37" y="103"/>
                    </a:lnTo>
                    <a:lnTo>
                      <a:pt x="35" y="100"/>
                    </a:lnTo>
                    <a:lnTo>
                      <a:pt x="35" y="98"/>
                    </a:lnTo>
                    <a:lnTo>
                      <a:pt x="35" y="90"/>
                    </a:lnTo>
                    <a:lnTo>
                      <a:pt x="35" y="86"/>
                    </a:lnTo>
                    <a:lnTo>
                      <a:pt x="35" y="86"/>
                    </a:lnTo>
                    <a:lnTo>
                      <a:pt x="35" y="83"/>
                    </a:lnTo>
                    <a:lnTo>
                      <a:pt x="35" y="83"/>
                    </a:lnTo>
                    <a:lnTo>
                      <a:pt x="35" y="77"/>
                    </a:lnTo>
                    <a:lnTo>
                      <a:pt x="35" y="77"/>
                    </a:lnTo>
                    <a:lnTo>
                      <a:pt x="35" y="73"/>
                    </a:lnTo>
                    <a:lnTo>
                      <a:pt x="35" y="71"/>
                    </a:lnTo>
                    <a:lnTo>
                      <a:pt x="35" y="68"/>
                    </a:lnTo>
                    <a:lnTo>
                      <a:pt x="37" y="66"/>
                    </a:lnTo>
                    <a:lnTo>
                      <a:pt x="39" y="64"/>
                    </a:lnTo>
                    <a:lnTo>
                      <a:pt x="41" y="64"/>
                    </a:lnTo>
                    <a:lnTo>
                      <a:pt x="43" y="62"/>
                    </a:lnTo>
                    <a:lnTo>
                      <a:pt x="45" y="58"/>
                    </a:lnTo>
                    <a:lnTo>
                      <a:pt x="49" y="56"/>
                    </a:lnTo>
                    <a:lnTo>
                      <a:pt x="49" y="53"/>
                    </a:lnTo>
                    <a:lnTo>
                      <a:pt x="52" y="51"/>
                    </a:lnTo>
                    <a:lnTo>
                      <a:pt x="52" y="51"/>
                    </a:lnTo>
                    <a:lnTo>
                      <a:pt x="56" y="49"/>
                    </a:lnTo>
                    <a:lnTo>
                      <a:pt x="52" y="43"/>
                    </a:lnTo>
                    <a:lnTo>
                      <a:pt x="52" y="43"/>
                    </a:lnTo>
                    <a:lnTo>
                      <a:pt x="52" y="39"/>
                    </a:lnTo>
                    <a:lnTo>
                      <a:pt x="56" y="39"/>
                    </a:lnTo>
                    <a:lnTo>
                      <a:pt x="56" y="37"/>
                    </a:lnTo>
                    <a:lnTo>
                      <a:pt x="56" y="32"/>
                    </a:lnTo>
                    <a:lnTo>
                      <a:pt x="56" y="28"/>
                    </a:lnTo>
                    <a:lnTo>
                      <a:pt x="50" y="22"/>
                    </a:lnTo>
                    <a:lnTo>
                      <a:pt x="50" y="20"/>
                    </a:lnTo>
                    <a:lnTo>
                      <a:pt x="50" y="15"/>
                    </a:lnTo>
                    <a:lnTo>
                      <a:pt x="52" y="15"/>
                    </a:lnTo>
                    <a:lnTo>
                      <a:pt x="47" y="9"/>
                    </a:lnTo>
                    <a:lnTo>
                      <a:pt x="43" y="9"/>
                    </a:lnTo>
                    <a:lnTo>
                      <a:pt x="39" y="4"/>
                    </a:lnTo>
                    <a:lnTo>
                      <a:pt x="33" y="0"/>
                    </a:lnTo>
                    <a:lnTo>
                      <a:pt x="32" y="4"/>
                    </a:lnTo>
                    <a:lnTo>
                      <a:pt x="32" y="4"/>
                    </a:lnTo>
                    <a:lnTo>
                      <a:pt x="28" y="7"/>
                    </a:lnTo>
                    <a:lnTo>
                      <a:pt x="28" y="7"/>
                    </a:lnTo>
                    <a:lnTo>
                      <a:pt x="28" y="7"/>
                    </a:lnTo>
                    <a:lnTo>
                      <a:pt x="28"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2" name="Freeform 124"/>
              <p:cNvSpPr>
                <a:spLocks/>
              </p:cNvSpPr>
              <p:nvPr/>
            </p:nvSpPr>
            <p:spPr bwMode="auto">
              <a:xfrm>
                <a:off x="2802" y="2866"/>
                <a:ext cx="56" cy="120"/>
              </a:xfrm>
              <a:custGeom>
                <a:avLst/>
                <a:gdLst/>
                <a:ahLst/>
                <a:cxnLst>
                  <a:cxn ang="0">
                    <a:pos x="28" y="9"/>
                  </a:cxn>
                  <a:cxn ang="0">
                    <a:pos x="20" y="15"/>
                  </a:cxn>
                  <a:cxn ang="0">
                    <a:pos x="11" y="17"/>
                  </a:cxn>
                  <a:cxn ang="0">
                    <a:pos x="7" y="22"/>
                  </a:cxn>
                  <a:cxn ang="0">
                    <a:pos x="7" y="28"/>
                  </a:cxn>
                  <a:cxn ang="0">
                    <a:pos x="0" y="32"/>
                  </a:cxn>
                  <a:cxn ang="0">
                    <a:pos x="7" y="41"/>
                  </a:cxn>
                  <a:cxn ang="0">
                    <a:pos x="9" y="45"/>
                  </a:cxn>
                  <a:cxn ang="0">
                    <a:pos x="15" y="62"/>
                  </a:cxn>
                  <a:cxn ang="0">
                    <a:pos x="17" y="69"/>
                  </a:cxn>
                  <a:cxn ang="0">
                    <a:pos x="15" y="77"/>
                  </a:cxn>
                  <a:cxn ang="0">
                    <a:pos x="13" y="101"/>
                  </a:cxn>
                  <a:cxn ang="0">
                    <a:pos x="15" y="111"/>
                  </a:cxn>
                  <a:cxn ang="0">
                    <a:pos x="17" y="118"/>
                  </a:cxn>
                  <a:cxn ang="0">
                    <a:pos x="35" y="115"/>
                  </a:cxn>
                  <a:cxn ang="0">
                    <a:pos x="35" y="111"/>
                  </a:cxn>
                  <a:cxn ang="0">
                    <a:pos x="35" y="100"/>
                  </a:cxn>
                  <a:cxn ang="0">
                    <a:pos x="35" y="90"/>
                  </a:cxn>
                  <a:cxn ang="0">
                    <a:pos x="35" y="86"/>
                  </a:cxn>
                  <a:cxn ang="0">
                    <a:pos x="35" y="83"/>
                  </a:cxn>
                  <a:cxn ang="0">
                    <a:pos x="35" y="77"/>
                  </a:cxn>
                  <a:cxn ang="0">
                    <a:pos x="35" y="71"/>
                  </a:cxn>
                  <a:cxn ang="0">
                    <a:pos x="37" y="66"/>
                  </a:cxn>
                  <a:cxn ang="0">
                    <a:pos x="41" y="64"/>
                  </a:cxn>
                  <a:cxn ang="0">
                    <a:pos x="45" y="58"/>
                  </a:cxn>
                  <a:cxn ang="0">
                    <a:pos x="49" y="53"/>
                  </a:cxn>
                  <a:cxn ang="0">
                    <a:pos x="52" y="51"/>
                  </a:cxn>
                  <a:cxn ang="0">
                    <a:pos x="52" y="43"/>
                  </a:cxn>
                  <a:cxn ang="0">
                    <a:pos x="52" y="39"/>
                  </a:cxn>
                  <a:cxn ang="0">
                    <a:pos x="56" y="37"/>
                  </a:cxn>
                  <a:cxn ang="0">
                    <a:pos x="56" y="28"/>
                  </a:cxn>
                  <a:cxn ang="0">
                    <a:pos x="50" y="20"/>
                  </a:cxn>
                  <a:cxn ang="0">
                    <a:pos x="52" y="15"/>
                  </a:cxn>
                  <a:cxn ang="0">
                    <a:pos x="43" y="9"/>
                  </a:cxn>
                  <a:cxn ang="0">
                    <a:pos x="33" y="0"/>
                  </a:cxn>
                  <a:cxn ang="0">
                    <a:pos x="32" y="4"/>
                  </a:cxn>
                  <a:cxn ang="0">
                    <a:pos x="28" y="7"/>
                  </a:cxn>
                  <a:cxn ang="0">
                    <a:pos x="28" y="7"/>
                  </a:cxn>
                </a:cxnLst>
                <a:rect l="0" t="0" r="r" b="b"/>
                <a:pathLst>
                  <a:path w="56" h="120">
                    <a:moveTo>
                      <a:pt x="28" y="7"/>
                    </a:moveTo>
                    <a:lnTo>
                      <a:pt x="28" y="9"/>
                    </a:lnTo>
                    <a:lnTo>
                      <a:pt x="24" y="15"/>
                    </a:lnTo>
                    <a:lnTo>
                      <a:pt x="20" y="15"/>
                    </a:lnTo>
                    <a:lnTo>
                      <a:pt x="13" y="17"/>
                    </a:lnTo>
                    <a:lnTo>
                      <a:pt x="11" y="17"/>
                    </a:lnTo>
                    <a:lnTo>
                      <a:pt x="7" y="19"/>
                    </a:lnTo>
                    <a:lnTo>
                      <a:pt x="7" y="22"/>
                    </a:lnTo>
                    <a:lnTo>
                      <a:pt x="7" y="24"/>
                    </a:lnTo>
                    <a:lnTo>
                      <a:pt x="7" y="28"/>
                    </a:lnTo>
                    <a:lnTo>
                      <a:pt x="1" y="28"/>
                    </a:lnTo>
                    <a:lnTo>
                      <a:pt x="0" y="32"/>
                    </a:lnTo>
                    <a:lnTo>
                      <a:pt x="1" y="37"/>
                    </a:lnTo>
                    <a:lnTo>
                      <a:pt x="7" y="41"/>
                    </a:lnTo>
                    <a:lnTo>
                      <a:pt x="7" y="43"/>
                    </a:lnTo>
                    <a:lnTo>
                      <a:pt x="9" y="45"/>
                    </a:lnTo>
                    <a:lnTo>
                      <a:pt x="13" y="53"/>
                    </a:lnTo>
                    <a:lnTo>
                      <a:pt x="15" y="62"/>
                    </a:lnTo>
                    <a:lnTo>
                      <a:pt x="15" y="68"/>
                    </a:lnTo>
                    <a:lnTo>
                      <a:pt x="17" y="69"/>
                    </a:lnTo>
                    <a:lnTo>
                      <a:pt x="17" y="75"/>
                    </a:lnTo>
                    <a:lnTo>
                      <a:pt x="15" y="77"/>
                    </a:lnTo>
                    <a:lnTo>
                      <a:pt x="15" y="81"/>
                    </a:lnTo>
                    <a:lnTo>
                      <a:pt x="13" y="101"/>
                    </a:lnTo>
                    <a:lnTo>
                      <a:pt x="15" y="107"/>
                    </a:lnTo>
                    <a:lnTo>
                      <a:pt x="15" y="111"/>
                    </a:lnTo>
                    <a:lnTo>
                      <a:pt x="17" y="115"/>
                    </a:lnTo>
                    <a:lnTo>
                      <a:pt x="17" y="118"/>
                    </a:lnTo>
                    <a:lnTo>
                      <a:pt x="24" y="120"/>
                    </a:lnTo>
                    <a:lnTo>
                      <a:pt x="35" y="115"/>
                    </a:lnTo>
                    <a:lnTo>
                      <a:pt x="35" y="115"/>
                    </a:lnTo>
                    <a:lnTo>
                      <a:pt x="35" y="111"/>
                    </a:lnTo>
                    <a:lnTo>
                      <a:pt x="37" y="103"/>
                    </a:lnTo>
                    <a:lnTo>
                      <a:pt x="35" y="100"/>
                    </a:lnTo>
                    <a:lnTo>
                      <a:pt x="35" y="98"/>
                    </a:lnTo>
                    <a:lnTo>
                      <a:pt x="35" y="90"/>
                    </a:lnTo>
                    <a:lnTo>
                      <a:pt x="35" y="86"/>
                    </a:lnTo>
                    <a:lnTo>
                      <a:pt x="35" y="86"/>
                    </a:lnTo>
                    <a:lnTo>
                      <a:pt x="35" y="83"/>
                    </a:lnTo>
                    <a:lnTo>
                      <a:pt x="35" y="83"/>
                    </a:lnTo>
                    <a:lnTo>
                      <a:pt x="35" y="77"/>
                    </a:lnTo>
                    <a:lnTo>
                      <a:pt x="35" y="77"/>
                    </a:lnTo>
                    <a:lnTo>
                      <a:pt x="35" y="73"/>
                    </a:lnTo>
                    <a:lnTo>
                      <a:pt x="35" y="71"/>
                    </a:lnTo>
                    <a:lnTo>
                      <a:pt x="35" y="68"/>
                    </a:lnTo>
                    <a:lnTo>
                      <a:pt x="37" y="66"/>
                    </a:lnTo>
                    <a:lnTo>
                      <a:pt x="39" y="64"/>
                    </a:lnTo>
                    <a:lnTo>
                      <a:pt x="41" y="64"/>
                    </a:lnTo>
                    <a:lnTo>
                      <a:pt x="43" y="62"/>
                    </a:lnTo>
                    <a:lnTo>
                      <a:pt x="45" y="58"/>
                    </a:lnTo>
                    <a:lnTo>
                      <a:pt x="49" y="56"/>
                    </a:lnTo>
                    <a:lnTo>
                      <a:pt x="49" y="53"/>
                    </a:lnTo>
                    <a:lnTo>
                      <a:pt x="52" y="51"/>
                    </a:lnTo>
                    <a:lnTo>
                      <a:pt x="52" y="51"/>
                    </a:lnTo>
                    <a:lnTo>
                      <a:pt x="56" y="49"/>
                    </a:lnTo>
                    <a:lnTo>
                      <a:pt x="52" y="43"/>
                    </a:lnTo>
                    <a:lnTo>
                      <a:pt x="52" y="43"/>
                    </a:lnTo>
                    <a:lnTo>
                      <a:pt x="52" y="39"/>
                    </a:lnTo>
                    <a:lnTo>
                      <a:pt x="56" y="39"/>
                    </a:lnTo>
                    <a:lnTo>
                      <a:pt x="56" y="37"/>
                    </a:lnTo>
                    <a:lnTo>
                      <a:pt x="56" y="32"/>
                    </a:lnTo>
                    <a:lnTo>
                      <a:pt x="56" y="28"/>
                    </a:lnTo>
                    <a:lnTo>
                      <a:pt x="50" y="22"/>
                    </a:lnTo>
                    <a:lnTo>
                      <a:pt x="50" y="20"/>
                    </a:lnTo>
                    <a:lnTo>
                      <a:pt x="50" y="15"/>
                    </a:lnTo>
                    <a:lnTo>
                      <a:pt x="52" y="15"/>
                    </a:lnTo>
                    <a:lnTo>
                      <a:pt x="47" y="9"/>
                    </a:lnTo>
                    <a:lnTo>
                      <a:pt x="43" y="9"/>
                    </a:lnTo>
                    <a:lnTo>
                      <a:pt x="39" y="4"/>
                    </a:lnTo>
                    <a:lnTo>
                      <a:pt x="33" y="0"/>
                    </a:lnTo>
                    <a:lnTo>
                      <a:pt x="32" y="4"/>
                    </a:lnTo>
                    <a:lnTo>
                      <a:pt x="32" y="4"/>
                    </a:lnTo>
                    <a:lnTo>
                      <a:pt x="28" y="7"/>
                    </a:lnTo>
                    <a:lnTo>
                      <a:pt x="28" y="7"/>
                    </a:lnTo>
                    <a:lnTo>
                      <a:pt x="28" y="7"/>
                    </a:lnTo>
                    <a:lnTo>
                      <a:pt x="28"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3" name="Freeform 125"/>
              <p:cNvSpPr>
                <a:spLocks noEditPoints="1"/>
              </p:cNvSpPr>
              <p:nvPr/>
            </p:nvSpPr>
            <p:spPr bwMode="auto">
              <a:xfrm>
                <a:off x="3007" y="2653"/>
                <a:ext cx="216" cy="313"/>
              </a:xfrm>
              <a:custGeom>
                <a:avLst/>
                <a:gdLst/>
                <a:ahLst/>
                <a:cxnLst>
                  <a:cxn ang="0">
                    <a:pos x="212" y="77"/>
                  </a:cxn>
                  <a:cxn ang="0">
                    <a:pos x="209" y="154"/>
                  </a:cxn>
                  <a:cxn ang="0">
                    <a:pos x="197" y="154"/>
                  </a:cxn>
                  <a:cxn ang="0">
                    <a:pos x="197" y="166"/>
                  </a:cxn>
                  <a:cxn ang="0">
                    <a:pos x="186" y="179"/>
                  </a:cxn>
                  <a:cxn ang="0">
                    <a:pos x="186" y="188"/>
                  </a:cxn>
                  <a:cxn ang="0">
                    <a:pos x="184" y="194"/>
                  </a:cxn>
                  <a:cxn ang="0">
                    <a:pos x="179" y="207"/>
                  </a:cxn>
                  <a:cxn ang="0">
                    <a:pos x="184" y="211"/>
                  </a:cxn>
                  <a:cxn ang="0">
                    <a:pos x="184" y="215"/>
                  </a:cxn>
                  <a:cxn ang="0">
                    <a:pos x="188" y="220"/>
                  </a:cxn>
                  <a:cxn ang="0">
                    <a:pos x="196" y="232"/>
                  </a:cxn>
                  <a:cxn ang="0">
                    <a:pos x="196" y="241"/>
                  </a:cxn>
                  <a:cxn ang="0">
                    <a:pos x="186" y="243"/>
                  </a:cxn>
                  <a:cxn ang="0">
                    <a:pos x="175" y="249"/>
                  </a:cxn>
                  <a:cxn ang="0">
                    <a:pos x="173" y="254"/>
                  </a:cxn>
                  <a:cxn ang="0">
                    <a:pos x="165" y="258"/>
                  </a:cxn>
                  <a:cxn ang="0">
                    <a:pos x="160" y="266"/>
                  </a:cxn>
                  <a:cxn ang="0">
                    <a:pos x="160" y="275"/>
                  </a:cxn>
                  <a:cxn ang="0">
                    <a:pos x="147" y="281"/>
                  </a:cxn>
                  <a:cxn ang="0">
                    <a:pos x="133" y="281"/>
                  </a:cxn>
                  <a:cxn ang="0">
                    <a:pos x="124" y="281"/>
                  </a:cxn>
                  <a:cxn ang="0">
                    <a:pos x="128" y="288"/>
                  </a:cxn>
                  <a:cxn ang="0">
                    <a:pos x="122" y="296"/>
                  </a:cxn>
                  <a:cxn ang="0">
                    <a:pos x="100" y="301"/>
                  </a:cxn>
                  <a:cxn ang="0">
                    <a:pos x="88" y="309"/>
                  </a:cxn>
                  <a:cxn ang="0">
                    <a:pos x="83" y="301"/>
                  </a:cxn>
                  <a:cxn ang="0">
                    <a:pos x="77" y="311"/>
                  </a:cxn>
                  <a:cxn ang="0">
                    <a:pos x="66" y="313"/>
                  </a:cxn>
                  <a:cxn ang="0">
                    <a:pos x="64" y="303"/>
                  </a:cxn>
                  <a:cxn ang="0">
                    <a:pos x="54" y="290"/>
                  </a:cxn>
                  <a:cxn ang="0">
                    <a:pos x="39" y="275"/>
                  </a:cxn>
                  <a:cxn ang="0">
                    <a:pos x="36" y="271"/>
                  </a:cxn>
                  <a:cxn ang="0">
                    <a:pos x="36" y="262"/>
                  </a:cxn>
                  <a:cxn ang="0">
                    <a:pos x="43" y="262"/>
                  </a:cxn>
                  <a:cxn ang="0">
                    <a:pos x="52" y="262"/>
                  </a:cxn>
                  <a:cxn ang="0">
                    <a:pos x="60" y="264"/>
                  </a:cxn>
                  <a:cxn ang="0">
                    <a:pos x="58" y="258"/>
                  </a:cxn>
                  <a:cxn ang="0">
                    <a:pos x="49" y="249"/>
                  </a:cxn>
                  <a:cxn ang="0">
                    <a:pos x="52" y="237"/>
                  </a:cxn>
                  <a:cxn ang="0">
                    <a:pos x="52" y="232"/>
                  </a:cxn>
                  <a:cxn ang="0">
                    <a:pos x="49" y="218"/>
                  </a:cxn>
                  <a:cxn ang="0">
                    <a:pos x="41" y="209"/>
                  </a:cxn>
                  <a:cxn ang="0">
                    <a:pos x="30" y="200"/>
                  </a:cxn>
                  <a:cxn ang="0">
                    <a:pos x="22" y="169"/>
                  </a:cxn>
                  <a:cxn ang="0">
                    <a:pos x="26" y="166"/>
                  </a:cxn>
                  <a:cxn ang="0">
                    <a:pos x="58" y="105"/>
                  </a:cxn>
                  <a:cxn ang="0">
                    <a:pos x="64" y="60"/>
                  </a:cxn>
                  <a:cxn ang="0">
                    <a:pos x="54" y="38"/>
                  </a:cxn>
                  <a:cxn ang="0">
                    <a:pos x="43" y="9"/>
                  </a:cxn>
                  <a:cxn ang="0">
                    <a:pos x="5" y="201"/>
                  </a:cxn>
                  <a:cxn ang="0">
                    <a:pos x="0" y="203"/>
                  </a:cxn>
                  <a:cxn ang="0">
                    <a:pos x="5" y="201"/>
                  </a:cxn>
                </a:cxnLst>
                <a:rect l="0" t="0" r="r" b="b"/>
                <a:pathLst>
                  <a:path w="216" h="313">
                    <a:moveTo>
                      <a:pt x="43" y="9"/>
                    </a:moveTo>
                    <a:lnTo>
                      <a:pt x="64" y="0"/>
                    </a:lnTo>
                    <a:lnTo>
                      <a:pt x="212" y="77"/>
                    </a:lnTo>
                    <a:lnTo>
                      <a:pt x="216" y="151"/>
                    </a:lnTo>
                    <a:lnTo>
                      <a:pt x="212" y="151"/>
                    </a:lnTo>
                    <a:lnTo>
                      <a:pt x="209" y="154"/>
                    </a:lnTo>
                    <a:lnTo>
                      <a:pt x="207" y="151"/>
                    </a:lnTo>
                    <a:lnTo>
                      <a:pt x="201" y="151"/>
                    </a:lnTo>
                    <a:lnTo>
                      <a:pt x="197" y="154"/>
                    </a:lnTo>
                    <a:lnTo>
                      <a:pt x="197" y="160"/>
                    </a:lnTo>
                    <a:lnTo>
                      <a:pt x="199" y="164"/>
                    </a:lnTo>
                    <a:lnTo>
                      <a:pt x="197" y="166"/>
                    </a:lnTo>
                    <a:lnTo>
                      <a:pt x="192" y="175"/>
                    </a:lnTo>
                    <a:lnTo>
                      <a:pt x="188" y="175"/>
                    </a:lnTo>
                    <a:lnTo>
                      <a:pt x="186" y="179"/>
                    </a:lnTo>
                    <a:lnTo>
                      <a:pt x="186" y="181"/>
                    </a:lnTo>
                    <a:lnTo>
                      <a:pt x="188" y="181"/>
                    </a:lnTo>
                    <a:lnTo>
                      <a:pt x="186" y="188"/>
                    </a:lnTo>
                    <a:lnTo>
                      <a:pt x="182" y="188"/>
                    </a:lnTo>
                    <a:lnTo>
                      <a:pt x="182" y="190"/>
                    </a:lnTo>
                    <a:lnTo>
                      <a:pt x="184" y="194"/>
                    </a:lnTo>
                    <a:lnTo>
                      <a:pt x="184" y="196"/>
                    </a:lnTo>
                    <a:lnTo>
                      <a:pt x="182" y="200"/>
                    </a:lnTo>
                    <a:lnTo>
                      <a:pt x="179" y="207"/>
                    </a:lnTo>
                    <a:lnTo>
                      <a:pt x="179" y="211"/>
                    </a:lnTo>
                    <a:lnTo>
                      <a:pt x="179" y="213"/>
                    </a:lnTo>
                    <a:lnTo>
                      <a:pt x="184" y="211"/>
                    </a:lnTo>
                    <a:lnTo>
                      <a:pt x="186" y="211"/>
                    </a:lnTo>
                    <a:lnTo>
                      <a:pt x="186" y="213"/>
                    </a:lnTo>
                    <a:lnTo>
                      <a:pt x="184" y="215"/>
                    </a:lnTo>
                    <a:lnTo>
                      <a:pt x="186" y="215"/>
                    </a:lnTo>
                    <a:lnTo>
                      <a:pt x="186" y="218"/>
                    </a:lnTo>
                    <a:lnTo>
                      <a:pt x="188" y="220"/>
                    </a:lnTo>
                    <a:lnTo>
                      <a:pt x="188" y="226"/>
                    </a:lnTo>
                    <a:lnTo>
                      <a:pt x="188" y="230"/>
                    </a:lnTo>
                    <a:lnTo>
                      <a:pt x="196" y="232"/>
                    </a:lnTo>
                    <a:lnTo>
                      <a:pt x="197" y="235"/>
                    </a:lnTo>
                    <a:lnTo>
                      <a:pt x="196" y="237"/>
                    </a:lnTo>
                    <a:lnTo>
                      <a:pt x="196" y="241"/>
                    </a:lnTo>
                    <a:lnTo>
                      <a:pt x="194" y="243"/>
                    </a:lnTo>
                    <a:lnTo>
                      <a:pt x="192" y="245"/>
                    </a:lnTo>
                    <a:lnTo>
                      <a:pt x="186" y="243"/>
                    </a:lnTo>
                    <a:lnTo>
                      <a:pt x="182" y="243"/>
                    </a:lnTo>
                    <a:lnTo>
                      <a:pt x="179" y="245"/>
                    </a:lnTo>
                    <a:lnTo>
                      <a:pt x="175" y="249"/>
                    </a:lnTo>
                    <a:lnTo>
                      <a:pt x="175" y="250"/>
                    </a:lnTo>
                    <a:lnTo>
                      <a:pt x="175" y="254"/>
                    </a:lnTo>
                    <a:lnTo>
                      <a:pt x="173" y="254"/>
                    </a:lnTo>
                    <a:lnTo>
                      <a:pt x="169" y="260"/>
                    </a:lnTo>
                    <a:lnTo>
                      <a:pt x="167" y="260"/>
                    </a:lnTo>
                    <a:lnTo>
                      <a:pt x="165" y="258"/>
                    </a:lnTo>
                    <a:lnTo>
                      <a:pt x="164" y="262"/>
                    </a:lnTo>
                    <a:lnTo>
                      <a:pt x="164" y="264"/>
                    </a:lnTo>
                    <a:lnTo>
                      <a:pt x="160" y="266"/>
                    </a:lnTo>
                    <a:lnTo>
                      <a:pt x="160" y="269"/>
                    </a:lnTo>
                    <a:lnTo>
                      <a:pt x="160" y="273"/>
                    </a:lnTo>
                    <a:lnTo>
                      <a:pt x="160" y="275"/>
                    </a:lnTo>
                    <a:lnTo>
                      <a:pt x="158" y="275"/>
                    </a:lnTo>
                    <a:lnTo>
                      <a:pt x="152" y="281"/>
                    </a:lnTo>
                    <a:lnTo>
                      <a:pt x="147" y="281"/>
                    </a:lnTo>
                    <a:lnTo>
                      <a:pt x="141" y="282"/>
                    </a:lnTo>
                    <a:lnTo>
                      <a:pt x="135" y="281"/>
                    </a:lnTo>
                    <a:lnTo>
                      <a:pt x="133" y="281"/>
                    </a:lnTo>
                    <a:lnTo>
                      <a:pt x="128" y="281"/>
                    </a:lnTo>
                    <a:lnTo>
                      <a:pt x="128" y="279"/>
                    </a:lnTo>
                    <a:lnTo>
                      <a:pt x="124" y="281"/>
                    </a:lnTo>
                    <a:lnTo>
                      <a:pt x="124" y="284"/>
                    </a:lnTo>
                    <a:lnTo>
                      <a:pt x="128" y="288"/>
                    </a:lnTo>
                    <a:lnTo>
                      <a:pt x="128" y="288"/>
                    </a:lnTo>
                    <a:lnTo>
                      <a:pt x="128" y="290"/>
                    </a:lnTo>
                    <a:lnTo>
                      <a:pt x="124" y="294"/>
                    </a:lnTo>
                    <a:lnTo>
                      <a:pt x="122" y="296"/>
                    </a:lnTo>
                    <a:lnTo>
                      <a:pt x="115" y="296"/>
                    </a:lnTo>
                    <a:lnTo>
                      <a:pt x="105" y="299"/>
                    </a:lnTo>
                    <a:lnTo>
                      <a:pt x="100" y="301"/>
                    </a:lnTo>
                    <a:lnTo>
                      <a:pt x="94" y="305"/>
                    </a:lnTo>
                    <a:lnTo>
                      <a:pt x="90" y="309"/>
                    </a:lnTo>
                    <a:lnTo>
                      <a:pt x="88" y="309"/>
                    </a:lnTo>
                    <a:lnTo>
                      <a:pt x="84" y="307"/>
                    </a:lnTo>
                    <a:lnTo>
                      <a:pt x="84" y="303"/>
                    </a:lnTo>
                    <a:lnTo>
                      <a:pt x="83" y="301"/>
                    </a:lnTo>
                    <a:lnTo>
                      <a:pt x="81" y="303"/>
                    </a:lnTo>
                    <a:lnTo>
                      <a:pt x="81" y="307"/>
                    </a:lnTo>
                    <a:lnTo>
                      <a:pt x="77" y="311"/>
                    </a:lnTo>
                    <a:lnTo>
                      <a:pt x="73" y="311"/>
                    </a:lnTo>
                    <a:lnTo>
                      <a:pt x="69" y="313"/>
                    </a:lnTo>
                    <a:lnTo>
                      <a:pt x="66" y="313"/>
                    </a:lnTo>
                    <a:lnTo>
                      <a:pt x="66" y="309"/>
                    </a:lnTo>
                    <a:lnTo>
                      <a:pt x="64" y="305"/>
                    </a:lnTo>
                    <a:lnTo>
                      <a:pt x="64" y="303"/>
                    </a:lnTo>
                    <a:lnTo>
                      <a:pt x="60" y="298"/>
                    </a:lnTo>
                    <a:lnTo>
                      <a:pt x="58" y="292"/>
                    </a:lnTo>
                    <a:lnTo>
                      <a:pt x="54" y="290"/>
                    </a:lnTo>
                    <a:lnTo>
                      <a:pt x="49" y="284"/>
                    </a:lnTo>
                    <a:lnTo>
                      <a:pt x="41" y="275"/>
                    </a:lnTo>
                    <a:lnTo>
                      <a:pt x="39" y="275"/>
                    </a:lnTo>
                    <a:lnTo>
                      <a:pt x="39" y="275"/>
                    </a:lnTo>
                    <a:lnTo>
                      <a:pt x="36" y="273"/>
                    </a:lnTo>
                    <a:lnTo>
                      <a:pt x="36" y="271"/>
                    </a:lnTo>
                    <a:lnTo>
                      <a:pt x="36" y="267"/>
                    </a:lnTo>
                    <a:lnTo>
                      <a:pt x="36" y="266"/>
                    </a:lnTo>
                    <a:lnTo>
                      <a:pt x="36" y="262"/>
                    </a:lnTo>
                    <a:lnTo>
                      <a:pt x="39" y="262"/>
                    </a:lnTo>
                    <a:lnTo>
                      <a:pt x="41" y="262"/>
                    </a:lnTo>
                    <a:lnTo>
                      <a:pt x="43" y="262"/>
                    </a:lnTo>
                    <a:lnTo>
                      <a:pt x="47" y="262"/>
                    </a:lnTo>
                    <a:lnTo>
                      <a:pt x="51" y="262"/>
                    </a:lnTo>
                    <a:lnTo>
                      <a:pt x="52" y="262"/>
                    </a:lnTo>
                    <a:lnTo>
                      <a:pt x="56" y="262"/>
                    </a:lnTo>
                    <a:lnTo>
                      <a:pt x="60" y="264"/>
                    </a:lnTo>
                    <a:lnTo>
                      <a:pt x="60" y="264"/>
                    </a:lnTo>
                    <a:lnTo>
                      <a:pt x="64" y="262"/>
                    </a:lnTo>
                    <a:lnTo>
                      <a:pt x="60" y="262"/>
                    </a:lnTo>
                    <a:lnTo>
                      <a:pt x="58" y="258"/>
                    </a:lnTo>
                    <a:lnTo>
                      <a:pt x="56" y="254"/>
                    </a:lnTo>
                    <a:lnTo>
                      <a:pt x="52" y="254"/>
                    </a:lnTo>
                    <a:lnTo>
                      <a:pt x="49" y="249"/>
                    </a:lnTo>
                    <a:lnTo>
                      <a:pt x="49" y="245"/>
                    </a:lnTo>
                    <a:lnTo>
                      <a:pt x="52" y="243"/>
                    </a:lnTo>
                    <a:lnTo>
                      <a:pt x="52" y="237"/>
                    </a:lnTo>
                    <a:lnTo>
                      <a:pt x="51" y="235"/>
                    </a:lnTo>
                    <a:lnTo>
                      <a:pt x="51" y="233"/>
                    </a:lnTo>
                    <a:lnTo>
                      <a:pt x="52" y="232"/>
                    </a:lnTo>
                    <a:lnTo>
                      <a:pt x="52" y="228"/>
                    </a:lnTo>
                    <a:lnTo>
                      <a:pt x="51" y="224"/>
                    </a:lnTo>
                    <a:lnTo>
                      <a:pt x="49" y="218"/>
                    </a:lnTo>
                    <a:lnTo>
                      <a:pt x="47" y="218"/>
                    </a:lnTo>
                    <a:lnTo>
                      <a:pt x="47" y="213"/>
                    </a:lnTo>
                    <a:lnTo>
                      <a:pt x="41" y="209"/>
                    </a:lnTo>
                    <a:lnTo>
                      <a:pt x="34" y="205"/>
                    </a:lnTo>
                    <a:lnTo>
                      <a:pt x="34" y="203"/>
                    </a:lnTo>
                    <a:lnTo>
                      <a:pt x="30" y="200"/>
                    </a:lnTo>
                    <a:lnTo>
                      <a:pt x="26" y="194"/>
                    </a:lnTo>
                    <a:lnTo>
                      <a:pt x="22" y="194"/>
                    </a:lnTo>
                    <a:lnTo>
                      <a:pt x="22" y="169"/>
                    </a:lnTo>
                    <a:lnTo>
                      <a:pt x="22" y="166"/>
                    </a:lnTo>
                    <a:lnTo>
                      <a:pt x="24" y="166"/>
                    </a:lnTo>
                    <a:lnTo>
                      <a:pt x="26" y="166"/>
                    </a:lnTo>
                    <a:lnTo>
                      <a:pt x="28" y="164"/>
                    </a:lnTo>
                    <a:lnTo>
                      <a:pt x="58" y="132"/>
                    </a:lnTo>
                    <a:lnTo>
                      <a:pt x="58" y="105"/>
                    </a:lnTo>
                    <a:lnTo>
                      <a:pt x="64" y="70"/>
                    </a:lnTo>
                    <a:lnTo>
                      <a:pt x="64" y="66"/>
                    </a:lnTo>
                    <a:lnTo>
                      <a:pt x="64" y="60"/>
                    </a:lnTo>
                    <a:lnTo>
                      <a:pt x="52" y="45"/>
                    </a:lnTo>
                    <a:lnTo>
                      <a:pt x="54" y="43"/>
                    </a:lnTo>
                    <a:lnTo>
                      <a:pt x="54" y="38"/>
                    </a:lnTo>
                    <a:lnTo>
                      <a:pt x="45" y="13"/>
                    </a:lnTo>
                    <a:lnTo>
                      <a:pt x="43" y="9"/>
                    </a:lnTo>
                    <a:lnTo>
                      <a:pt x="43" y="9"/>
                    </a:lnTo>
                    <a:lnTo>
                      <a:pt x="43" y="9"/>
                    </a:lnTo>
                    <a:lnTo>
                      <a:pt x="43" y="9"/>
                    </a:lnTo>
                    <a:close/>
                    <a:moveTo>
                      <a:pt x="5" y="201"/>
                    </a:moveTo>
                    <a:lnTo>
                      <a:pt x="2" y="205"/>
                    </a:lnTo>
                    <a:lnTo>
                      <a:pt x="2" y="205"/>
                    </a:lnTo>
                    <a:lnTo>
                      <a:pt x="0" y="203"/>
                    </a:lnTo>
                    <a:lnTo>
                      <a:pt x="5" y="201"/>
                    </a:lnTo>
                    <a:lnTo>
                      <a:pt x="5" y="201"/>
                    </a:lnTo>
                    <a:lnTo>
                      <a:pt x="5" y="20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4" name="Freeform 126"/>
              <p:cNvSpPr>
                <a:spLocks/>
              </p:cNvSpPr>
              <p:nvPr/>
            </p:nvSpPr>
            <p:spPr bwMode="auto">
              <a:xfrm>
                <a:off x="2790" y="2659"/>
                <a:ext cx="279" cy="216"/>
              </a:xfrm>
              <a:custGeom>
                <a:avLst/>
                <a:gdLst/>
                <a:ahLst/>
                <a:cxnLst>
                  <a:cxn ang="0">
                    <a:pos x="59" y="211"/>
                  </a:cxn>
                  <a:cxn ang="0">
                    <a:pos x="51" y="207"/>
                  </a:cxn>
                  <a:cxn ang="0">
                    <a:pos x="45" y="205"/>
                  </a:cxn>
                  <a:cxn ang="0">
                    <a:pos x="42" y="209"/>
                  </a:cxn>
                  <a:cxn ang="0">
                    <a:pos x="34" y="203"/>
                  </a:cxn>
                  <a:cxn ang="0">
                    <a:pos x="36" y="199"/>
                  </a:cxn>
                  <a:cxn ang="0">
                    <a:pos x="34" y="192"/>
                  </a:cxn>
                  <a:cxn ang="0">
                    <a:pos x="25" y="195"/>
                  </a:cxn>
                  <a:cxn ang="0">
                    <a:pos x="17" y="184"/>
                  </a:cxn>
                  <a:cxn ang="0">
                    <a:pos x="0" y="167"/>
                  </a:cxn>
                  <a:cxn ang="0">
                    <a:pos x="2" y="160"/>
                  </a:cxn>
                  <a:cxn ang="0">
                    <a:pos x="8" y="158"/>
                  </a:cxn>
                  <a:cxn ang="0">
                    <a:pos x="27" y="156"/>
                  </a:cxn>
                  <a:cxn ang="0">
                    <a:pos x="40" y="154"/>
                  </a:cxn>
                  <a:cxn ang="0">
                    <a:pos x="47" y="150"/>
                  </a:cxn>
                  <a:cxn ang="0">
                    <a:pos x="59" y="146"/>
                  </a:cxn>
                  <a:cxn ang="0">
                    <a:pos x="68" y="137"/>
                  </a:cxn>
                  <a:cxn ang="0">
                    <a:pos x="72" y="130"/>
                  </a:cxn>
                  <a:cxn ang="0">
                    <a:pos x="76" y="79"/>
                  </a:cxn>
                  <a:cxn ang="0">
                    <a:pos x="125" y="50"/>
                  </a:cxn>
                  <a:cxn ang="0">
                    <a:pos x="239" y="5"/>
                  </a:cxn>
                  <a:cxn ang="0">
                    <a:pos x="258" y="3"/>
                  </a:cxn>
                  <a:cxn ang="0">
                    <a:pos x="269" y="30"/>
                  </a:cxn>
                  <a:cxn ang="0">
                    <a:pos x="268" y="39"/>
                  </a:cxn>
                  <a:cxn ang="0">
                    <a:pos x="279" y="60"/>
                  </a:cxn>
                  <a:cxn ang="0">
                    <a:pos x="273" y="98"/>
                  </a:cxn>
                  <a:cxn ang="0">
                    <a:pos x="243" y="156"/>
                  </a:cxn>
                  <a:cxn ang="0">
                    <a:pos x="239" y="158"/>
                  </a:cxn>
                  <a:cxn ang="0">
                    <a:pos x="237" y="162"/>
                  </a:cxn>
                  <a:cxn ang="0">
                    <a:pos x="236" y="182"/>
                  </a:cxn>
                  <a:cxn ang="0">
                    <a:pos x="232" y="186"/>
                  </a:cxn>
                  <a:cxn ang="0">
                    <a:pos x="226" y="186"/>
                  </a:cxn>
                  <a:cxn ang="0">
                    <a:pos x="224" y="190"/>
                  </a:cxn>
                  <a:cxn ang="0">
                    <a:pos x="221" y="192"/>
                  </a:cxn>
                  <a:cxn ang="0">
                    <a:pos x="213" y="192"/>
                  </a:cxn>
                  <a:cxn ang="0">
                    <a:pos x="202" y="190"/>
                  </a:cxn>
                  <a:cxn ang="0">
                    <a:pos x="189" y="190"/>
                  </a:cxn>
                  <a:cxn ang="0">
                    <a:pos x="177" y="192"/>
                  </a:cxn>
                  <a:cxn ang="0">
                    <a:pos x="166" y="201"/>
                  </a:cxn>
                  <a:cxn ang="0">
                    <a:pos x="157" y="199"/>
                  </a:cxn>
                  <a:cxn ang="0">
                    <a:pos x="147" y="195"/>
                  </a:cxn>
                  <a:cxn ang="0">
                    <a:pos x="143" y="190"/>
                  </a:cxn>
                  <a:cxn ang="0">
                    <a:pos x="136" y="190"/>
                  </a:cxn>
                  <a:cxn ang="0">
                    <a:pos x="132" y="190"/>
                  </a:cxn>
                  <a:cxn ang="0">
                    <a:pos x="125" y="192"/>
                  </a:cxn>
                  <a:cxn ang="0">
                    <a:pos x="121" y="195"/>
                  </a:cxn>
                  <a:cxn ang="0">
                    <a:pos x="113" y="186"/>
                  </a:cxn>
                  <a:cxn ang="0">
                    <a:pos x="108" y="182"/>
                  </a:cxn>
                  <a:cxn ang="0">
                    <a:pos x="100" y="180"/>
                  </a:cxn>
                  <a:cxn ang="0">
                    <a:pos x="94" y="180"/>
                  </a:cxn>
                  <a:cxn ang="0">
                    <a:pos x="89" y="180"/>
                  </a:cxn>
                  <a:cxn ang="0">
                    <a:pos x="83" y="180"/>
                  </a:cxn>
                  <a:cxn ang="0">
                    <a:pos x="76" y="182"/>
                  </a:cxn>
                  <a:cxn ang="0">
                    <a:pos x="74" y="184"/>
                  </a:cxn>
                  <a:cxn ang="0">
                    <a:pos x="68" y="190"/>
                  </a:cxn>
                  <a:cxn ang="0">
                    <a:pos x="68" y="190"/>
                  </a:cxn>
                  <a:cxn ang="0">
                    <a:pos x="68" y="195"/>
                  </a:cxn>
                  <a:cxn ang="0">
                    <a:pos x="70" y="199"/>
                  </a:cxn>
                  <a:cxn ang="0">
                    <a:pos x="64" y="205"/>
                  </a:cxn>
                  <a:cxn ang="0">
                    <a:pos x="64" y="209"/>
                  </a:cxn>
                  <a:cxn ang="0">
                    <a:pos x="66" y="214"/>
                  </a:cxn>
                  <a:cxn ang="0">
                    <a:pos x="64" y="216"/>
                  </a:cxn>
                  <a:cxn ang="0">
                    <a:pos x="64" y="216"/>
                  </a:cxn>
                </a:cxnLst>
                <a:rect l="0" t="0" r="r" b="b"/>
                <a:pathLst>
                  <a:path w="279" h="216">
                    <a:moveTo>
                      <a:pt x="64" y="216"/>
                    </a:moveTo>
                    <a:lnTo>
                      <a:pt x="59" y="211"/>
                    </a:lnTo>
                    <a:lnTo>
                      <a:pt x="55" y="211"/>
                    </a:lnTo>
                    <a:lnTo>
                      <a:pt x="51" y="207"/>
                    </a:lnTo>
                    <a:lnTo>
                      <a:pt x="47" y="201"/>
                    </a:lnTo>
                    <a:lnTo>
                      <a:pt x="45" y="205"/>
                    </a:lnTo>
                    <a:lnTo>
                      <a:pt x="45" y="207"/>
                    </a:lnTo>
                    <a:lnTo>
                      <a:pt x="42" y="209"/>
                    </a:lnTo>
                    <a:lnTo>
                      <a:pt x="40" y="209"/>
                    </a:lnTo>
                    <a:lnTo>
                      <a:pt x="34" y="203"/>
                    </a:lnTo>
                    <a:lnTo>
                      <a:pt x="36" y="201"/>
                    </a:lnTo>
                    <a:lnTo>
                      <a:pt x="36" y="199"/>
                    </a:lnTo>
                    <a:lnTo>
                      <a:pt x="34" y="195"/>
                    </a:lnTo>
                    <a:lnTo>
                      <a:pt x="34" y="192"/>
                    </a:lnTo>
                    <a:lnTo>
                      <a:pt x="32" y="192"/>
                    </a:lnTo>
                    <a:lnTo>
                      <a:pt x="25" y="195"/>
                    </a:lnTo>
                    <a:lnTo>
                      <a:pt x="19" y="190"/>
                    </a:lnTo>
                    <a:lnTo>
                      <a:pt x="17" y="184"/>
                    </a:lnTo>
                    <a:lnTo>
                      <a:pt x="0" y="173"/>
                    </a:lnTo>
                    <a:lnTo>
                      <a:pt x="0" y="167"/>
                    </a:lnTo>
                    <a:lnTo>
                      <a:pt x="2" y="162"/>
                    </a:lnTo>
                    <a:lnTo>
                      <a:pt x="2" y="160"/>
                    </a:lnTo>
                    <a:lnTo>
                      <a:pt x="6" y="156"/>
                    </a:lnTo>
                    <a:lnTo>
                      <a:pt x="8" y="158"/>
                    </a:lnTo>
                    <a:lnTo>
                      <a:pt x="21" y="156"/>
                    </a:lnTo>
                    <a:lnTo>
                      <a:pt x="27" y="156"/>
                    </a:lnTo>
                    <a:lnTo>
                      <a:pt x="30" y="154"/>
                    </a:lnTo>
                    <a:lnTo>
                      <a:pt x="40" y="154"/>
                    </a:lnTo>
                    <a:lnTo>
                      <a:pt x="42" y="154"/>
                    </a:lnTo>
                    <a:lnTo>
                      <a:pt x="47" y="150"/>
                    </a:lnTo>
                    <a:lnTo>
                      <a:pt x="51" y="150"/>
                    </a:lnTo>
                    <a:lnTo>
                      <a:pt x="59" y="146"/>
                    </a:lnTo>
                    <a:lnTo>
                      <a:pt x="68" y="141"/>
                    </a:lnTo>
                    <a:lnTo>
                      <a:pt x="68" y="137"/>
                    </a:lnTo>
                    <a:lnTo>
                      <a:pt x="70" y="131"/>
                    </a:lnTo>
                    <a:lnTo>
                      <a:pt x="72" y="130"/>
                    </a:lnTo>
                    <a:lnTo>
                      <a:pt x="74" y="113"/>
                    </a:lnTo>
                    <a:lnTo>
                      <a:pt x="76" y="79"/>
                    </a:lnTo>
                    <a:lnTo>
                      <a:pt x="104" y="71"/>
                    </a:lnTo>
                    <a:lnTo>
                      <a:pt x="125" y="50"/>
                    </a:lnTo>
                    <a:lnTo>
                      <a:pt x="207" y="0"/>
                    </a:lnTo>
                    <a:lnTo>
                      <a:pt x="239" y="5"/>
                    </a:lnTo>
                    <a:lnTo>
                      <a:pt x="243" y="11"/>
                    </a:lnTo>
                    <a:lnTo>
                      <a:pt x="258" y="3"/>
                    </a:lnTo>
                    <a:lnTo>
                      <a:pt x="260" y="5"/>
                    </a:lnTo>
                    <a:lnTo>
                      <a:pt x="269" y="30"/>
                    </a:lnTo>
                    <a:lnTo>
                      <a:pt x="269" y="37"/>
                    </a:lnTo>
                    <a:lnTo>
                      <a:pt x="268" y="39"/>
                    </a:lnTo>
                    <a:lnTo>
                      <a:pt x="279" y="54"/>
                    </a:lnTo>
                    <a:lnTo>
                      <a:pt x="279" y="60"/>
                    </a:lnTo>
                    <a:lnTo>
                      <a:pt x="279" y="64"/>
                    </a:lnTo>
                    <a:lnTo>
                      <a:pt x="273" y="98"/>
                    </a:lnTo>
                    <a:lnTo>
                      <a:pt x="273" y="124"/>
                    </a:lnTo>
                    <a:lnTo>
                      <a:pt x="243" y="156"/>
                    </a:lnTo>
                    <a:lnTo>
                      <a:pt x="241" y="158"/>
                    </a:lnTo>
                    <a:lnTo>
                      <a:pt x="239" y="158"/>
                    </a:lnTo>
                    <a:lnTo>
                      <a:pt x="237" y="158"/>
                    </a:lnTo>
                    <a:lnTo>
                      <a:pt x="237" y="162"/>
                    </a:lnTo>
                    <a:lnTo>
                      <a:pt x="237" y="184"/>
                    </a:lnTo>
                    <a:lnTo>
                      <a:pt x="236" y="182"/>
                    </a:lnTo>
                    <a:lnTo>
                      <a:pt x="232" y="186"/>
                    </a:lnTo>
                    <a:lnTo>
                      <a:pt x="232" y="186"/>
                    </a:lnTo>
                    <a:lnTo>
                      <a:pt x="230" y="190"/>
                    </a:lnTo>
                    <a:lnTo>
                      <a:pt x="226" y="186"/>
                    </a:lnTo>
                    <a:lnTo>
                      <a:pt x="226" y="190"/>
                    </a:lnTo>
                    <a:lnTo>
                      <a:pt x="224" y="190"/>
                    </a:lnTo>
                    <a:lnTo>
                      <a:pt x="221" y="192"/>
                    </a:lnTo>
                    <a:lnTo>
                      <a:pt x="221" y="192"/>
                    </a:lnTo>
                    <a:lnTo>
                      <a:pt x="215" y="195"/>
                    </a:lnTo>
                    <a:lnTo>
                      <a:pt x="213" y="192"/>
                    </a:lnTo>
                    <a:lnTo>
                      <a:pt x="207" y="192"/>
                    </a:lnTo>
                    <a:lnTo>
                      <a:pt x="202" y="190"/>
                    </a:lnTo>
                    <a:lnTo>
                      <a:pt x="194" y="190"/>
                    </a:lnTo>
                    <a:lnTo>
                      <a:pt x="189" y="190"/>
                    </a:lnTo>
                    <a:lnTo>
                      <a:pt x="181" y="190"/>
                    </a:lnTo>
                    <a:lnTo>
                      <a:pt x="177" y="192"/>
                    </a:lnTo>
                    <a:lnTo>
                      <a:pt x="172" y="199"/>
                    </a:lnTo>
                    <a:lnTo>
                      <a:pt x="166" y="201"/>
                    </a:lnTo>
                    <a:lnTo>
                      <a:pt x="162" y="201"/>
                    </a:lnTo>
                    <a:lnTo>
                      <a:pt x="157" y="199"/>
                    </a:lnTo>
                    <a:lnTo>
                      <a:pt x="153" y="199"/>
                    </a:lnTo>
                    <a:lnTo>
                      <a:pt x="147" y="195"/>
                    </a:lnTo>
                    <a:lnTo>
                      <a:pt x="143" y="192"/>
                    </a:lnTo>
                    <a:lnTo>
                      <a:pt x="143" y="190"/>
                    </a:lnTo>
                    <a:lnTo>
                      <a:pt x="140" y="190"/>
                    </a:lnTo>
                    <a:lnTo>
                      <a:pt x="136" y="190"/>
                    </a:lnTo>
                    <a:lnTo>
                      <a:pt x="136" y="190"/>
                    </a:lnTo>
                    <a:lnTo>
                      <a:pt x="132" y="190"/>
                    </a:lnTo>
                    <a:lnTo>
                      <a:pt x="128" y="190"/>
                    </a:lnTo>
                    <a:lnTo>
                      <a:pt x="125" y="192"/>
                    </a:lnTo>
                    <a:lnTo>
                      <a:pt x="123" y="195"/>
                    </a:lnTo>
                    <a:lnTo>
                      <a:pt x="121" y="195"/>
                    </a:lnTo>
                    <a:lnTo>
                      <a:pt x="117" y="192"/>
                    </a:lnTo>
                    <a:lnTo>
                      <a:pt x="113" y="186"/>
                    </a:lnTo>
                    <a:lnTo>
                      <a:pt x="111" y="186"/>
                    </a:lnTo>
                    <a:lnTo>
                      <a:pt x="108" y="182"/>
                    </a:lnTo>
                    <a:lnTo>
                      <a:pt x="104" y="182"/>
                    </a:lnTo>
                    <a:lnTo>
                      <a:pt x="100" y="180"/>
                    </a:lnTo>
                    <a:lnTo>
                      <a:pt x="96" y="180"/>
                    </a:lnTo>
                    <a:lnTo>
                      <a:pt x="94" y="180"/>
                    </a:lnTo>
                    <a:lnTo>
                      <a:pt x="91" y="180"/>
                    </a:lnTo>
                    <a:lnTo>
                      <a:pt x="89" y="180"/>
                    </a:lnTo>
                    <a:lnTo>
                      <a:pt x="83" y="180"/>
                    </a:lnTo>
                    <a:lnTo>
                      <a:pt x="83" y="180"/>
                    </a:lnTo>
                    <a:lnTo>
                      <a:pt x="79" y="180"/>
                    </a:lnTo>
                    <a:lnTo>
                      <a:pt x="76" y="182"/>
                    </a:lnTo>
                    <a:lnTo>
                      <a:pt x="76" y="182"/>
                    </a:lnTo>
                    <a:lnTo>
                      <a:pt x="74" y="184"/>
                    </a:lnTo>
                    <a:lnTo>
                      <a:pt x="68" y="186"/>
                    </a:lnTo>
                    <a:lnTo>
                      <a:pt x="68" y="190"/>
                    </a:lnTo>
                    <a:lnTo>
                      <a:pt x="68" y="190"/>
                    </a:lnTo>
                    <a:lnTo>
                      <a:pt x="68" y="190"/>
                    </a:lnTo>
                    <a:lnTo>
                      <a:pt x="68" y="192"/>
                    </a:lnTo>
                    <a:lnTo>
                      <a:pt x="68" y="195"/>
                    </a:lnTo>
                    <a:lnTo>
                      <a:pt x="70" y="199"/>
                    </a:lnTo>
                    <a:lnTo>
                      <a:pt x="70" y="199"/>
                    </a:lnTo>
                    <a:lnTo>
                      <a:pt x="66" y="199"/>
                    </a:lnTo>
                    <a:lnTo>
                      <a:pt x="64" y="205"/>
                    </a:lnTo>
                    <a:lnTo>
                      <a:pt x="64" y="207"/>
                    </a:lnTo>
                    <a:lnTo>
                      <a:pt x="64" y="209"/>
                    </a:lnTo>
                    <a:lnTo>
                      <a:pt x="64" y="214"/>
                    </a:lnTo>
                    <a:lnTo>
                      <a:pt x="66" y="214"/>
                    </a:lnTo>
                    <a:lnTo>
                      <a:pt x="66" y="214"/>
                    </a:lnTo>
                    <a:lnTo>
                      <a:pt x="64" y="216"/>
                    </a:lnTo>
                    <a:lnTo>
                      <a:pt x="64" y="216"/>
                    </a:lnTo>
                    <a:lnTo>
                      <a:pt x="64" y="21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5" name="Freeform 127"/>
              <p:cNvSpPr>
                <a:spLocks/>
              </p:cNvSpPr>
              <p:nvPr/>
            </p:nvSpPr>
            <p:spPr bwMode="auto">
              <a:xfrm>
                <a:off x="2837" y="2843"/>
                <a:ext cx="211" cy="181"/>
              </a:xfrm>
              <a:custGeom>
                <a:avLst/>
                <a:gdLst/>
                <a:ahLst/>
                <a:cxnLst>
                  <a:cxn ang="0">
                    <a:pos x="198" y="11"/>
                  </a:cxn>
                  <a:cxn ang="0">
                    <a:pos x="185" y="6"/>
                  </a:cxn>
                  <a:cxn ang="0">
                    <a:pos x="179" y="8"/>
                  </a:cxn>
                  <a:cxn ang="0">
                    <a:pos x="174" y="13"/>
                  </a:cxn>
                  <a:cxn ang="0">
                    <a:pos x="164" y="13"/>
                  </a:cxn>
                  <a:cxn ang="0">
                    <a:pos x="145" y="10"/>
                  </a:cxn>
                  <a:cxn ang="0">
                    <a:pos x="128" y="13"/>
                  </a:cxn>
                  <a:cxn ang="0">
                    <a:pos x="115" y="21"/>
                  </a:cxn>
                  <a:cxn ang="0">
                    <a:pos x="98" y="15"/>
                  </a:cxn>
                  <a:cxn ang="0">
                    <a:pos x="91" y="10"/>
                  </a:cxn>
                  <a:cxn ang="0">
                    <a:pos x="83" y="11"/>
                  </a:cxn>
                  <a:cxn ang="0">
                    <a:pos x="74" y="15"/>
                  </a:cxn>
                  <a:cxn ang="0">
                    <a:pos x="66" y="8"/>
                  </a:cxn>
                  <a:cxn ang="0">
                    <a:pos x="55" y="2"/>
                  </a:cxn>
                  <a:cxn ang="0">
                    <a:pos x="46" y="0"/>
                  </a:cxn>
                  <a:cxn ang="0">
                    <a:pos x="36" y="0"/>
                  </a:cxn>
                  <a:cxn ang="0">
                    <a:pos x="27" y="2"/>
                  </a:cxn>
                  <a:cxn ang="0">
                    <a:pos x="19" y="8"/>
                  </a:cxn>
                  <a:cxn ang="0">
                    <a:pos x="19" y="11"/>
                  </a:cxn>
                  <a:cxn ang="0">
                    <a:pos x="21" y="19"/>
                  </a:cxn>
                  <a:cxn ang="0">
                    <a:pos x="15" y="25"/>
                  </a:cxn>
                  <a:cxn ang="0">
                    <a:pos x="15" y="34"/>
                  </a:cxn>
                  <a:cxn ang="0">
                    <a:pos x="15" y="38"/>
                  </a:cxn>
                  <a:cxn ang="0">
                    <a:pos x="19" y="51"/>
                  </a:cxn>
                  <a:cxn ang="0">
                    <a:pos x="21" y="62"/>
                  </a:cxn>
                  <a:cxn ang="0">
                    <a:pos x="15" y="66"/>
                  </a:cxn>
                  <a:cxn ang="0">
                    <a:pos x="15" y="74"/>
                  </a:cxn>
                  <a:cxn ang="0">
                    <a:pos x="10" y="81"/>
                  </a:cxn>
                  <a:cxn ang="0">
                    <a:pos x="4" y="87"/>
                  </a:cxn>
                  <a:cxn ang="0">
                    <a:pos x="0" y="94"/>
                  </a:cxn>
                  <a:cxn ang="0">
                    <a:pos x="0" y="102"/>
                  </a:cxn>
                  <a:cxn ang="0">
                    <a:pos x="0" y="109"/>
                  </a:cxn>
                  <a:cxn ang="0">
                    <a:pos x="0" y="121"/>
                  </a:cxn>
                  <a:cxn ang="0">
                    <a:pos x="0" y="136"/>
                  </a:cxn>
                  <a:cxn ang="0">
                    <a:pos x="15" y="140"/>
                  </a:cxn>
                  <a:cxn ang="0">
                    <a:pos x="40" y="162"/>
                  </a:cxn>
                  <a:cxn ang="0">
                    <a:pos x="46" y="175"/>
                  </a:cxn>
                  <a:cxn ang="0">
                    <a:pos x="74" y="181"/>
                  </a:cxn>
                  <a:cxn ang="0">
                    <a:pos x="89" y="177"/>
                  </a:cxn>
                  <a:cxn ang="0">
                    <a:pos x="96" y="173"/>
                  </a:cxn>
                  <a:cxn ang="0">
                    <a:pos x="102" y="173"/>
                  </a:cxn>
                  <a:cxn ang="0">
                    <a:pos x="110" y="162"/>
                  </a:cxn>
                  <a:cxn ang="0">
                    <a:pos x="111" y="153"/>
                  </a:cxn>
                  <a:cxn ang="0">
                    <a:pos x="115" y="143"/>
                  </a:cxn>
                  <a:cxn ang="0">
                    <a:pos x="123" y="136"/>
                  </a:cxn>
                  <a:cxn ang="0">
                    <a:pos x="130" y="130"/>
                  </a:cxn>
                  <a:cxn ang="0">
                    <a:pos x="138" y="134"/>
                  </a:cxn>
                  <a:cxn ang="0">
                    <a:pos x="145" y="140"/>
                  </a:cxn>
                  <a:cxn ang="0">
                    <a:pos x="155" y="136"/>
                  </a:cxn>
                  <a:cxn ang="0">
                    <a:pos x="158" y="130"/>
                  </a:cxn>
                  <a:cxn ang="0">
                    <a:pos x="162" y="119"/>
                  </a:cxn>
                  <a:cxn ang="0">
                    <a:pos x="168" y="109"/>
                  </a:cxn>
                  <a:cxn ang="0">
                    <a:pos x="177" y="98"/>
                  </a:cxn>
                  <a:cxn ang="0">
                    <a:pos x="179" y="85"/>
                  </a:cxn>
                  <a:cxn ang="0">
                    <a:pos x="190" y="79"/>
                  </a:cxn>
                  <a:cxn ang="0">
                    <a:pos x="190" y="66"/>
                  </a:cxn>
                  <a:cxn ang="0">
                    <a:pos x="198" y="55"/>
                  </a:cxn>
                  <a:cxn ang="0">
                    <a:pos x="204" y="51"/>
                  </a:cxn>
                  <a:cxn ang="0">
                    <a:pos x="211" y="43"/>
                  </a:cxn>
                  <a:cxn ang="0">
                    <a:pos x="207" y="32"/>
                  </a:cxn>
                  <a:cxn ang="0">
                    <a:pos x="202" y="25"/>
                  </a:cxn>
                  <a:cxn ang="0">
                    <a:pos x="202" y="17"/>
                  </a:cxn>
                </a:cxnLst>
                <a:rect l="0" t="0" r="r" b="b"/>
                <a:pathLst>
                  <a:path w="211" h="181">
                    <a:moveTo>
                      <a:pt x="202" y="17"/>
                    </a:moveTo>
                    <a:lnTo>
                      <a:pt x="202" y="15"/>
                    </a:lnTo>
                    <a:lnTo>
                      <a:pt x="198" y="11"/>
                    </a:lnTo>
                    <a:lnTo>
                      <a:pt x="194" y="4"/>
                    </a:lnTo>
                    <a:lnTo>
                      <a:pt x="189" y="2"/>
                    </a:lnTo>
                    <a:lnTo>
                      <a:pt x="185" y="6"/>
                    </a:lnTo>
                    <a:lnTo>
                      <a:pt x="185" y="8"/>
                    </a:lnTo>
                    <a:lnTo>
                      <a:pt x="183" y="10"/>
                    </a:lnTo>
                    <a:lnTo>
                      <a:pt x="179" y="8"/>
                    </a:lnTo>
                    <a:lnTo>
                      <a:pt x="177" y="10"/>
                    </a:lnTo>
                    <a:lnTo>
                      <a:pt x="177" y="11"/>
                    </a:lnTo>
                    <a:lnTo>
                      <a:pt x="174" y="13"/>
                    </a:lnTo>
                    <a:lnTo>
                      <a:pt x="170" y="17"/>
                    </a:lnTo>
                    <a:lnTo>
                      <a:pt x="170" y="17"/>
                    </a:lnTo>
                    <a:lnTo>
                      <a:pt x="164" y="13"/>
                    </a:lnTo>
                    <a:lnTo>
                      <a:pt x="160" y="13"/>
                    </a:lnTo>
                    <a:lnTo>
                      <a:pt x="153" y="11"/>
                    </a:lnTo>
                    <a:lnTo>
                      <a:pt x="145" y="10"/>
                    </a:lnTo>
                    <a:lnTo>
                      <a:pt x="140" y="11"/>
                    </a:lnTo>
                    <a:lnTo>
                      <a:pt x="132" y="11"/>
                    </a:lnTo>
                    <a:lnTo>
                      <a:pt x="128" y="13"/>
                    </a:lnTo>
                    <a:lnTo>
                      <a:pt x="123" y="19"/>
                    </a:lnTo>
                    <a:lnTo>
                      <a:pt x="119" y="21"/>
                    </a:lnTo>
                    <a:lnTo>
                      <a:pt x="115" y="21"/>
                    </a:lnTo>
                    <a:lnTo>
                      <a:pt x="108" y="19"/>
                    </a:lnTo>
                    <a:lnTo>
                      <a:pt x="104" y="19"/>
                    </a:lnTo>
                    <a:lnTo>
                      <a:pt x="98" y="15"/>
                    </a:lnTo>
                    <a:lnTo>
                      <a:pt x="94" y="13"/>
                    </a:lnTo>
                    <a:lnTo>
                      <a:pt x="94" y="11"/>
                    </a:lnTo>
                    <a:lnTo>
                      <a:pt x="91" y="10"/>
                    </a:lnTo>
                    <a:lnTo>
                      <a:pt x="89" y="10"/>
                    </a:lnTo>
                    <a:lnTo>
                      <a:pt x="89" y="10"/>
                    </a:lnTo>
                    <a:lnTo>
                      <a:pt x="83" y="11"/>
                    </a:lnTo>
                    <a:lnTo>
                      <a:pt x="79" y="11"/>
                    </a:lnTo>
                    <a:lnTo>
                      <a:pt x="78" y="13"/>
                    </a:lnTo>
                    <a:lnTo>
                      <a:pt x="74" y="15"/>
                    </a:lnTo>
                    <a:lnTo>
                      <a:pt x="72" y="15"/>
                    </a:lnTo>
                    <a:lnTo>
                      <a:pt x="70" y="13"/>
                    </a:lnTo>
                    <a:lnTo>
                      <a:pt x="66" y="8"/>
                    </a:lnTo>
                    <a:lnTo>
                      <a:pt x="64" y="6"/>
                    </a:lnTo>
                    <a:lnTo>
                      <a:pt x="59" y="2"/>
                    </a:lnTo>
                    <a:lnTo>
                      <a:pt x="55" y="2"/>
                    </a:lnTo>
                    <a:lnTo>
                      <a:pt x="53" y="0"/>
                    </a:lnTo>
                    <a:lnTo>
                      <a:pt x="47" y="0"/>
                    </a:lnTo>
                    <a:lnTo>
                      <a:pt x="46" y="0"/>
                    </a:lnTo>
                    <a:lnTo>
                      <a:pt x="42" y="0"/>
                    </a:lnTo>
                    <a:lnTo>
                      <a:pt x="40" y="0"/>
                    </a:lnTo>
                    <a:lnTo>
                      <a:pt x="36" y="0"/>
                    </a:lnTo>
                    <a:lnTo>
                      <a:pt x="34" y="0"/>
                    </a:lnTo>
                    <a:lnTo>
                      <a:pt x="32" y="0"/>
                    </a:lnTo>
                    <a:lnTo>
                      <a:pt x="27" y="2"/>
                    </a:lnTo>
                    <a:lnTo>
                      <a:pt x="27" y="2"/>
                    </a:lnTo>
                    <a:lnTo>
                      <a:pt x="25" y="4"/>
                    </a:lnTo>
                    <a:lnTo>
                      <a:pt x="19" y="8"/>
                    </a:lnTo>
                    <a:lnTo>
                      <a:pt x="19" y="10"/>
                    </a:lnTo>
                    <a:lnTo>
                      <a:pt x="19" y="11"/>
                    </a:lnTo>
                    <a:lnTo>
                      <a:pt x="19" y="11"/>
                    </a:lnTo>
                    <a:lnTo>
                      <a:pt x="19" y="13"/>
                    </a:lnTo>
                    <a:lnTo>
                      <a:pt x="19" y="17"/>
                    </a:lnTo>
                    <a:lnTo>
                      <a:pt x="21" y="19"/>
                    </a:lnTo>
                    <a:lnTo>
                      <a:pt x="21" y="21"/>
                    </a:lnTo>
                    <a:lnTo>
                      <a:pt x="17" y="21"/>
                    </a:lnTo>
                    <a:lnTo>
                      <a:pt x="15" y="25"/>
                    </a:lnTo>
                    <a:lnTo>
                      <a:pt x="15" y="27"/>
                    </a:lnTo>
                    <a:lnTo>
                      <a:pt x="15" y="30"/>
                    </a:lnTo>
                    <a:lnTo>
                      <a:pt x="15" y="34"/>
                    </a:lnTo>
                    <a:lnTo>
                      <a:pt x="17" y="34"/>
                    </a:lnTo>
                    <a:lnTo>
                      <a:pt x="17" y="36"/>
                    </a:lnTo>
                    <a:lnTo>
                      <a:pt x="15" y="38"/>
                    </a:lnTo>
                    <a:lnTo>
                      <a:pt x="15" y="43"/>
                    </a:lnTo>
                    <a:lnTo>
                      <a:pt x="15" y="45"/>
                    </a:lnTo>
                    <a:lnTo>
                      <a:pt x="19" y="51"/>
                    </a:lnTo>
                    <a:lnTo>
                      <a:pt x="19" y="55"/>
                    </a:lnTo>
                    <a:lnTo>
                      <a:pt x="21" y="60"/>
                    </a:lnTo>
                    <a:lnTo>
                      <a:pt x="21" y="62"/>
                    </a:lnTo>
                    <a:lnTo>
                      <a:pt x="17" y="62"/>
                    </a:lnTo>
                    <a:lnTo>
                      <a:pt x="15" y="66"/>
                    </a:lnTo>
                    <a:lnTo>
                      <a:pt x="15" y="66"/>
                    </a:lnTo>
                    <a:lnTo>
                      <a:pt x="19" y="72"/>
                    </a:lnTo>
                    <a:lnTo>
                      <a:pt x="17" y="74"/>
                    </a:lnTo>
                    <a:lnTo>
                      <a:pt x="15" y="74"/>
                    </a:lnTo>
                    <a:lnTo>
                      <a:pt x="12" y="76"/>
                    </a:lnTo>
                    <a:lnTo>
                      <a:pt x="12" y="79"/>
                    </a:lnTo>
                    <a:lnTo>
                      <a:pt x="10" y="81"/>
                    </a:lnTo>
                    <a:lnTo>
                      <a:pt x="8" y="85"/>
                    </a:lnTo>
                    <a:lnTo>
                      <a:pt x="6" y="87"/>
                    </a:lnTo>
                    <a:lnTo>
                      <a:pt x="4" y="87"/>
                    </a:lnTo>
                    <a:lnTo>
                      <a:pt x="2" y="89"/>
                    </a:lnTo>
                    <a:lnTo>
                      <a:pt x="0" y="91"/>
                    </a:lnTo>
                    <a:lnTo>
                      <a:pt x="0" y="94"/>
                    </a:lnTo>
                    <a:lnTo>
                      <a:pt x="0" y="96"/>
                    </a:lnTo>
                    <a:lnTo>
                      <a:pt x="0" y="102"/>
                    </a:lnTo>
                    <a:lnTo>
                      <a:pt x="0" y="102"/>
                    </a:lnTo>
                    <a:lnTo>
                      <a:pt x="0" y="106"/>
                    </a:lnTo>
                    <a:lnTo>
                      <a:pt x="0" y="106"/>
                    </a:lnTo>
                    <a:lnTo>
                      <a:pt x="0" y="109"/>
                    </a:lnTo>
                    <a:lnTo>
                      <a:pt x="0" y="109"/>
                    </a:lnTo>
                    <a:lnTo>
                      <a:pt x="0" y="113"/>
                    </a:lnTo>
                    <a:lnTo>
                      <a:pt x="0" y="121"/>
                    </a:lnTo>
                    <a:lnTo>
                      <a:pt x="0" y="123"/>
                    </a:lnTo>
                    <a:lnTo>
                      <a:pt x="2" y="126"/>
                    </a:lnTo>
                    <a:lnTo>
                      <a:pt x="0" y="136"/>
                    </a:lnTo>
                    <a:lnTo>
                      <a:pt x="0" y="140"/>
                    </a:lnTo>
                    <a:lnTo>
                      <a:pt x="10" y="140"/>
                    </a:lnTo>
                    <a:lnTo>
                      <a:pt x="15" y="140"/>
                    </a:lnTo>
                    <a:lnTo>
                      <a:pt x="29" y="145"/>
                    </a:lnTo>
                    <a:lnTo>
                      <a:pt x="36" y="153"/>
                    </a:lnTo>
                    <a:lnTo>
                      <a:pt x="40" y="162"/>
                    </a:lnTo>
                    <a:lnTo>
                      <a:pt x="40" y="170"/>
                    </a:lnTo>
                    <a:lnTo>
                      <a:pt x="42" y="170"/>
                    </a:lnTo>
                    <a:lnTo>
                      <a:pt x="46" y="175"/>
                    </a:lnTo>
                    <a:lnTo>
                      <a:pt x="49" y="179"/>
                    </a:lnTo>
                    <a:lnTo>
                      <a:pt x="55" y="181"/>
                    </a:lnTo>
                    <a:lnTo>
                      <a:pt x="74" y="181"/>
                    </a:lnTo>
                    <a:lnTo>
                      <a:pt x="78" y="179"/>
                    </a:lnTo>
                    <a:lnTo>
                      <a:pt x="79" y="179"/>
                    </a:lnTo>
                    <a:lnTo>
                      <a:pt x="89" y="177"/>
                    </a:lnTo>
                    <a:lnTo>
                      <a:pt x="91" y="177"/>
                    </a:lnTo>
                    <a:lnTo>
                      <a:pt x="94" y="177"/>
                    </a:lnTo>
                    <a:lnTo>
                      <a:pt x="96" y="173"/>
                    </a:lnTo>
                    <a:lnTo>
                      <a:pt x="100" y="175"/>
                    </a:lnTo>
                    <a:lnTo>
                      <a:pt x="102" y="173"/>
                    </a:lnTo>
                    <a:lnTo>
                      <a:pt x="102" y="173"/>
                    </a:lnTo>
                    <a:lnTo>
                      <a:pt x="102" y="173"/>
                    </a:lnTo>
                    <a:lnTo>
                      <a:pt x="108" y="168"/>
                    </a:lnTo>
                    <a:lnTo>
                      <a:pt x="110" y="162"/>
                    </a:lnTo>
                    <a:lnTo>
                      <a:pt x="110" y="158"/>
                    </a:lnTo>
                    <a:lnTo>
                      <a:pt x="108" y="155"/>
                    </a:lnTo>
                    <a:lnTo>
                      <a:pt x="111" y="153"/>
                    </a:lnTo>
                    <a:lnTo>
                      <a:pt x="111" y="149"/>
                    </a:lnTo>
                    <a:lnTo>
                      <a:pt x="113" y="147"/>
                    </a:lnTo>
                    <a:lnTo>
                      <a:pt x="115" y="143"/>
                    </a:lnTo>
                    <a:lnTo>
                      <a:pt x="119" y="143"/>
                    </a:lnTo>
                    <a:lnTo>
                      <a:pt x="123" y="140"/>
                    </a:lnTo>
                    <a:lnTo>
                      <a:pt x="123" y="136"/>
                    </a:lnTo>
                    <a:lnTo>
                      <a:pt x="125" y="134"/>
                    </a:lnTo>
                    <a:lnTo>
                      <a:pt x="128" y="134"/>
                    </a:lnTo>
                    <a:lnTo>
                      <a:pt x="130" y="130"/>
                    </a:lnTo>
                    <a:lnTo>
                      <a:pt x="130" y="130"/>
                    </a:lnTo>
                    <a:lnTo>
                      <a:pt x="136" y="134"/>
                    </a:lnTo>
                    <a:lnTo>
                      <a:pt x="138" y="134"/>
                    </a:lnTo>
                    <a:lnTo>
                      <a:pt x="140" y="136"/>
                    </a:lnTo>
                    <a:lnTo>
                      <a:pt x="143" y="140"/>
                    </a:lnTo>
                    <a:lnTo>
                      <a:pt x="145" y="140"/>
                    </a:lnTo>
                    <a:lnTo>
                      <a:pt x="149" y="143"/>
                    </a:lnTo>
                    <a:lnTo>
                      <a:pt x="153" y="140"/>
                    </a:lnTo>
                    <a:lnTo>
                      <a:pt x="155" y="136"/>
                    </a:lnTo>
                    <a:lnTo>
                      <a:pt x="155" y="134"/>
                    </a:lnTo>
                    <a:lnTo>
                      <a:pt x="157" y="130"/>
                    </a:lnTo>
                    <a:lnTo>
                      <a:pt x="158" y="130"/>
                    </a:lnTo>
                    <a:lnTo>
                      <a:pt x="162" y="126"/>
                    </a:lnTo>
                    <a:lnTo>
                      <a:pt x="162" y="124"/>
                    </a:lnTo>
                    <a:lnTo>
                      <a:pt x="162" y="119"/>
                    </a:lnTo>
                    <a:lnTo>
                      <a:pt x="170" y="115"/>
                    </a:lnTo>
                    <a:lnTo>
                      <a:pt x="170" y="109"/>
                    </a:lnTo>
                    <a:lnTo>
                      <a:pt x="168" y="109"/>
                    </a:lnTo>
                    <a:lnTo>
                      <a:pt x="170" y="106"/>
                    </a:lnTo>
                    <a:lnTo>
                      <a:pt x="174" y="100"/>
                    </a:lnTo>
                    <a:lnTo>
                      <a:pt x="177" y="98"/>
                    </a:lnTo>
                    <a:lnTo>
                      <a:pt x="177" y="94"/>
                    </a:lnTo>
                    <a:lnTo>
                      <a:pt x="179" y="91"/>
                    </a:lnTo>
                    <a:lnTo>
                      <a:pt x="179" y="85"/>
                    </a:lnTo>
                    <a:lnTo>
                      <a:pt x="181" y="85"/>
                    </a:lnTo>
                    <a:lnTo>
                      <a:pt x="187" y="81"/>
                    </a:lnTo>
                    <a:lnTo>
                      <a:pt x="190" y="79"/>
                    </a:lnTo>
                    <a:lnTo>
                      <a:pt x="190" y="74"/>
                    </a:lnTo>
                    <a:lnTo>
                      <a:pt x="190" y="68"/>
                    </a:lnTo>
                    <a:lnTo>
                      <a:pt x="190" y="66"/>
                    </a:lnTo>
                    <a:lnTo>
                      <a:pt x="192" y="62"/>
                    </a:lnTo>
                    <a:lnTo>
                      <a:pt x="196" y="55"/>
                    </a:lnTo>
                    <a:lnTo>
                      <a:pt x="198" y="55"/>
                    </a:lnTo>
                    <a:lnTo>
                      <a:pt x="198" y="51"/>
                    </a:lnTo>
                    <a:lnTo>
                      <a:pt x="202" y="51"/>
                    </a:lnTo>
                    <a:lnTo>
                      <a:pt x="204" y="51"/>
                    </a:lnTo>
                    <a:lnTo>
                      <a:pt x="206" y="47"/>
                    </a:lnTo>
                    <a:lnTo>
                      <a:pt x="209" y="45"/>
                    </a:lnTo>
                    <a:lnTo>
                      <a:pt x="211" y="43"/>
                    </a:lnTo>
                    <a:lnTo>
                      <a:pt x="209" y="38"/>
                    </a:lnTo>
                    <a:lnTo>
                      <a:pt x="209" y="36"/>
                    </a:lnTo>
                    <a:lnTo>
                      <a:pt x="207" y="32"/>
                    </a:lnTo>
                    <a:lnTo>
                      <a:pt x="204" y="32"/>
                    </a:lnTo>
                    <a:lnTo>
                      <a:pt x="202" y="30"/>
                    </a:lnTo>
                    <a:lnTo>
                      <a:pt x="202" y="25"/>
                    </a:lnTo>
                    <a:lnTo>
                      <a:pt x="202" y="21"/>
                    </a:lnTo>
                    <a:lnTo>
                      <a:pt x="202" y="17"/>
                    </a:lnTo>
                    <a:lnTo>
                      <a:pt x="202" y="17"/>
                    </a:lnTo>
                    <a:lnTo>
                      <a:pt x="202" y="17"/>
                    </a:lnTo>
                    <a:lnTo>
                      <a:pt x="202"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6" name="Freeform 128"/>
              <p:cNvSpPr>
                <a:spLocks/>
              </p:cNvSpPr>
              <p:nvPr/>
            </p:nvSpPr>
            <p:spPr bwMode="auto">
              <a:xfrm>
                <a:off x="2896" y="3092"/>
                <a:ext cx="5" cy="11"/>
              </a:xfrm>
              <a:custGeom>
                <a:avLst/>
                <a:gdLst/>
                <a:ahLst/>
                <a:cxnLst>
                  <a:cxn ang="0">
                    <a:pos x="2" y="11"/>
                  </a:cxn>
                  <a:cxn ang="0">
                    <a:pos x="0" y="5"/>
                  </a:cxn>
                  <a:cxn ang="0">
                    <a:pos x="2" y="0"/>
                  </a:cxn>
                  <a:cxn ang="0">
                    <a:pos x="5" y="5"/>
                  </a:cxn>
                  <a:cxn ang="0">
                    <a:pos x="5" y="7"/>
                  </a:cxn>
                  <a:cxn ang="0">
                    <a:pos x="2" y="11"/>
                  </a:cxn>
                  <a:cxn ang="0">
                    <a:pos x="2" y="11"/>
                  </a:cxn>
                  <a:cxn ang="0">
                    <a:pos x="2" y="11"/>
                  </a:cxn>
                  <a:cxn ang="0">
                    <a:pos x="2" y="11"/>
                  </a:cxn>
                </a:cxnLst>
                <a:rect l="0" t="0" r="r" b="b"/>
                <a:pathLst>
                  <a:path w="5" h="11">
                    <a:moveTo>
                      <a:pt x="2" y="11"/>
                    </a:moveTo>
                    <a:lnTo>
                      <a:pt x="0" y="5"/>
                    </a:lnTo>
                    <a:lnTo>
                      <a:pt x="2" y="0"/>
                    </a:lnTo>
                    <a:lnTo>
                      <a:pt x="5" y="5"/>
                    </a:lnTo>
                    <a:lnTo>
                      <a:pt x="5" y="7"/>
                    </a:lnTo>
                    <a:lnTo>
                      <a:pt x="2" y="11"/>
                    </a:lnTo>
                    <a:lnTo>
                      <a:pt x="2" y="11"/>
                    </a:lnTo>
                    <a:lnTo>
                      <a:pt x="2" y="11"/>
                    </a:lnTo>
                    <a:lnTo>
                      <a:pt x="2" y="1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7" name="Freeform 129"/>
              <p:cNvSpPr>
                <a:spLocks/>
              </p:cNvSpPr>
              <p:nvPr/>
            </p:nvSpPr>
            <p:spPr bwMode="auto">
              <a:xfrm>
                <a:off x="2937" y="2860"/>
                <a:ext cx="143" cy="205"/>
              </a:xfrm>
              <a:custGeom>
                <a:avLst/>
                <a:gdLst/>
                <a:ahLst/>
                <a:cxnLst>
                  <a:cxn ang="0">
                    <a:pos x="6" y="147"/>
                  </a:cxn>
                  <a:cxn ang="0">
                    <a:pos x="6" y="134"/>
                  </a:cxn>
                  <a:cxn ang="0">
                    <a:pos x="11" y="128"/>
                  </a:cxn>
                  <a:cxn ang="0">
                    <a:pos x="23" y="119"/>
                  </a:cxn>
                  <a:cxn ang="0">
                    <a:pos x="26" y="115"/>
                  </a:cxn>
                  <a:cxn ang="0">
                    <a:pos x="34" y="115"/>
                  </a:cxn>
                  <a:cxn ang="0">
                    <a:pos x="42" y="119"/>
                  </a:cxn>
                  <a:cxn ang="0">
                    <a:pos x="53" y="119"/>
                  </a:cxn>
                  <a:cxn ang="0">
                    <a:pos x="57" y="111"/>
                  </a:cxn>
                  <a:cxn ang="0">
                    <a:pos x="62" y="106"/>
                  </a:cxn>
                  <a:cxn ang="0">
                    <a:pos x="68" y="91"/>
                  </a:cxn>
                  <a:cxn ang="0">
                    <a:pos x="74" y="81"/>
                  </a:cxn>
                  <a:cxn ang="0">
                    <a:pos x="79" y="72"/>
                  </a:cxn>
                  <a:cxn ang="0">
                    <a:pos x="87" y="64"/>
                  </a:cxn>
                  <a:cxn ang="0">
                    <a:pos x="89" y="51"/>
                  </a:cxn>
                  <a:cxn ang="0">
                    <a:pos x="96" y="38"/>
                  </a:cxn>
                  <a:cxn ang="0">
                    <a:pos x="102" y="32"/>
                  </a:cxn>
                  <a:cxn ang="0">
                    <a:pos x="109" y="28"/>
                  </a:cxn>
                  <a:cxn ang="0">
                    <a:pos x="109" y="19"/>
                  </a:cxn>
                  <a:cxn ang="0">
                    <a:pos x="102" y="13"/>
                  </a:cxn>
                  <a:cxn ang="0">
                    <a:pos x="102" y="0"/>
                  </a:cxn>
                  <a:cxn ang="0">
                    <a:pos x="115" y="13"/>
                  </a:cxn>
                  <a:cxn ang="0">
                    <a:pos x="121" y="23"/>
                  </a:cxn>
                  <a:cxn ang="0">
                    <a:pos x="119" y="28"/>
                  </a:cxn>
                  <a:cxn ang="0">
                    <a:pos x="117" y="38"/>
                  </a:cxn>
                  <a:cxn ang="0">
                    <a:pos x="124" y="47"/>
                  </a:cxn>
                  <a:cxn ang="0">
                    <a:pos x="132" y="55"/>
                  </a:cxn>
                  <a:cxn ang="0">
                    <a:pos x="124" y="55"/>
                  </a:cxn>
                  <a:cxn ang="0">
                    <a:pos x="115" y="55"/>
                  </a:cxn>
                  <a:cxn ang="0">
                    <a:pos x="107" y="55"/>
                  </a:cxn>
                  <a:cxn ang="0">
                    <a:pos x="102" y="60"/>
                  </a:cxn>
                  <a:cxn ang="0">
                    <a:pos x="106" y="68"/>
                  </a:cxn>
                  <a:cxn ang="0">
                    <a:pos x="117" y="75"/>
                  </a:cxn>
                  <a:cxn ang="0">
                    <a:pos x="128" y="91"/>
                  </a:cxn>
                  <a:cxn ang="0">
                    <a:pos x="128" y="104"/>
                  </a:cxn>
                  <a:cxn ang="0">
                    <a:pos x="121" y="115"/>
                  </a:cxn>
                  <a:cxn ang="0">
                    <a:pos x="113" y="124"/>
                  </a:cxn>
                  <a:cxn ang="0">
                    <a:pos x="113" y="134"/>
                  </a:cxn>
                  <a:cxn ang="0">
                    <a:pos x="115" y="149"/>
                  </a:cxn>
                  <a:cxn ang="0">
                    <a:pos x="122" y="158"/>
                  </a:cxn>
                  <a:cxn ang="0">
                    <a:pos x="132" y="173"/>
                  </a:cxn>
                  <a:cxn ang="0">
                    <a:pos x="141" y="185"/>
                  </a:cxn>
                  <a:cxn ang="0">
                    <a:pos x="141" y="192"/>
                  </a:cxn>
                  <a:cxn ang="0">
                    <a:pos x="141" y="198"/>
                  </a:cxn>
                  <a:cxn ang="0">
                    <a:pos x="139" y="204"/>
                  </a:cxn>
                  <a:cxn ang="0">
                    <a:pos x="138" y="205"/>
                  </a:cxn>
                  <a:cxn ang="0">
                    <a:pos x="132" y="204"/>
                  </a:cxn>
                  <a:cxn ang="0">
                    <a:pos x="124" y="204"/>
                  </a:cxn>
                  <a:cxn ang="0">
                    <a:pos x="121" y="204"/>
                  </a:cxn>
                  <a:cxn ang="0">
                    <a:pos x="115" y="202"/>
                  </a:cxn>
                  <a:cxn ang="0">
                    <a:pos x="111" y="202"/>
                  </a:cxn>
                  <a:cxn ang="0">
                    <a:pos x="83" y="198"/>
                  </a:cxn>
                  <a:cxn ang="0">
                    <a:pos x="75" y="198"/>
                  </a:cxn>
                  <a:cxn ang="0">
                    <a:pos x="70" y="198"/>
                  </a:cxn>
                  <a:cxn ang="0">
                    <a:pos x="62" y="198"/>
                  </a:cxn>
                  <a:cxn ang="0">
                    <a:pos x="53" y="198"/>
                  </a:cxn>
                  <a:cxn ang="0">
                    <a:pos x="51" y="202"/>
                  </a:cxn>
                  <a:cxn ang="0">
                    <a:pos x="23" y="202"/>
                  </a:cxn>
                  <a:cxn ang="0">
                    <a:pos x="23" y="196"/>
                  </a:cxn>
                  <a:cxn ang="0">
                    <a:pos x="19" y="177"/>
                  </a:cxn>
                  <a:cxn ang="0">
                    <a:pos x="19" y="166"/>
                  </a:cxn>
                  <a:cxn ang="0">
                    <a:pos x="8" y="166"/>
                  </a:cxn>
                  <a:cxn ang="0">
                    <a:pos x="0" y="155"/>
                  </a:cxn>
                </a:cxnLst>
                <a:rect l="0" t="0" r="r" b="b"/>
                <a:pathLst>
                  <a:path w="143" h="205">
                    <a:moveTo>
                      <a:pt x="0" y="155"/>
                    </a:moveTo>
                    <a:lnTo>
                      <a:pt x="0" y="153"/>
                    </a:lnTo>
                    <a:lnTo>
                      <a:pt x="6" y="147"/>
                    </a:lnTo>
                    <a:lnTo>
                      <a:pt x="8" y="141"/>
                    </a:lnTo>
                    <a:lnTo>
                      <a:pt x="8" y="138"/>
                    </a:lnTo>
                    <a:lnTo>
                      <a:pt x="6" y="134"/>
                    </a:lnTo>
                    <a:lnTo>
                      <a:pt x="10" y="134"/>
                    </a:lnTo>
                    <a:lnTo>
                      <a:pt x="10" y="130"/>
                    </a:lnTo>
                    <a:lnTo>
                      <a:pt x="11" y="128"/>
                    </a:lnTo>
                    <a:lnTo>
                      <a:pt x="13" y="124"/>
                    </a:lnTo>
                    <a:lnTo>
                      <a:pt x="17" y="123"/>
                    </a:lnTo>
                    <a:lnTo>
                      <a:pt x="23" y="119"/>
                    </a:lnTo>
                    <a:lnTo>
                      <a:pt x="23" y="115"/>
                    </a:lnTo>
                    <a:lnTo>
                      <a:pt x="23" y="115"/>
                    </a:lnTo>
                    <a:lnTo>
                      <a:pt x="26" y="115"/>
                    </a:lnTo>
                    <a:lnTo>
                      <a:pt x="28" y="111"/>
                    </a:lnTo>
                    <a:lnTo>
                      <a:pt x="28" y="111"/>
                    </a:lnTo>
                    <a:lnTo>
                      <a:pt x="34" y="115"/>
                    </a:lnTo>
                    <a:lnTo>
                      <a:pt x="36" y="115"/>
                    </a:lnTo>
                    <a:lnTo>
                      <a:pt x="40" y="115"/>
                    </a:lnTo>
                    <a:lnTo>
                      <a:pt x="42" y="119"/>
                    </a:lnTo>
                    <a:lnTo>
                      <a:pt x="45" y="121"/>
                    </a:lnTo>
                    <a:lnTo>
                      <a:pt x="47" y="123"/>
                    </a:lnTo>
                    <a:lnTo>
                      <a:pt x="53" y="119"/>
                    </a:lnTo>
                    <a:lnTo>
                      <a:pt x="53" y="115"/>
                    </a:lnTo>
                    <a:lnTo>
                      <a:pt x="53" y="115"/>
                    </a:lnTo>
                    <a:lnTo>
                      <a:pt x="57" y="111"/>
                    </a:lnTo>
                    <a:lnTo>
                      <a:pt x="58" y="111"/>
                    </a:lnTo>
                    <a:lnTo>
                      <a:pt x="62" y="107"/>
                    </a:lnTo>
                    <a:lnTo>
                      <a:pt x="62" y="106"/>
                    </a:lnTo>
                    <a:lnTo>
                      <a:pt x="62" y="100"/>
                    </a:lnTo>
                    <a:lnTo>
                      <a:pt x="68" y="94"/>
                    </a:lnTo>
                    <a:lnTo>
                      <a:pt x="68" y="91"/>
                    </a:lnTo>
                    <a:lnTo>
                      <a:pt x="66" y="91"/>
                    </a:lnTo>
                    <a:lnTo>
                      <a:pt x="68" y="87"/>
                    </a:lnTo>
                    <a:lnTo>
                      <a:pt x="74" y="81"/>
                    </a:lnTo>
                    <a:lnTo>
                      <a:pt x="77" y="79"/>
                    </a:lnTo>
                    <a:lnTo>
                      <a:pt x="77" y="75"/>
                    </a:lnTo>
                    <a:lnTo>
                      <a:pt x="79" y="72"/>
                    </a:lnTo>
                    <a:lnTo>
                      <a:pt x="79" y="68"/>
                    </a:lnTo>
                    <a:lnTo>
                      <a:pt x="81" y="66"/>
                    </a:lnTo>
                    <a:lnTo>
                      <a:pt x="87" y="64"/>
                    </a:lnTo>
                    <a:lnTo>
                      <a:pt x="89" y="60"/>
                    </a:lnTo>
                    <a:lnTo>
                      <a:pt x="89" y="55"/>
                    </a:lnTo>
                    <a:lnTo>
                      <a:pt x="89" y="51"/>
                    </a:lnTo>
                    <a:lnTo>
                      <a:pt x="89" y="47"/>
                    </a:lnTo>
                    <a:lnTo>
                      <a:pt x="92" y="43"/>
                    </a:lnTo>
                    <a:lnTo>
                      <a:pt x="96" y="38"/>
                    </a:lnTo>
                    <a:lnTo>
                      <a:pt x="98" y="36"/>
                    </a:lnTo>
                    <a:lnTo>
                      <a:pt x="98" y="34"/>
                    </a:lnTo>
                    <a:lnTo>
                      <a:pt x="102" y="32"/>
                    </a:lnTo>
                    <a:lnTo>
                      <a:pt x="104" y="32"/>
                    </a:lnTo>
                    <a:lnTo>
                      <a:pt x="106" y="28"/>
                    </a:lnTo>
                    <a:lnTo>
                      <a:pt x="109" y="28"/>
                    </a:lnTo>
                    <a:lnTo>
                      <a:pt x="111" y="26"/>
                    </a:lnTo>
                    <a:lnTo>
                      <a:pt x="109" y="21"/>
                    </a:lnTo>
                    <a:lnTo>
                      <a:pt x="109" y="19"/>
                    </a:lnTo>
                    <a:lnTo>
                      <a:pt x="107" y="15"/>
                    </a:lnTo>
                    <a:lnTo>
                      <a:pt x="104" y="15"/>
                    </a:lnTo>
                    <a:lnTo>
                      <a:pt x="102" y="13"/>
                    </a:lnTo>
                    <a:lnTo>
                      <a:pt x="102" y="8"/>
                    </a:lnTo>
                    <a:lnTo>
                      <a:pt x="102" y="4"/>
                    </a:lnTo>
                    <a:lnTo>
                      <a:pt x="102" y="0"/>
                    </a:lnTo>
                    <a:lnTo>
                      <a:pt x="109" y="4"/>
                    </a:lnTo>
                    <a:lnTo>
                      <a:pt x="115" y="8"/>
                    </a:lnTo>
                    <a:lnTo>
                      <a:pt x="115" y="13"/>
                    </a:lnTo>
                    <a:lnTo>
                      <a:pt x="117" y="13"/>
                    </a:lnTo>
                    <a:lnTo>
                      <a:pt x="119" y="17"/>
                    </a:lnTo>
                    <a:lnTo>
                      <a:pt x="121" y="23"/>
                    </a:lnTo>
                    <a:lnTo>
                      <a:pt x="121" y="26"/>
                    </a:lnTo>
                    <a:lnTo>
                      <a:pt x="119" y="28"/>
                    </a:lnTo>
                    <a:lnTo>
                      <a:pt x="119" y="28"/>
                    </a:lnTo>
                    <a:lnTo>
                      <a:pt x="121" y="32"/>
                    </a:lnTo>
                    <a:lnTo>
                      <a:pt x="121" y="36"/>
                    </a:lnTo>
                    <a:lnTo>
                      <a:pt x="117" y="38"/>
                    </a:lnTo>
                    <a:lnTo>
                      <a:pt x="117" y="42"/>
                    </a:lnTo>
                    <a:lnTo>
                      <a:pt x="121" y="47"/>
                    </a:lnTo>
                    <a:lnTo>
                      <a:pt x="124" y="47"/>
                    </a:lnTo>
                    <a:lnTo>
                      <a:pt x="126" y="51"/>
                    </a:lnTo>
                    <a:lnTo>
                      <a:pt x="128" y="55"/>
                    </a:lnTo>
                    <a:lnTo>
                      <a:pt x="132" y="55"/>
                    </a:lnTo>
                    <a:lnTo>
                      <a:pt x="128" y="57"/>
                    </a:lnTo>
                    <a:lnTo>
                      <a:pt x="128" y="57"/>
                    </a:lnTo>
                    <a:lnTo>
                      <a:pt x="124" y="55"/>
                    </a:lnTo>
                    <a:lnTo>
                      <a:pt x="121" y="55"/>
                    </a:lnTo>
                    <a:lnTo>
                      <a:pt x="119" y="55"/>
                    </a:lnTo>
                    <a:lnTo>
                      <a:pt x="115" y="55"/>
                    </a:lnTo>
                    <a:lnTo>
                      <a:pt x="111" y="55"/>
                    </a:lnTo>
                    <a:lnTo>
                      <a:pt x="109" y="55"/>
                    </a:lnTo>
                    <a:lnTo>
                      <a:pt x="107" y="55"/>
                    </a:lnTo>
                    <a:lnTo>
                      <a:pt x="104" y="55"/>
                    </a:lnTo>
                    <a:lnTo>
                      <a:pt x="104" y="59"/>
                    </a:lnTo>
                    <a:lnTo>
                      <a:pt x="102" y="60"/>
                    </a:lnTo>
                    <a:lnTo>
                      <a:pt x="102" y="64"/>
                    </a:lnTo>
                    <a:lnTo>
                      <a:pt x="104" y="66"/>
                    </a:lnTo>
                    <a:lnTo>
                      <a:pt x="106" y="68"/>
                    </a:lnTo>
                    <a:lnTo>
                      <a:pt x="106" y="68"/>
                    </a:lnTo>
                    <a:lnTo>
                      <a:pt x="109" y="68"/>
                    </a:lnTo>
                    <a:lnTo>
                      <a:pt x="117" y="75"/>
                    </a:lnTo>
                    <a:lnTo>
                      <a:pt x="122" y="83"/>
                    </a:lnTo>
                    <a:lnTo>
                      <a:pt x="126" y="85"/>
                    </a:lnTo>
                    <a:lnTo>
                      <a:pt x="128" y="91"/>
                    </a:lnTo>
                    <a:lnTo>
                      <a:pt x="132" y="94"/>
                    </a:lnTo>
                    <a:lnTo>
                      <a:pt x="132" y="98"/>
                    </a:lnTo>
                    <a:lnTo>
                      <a:pt x="128" y="104"/>
                    </a:lnTo>
                    <a:lnTo>
                      <a:pt x="126" y="104"/>
                    </a:lnTo>
                    <a:lnTo>
                      <a:pt x="124" y="109"/>
                    </a:lnTo>
                    <a:lnTo>
                      <a:pt x="121" y="115"/>
                    </a:lnTo>
                    <a:lnTo>
                      <a:pt x="119" y="119"/>
                    </a:lnTo>
                    <a:lnTo>
                      <a:pt x="115" y="124"/>
                    </a:lnTo>
                    <a:lnTo>
                      <a:pt x="113" y="124"/>
                    </a:lnTo>
                    <a:lnTo>
                      <a:pt x="111" y="126"/>
                    </a:lnTo>
                    <a:lnTo>
                      <a:pt x="111" y="130"/>
                    </a:lnTo>
                    <a:lnTo>
                      <a:pt x="113" y="134"/>
                    </a:lnTo>
                    <a:lnTo>
                      <a:pt x="113" y="140"/>
                    </a:lnTo>
                    <a:lnTo>
                      <a:pt x="113" y="145"/>
                    </a:lnTo>
                    <a:lnTo>
                      <a:pt x="115" y="149"/>
                    </a:lnTo>
                    <a:lnTo>
                      <a:pt x="115" y="155"/>
                    </a:lnTo>
                    <a:lnTo>
                      <a:pt x="117" y="158"/>
                    </a:lnTo>
                    <a:lnTo>
                      <a:pt x="122" y="158"/>
                    </a:lnTo>
                    <a:lnTo>
                      <a:pt x="124" y="164"/>
                    </a:lnTo>
                    <a:lnTo>
                      <a:pt x="126" y="168"/>
                    </a:lnTo>
                    <a:lnTo>
                      <a:pt x="132" y="173"/>
                    </a:lnTo>
                    <a:lnTo>
                      <a:pt x="132" y="179"/>
                    </a:lnTo>
                    <a:lnTo>
                      <a:pt x="134" y="181"/>
                    </a:lnTo>
                    <a:lnTo>
                      <a:pt x="141" y="185"/>
                    </a:lnTo>
                    <a:lnTo>
                      <a:pt x="141" y="190"/>
                    </a:lnTo>
                    <a:lnTo>
                      <a:pt x="141" y="192"/>
                    </a:lnTo>
                    <a:lnTo>
                      <a:pt x="141" y="192"/>
                    </a:lnTo>
                    <a:lnTo>
                      <a:pt x="143" y="192"/>
                    </a:lnTo>
                    <a:lnTo>
                      <a:pt x="141" y="196"/>
                    </a:lnTo>
                    <a:lnTo>
                      <a:pt x="141" y="198"/>
                    </a:lnTo>
                    <a:lnTo>
                      <a:pt x="139" y="202"/>
                    </a:lnTo>
                    <a:lnTo>
                      <a:pt x="138" y="202"/>
                    </a:lnTo>
                    <a:lnTo>
                      <a:pt x="139" y="204"/>
                    </a:lnTo>
                    <a:lnTo>
                      <a:pt x="139" y="205"/>
                    </a:lnTo>
                    <a:lnTo>
                      <a:pt x="138" y="205"/>
                    </a:lnTo>
                    <a:lnTo>
                      <a:pt x="138" y="205"/>
                    </a:lnTo>
                    <a:lnTo>
                      <a:pt x="138" y="205"/>
                    </a:lnTo>
                    <a:lnTo>
                      <a:pt x="134" y="205"/>
                    </a:lnTo>
                    <a:lnTo>
                      <a:pt x="132" y="204"/>
                    </a:lnTo>
                    <a:lnTo>
                      <a:pt x="128" y="204"/>
                    </a:lnTo>
                    <a:lnTo>
                      <a:pt x="128" y="205"/>
                    </a:lnTo>
                    <a:lnTo>
                      <a:pt x="124" y="204"/>
                    </a:lnTo>
                    <a:lnTo>
                      <a:pt x="122" y="202"/>
                    </a:lnTo>
                    <a:lnTo>
                      <a:pt x="122" y="204"/>
                    </a:lnTo>
                    <a:lnTo>
                      <a:pt x="121" y="204"/>
                    </a:lnTo>
                    <a:lnTo>
                      <a:pt x="119" y="202"/>
                    </a:lnTo>
                    <a:lnTo>
                      <a:pt x="117" y="202"/>
                    </a:lnTo>
                    <a:lnTo>
                      <a:pt x="115" y="202"/>
                    </a:lnTo>
                    <a:lnTo>
                      <a:pt x="113" y="202"/>
                    </a:lnTo>
                    <a:lnTo>
                      <a:pt x="111" y="202"/>
                    </a:lnTo>
                    <a:lnTo>
                      <a:pt x="111" y="202"/>
                    </a:lnTo>
                    <a:lnTo>
                      <a:pt x="107" y="202"/>
                    </a:lnTo>
                    <a:lnTo>
                      <a:pt x="85" y="202"/>
                    </a:lnTo>
                    <a:lnTo>
                      <a:pt x="83" y="198"/>
                    </a:lnTo>
                    <a:lnTo>
                      <a:pt x="83" y="198"/>
                    </a:lnTo>
                    <a:lnTo>
                      <a:pt x="81" y="198"/>
                    </a:lnTo>
                    <a:lnTo>
                      <a:pt x="75" y="198"/>
                    </a:lnTo>
                    <a:lnTo>
                      <a:pt x="75" y="198"/>
                    </a:lnTo>
                    <a:lnTo>
                      <a:pt x="74" y="198"/>
                    </a:lnTo>
                    <a:lnTo>
                      <a:pt x="70" y="198"/>
                    </a:lnTo>
                    <a:lnTo>
                      <a:pt x="68" y="198"/>
                    </a:lnTo>
                    <a:lnTo>
                      <a:pt x="62" y="198"/>
                    </a:lnTo>
                    <a:lnTo>
                      <a:pt x="62" y="198"/>
                    </a:lnTo>
                    <a:lnTo>
                      <a:pt x="57" y="198"/>
                    </a:lnTo>
                    <a:lnTo>
                      <a:pt x="53" y="198"/>
                    </a:lnTo>
                    <a:lnTo>
                      <a:pt x="53" y="198"/>
                    </a:lnTo>
                    <a:lnTo>
                      <a:pt x="51" y="202"/>
                    </a:lnTo>
                    <a:lnTo>
                      <a:pt x="51" y="202"/>
                    </a:lnTo>
                    <a:lnTo>
                      <a:pt x="51" y="202"/>
                    </a:lnTo>
                    <a:lnTo>
                      <a:pt x="26" y="202"/>
                    </a:lnTo>
                    <a:lnTo>
                      <a:pt x="26" y="202"/>
                    </a:lnTo>
                    <a:lnTo>
                      <a:pt x="23" y="202"/>
                    </a:lnTo>
                    <a:lnTo>
                      <a:pt x="23" y="202"/>
                    </a:lnTo>
                    <a:lnTo>
                      <a:pt x="26" y="198"/>
                    </a:lnTo>
                    <a:lnTo>
                      <a:pt x="23" y="196"/>
                    </a:lnTo>
                    <a:lnTo>
                      <a:pt x="23" y="188"/>
                    </a:lnTo>
                    <a:lnTo>
                      <a:pt x="23" y="181"/>
                    </a:lnTo>
                    <a:lnTo>
                      <a:pt x="19" y="177"/>
                    </a:lnTo>
                    <a:lnTo>
                      <a:pt x="19" y="172"/>
                    </a:lnTo>
                    <a:lnTo>
                      <a:pt x="23" y="170"/>
                    </a:lnTo>
                    <a:lnTo>
                      <a:pt x="19" y="166"/>
                    </a:lnTo>
                    <a:lnTo>
                      <a:pt x="13" y="168"/>
                    </a:lnTo>
                    <a:lnTo>
                      <a:pt x="11" y="166"/>
                    </a:lnTo>
                    <a:lnTo>
                      <a:pt x="8" y="166"/>
                    </a:lnTo>
                    <a:lnTo>
                      <a:pt x="6" y="155"/>
                    </a:lnTo>
                    <a:lnTo>
                      <a:pt x="2" y="155"/>
                    </a:lnTo>
                    <a:lnTo>
                      <a:pt x="0" y="155"/>
                    </a:lnTo>
                    <a:lnTo>
                      <a:pt x="0" y="155"/>
                    </a:lnTo>
                    <a:lnTo>
                      <a:pt x="0" y="15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8" name="Freeform 130"/>
              <p:cNvSpPr>
                <a:spLocks/>
              </p:cNvSpPr>
              <p:nvPr/>
            </p:nvSpPr>
            <p:spPr bwMode="auto">
              <a:xfrm>
                <a:off x="2943" y="3060"/>
                <a:ext cx="100" cy="117"/>
              </a:xfrm>
              <a:custGeom>
                <a:avLst/>
                <a:gdLst/>
                <a:ahLst/>
                <a:cxnLst>
                  <a:cxn ang="0">
                    <a:pos x="47" y="4"/>
                  </a:cxn>
                  <a:cxn ang="0">
                    <a:pos x="49" y="0"/>
                  </a:cxn>
                  <a:cxn ang="0">
                    <a:pos x="56" y="0"/>
                  </a:cxn>
                  <a:cxn ang="0">
                    <a:pos x="62" y="0"/>
                  </a:cxn>
                  <a:cxn ang="0">
                    <a:pos x="68" y="0"/>
                  </a:cxn>
                  <a:cxn ang="0">
                    <a:pos x="69" y="0"/>
                  </a:cxn>
                  <a:cxn ang="0">
                    <a:pos x="77" y="0"/>
                  </a:cxn>
                  <a:cxn ang="0">
                    <a:pos x="77" y="4"/>
                  </a:cxn>
                  <a:cxn ang="0">
                    <a:pos x="77" y="5"/>
                  </a:cxn>
                  <a:cxn ang="0">
                    <a:pos x="77" y="15"/>
                  </a:cxn>
                  <a:cxn ang="0">
                    <a:pos x="77" y="21"/>
                  </a:cxn>
                  <a:cxn ang="0">
                    <a:pos x="83" y="19"/>
                  </a:cxn>
                  <a:cxn ang="0">
                    <a:pos x="90" y="19"/>
                  </a:cxn>
                  <a:cxn ang="0">
                    <a:pos x="100" y="17"/>
                  </a:cxn>
                  <a:cxn ang="0">
                    <a:pos x="100" y="24"/>
                  </a:cxn>
                  <a:cxn ang="0">
                    <a:pos x="100" y="30"/>
                  </a:cxn>
                  <a:cxn ang="0">
                    <a:pos x="96" y="34"/>
                  </a:cxn>
                  <a:cxn ang="0">
                    <a:pos x="94" y="39"/>
                  </a:cxn>
                  <a:cxn ang="0">
                    <a:pos x="96" y="43"/>
                  </a:cxn>
                  <a:cxn ang="0">
                    <a:pos x="94" y="43"/>
                  </a:cxn>
                  <a:cxn ang="0">
                    <a:pos x="90" y="45"/>
                  </a:cxn>
                  <a:cxn ang="0">
                    <a:pos x="94" y="47"/>
                  </a:cxn>
                  <a:cxn ang="0">
                    <a:pos x="96" y="51"/>
                  </a:cxn>
                  <a:cxn ang="0">
                    <a:pos x="100" y="56"/>
                  </a:cxn>
                  <a:cxn ang="0">
                    <a:pos x="100" y="62"/>
                  </a:cxn>
                  <a:cxn ang="0">
                    <a:pos x="96" y="83"/>
                  </a:cxn>
                  <a:cxn ang="0">
                    <a:pos x="96" y="88"/>
                  </a:cxn>
                  <a:cxn ang="0">
                    <a:pos x="92" y="86"/>
                  </a:cxn>
                  <a:cxn ang="0">
                    <a:pos x="84" y="85"/>
                  </a:cxn>
                  <a:cxn ang="0">
                    <a:pos x="81" y="86"/>
                  </a:cxn>
                  <a:cxn ang="0">
                    <a:pos x="75" y="85"/>
                  </a:cxn>
                  <a:cxn ang="0">
                    <a:pos x="68" y="75"/>
                  </a:cxn>
                  <a:cxn ang="0">
                    <a:pos x="66" y="83"/>
                  </a:cxn>
                  <a:cxn ang="0">
                    <a:pos x="58" y="86"/>
                  </a:cxn>
                  <a:cxn ang="0">
                    <a:pos x="56" y="88"/>
                  </a:cxn>
                  <a:cxn ang="0">
                    <a:pos x="51" y="88"/>
                  </a:cxn>
                  <a:cxn ang="0">
                    <a:pos x="47" y="90"/>
                  </a:cxn>
                  <a:cxn ang="0">
                    <a:pos x="47" y="98"/>
                  </a:cxn>
                  <a:cxn ang="0">
                    <a:pos x="52" y="94"/>
                  </a:cxn>
                  <a:cxn ang="0">
                    <a:pos x="56" y="98"/>
                  </a:cxn>
                  <a:cxn ang="0">
                    <a:pos x="56" y="111"/>
                  </a:cxn>
                  <a:cxn ang="0">
                    <a:pos x="51" y="107"/>
                  </a:cxn>
                  <a:cxn ang="0">
                    <a:pos x="47" y="109"/>
                  </a:cxn>
                  <a:cxn ang="0">
                    <a:pos x="43" y="113"/>
                  </a:cxn>
                  <a:cxn ang="0">
                    <a:pos x="39" y="115"/>
                  </a:cxn>
                  <a:cxn ang="0">
                    <a:pos x="37" y="111"/>
                  </a:cxn>
                  <a:cxn ang="0">
                    <a:pos x="30" y="103"/>
                  </a:cxn>
                  <a:cxn ang="0">
                    <a:pos x="17" y="92"/>
                  </a:cxn>
                  <a:cxn ang="0">
                    <a:pos x="15" y="86"/>
                  </a:cxn>
                  <a:cxn ang="0">
                    <a:pos x="9" y="79"/>
                  </a:cxn>
                  <a:cxn ang="0">
                    <a:pos x="5" y="69"/>
                  </a:cxn>
                  <a:cxn ang="0">
                    <a:pos x="4" y="64"/>
                  </a:cxn>
                  <a:cxn ang="0">
                    <a:pos x="0" y="54"/>
                  </a:cxn>
                  <a:cxn ang="0">
                    <a:pos x="7" y="53"/>
                  </a:cxn>
                  <a:cxn ang="0">
                    <a:pos x="9" y="39"/>
                  </a:cxn>
                  <a:cxn ang="0">
                    <a:pos x="19" y="39"/>
                  </a:cxn>
                  <a:cxn ang="0">
                    <a:pos x="11" y="30"/>
                  </a:cxn>
                  <a:cxn ang="0">
                    <a:pos x="15" y="26"/>
                  </a:cxn>
                  <a:cxn ang="0">
                    <a:pos x="17" y="24"/>
                  </a:cxn>
                  <a:cxn ang="0">
                    <a:pos x="20" y="24"/>
                  </a:cxn>
                  <a:cxn ang="0">
                    <a:pos x="47" y="4"/>
                  </a:cxn>
                  <a:cxn ang="0">
                    <a:pos x="47" y="4"/>
                  </a:cxn>
                </a:cxnLst>
                <a:rect l="0" t="0" r="r" b="b"/>
                <a:pathLst>
                  <a:path w="100" h="117">
                    <a:moveTo>
                      <a:pt x="47" y="4"/>
                    </a:moveTo>
                    <a:lnTo>
                      <a:pt x="47" y="4"/>
                    </a:lnTo>
                    <a:lnTo>
                      <a:pt x="47" y="0"/>
                    </a:lnTo>
                    <a:lnTo>
                      <a:pt x="49" y="0"/>
                    </a:lnTo>
                    <a:lnTo>
                      <a:pt x="51" y="0"/>
                    </a:lnTo>
                    <a:lnTo>
                      <a:pt x="56" y="0"/>
                    </a:lnTo>
                    <a:lnTo>
                      <a:pt x="58" y="0"/>
                    </a:lnTo>
                    <a:lnTo>
                      <a:pt x="62" y="0"/>
                    </a:lnTo>
                    <a:lnTo>
                      <a:pt x="64" y="0"/>
                    </a:lnTo>
                    <a:lnTo>
                      <a:pt x="68" y="0"/>
                    </a:lnTo>
                    <a:lnTo>
                      <a:pt x="69" y="0"/>
                    </a:lnTo>
                    <a:lnTo>
                      <a:pt x="69" y="0"/>
                    </a:lnTo>
                    <a:lnTo>
                      <a:pt x="75" y="0"/>
                    </a:lnTo>
                    <a:lnTo>
                      <a:pt x="77" y="0"/>
                    </a:lnTo>
                    <a:lnTo>
                      <a:pt x="77" y="0"/>
                    </a:lnTo>
                    <a:lnTo>
                      <a:pt x="77" y="4"/>
                    </a:lnTo>
                    <a:lnTo>
                      <a:pt x="77" y="4"/>
                    </a:lnTo>
                    <a:lnTo>
                      <a:pt x="77" y="5"/>
                    </a:lnTo>
                    <a:lnTo>
                      <a:pt x="77" y="9"/>
                    </a:lnTo>
                    <a:lnTo>
                      <a:pt x="77" y="15"/>
                    </a:lnTo>
                    <a:lnTo>
                      <a:pt x="77" y="17"/>
                    </a:lnTo>
                    <a:lnTo>
                      <a:pt x="77" y="21"/>
                    </a:lnTo>
                    <a:lnTo>
                      <a:pt x="81" y="21"/>
                    </a:lnTo>
                    <a:lnTo>
                      <a:pt x="83" y="19"/>
                    </a:lnTo>
                    <a:lnTo>
                      <a:pt x="84" y="21"/>
                    </a:lnTo>
                    <a:lnTo>
                      <a:pt x="90" y="19"/>
                    </a:lnTo>
                    <a:lnTo>
                      <a:pt x="94" y="17"/>
                    </a:lnTo>
                    <a:lnTo>
                      <a:pt x="100" y="17"/>
                    </a:lnTo>
                    <a:lnTo>
                      <a:pt x="100" y="19"/>
                    </a:lnTo>
                    <a:lnTo>
                      <a:pt x="100" y="24"/>
                    </a:lnTo>
                    <a:lnTo>
                      <a:pt x="100" y="28"/>
                    </a:lnTo>
                    <a:lnTo>
                      <a:pt x="100" y="30"/>
                    </a:lnTo>
                    <a:lnTo>
                      <a:pt x="100" y="34"/>
                    </a:lnTo>
                    <a:lnTo>
                      <a:pt x="96" y="34"/>
                    </a:lnTo>
                    <a:lnTo>
                      <a:pt x="94" y="34"/>
                    </a:lnTo>
                    <a:lnTo>
                      <a:pt x="94" y="39"/>
                    </a:lnTo>
                    <a:lnTo>
                      <a:pt x="94" y="39"/>
                    </a:lnTo>
                    <a:lnTo>
                      <a:pt x="96" y="43"/>
                    </a:lnTo>
                    <a:lnTo>
                      <a:pt x="94" y="43"/>
                    </a:lnTo>
                    <a:lnTo>
                      <a:pt x="94" y="43"/>
                    </a:lnTo>
                    <a:lnTo>
                      <a:pt x="90" y="43"/>
                    </a:lnTo>
                    <a:lnTo>
                      <a:pt x="90" y="45"/>
                    </a:lnTo>
                    <a:lnTo>
                      <a:pt x="92" y="47"/>
                    </a:lnTo>
                    <a:lnTo>
                      <a:pt x="94" y="47"/>
                    </a:lnTo>
                    <a:lnTo>
                      <a:pt x="96" y="49"/>
                    </a:lnTo>
                    <a:lnTo>
                      <a:pt x="96" y="51"/>
                    </a:lnTo>
                    <a:lnTo>
                      <a:pt x="100" y="53"/>
                    </a:lnTo>
                    <a:lnTo>
                      <a:pt x="100" y="56"/>
                    </a:lnTo>
                    <a:lnTo>
                      <a:pt x="100" y="58"/>
                    </a:lnTo>
                    <a:lnTo>
                      <a:pt x="100" y="62"/>
                    </a:lnTo>
                    <a:lnTo>
                      <a:pt x="100" y="69"/>
                    </a:lnTo>
                    <a:lnTo>
                      <a:pt x="96" y="83"/>
                    </a:lnTo>
                    <a:lnTo>
                      <a:pt x="96" y="85"/>
                    </a:lnTo>
                    <a:lnTo>
                      <a:pt x="96" y="88"/>
                    </a:lnTo>
                    <a:lnTo>
                      <a:pt x="94" y="88"/>
                    </a:lnTo>
                    <a:lnTo>
                      <a:pt x="92" y="86"/>
                    </a:lnTo>
                    <a:lnTo>
                      <a:pt x="88" y="85"/>
                    </a:lnTo>
                    <a:lnTo>
                      <a:pt x="84" y="85"/>
                    </a:lnTo>
                    <a:lnTo>
                      <a:pt x="83" y="86"/>
                    </a:lnTo>
                    <a:lnTo>
                      <a:pt x="81" y="86"/>
                    </a:lnTo>
                    <a:lnTo>
                      <a:pt x="77" y="86"/>
                    </a:lnTo>
                    <a:lnTo>
                      <a:pt x="75" y="85"/>
                    </a:lnTo>
                    <a:lnTo>
                      <a:pt x="71" y="75"/>
                    </a:lnTo>
                    <a:lnTo>
                      <a:pt x="68" y="75"/>
                    </a:lnTo>
                    <a:lnTo>
                      <a:pt x="66" y="77"/>
                    </a:lnTo>
                    <a:lnTo>
                      <a:pt x="66" y="83"/>
                    </a:lnTo>
                    <a:lnTo>
                      <a:pt x="66" y="86"/>
                    </a:lnTo>
                    <a:lnTo>
                      <a:pt x="58" y="86"/>
                    </a:lnTo>
                    <a:lnTo>
                      <a:pt x="58" y="86"/>
                    </a:lnTo>
                    <a:lnTo>
                      <a:pt x="56" y="88"/>
                    </a:lnTo>
                    <a:lnTo>
                      <a:pt x="54" y="90"/>
                    </a:lnTo>
                    <a:lnTo>
                      <a:pt x="51" y="88"/>
                    </a:lnTo>
                    <a:lnTo>
                      <a:pt x="47" y="88"/>
                    </a:lnTo>
                    <a:lnTo>
                      <a:pt x="47" y="90"/>
                    </a:lnTo>
                    <a:lnTo>
                      <a:pt x="47" y="92"/>
                    </a:lnTo>
                    <a:lnTo>
                      <a:pt x="47" y="98"/>
                    </a:lnTo>
                    <a:lnTo>
                      <a:pt x="49" y="94"/>
                    </a:lnTo>
                    <a:lnTo>
                      <a:pt x="52" y="94"/>
                    </a:lnTo>
                    <a:lnTo>
                      <a:pt x="54" y="94"/>
                    </a:lnTo>
                    <a:lnTo>
                      <a:pt x="56" y="98"/>
                    </a:lnTo>
                    <a:lnTo>
                      <a:pt x="58" y="107"/>
                    </a:lnTo>
                    <a:lnTo>
                      <a:pt x="56" y="111"/>
                    </a:lnTo>
                    <a:lnTo>
                      <a:pt x="52" y="107"/>
                    </a:lnTo>
                    <a:lnTo>
                      <a:pt x="51" y="107"/>
                    </a:lnTo>
                    <a:lnTo>
                      <a:pt x="49" y="109"/>
                    </a:lnTo>
                    <a:lnTo>
                      <a:pt x="47" y="109"/>
                    </a:lnTo>
                    <a:lnTo>
                      <a:pt x="43" y="109"/>
                    </a:lnTo>
                    <a:lnTo>
                      <a:pt x="43" y="113"/>
                    </a:lnTo>
                    <a:lnTo>
                      <a:pt x="39" y="117"/>
                    </a:lnTo>
                    <a:lnTo>
                      <a:pt x="39" y="115"/>
                    </a:lnTo>
                    <a:lnTo>
                      <a:pt x="37" y="115"/>
                    </a:lnTo>
                    <a:lnTo>
                      <a:pt x="37" y="111"/>
                    </a:lnTo>
                    <a:lnTo>
                      <a:pt x="30" y="107"/>
                    </a:lnTo>
                    <a:lnTo>
                      <a:pt x="30" y="103"/>
                    </a:lnTo>
                    <a:lnTo>
                      <a:pt x="20" y="98"/>
                    </a:lnTo>
                    <a:lnTo>
                      <a:pt x="17" y="92"/>
                    </a:lnTo>
                    <a:lnTo>
                      <a:pt x="17" y="90"/>
                    </a:lnTo>
                    <a:lnTo>
                      <a:pt x="15" y="86"/>
                    </a:lnTo>
                    <a:lnTo>
                      <a:pt x="11" y="83"/>
                    </a:lnTo>
                    <a:lnTo>
                      <a:pt x="9" y="79"/>
                    </a:lnTo>
                    <a:lnTo>
                      <a:pt x="9" y="73"/>
                    </a:lnTo>
                    <a:lnTo>
                      <a:pt x="5" y="69"/>
                    </a:lnTo>
                    <a:lnTo>
                      <a:pt x="5" y="68"/>
                    </a:lnTo>
                    <a:lnTo>
                      <a:pt x="4" y="64"/>
                    </a:lnTo>
                    <a:lnTo>
                      <a:pt x="0" y="56"/>
                    </a:lnTo>
                    <a:lnTo>
                      <a:pt x="0" y="54"/>
                    </a:lnTo>
                    <a:lnTo>
                      <a:pt x="4" y="56"/>
                    </a:lnTo>
                    <a:lnTo>
                      <a:pt x="7" y="53"/>
                    </a:lnTo>
                    <a:lnTo>
                      <a:pt x="9" y="43"/>
                    </a:lnTo>
                    <a:lnTo>
                      <a:pt x="9" y="39"/>
                    </a:lnTo>
                    <a:lnTo>
                      <a:pt x="11" y="39"/>
                    </a:lnTo>
                    <a:lnTo>
                      <a:pt x="19" y="39"/>
                    </a:lnTo>
                    <a:lnTo>
                      <a:pt x="15" y="37"/>
                    </a:lnTo>
                    <a:lnTo>
                      <a:pt x="11" y="30"/>
                    </a:lnTo>
                    <a:lnTo>
                      <a:pt x="15" y="30"/>
                    </a:lnTo>
                    <a:lnTo>
                      <a:pt x="15" y="26"/>
                    </a:lnTo>
                    <a:lnTo>
                      <a:pt x="15" y="26"/>
                    </a:lnTo>
                    <a:lnTo>
                      <a:pt x="17" y="24"/>
                    </a:lnTo>
                    <a:lnTo>
                      <a:pt x="20" y="24"/>
                    </a:lnTo>
                    <a:lnTo>
                      <a:pt x="20" y="24"/>
                    </a:lnTo>
                    <a:lnTo>
                      <a:pt x="47" y="26"/>
                    </a:lnTo>
                    <a:lnTo>
                      <a:pt x="47" y="4"/>
                    </a:lnTo>
                    <a:lnTo>
                      <a:pt x="47" y="4"/>
                    </a:lnTo>
                    <a:lnTo>
                      <a:pt x="47" y="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9" name="Freeform 131"/>
              <p:cNvSpPr>
                <a:spLocks/>
              </p:cNvSpPr>
              <p:nvPr/>
            </p:nvSpPr>
            <p:spPr bwMode="auto">
              <a:xfrm>
                <a:off x="2943" y="3060"/>
                <a:ext cx="100" cy="117"/>
              </a:xfrm>
              <a:custGeom>
                <a:avLst/>
                <a:gdLst/>
                <a:ahLst/>
                <a:cxnLst>
                  <a:cxn ang="0">
                    <a:pos x="47" y="4"/>
                  </a:cxn>
                  <a:cxn ang="0">
                    <a:pos x="49" y="0"/>
                  </a:cxn>
                  <a:cxn ang="0">
                    <a:pos x="56" y="0"/>
                  </a:cxn>
                  <a:cxn ang="0">
                    <a:pos x="62" y="0"/>
                  </a:cxn>
                  <a:cxn ang="0">
                    <a:pos x="68" y="0"/>
                  </a:cxn>
                  <a:cxn ang="0">
                    <a:pos x="69" y="0"/>
                  </a:cxn>
                  <a:cxn ang="0">
                    <a:pos x="77" y="0"/>
                  </a:cxn>
                  <a:cxn ang="0">
                    <a:pos x="77" y="4"/>
                  </a:cxn>
                  <a:cxn ang="0">
                    <a:pos x="77" y="5"/>
                  </a:cxn>
                  <a:cxn ang="0">
                    <a:pos x="77" y="15"/>
                  </a:cxn>
                  <a:cxn ang="0">
                    <a:pos x="77" y="21"/>
                  </a:cxn>
                  <a:cxn ang="0">
                    <a:pos x="83" y="19"/>
                  </a:cxn>
                  <a:cxn ang="0">
                    <a:pos x="90" y="19"/>
                  </a:cxn>
                  <a:cxn ang="0">
                    <a:pos x="100" y="17"/>
                  </a:cxn>
                  <a:cxn ang="0">
                    <a:pos x="100" y="24"/>
                  </a:cxn>
                  <a:cxn ang="0">
                    <a:pos x="100" y="30"/>
                  </a:cxn>
                  <a:cxn ang="0">
                    <a:pos x="96" y="34"/>
                  </a:cxn>
                  <a:cxn ang="0">
                    <a:pos x="94" y="39"/>
                  </a:cxn>
                  <a:cxn ang="0">
                    <a:pos x="96" y="43"/>
                  </a:cxn>
                  <a:cxn ang="0">
                    <a:pos x="94" y="43"/>
                  </a:cxn>
                  <a:cxn ang="0">
                    <a:pos x="90" y="45"/>
                  </a:cxn>
                  <a:cxn ang="0">
                    <a:pos x="94" y="47"/>
                  </a:cxn>
                  <a:cxn ang="0">
                    <a:pos x="96" y="51"/>
                  </a:cxn>
                  <a:cxn ang="0">
                    <a:pos x="100" y="56"/>
                  </a:cxn>
                  <a:cxn ang="0">
                    <a:pos x="100" y="62"/>
                  </a:cxn>
                  <a:cxn ang="0">
                    <a:pos x="96" y="83"/>
                  </a:cxn>
                  <a:cxn ang="0">
                    <a:pos x="96" y="88"/>
                  </a:cxn>
                  <a:cxn ang="0">
                    <a:pos x="92" y="86"/>
                  </a:cxn>
                  <a:cxn ang="0">
                    <a:pos x="84" y="85"/>
                  </a:cxn>
                  <a:cxn ang="0">
                    <a:pos x="81" y="86"/>
                  </a:cxn>
                  <a:cxn ang="0">
                    <a:pos x="75" y="85"/>
                  </a:cxn>
                  <a:cxn ang="0">
                    <a:pos x="68" y="75"/>
                  </a:cxn>
                  <a:cxn ang="0">
                    <a:pos x="66" y="83"/>
                  </a:cxn>
                  <a:cxn ang="0">
                    <a:pos x="58" y="86"/>
                  </a:cxn>
                  <a:cxn ang="0">
                    <a:pos x="56" y="88"/>
                  </a:cxn>
                  <a:cxn ang="0">
                    <a:pos x="51" y="88"/>
                  </a:cxn>
                  <a:cxn ang="0">
                    <a:pos x="47" y="90"/>
                  </a:cxn>
                  <a:cxn ang="0">
                    <a:pos x="47" y="98"/>
                  </a:cxn>
                  <a:cxn ang="0">
                    <a:pos x="52" y="94"/>
                  </a:cxn>
                  <a:cxn ang="0">
                    <a:pos x="56" y="98"/>
                  </a:cxn>
                  <a:cxn ang="0">
                    <a:pos x="56" y="111"/>
                  </a:cxn>
                  <a:cxn ang="0">
                    <a:pos x="51" y="107"/>
                  </a:cxn>
                  <a:cxn ang="0">
                    <a:pos x="47" y="109"/>
                  </a:cxn>
                  <a:cxn ang="0">
                    <a:pos x="43" y="113"/>
                  </a:cxn>
                  <a:cxn ang="0">
                    <a:pos x="39" y="115"/>
                  </a:cxn>
                  <a:cxn ang="0">
                    <a:pos x="37" y="111"/>
                  </a:cxn>
                  <a:cxn ang="0">
                    <a:pos x="30" y="103"/>
                  </a:cxn>
                  <a:cxn ang="0">
                    <a:pos x="17" y="92"/>
                  </a:cxn>
                  <a:cxn ang="0">
                    <a:pos x="15" y="86"/>
                  </a:cxn>
                  <a:cxn ang="0">
                    <a:pos x="9" y="79"/>
                  </a:cxn>
                  <a:cxn ang="0">
                    <a:pos x="5" y="69"/>
                  </a:cxn>
                  <a:cxn ang="0">
                    <a:pos x="4" y="64"/>
                  </a:cxn>
                  <a:cxn ang="0">
                    <a:pos x="0" y="54"/>
                  </a:cxn>
                  <a:cxn ang="0">
                    <a:pos x="7" y="53"/>
                  </a:cxn>
                  <a:cxn ang="0">
                    <a:pos x="9" y="39"/>
                  </a:cxn>
                  <a:cxn ang="0">
                    <a:pos x="19" y="39"/>
                  </a:cxn>
                  <a:cxn ang="0">
                    <a:pos x="11" y="30"/>
                  </a:cxn>
                  <a:cxn ang="0">
                    <a:pos x="15" y="26"/>
                  </a:cxn>
                  <a:cxn ang="0">
                    <a:pos x="17" y="24"/>
                  </a:cxn>
                  <a:cxn ang="0">
                    <a:pos x="20" y="24"/>
                  </a:cxn>
                  <a:cxn ang="0">
                    <a:pos x="47" y="4"/>
                  </a:cxn>
                  <a:cxn ang="0">
                    <a:pos x="47" y="4"/>
                  </a:cxn>
                </a:cxnLst>
                <a:rect l="0" t="0" r="r" b="b"/>
                <a:pathLst>
                  <a:path w="100" h="117">
                    <a:moveTo>
                      <a:pt x="47" y="4"/>
                    </a:moveTo>
                    <a:lnTo>
                      <a:pt x="47" y="4"/>
                    </a:lnTo>
                    <a:lnTo>
                      <a:pt x="47" y="0"/>
                    </a:lnTo>
                    <a:lnTo>
                      <a:pt x="49" y="0"/>
                    </a:lnTo>
                    <a:lnTo>
                      <a:pt x="51" y="0"/>
                    </a:lnTo>
                    <a:lnTo>
                      <a:pt x="56" y="0"/>
                    </a:lnTo>
                    <a:lnTo>
                      <a:pt x="58" y="0"/>
                    </a:lnTo>
                    <a:lnTo>
                      <a:pt x="62" y="0"/>
                    </a:lnTo>
                    <a:lnTo>
                      <a:pt x="64" y="0"/>
                    </a:lnTo>
                    <a:lnTo>
                      <a:pt x="68" y="0"/>
                    </a:lnTo>
                    <a:lnTo>
                      <a:pt x="69" y="0"/>
                    </a:lnTo>
                    <a:lnTo>
                      <a:pt x="69" y="0"/>
                    </a:lnTo>
                    <a:lnTo>
                      <a:pt x="75" y="0"/>
                    </a:lnTo>
                    <a:lnTo>
                      <a:pt x="77" y="0"/>
                    </a:lnTo>
                    <a:lnTo>
                      <a:pt x="77" y="0"/>
                    </a:lnTo>
                    <a:lnTo>
                      <a:pt x="77" y="4"/>
                    </a:lnTo>
                    <a:lnTo>
                      <a:pt x="77" y="4"/>
                    </a:lnTo>
                    <a:lnTo>
                      <a:pt x="77" y="5"/>
                    </a:lnTo>
                    <a:lnTo>
                      <a:pt x="77" y="9"/>
                    </a:lnTo>
                    <a:lnTo>
                      <a:pt x="77" y="15"/>
                    </a:lnTo>
                    <a:lnTo>
                      <a:pt x="77" y="17"/>
                    </a:lnTo>
                    <a:lnTo>
                      <a:pt x="77" y="21"/>
                    </a:lnTo>
                    <a:lnTo>
                      <a:pt x="81" y="21"/>
                    </a:lnTo>
                    <a:lnTo>
                      <a:pt x="83" y="19"/>
                    </a:lnTo>
                    <a:lnTo>
                      <a:pt x="84" y="21"/>
                    </a:lnTo>
                    <a:lnTo>
                      <a:pt x="90" y="19"/>
                    </a:lnTo>
                    <a:lnTo>
                      <a:pt x="94" y="17"/>
                    </a:lnTo>
                    <a:lnTo>
                      <a:pt x="100" y="17"/>
                    </a:lnTo>
                    <a:lnTo>
                      <a:pt x="100" y="19"/>
                    </a:lnTo>
                    <a:lnTo>
                      <a:pt x="100" y="24"/>
                    </a:lnTo>
                    <a:lnTo>
                      <a:pt x="100" y="28"/>
                    </a:lnTo>
                    <a:lnTo>
                      <a:pt x="100" y="30"/>
                    </a:lnTo>
                    <a:lnTo>
                      <a:pt x="100" y="34"/>
                    </a:lnTo>
                    <a:lnTo>
                      <a:pt x="96" y="34"/>
                    </a:lnTo>
                    <a:lnTo>
                      <a:pt x="94" y="34"/>
                    </a:lnTo>
                    <a:lnTo>
                      <a:pt x="94" y="39"/>
                    </a:lnTo>
                    <a:lnTo>
                      <a:pt x="94" y="39"/>
                    </a:lnTo>
                    <a:lnTo>
                      <a:pt x="96" y="43"/>
                    </a:lnTo>
                    <a:lnTo>
                      <a:pt x="94" y="43"/>
                    </a:lnTo>
                    <a:lnTo>
                      <a:pt x="94" y="43"/>
                    </a:lnTo>
                    <a:lnTo>
                      <a:pt x="90" y="43"/>
                    </a:lnTo>
                    <a:lnTo>
                      <a:pt x="90" y="45"/>
                    </a:lnTo>
                    <a:lnTo>
                      <a:pt x="92" y="47"/>
                    </a:lnTo>
                    <a:lnTo>
                      <a:pt x="94" y="47"/>
                    </a:lnTo>
                    <a:lnTo>
                      <a:pt x="96" y="49"/>
                    </a:lnTo>
                    <a:lnTo>
                      <a:pt x="96" y="51"/>
                    </a:lnTo>
                    <a:lnTo>
                      <a:pt x="100" y="53"/>
                    </a:lnTo>
                    <a:lnTo>
                      <a:pt x="100" y="56"/>
                    </a:lnTo>
                    <a:lnTo>
                      <a:pt x="100" y="58"/>
                    </a:lnTo>
                    <a:lnTo>
                      <a:pt x="100" y="62"/>
                    </a:lnTo>
                    <a:lnTo>
                      <a:pt x="100" y="69"/>
                    </a:lnTo>
                    <a:lnTo>
                      <a:pt x="96" y="83"/>
                    </a:lnTo>
                    <a:lnTo>
                      <a:pt x="96" y="85"/>
                    </a:lnTo>
                    <a:lnTo>
                      <a:pt x="96" y="88"/>
                    </a:lnTo>
                    <a:lnTo>
                      <a:pt x="94" y="88"/>
                    </a:lnTo>
                    <a:lnTo>
                      <a:pt x="92" y="86"/>
                    </a:lnTo>
                    <a:lnTo>
                      <a:pt x="88" y="85"/>
                    </a:lnTo>
                    <a:lnTo>
                      <a:pt x="84" y="85"/>
                    </a:lnTo>
                    <a:lnTo>
                      <a:pt x="83" y="86"/>
                    </a:lnTo>
                    <a:lnTo>
                      <a:pt x="81" y="86"/>
                    </a:lnTo>
                    <a:lnTo>
                      <a:pt x="77" y="86"/>
                    </a:lnTo>
                    <a:lnTo>
                      <a:pt x="75" y="85"/>
                    </a:lnTo>
                    <a:lnTo>
                      <a:pt x="71" y="75"/>
                    </a:lnTo>
                    <a:lnTo>
                      <a:pt x="68" y="75"/>
                    </a:lnTo>
                    <a:lnTo>
                      <a:pt x="66" y="77"/>
                    </a:lnTo>
                    <a:lnTo>
                      <a:pt x="66" y="83"/>
                    </a:lnTo>
                    <a:lnTo>
                      <a:pt x="66" y="86"/>
                    </a:lnTo>
                    <a:lnTo>
                      <a:pt x="58" y="86"/>
                    </a:lnTo>
                    <a:lnTo>
                      <a:pt x="58" y="86"/>
                    </a:lnTo>
                    <a:lnTo>
                      <a:pt x="56" y="88"/>
                    </a:lnTo>
                    <a:lnTo>
                      <a:pt x="54" y="90"/>
                    </a:lnTo>
                    <a:lnTo>
                      <a:pt x="51" y="88"/>
                    </a:lnTo>
                    <a:lnTo>
                      <a:pt x="47" y="88"/>
                    </a:lnTo>
                    <a:lnTo>
                      <a:pt x="47" y="90"/>
                    </a:lnTo>
                    <a:lnTo>
                      <a:pt x="47" y="92"/>
                    </a:lnTo>
                    <a:lnTo>
                      <a:pt x="47" y="98"/>
                    </a:lnTo>
                    <a:lnTo>
                      <a:pt x="49" y="94"/>
                    </a:lnTo>
                    <a:lnTo>
                      <a:pt x="52" y="94"/>
                    </a:lnTo>
                    <a:lnTo>
                      <a:pt x="54" y="94"/>
                    </a:lnTo>
                    <a:lnTo>
                      <a:pt x="56" y="98"/>
                    </a:lnTo>
                    <a:lnTo>
                      <a:pt x="58" y="107"/>
                    </a:lnTo>
                    <a:lnTo>
                      <a:pt x="56" y="111"/>
                    </a:lnTo>
                    <a:lnTo>
                      <a:pt x="52" y="107"/>
                    </a:lnTo>
                    <a:lnTo>
                      <a:pt x="51" y="107"/>
                    </a:lnTo>
                    <a:lnTo>
                      <a:pt x="49" y="109"/>
                    </a:lnTo>
                    <a:lnTo>
                      <a:pt x="47" y="109"/>
                    </a:lnTo>
                    <a:lnTo>
                      <a:pt x="43" y="109"/>
                    </a:lnTo>
                    <a:lnTo>
                      <a:pt x="43" y="113"/>
                    </a:lnTo>
                    <a:lnTo>
                      <a:pt x="39" y="117"/>
                    </a:lnTo>
                    <a:lnTo>
                      <a:pt x="39" y="115"/>
                    </a:lnTo>
                    <a:lnTo>
                      <a:pt x="37" y="115"/>
                    </a:lnTo>
                    <a:lnTo>
                      <a:pt x="37" y="111"/>
                    </a:lnTo>
                    <a:lnTo>
                      <a:pt x="30" y="107"/>
                    </a:lnTo>
                    <a:lnTo>
                      <a:pt x="30" y="103"/>
                    </a:lnTo>
                    <a:lnTo>
                      <a:pt x="20" y="98"/>
                    </a:lnTo>
                    <a:lnTo>
                      <a:pt x="17" y="92"/>
                    </a:lnTo>
                    <a:lnTo>
                      <a:pt x="17" y="90"/>
                    </a:lnTo>
                    <a:lnTo>
                      <a:pt x="15" y="86"/>
                    </a:lnTo>
                    <a:lnTo>
                      <a:pt x="11" y="83"/>
                    </a:lnTo>
                    <a:lnTo>
                      <a:pt x="9" y="79"/>
                    </a:lnTo>
                    <a:lnTo>
                      <a:pt x="9" y="73"/>
                    </a:lnTo>
                    <a:lnTo>
                      <a:pt x="5" y="69"/>
                    </a:lnTo>
                    <a:lnTo>
                      <a:pt x="5" y="68"/>
                    </a:lnTo>
                    <a:lnTo>
                      <a:pt x="4" y="64"/>
                    </a:lnTo>
                    <a:lnTo>
                      <a:pt x="0" y="56"/>
                    </a:lnTo>
                    <a:lnTo>
                      <a:pt x="0" y="54"/>
                    </a:lnTo>
                    <a:lnTo>
                      <a:pt x="4" y="56"/>
                    </a:lnTo>
                    <a:lnTo>
                      <a:pt x="7" y="53"/>
                    </a:lnTo>
                    <a:lnTo>
                      <a:pt x="9" y="43"/>
                    </a:lnTo>
                    <a:lnTo>
                      <a:pt x="9" y="39"/>
                    </a:lnTo>
                    <a:lnTo>
                      <a:pt x="11" y="39"/>
                    </a:lnTo>
                    <a:lnTo>
                      <a:pt x="19" y="39"/>
                    </a:lnTo>
                    <a:lnTo>
                      <a:pt x="15" y="37"/>
                    </a:lnTo>
                    <a:lnTo>
                      <a:pt x="11" y="30"/>
                    </a:lnTo>
                    <a:lnTo>
                      <a:pt x="15" y="30"/>
                    </a:lnTo>
                    <a:lnTo>
                      <a:pt x="15" y="26"/>
                    </a:lnTo>
                    <a:lnTo>
                      <a:pt x="15" y="26"/>
                    </a:lnTo>
                    <a:lnTo>
                      <a:pt x="17" y="24"/>
                    </a:lnTo>
                    <a:lnTo>
                      <a:pt x="20" y="24"/>
                    </a:lnTo>
                    <a:lnTo>
                      <a:pt x="20" y="24"/>
                    </a:lnTo>
                    <a:lnTo>
                      <a:pt x="47" y="26"/>
                    </a:lnTo>
                    <a:lnTo>
                      <a:pt x="47" y="4"/>
                    </a:lnTo>
                    <a:lnTo>
                      <a:pt x="47" y="4"/>
                    </a:lnTo>
                    <a:lnTo>
                      <a:pt x="47" y="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0" name="Freeform 132"/>
              <p:cNvSpPr>
                <a:spLocks/>
              </p:cNvSpPr>
              <p:nvPr/>
            </p:nvSpPr>
            <p:spPr bwMode="auto">
              <a:xfrm>
                <a:off x="2948" y="3060"/>
                <a:ext cx="42" cy="26"/>
              </a:xfrm>
              <a:custGeom>
                <a:avLst/>
                <a:gdLst/>
                <a:ahLst/>
                <a:cxnLst>
                  <a:cxn ang="0">
                    <a:pos x="6" y="26"/>
                  </a:cxn>
                  <a:cxn ang="0">
                    <a:pos x="8" y="26"/>
                  </a:cxn>
                  <a:cxn ang="0">
                    <a:pos x="8" y="26"/>
                  </a:cxn>
                  <a:cxn ang="0">
                    <a:pos x="14" y="26"/>
                  </a:cxn>
                  <a:cxn ang="0">
                    <a:pos x="14" y="26"/>
                  </a:cxn>
                  <a:cxn ang="0">
                    <a:pos x="42" y="26"/>
                  </a:cxn>
                  <a:cxn ang="0">
                    <a:pos x="42" y="0"/>
                  </a:cxn>
                  <a:cxn ang="0">
                    <a:pos x="17" y="0"/>
                  </a:cxn>
                  <a:cxn ang="0">
                    <a:pos x="17" y="0"/>
                  </a:cxn>
                  <a:cxn ang="0">
                    <a:pos x="14" y="0"/>
                  </a:cxn>
                  <a:cxn ang="0">
                    <a:pos x="12" y="0"/>
                  </a:cxn>
                  <a:cxn ang="0">
                    <a:pos x="8" y="0"/>
                  </a:cxn>
                  <a:cxn ang="0">
                    <a:pos x="12" y="4"/>
                  </a:cxn>
                  <a:cxn ang="0">
                    <a:pos x="6" y="13"/>
                  </a:cxn>
                  <a:cxn ang="0">
                    <a:pos x="0" y="24"/>
                  </a:cxn>
                  <a:cxn ang="0">
                    <a:pos x="6" y="26"/>
                  </a:cxn>
                  <a:cxn ang="0">
                    <a:pos x="6" y="26"/>
                  </a:cxn>
                  <a:cxn ang="0">
                    <a:pos x="6" y="26"/>
                  </a:cxn>
                  <a:cxn ang="0">
                    <a:pos x="6" y="26"/>
                  </a:cxn>
                </a:cxnLst>
                <a:rect l="0" t="0" r="r" b="b"/>
                <a:pathLst>
                  <a:path w="42" h="26">
                    <a:moveTo>
                      <a:pt x="6" y="26"/>
                    </a:moveTo>
                    <a:lnTo>
                      <a:pt x="8" y="26"/>
                    </a:lnTo>
                    <a:lnTo>
                      <a:pt x="8" y="26"/>
                    </a:lnTo>
                    <a:lnTo>
                      <a:pt x="14" y="26"/>
                    </a:lnTo>
                    <a:lnTo>
                      <a:pt x="14" y="26"/>
                    </a:lnTo>
                    <a:lnTo>
                      <a:pt x="42" y="26"/>
                    </a:lnTo>
                    <a:lnTo>
                      <a:pt x="42" y="0"/>
                    </a:lnTo>
                    <a:lnTo>
                      <a:pt x="17" y="0"/>
                    </a:lnTo>
                    <a:lnTo>
                      <a:pt x="17" y="0"/>
                    </a:lnTo>
                    <a:lnTo>
                      <a:pt x="14" y="0"/>
                    </a:lnTo>
                    <a:lnTo>
                      <a:pt x="12" y="0"/>
                    </a:lnTo>
                    <a:lnTo>
                      <a:pt x="8" y="0"/>
                    </a:lnTo>
                    <a:lnTo>
                      <a:pt x="12" y="4"/>
                    </a:lnTo>
                    <a:lnTo>
                      <a:pt x="6" y="13"/>
                    </a:lnTo>
                    <a:lnTo>
                      <a:pt x="0" y="24"/>
                    </a:lnTo>
                    <a:lnTo>
                      <a:pt x="6" y="26"/>
                    </a:lnTo>
                    <a:lnTo>
                      <a:pt x="6" y="26"/>
                    </a:lnTo>
                    <a:lnTo>
                      <a:pt x="6" y="26"/>
                    </a:lnTo>
                    <a:lnTo>
                      <a:pt x="6" y="2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1" name="Freeform 133"/>
              <p:cNvSpPr>
                <a:spLocks/>
              </p:cNvSpPr>
              <p:nvPr/>
            </p:nvSpPr>
            <p:spPr bwMode="auto">
              <a:xfrm>
                <a:off x="2948" y="3060"/>
                <a:ext cx="42" cy="26"/>
              </a:xfrm>
              <a:custGeom>
                <a:avLst/>
                <a:gdLst/>
                <a:ahLst/>
                <a:cxnLst>
                  <a:cxn ang="0">
                    <a:pos x="6" y="26"/>
                  </a:cxn>
                  <a:cxn ang="0">
                    <a:pos x="8" y="26"/>
                  </a:cxn>
                  <a:cxn ang="0">
                    <a:pos x="8" y="26"/>
                  </a:cxn>
                  <a:cxn ang="0">
                    <a:pos x="14" y="26"/>
                  </a:cxn>
                  <a:cxn ang="0">
                    <a:pos x="14" y="26"/>
                  </a:cxn>
                  <a:cxn ang="0">
                    <a:pos x="42" y="26"/>
                  </a:cxn>
                  <a:cxn ang="0">
                    <a:pos x="42" y="0"/>
                  </a:cxn>
                  <a:cxn ang="0">
                    <a:pos x="17" y="0"/>
                  </a:cxn>
                  <a:cxn ang="0">
                    <a:pos x="17" y="0"/>
                  </a:cxn>
                  <a:cxn ang="0">
                    <a:pos x="14" y="0"/>
                  </a:cxn>
                  <a:cxn ang="0">
                    <a:pos x="12" y="0"/>
                  </a:cxn>
                  <a:cxn ang="0">
                    <a:pos x="8" y="0"/>
                  </a:cxn>
                  <a:cxn ang="0">
                    <a:pos x="12" y="4"/>
                  </a:cxn>
                  <a:cxn ang="0">
                    <a:pos x="6" y="13"/>
                  </a:cxn>
                  <a:cxn ang="0">
                    <a:pos x="0" y="24"/>
                  </a:cxn>
                  <a:cxn ang="0">
                    <a:pos x="6" y="26"/>
                  </a:cxn>
                  <a:cxn ang="0">
                    <a:pos x="6" y="26"/>
                  </a:cxn>
                  <a:cxn ang="0">
                    <a:pos x="6" y="26"/>
                  </a:cxn>
                  <a:cxn ang="0">
                    <a:pos x="6" y="26"/>
                  </a:cxn>
                </a:cxnLst>
                <a:rect l="0" t="0" r="r" b="b"/>
                <a:pathLst>
                  <a:path w="42" h="26">
                    <a:moveTo>
                      <a:pt x="6" y="26"/>
                    </a:moveTo>
                    <a:lnTo>
                      <a:pt x="8" y="26"/>
                    </a:lnTo>
                    <a:lnTo>
                      <a:pt x="8" y="26"/>
                    </a:lnTo>
                    <a:lnTo>
                      <a:pt x="14" y="26"/>
                    </a:lnTo>
                    <a:lnTo>
                      <a:pt x="14" y="26"/>
                    </a:lnTo>
                    <a:lnTo>
                      <a:pt x="42" y="26"/>
                    </a:lnTo>
                    <a:lnTo>
                      <a:pt x="42" y="0"/>
                    </a:lnTo>
                    <a:lnTo>
                      <a:pt x="17" y="0"/>
                    </a:lnTo>
                    <a:lnTo>
                      <a:pt x="17" y="0"/>
                    </a:lnTo>
                    <a:lnTo>
                      <a:pt x="14" y="0"/>
                    </a:lnTo>
                    <a:lnTo>
                      <a:pt x="12" y="0"/>
                    </a:lnTo>
                    <a:lnTo>
                      <a:pt x="8" y="0"/>
                    </a:lnTo>
                    <a:lnTo>
                      <a:pt x="12" y="4"/>
                    </a:lnTo>
                    <a:lnTo>
                      <a:pt x="6" y="13"/>
                    </a:lnTo>
                    <a:lnTo>
                      <a:pt x="0" y="24"/>
                    </a:lnTo>
                    <a:lnTo>
                      <a:pt x="6" y="26"/>
                    </a:lnTo>
                    <a:lnTo>
                      <a:pt x="6" y="26"/>
                    </a:lnTo>
                    <a:lnTo>
                      <a:pt x="6" y="26"/>
                    </a:lnTo>
                    <a:lnTo>
                      <a:pt x="6" y="2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2" name="Freeform 134"/>
              <p:cNvSpPr>
                <a:spLocks/>
              </p:cNvSpPr>
              <p:nvPr/>
            </p:nvSpPr>
            <p:spPr bwMode="auto">
              <a:xfrm>
                <a:off x="2980" y="3030"/>
                <a:ext cx="147" cy="167"/>
              </a:xfrm>
              <a:custGeom>
                <a:avLst/>
                <a:gdLst/>
                <a:ahLst/>
                <a:cxnLst>
                  <a:cxn ang="0">
                    <a:pos x="4" y="139"/>
                  </a:cxn>
                  <a:cxn ang="0">
                    <a:pos x="12" y="137"/>
                  </a:cxn>
                  <a:cxn ang="0">
                    <a:pos x="19" y="137"/>
                  </a:cxn>
                  <a:cxn ang="0">
                    <a:pos x="14" y="124"/>
                  </a:cxn>
                  <a:cxn ang="0">
                    <a:pos x="8" y="122"/>
                  </a:cxn>
                  <a:cxn ang="0">
                    <a:pos x="12" y="118"/>
                  </a:cxn>
                  <a:cxn ang="0">
                    <a:pos x="19" y="116"/>
                  </a:cxn>
                  <a:cxn ang="0">
                    <a:pos x="29" y="113"/>
                  </a:cxn>
                  <a:cxn ang="0">
                    <a:pos x="32" y="105"/>
                  </a:cxn>
                  <a:cxn ang="0">
                    <a:pos x="44" y="116"/>
                  </a:cxn>
                  <a:cxn ang="0">
                    <a:pos x="51" y="115"/>
                  </a:cxn>
                  <a:cxn ang="0">
                    <a:pos x="59" y="118"/>
                  </a:cxn>
                  <a:cxn ang="0">
                    <a:pos x="63" y="98"/>
                  </a:cxn>
                  <a:cxn ang="0">
                    <a:pos x="63" y="84"/>
                  </a:cxn>
                  <a:cxn ang="0">
                    <a:pos x="59" y="79"/>
                  </a:cxn>
                  <a:cxn ang="0">
                    <a:pos x="53" y="75"/>
                  </a:cxn>
                  <a:cxn ang="0">
                    <a:pos x="57" y="71"/>
                  </a:cxn>
                  <a:cxn ang="0">
                    <a:pos x="57" y="67"/>
                  </a:cxn>
                  <a:cxn ang="0">
                    <a:pos x="64" y="62"/>
                  </a:cxn>
                  <a:cxn ang="0">
                    <a:pos x="64" y="52"/>
                  </a:cxn>
                  <a:cxn ang="0">
                    <a:pos x="57" y="47"/>
                  </a:cxn>
                  <a:cxn ang="0">
                    <a:pos x="46" y="49"/>
                  </a:cxn>
                  <a:cxn ang="0">
                    <a:pos x="40" y="47"/>
                  </a:cxn>
                  <a:cxn ang="0">
                    <a:pos x="38" y="35"/>
                  </a:cxn>
                  <a:cxn ang="0">
                    <a:pos x="68" y="34"/>
                  </a:cxn>
                  <a:cxn ang="0">
                    <a:pos x="70" y="34"/>
                  </a:cxn>
                  <a:cxn ang="0">
                    <a:pos x="78" y="35"/>
                  </a:cxn>
                  <a:cxn ang="0">
                    <a:pos x="79" y="35"/>
                  </a:cxn>
                  <a:cxn ang="0">
                    <a:pos x="89" y="35"/>
                  </a:cxn>
                  <a:cxn ang="0">
                    <a:pos x="93" y="37"/>
                  </a:cxn>
                  <a:cxn ang="0">
                    <a:pos x="96" y="35"/>
                  </a:cxn>
                  <a:cxn ang="0">
                    <a:pos x="98" y="28"/>
                  </a:cxn>
                  <a:cxn ang="0">
                    <a:pos x="113" y="7"/>
                  </a:cxn>
                  <a:cxn ang="0">
                    <a:pos x="125" y="0"/>
                  </a:cxn>
                  <a:cxn ang="0">
                    <a:pos x="134" y="0"/>
                  </a:cxn>
                  <a:cxn ang="0">
                    <a:pos x="142" y="3"/>
                  </a:cxn>
                  <a:cxn ang="0">
                    <a:pos x="145" y="3"/>
                  </a:cxn>
                  <a:cxn ang="0">
                    <a:pos x="143" y="17"/>
                  </a:cxn>
                  <a:cxn ang="0">
                    <a:pos x="136" y="35"/>
                  </a:cxn>
                  <a:cxn ang="0">
                    <a:pos x="130" y="49"/>
                  </a:cxn>
                  <a:cxn ang="0">
                    <a:pos x="130" y="60"/>
                  </a:cxn>
                  <a:cxn ang="0">
                    <a:pos x="128" y="69"/>
                  </a:cxn>
                  <a:cxn ang="0">
                    <a:pos x="119" y="92"/>
                  </a:cxn>
                  <a:cxn ang="0">
                    <a:pos x="110" y="94"/>
                  </a:cxn>
                  <a:cxn ang="0">
                    <a:pos x="104" y="105"/>
                  </a:cxn>
                  <a:cxn ang="0">
                    <a:pos x="96" y="122"/>
                  </a:cxn>
                  <a:cxn ang="0">
                    <a:pos x="95" y="137"/>
                  </a:cxn>
                  <a:cxn ang="0">
                    <a:pos x="89" y="147"/>
                  </a:cxn>
                  <a:cxn ang="0">
                    <a:pos x="78" y="160"/>
                  </a:cxn>
                  <a:cxn ang="0">
                    <a:pos x="64" y="164"/>
                  </a:cxn>
                  <a:cxn ang="0">
                    <a:pos x="64" y="154"/>
                  </a:cxn>
                  <a:cxn ang="0">
                    <a:pos x="55" y="158"/>
                  </a:cxn>
                  <a:cxn ang="0">
                    <a:pos x="49" y="162"/>
                  </a:cxn>
                  <a:cxn ang="0">
                    <a:pos x="44" y="164"/>
                  </a:cxn>
                  <a:cxn ang="0">
                    <a:pos x="38" y="162"/>
                  </a:cxn>
                  <a:cxn ang="0">
                    <a:pos x="38" y="154"/>
                  </a:cxn>
                  <a:cxn ang="0">
                    <a:pos x="29" y="158"/>
                  </a:cxn>
                  <a:cxn ang="0">
                    <a:pos x="23" y="164"/>
                  </a:cxn>
                  <a:cxn ang="0">
                    <a:pos x="17" y="167"/>
                  </a:cxn>
                  <a:cxn ang="0">
                    <a:pos x="12" y="160"/>
                  </a:cxn>
                  <a:cxn ang="0">
                    <a:pos x="6" y="150"/>
                  </a:cxn>
                  <a:cxn ang="0">
                    <a:pos x="0" y="147"/>
                  </a:cxn>
                </a:cxnLst>
                <a:rect l="0" t="0" r="r" b="b"/>
                <a:pathLst>
                  <a:path w="147" h="167">
                    <a:moveTo>
                      <a:pt x="0" y="147"/>
                    </a:moveTo>
                    <a:lnTo>
                      <a:pt x="4" y="143"/>
                    </a:lnTo>
                    <a:lnTo>
                      <a:pt x="4" y="139"/>
                    </a:lnTo>
                    <a:lnTo>
                      <a:pt x="6" y="139"/>
                    </a:lnTo>
                    <a:lnTo>
                      <a:pt x="10" y="139"/>
                    </a:lnTo>
                    <a:lnTo>
                      <a:pt x="12" y="137"/>
                    </a:lnTo>
                    <a:lnTo>
                      <a:pt x="14" y="137"/>
                    </a:lnTo>
                    <a:lnTo>
                      <a:pt x="17" y="141"/>
                    </a:lnTo>
                    <a:lnTo>
                      <a:pt x="19" y="137"/>
                    </a:lnTo>
                    <a:lnTo>
                      <a:pt x="17" y="128"/>
                    </a:lnTo>
                    <a:lnTo>
                      <a:pt x="15" y="124"/>
                    </a:lnTo>
                    <a:lnTo>
                      <a:pt x="14" y="124"/>
                    </a:lnTo>
                    <a:lnTo>
                      <a:pt x="10" y="124"/>
                    </a:lnTo>
                    <a:lnTo>
                      <a:pt x="6" y="128"/>
                    </a:lnTo>
                    <a:lnTo>
                      <a:pt x="8" y="122"/>
                    </a:lnTo>
                    <a:lnTo>
                      <a:pt x="6" y="118"/>
                    </a:lnTo>
                    <a:lnTo>
                      <a:pt x="8" y="118"/>
                    </a:lnTo>
                    <a:lnTo>
                      <a:pt x="12" y="118"/>
                    </a:lnTo>
                    <a:lnTo>
                      <a:pt x="15" y="118"/>
                    </a:lnTo>
                    <a:lnTo>
                      <a:pt x="17" y="118"/>
                    </a:lnTo>
                    <a:lnTo>
                      <a:pt x="19" y="116"/>
                    </a:lnTo>
                    <a:lnTo>
                      <a:pt x="19" y="116"/>
                    </a:lnTo>
                    <a:lnTo>
                      <a:pt x="29" y="116"/>
                    </a:lnTo>
                    <a:lnTo>
                      <a:pt x="29" y="113"/>
                    </a:lnTo>
                    <a:lnTo>
                      <a:pt x="29" y="107"/>
                    </a:lnTo>
                    <a:lnTo>
                      <a:pt x="29" y="105"/>
                    </a:lnTo>
                    <a:lnTo>
                      <a:pt x="32" y="105"/>
                    </a:lnTo>
                    <a:lnTo>
                      <a:pt x="38" y="115"/>
                    </a:lnTo>
                    <a:lnTo>
                      <a:pt x="38" y="116"/>
                    </a:lnTo>
                    <a:lnTo>
                      <a:pt x="44" y="116"/>
                    </a:lnTo>
                    <a:lnTo>
                      <a:pt x="46" y="116"/>
                    </a:lnTo>
                    <a:lnTo>
                      <a:pt x="47" y="115"/>
                    </a:lnTo>
                    <a:lnTo>
                      <a:pt x="51" y="115"/>
                    </a:lnTo>
                    <a:lnTo>
                      <a:pt x="55" y="116"/>
                    </a:lnTo>
                    <a:lnTo>
                      <a:pt x="57" y="118"/>
                    </a:lnTo>
                    <a:lnTo>
                      <a:pt x="59" y="118"/>
                    </a:lnTo>
                    <a:lnTo>
                      <a:pt x="59" y="115"/>
                    </a:lnTo>
                    <a:lnTo>
                      <a:pt x="59" y="113"/>
                    </a:lnTo>
                    <a:lnTo>
                      <a:pt x="63" y="98"/>
                    </a:lnTo>
                    <a:lnTo>
                      <a:pt x="64" y="92"/>
                    </a:lnTo>
                    <a:lnTo>
                      <a:pt x="64" y="88"/>
                    </a:lnTo>
                    <a:lnTo>
                      <a:pt x="63" y="84"/>
                    </a:lnTo>
                    <a:lnTo>
                      <a:pt x="63" y="83"/>
                    </a:lnTo>
                    <a:lnTo>
                      <a:pt x="59" y="79"/>
                    </a:lnTo>
                    <a:lnTo>
                      <a:pt x="59" y="79"/>
                    </a:lnTo>
                    <a:lnTo>
                      <a:pt x="57" y="77"/>
                    </a:lnTo>
                    <a:lnTo>
                      <a:pt x="55" y="77"/>
                    </a:lnTo>
                    <a:lnTo>
                      <a:pt x="53" y="75"/>
                    </a:lnTo>
                    <a:lnTo>
                      <a:pt x="53" y="73"/>
                    </a:lnTo>
                    <a:lnTo>
                      <a:pt x="57" y="71"/>
                    </a:lnTo>
                    <a:lnTo>
                      <a:pt x="57" y="71"/>
                    </a:lnTo>
                    <a:lnTo>
                      <a:pt x="59" y="71"/>
                    </a:lnTo>
                    <a:lnTo>
                      <a:pt x="57" y="67"/>
                    </a:lnTo>
                    <a:lnTo>
                      <a:pt x="57" y="67"/>
                    </a:lnTo>
                    <a:lnTo>
                      <a:pt x="57" y="64"/>
                    </a:lnTo>
                    <a:lnTo>
                      <a:pt x="61" y="62"/>
                    </a:lnTo>
                    <a:lnTo>
                      <a:pt x="64" y="62"/>
                    </a:lnTo>
                    <a:lnTo>
                      <a:pt x="64" y="58"/>
                    </a:lnTo>
                    <a:lnTo>
                      <a:pt x="64" y="56"/>
                    </a:lnTo>
                    <a:lnTo>
                      <a:pt x="64" y="52"/>
                    </a:lnTo>
                    <a:lnTo>
                      <a:pt x="64" y="49"/>
                    </a:lnTo>
                    <a:lnTo>
                      <a:pt x="63" y="47"/>
                    </a:lnTo>
                    <a:lnTo>
                      <a:pt x="57" y="47"/>
                    </a:lnTo>
                    <a:lnTo>
                      <a:pt x="53" y="49"/>
                    </a:lnTo>
                    <a:lnTo>
                      <a:pt x="47" y="49"/>
                    </a:lnTo>
                    <a:lnTo>
                      <a:pt x="46" y="49"/>
                    </a:lnTo>
                    <a:lnTo>
                      <a:pt x="42" y="49"/>
                    </a:lnTo>
                    <a:lnTo>
                      <a:pt x="40" y="49"/>
                    </a:lnTo>
                    <a:lnTo>
                      <a:pt x="40" y="47"/>
                    </a:lnTo>
                    <a:lnTo>
                      <a:pt x="40" y="43"/>
                    </a:lnTo>
                    <a:lnTo>
                      <a:pt x="40" y="39"/>
                    </a:lnTo>
                    <a:lnTo>
                      <a:pt x="38" y="35"/>
                    </a:lnTo>
                    <a:lnTo>
                      <a:pt x="40" y="32"/>
                    </a:lnTo>
                    <a:lnTo>
                      <a:pt x="64" y="32"/>
                    </a:lnTo>
                    <a:lnTo>
                      <a:pt x="68" y="34"/>
                    </a:lnTo>
                    <a:lnTo>
                      <a:pt x="68" y="32"/>
                    </a:lnTo>
                    <a:lnTo>
                      <a:pt x="70" y="32"/>
                    </a:lnTo>
                    <a:lnTo>
                      <a:pt x="70" y="34"/>
                    </a:lnTo>
                    <a:lnTo>
                      <a:pt x="74" y="34"/>
                    </a:lnTo>
                    <a:lnTo>
                      <a:pt x="74" y="34"/>
                    </a:lnTo>
                    <a:lnTo>
                      <a:pt x="78" y="35"/>
                    </a:lnTo>
                    <a:lnTo>
                      <a:pt x="79" y="35"/>
                    </a:lnTo>
                    <a:lnTo>
                      <a:pt x="79" y="34"/>
                    </a:lnTo>
                    <a:lnTo>
                      <a:pt x="79" y="35"/>
                    </a:lnTo>
                    <a:lnTo>
                      <a:pt x="83" y="37"/>
                    </a:lnTo>
                    <a:lnTo>
                      <a:pt x="85" y="35"/>
                    </a:lnTo>
                    <a:lnTo>
                      <a:pt x="89" y="35"/>
                    </a:lnTo>
                    <a:lnTo>
                      <a:pt x="91" y="37"/>
                    </a:lnTo>
                    <a:lnTo>
                      <a:pt x="93" y="37"/>
                    </a:lnTo>
                    <a:lnTo>
                      <a:pt x="93" y="37"/>
                    </a:lnTo>
                    <a:lnTo>
                      <a:pt x="95" y="37"/>
                    </a:lnTo>
                    <a:lnTo>
                      <a:pt x="96" y="37"/>
                    </a:lnTo>
                    <a:lnTo>
                      <a:pt x="96" y="35"/>
                    </a:lnTo>
                    <a:lnTo>
                      <a:pt x="95" y="34"/>
                    </a:lnTo>
                    <a:lnTo>
                      <a:pt x="96" y="32"/>
                    </a:lnTo>
                    <a:lnTo>
                      <a:pt x="98" y="28"/>
                    </a:lnTo>
                    <a:lnTo>
                      <a:pt x="98" y="26"/>
                    </a:lnTo>
                    <a:lnTo>
                      <a:pt x="108" y="9"/>
                    </a:lnTo>
                    <a:lnTo>
                      <a:pt x="113" y="7"/>
                    </a:lnTo>
                    <a:lnTo>
                      <a:pt x="115" y="3"/>
                    </a:lnTo>
                    <a:lnTo>
                      <a:pt x="119" y="3"/>
                    </a:lnTo>
                    <a:lnTo>
                      <a:pt x="125" y="0"/>
                    </a:lnTo>
                    <a:lnTo>
                      <a:pt x="128" y="2"/>
                    </a:lnTo>
                    <a:lnTo>
                      <a:pt x="130" y="0"/>
                    </a:lnTo>
                    <a:lnTo>
                      <a:pt x="134" y="0"/>
                    </a:lnTo>
                    <a:lnTo>
                      <a:pt x="136" y="0"/>
                    </a:lnTo>
                    <a:lnTo>
                      <a:pt x="138" y="2"/>
                    </a:lnTo>
                    <a:lnTo>
                      <a:pt x="142" y="3"/>
                    </a:lnTo>
                    <a:lnTo>
                      <a:pt x="143" y="2"/>
                    </a:lnTo>
                    <a:lnTo>
                      <a:pt x="145" y="2"/>
                    </a:lnTo>
                    <a:lnTo>
                      <a:pt x="145" y="3"/>
                    </a:lnTo>
                    <a:lnTo>
                      <a:pt x="147" y="7"/>
                    </a:lnTo>
                    <a:lnTo>
                      <a:pt x="147" y="13"/>
                    </a:lnTo>
                    <a:lnTo>
                      <a:pt x="143" y="17"/>
                    </a:lnTo>
                    <a:lnTo>
                      <a:pt x="142" y="18"/>
                    </a:lnTo>
                    <a:lnTo>
                      <a:pt x="134" y="30"/>
                    </a:lnTo>
                    <a:lnTo>
                      <a:pt x="136" y="35"/>
                    </a:lnTo>
                    <a:lnTo>
                      <a:pt x="134" y="41"/>
                    </a:lnTo>
                    <a:lnTo>
                      <a:pt x="134" y="43"/>
                    </a:lnTo>
                    <a:lnTo>
                      <a:pt x="130" y="49"/>
                    </a:lnTo>
                    <a:lnTo>
                      <a:pt x="130" y="52"/>
                    </a:lnTo>
                    <a:lnTo>
                      <a:pt x="130" y="54"/>
                    </a:lnTo>
                    <a:lnTo>
                      <a:pt x="130" y="60"/>
                    </a:lnTo>
                    <a:lnTo>
                      <a:pt x="130" y="62"/>
                    </a:lnTo>
                    <a:lnTo>
                      <a:pt x="130" y="67"/>
                    </a:lnTo>
                    <a:lnTo>
                      <a:pt x="128" y="69"/>
                    </a:lnTo>
                    <a:lnTo>
                      <a:pt x="128" y="75"/>
                    </a:lnTo>
                    <a:lnTo>
                      <a:pt x="128" y="83"/>
                    </a:lnTo>
                    <a:lnTo>
                      <a:pt x="119" y="92"/>
                    </a:lnTo>
                    <a:lnTo>
                      <a:pt x="115" y="92"/>
                    </a:lnTo>
                    <a:lnTo>
                      <a:pt x="113" y="94"/>
                    </a:lnTo>
                    <a:lnTo>
                      <a:pt x="110" y="94"/>
                    </a:lnTo>
                    <a:lnTo>
                      <a:pt x="108" y="98"/>
                    </a:lnTo>
                    <a:lnTo>
                      <a:pt x="104" y="101"/>
                    </a:lnTo>
                    <a:lnTo>
                      <a:pt x="104" y="105"/>
                    </a:lnTo>
                    <a:lnTo>
                      <a:pt x="96" y="111"/>
                    </a:lnTo>
                    <a:lnTo>
                      <a:pt x="95" y="116"/>
                    </a:lnTo>
                    <a:lnTo>
                      <a:pt x="96" y="122"/>
                    </a:lnTo>
                    <a:lnTo>
                      <a:pt x="96" y="122"/>
                    </a:lnTo>
                    <a:lnTo>
                      <a:pt x="96" y="132"/>
                    </a:lnTo>
                    <a:lnTo>
                      <a:pt x="95" y="137"/>
                    </a:lnTo>
                    <a:lnTo>
                      <a:pt x="95" y="141"/>
                    </a:lnTo>
                    <a:lnTo>
                      <a:pt x="93" y="147"/>
                    </a:lnTo>
                    <a:lnTo>
                      <a:pt x="89" y="147"/>
                    </a:lnTo>
                    <a:lnTo>
                      <a:pt x="85" y="148"/>
                    </a:lnTo>
                    <a:lnTo>
                      <a:pt x="83" y="152"/>
                    </a:lnTo>
                    <a:lnTo>
                      <a:pt x="78" y="160"/>
                    </a:lnTo>
                    <a:lnTo>
                      <a:pt x="74" y="164"/>
                    </a:lnTo>
                    <a:lnTo>
                      <a:pt x="70" y="164"/>
                    </a:lnTo>
                    <a:lnTo>
                      <a:pt x="64" y="164"/>
                    </a:lnTo>
                    <a:lnTo>
                      <a:pt x="64" y="160"/>
                    </a:lnTo>
                    <a:lnTo>
                      <a:pt x="63" y="160"/>
                    </a:lnTo>
                    <a:lnTo>
                      <a:pt x="64" y="154"/>
                    </a:lnTo>
                    <a:lnTo>
                      <a:pt x="64" y="152"/>
                    </a:lnTo>
                    <a:lnTo>
                      <a:pt x="61" y="154"/>
                    </a:lnTo>
                    <a:lnTo>
                      <a:pt x="55" y="158"/>
                    </a:lnTo>
                    <a:lnTo>
                      <a:pt x="53" y="158"/>
                    </a:lnTo>
                    <a:lnTo>
                      <a:pt x="51" y="158"/>
                    </a:lnTo>
                    <a:lnTo>
                      <a:pt x="49" y="162"/>
                    </a:lnTo>
                    <a:lnTo>
                      <a:pt x="47" y="164"/>
                    </a:lnTo>
                    <a:lnTo>
                      <a:pt x="44" y="164"/>
                    </a:lnTo>
                    <a:lnTo>
                      <a:pt x="44" y="164"/>
                    </a:lnTo>
                    <a:lnTo>
                      <a:pt x="44" y="162"/>
                    </a:lnTo>
                    <a:lnTo>
                      <a:pt x="40" y="162"/>
                    </a:lnTo>
                    <a:lnTo>
                      <a:pt x="38" y="162"/>
                    </a:lnTo>
                    <a:lnTo>
                      <a:pt x="38" y="164"/>
                    </a:lnTo>
                    <a:lnTo>
                      <a:pt x="38" y="160"/>
                    </a:lnTo>
                    <a:lnTo>
                      <a:pt x="38" y="154"/>
                    </a:lnTo>
                    <a:lnTo>
                      <a:pt x="32" y="154"/>
                    </a:lnTo>
                    <a:lnTo>
                      <a:pt x="32" y="154"/>
                    </a:lnTo>
                    <a:lnTo>
                      <a:pt x="29" y="158"/>
                    </a:lnTo>
                    <a:lnTo>
                      <a:pt x="25" y="158"/>
                    </a:lnTo>
                    <a:lnTo>
                      <a:pt x="25" y="162"/>
                    </a:lnTo>
                    <a:lnTo>
                      <a:pt x="23" y="164"/>
                    </a:lnTo>
                    <a:lnTo>
                      <a:pt x="19" y="164"/>
                    </a:lnTo>
                    <a:lnTo>
                      <a:pt x="19" y="167"/>
                    </a:lnTo>
                    <a:lnTo>
                      <a:pt x="17" y="167"/>
                    </a:lnTo>
                    <a:lnTo>
                      <a:pt x="15" y="167"/>
                    </a:lnTo>
                    <a:lnTo>
                      <a:pt x="15" y="164"/>
                    </a:lnTo>
                    <a:lnTo>
                      <a:pt x="12" y="160"/>
                    </a:lnTo>
                    <a:lnTo>
                      <a:pt x="12" y="154"/>
                    </a:lnTo>
                    <a:lnTo>
                      <a:pt x="6" y="152"/>
                    </a:lnTo>
                    <a:lnTo>
                      <a:pt x="6" y="150"/>
                    </a:lnTo>
                    <a:lnTo>
                      <a:pt x="0" y="147"/>
                    </a:lnTo>
                    <a:lnTo>
                      <a:pt x="0" y="147"/>
                    </a:lnTo>
                    <a:lnTo>
                      <a:pt x="0" y="14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3" name="Freeform 135"/>
              <p:cNvSpPr>
                <a:spLocks/>
              </p:cNvSpPr>
              <p:nvPr/>
            </p:nvSpPr>
            <p:spPr bwMode="auto">
              <a:xfrm>
                <a:off x="2980" y="3030"/>
                <a:ext cx="147" cy="167"/>
              </a:xfrm>
              <a:custGeom>
                <a:avLst/>
                <a:gdLst/>
                <a:ahLst/>
                <a:cxnLst>
                  <a:cxn ang="0">
                    <a:pos x="4" y="139"/>
                  </a:cxn>
                  <a:cxn ang="0">
                    <a:pos x="12" y="137"/>
                  </a:cxn>
                  <a:cxn ang="0">
                    <a:pos x="19" y="137"/>
                  </a:cxn>
                  <a:cxn ang="0">
                    <a:pos x="14" y="124"/>
                  </a:cxn>
                  <a:cxn ang="0">
                    <a:pos x="8" y="122"/>
                  </a:cxn>
                  <a:cxn ang="0">
                    <a:pos x="12" y="118"/>
                  </a:cxn>
                  <a:cxn ang="0">
                    <a:pos x="19" y="116"/>
                  </a:cxn>
                  <a:cxn ang="0">
                    <a:pos x="29" y="113"/>
                  </a:cxn>
                  <a:cxn ang="0">
                    <a:pos x="32" y="105"/>
                  </a:cxn>
                  <a:cxn ang="0">
                    <a:pos x="44" y="116"/>
                  </a:cxn>
                  <a:cxn ang="0">
                    <a:pos x="51" y="115"/>
                  </a:cxn>
                  <a:cxn ang="0">
                    <a:pos x="59" y="118"/>
                  </a:cxn>
                  <a:cxn ang="0">
                    <a:pos x="63" y="98"/>
                  </a:cxn>
                  <a:cxn ang="0">
                    <a:pos x="63" y="84"/>
                  </a:cxn>
                  <a:cxn ang="0">
                    <a:pos x="59" y="79"/>
                  </a:cxn>
                  <a:cxn ang="0">
                    <a:pos x="53" y="75"/>
                  </a:cxn>
                  <a:cxn ang="0">
                    <a:pos x="57" y="71"/>
                  </a:cxn>
                  <a:cxn ang="0">
                    <a:pos x="57" y="67"/>
                  </a:cxn>
                  <a:cxn ang="0">
                    <a:pos x="64" y="62"/>
                  </a:cxn>
                  <a:cxn ang="0">
                    <a:pos x="64" y="52"/>
                  </a:cxn>
                  <a:cxn ang="0">
                    <a:pos x="57" y="47"/>
                  </a:cxn>
                  <a:cxn ang="0">
                    <a:pos x="46" y="49"/>
                  </a:cxn>
                  <a:cxn ang="0">
                    <a:pos x="40" y="47"/>
                  </a:cxn>
                  <a:cxn ang="0">
                    <a:pos x="38" y="35"/>
                  </a:cxn>
                  <a:cxn ang="0">
                    <a:pos x="68" y="34"/>
                  </a:cxn>
                  <a:cxn ang="0">
                    <a:pos x="70" y="34"/>
                  </a:cxn>
                  <a:cxn ang="0">
                    <a:pos x="78" y="35"/>
                  </a:cxn>
                  <a:cxn ang="0">
                    <a:pos x="79" y="35"/>
                  </a:cxn>
                  <a:cxn ang="0">
                    <a:pos x="89" y="35"/>
                  </a:cxn>
                  <a:cxn ang="0">
                    <a:pos x="93" y="37"/>
                  </a:cxn>
                  <a:cxn ang="0">
                    <a:pos x="96" y="35"/>
                  </a:cxn>
                  <a:cxn ang="0">
                    <a:pos x="98" y="28"/>
                  </a:cxn>
                  <a:cxn ang="0">
                    <a:pos x="113" y="7"/>
                  </a:cxn>
                  <a:cxn ang="0">
                    <a:pos x="125" y="0"/>
                  </a:cxn>
                  <a:cxn ang="0">
                    <a:pos x="134" y="0"/>
                  </a:cxn>
                  <a:cxn ang="0">
                    <a:pos x="142" y="3"/>
                  </a:cxn>
                  <a:cxn ang="0">
                    <a:pos x="145" y="3"/>
                  </a:cxn>
                  <a:cxn ang="0">
                    <a:pos x="143" y="17"/>
                  </a:cxn>
                  <a:cxn ang="0">
                    <a:pos x="136" y="35"/>
                  </a:cxn>
                  <a:cxn ang="0">
                    <a:pos x="130" y="49"/>
                  </a:cxn>
                  <a:cxn ang="0">
                    <a:pos x="130" y="60"/>
                  </a:cxn>
                  <a:cxn ang="0">
                    <a:pos x="128" y="69"/>
                  </a:cxn>
                  <a:cxn ang="0">
                    <a:pos x="119" y="92"/>
                  </a:cxn>
                  <a:cxn ang="0">
                    <a:pos x="110" y="94"/>
                  </a:cxn>
                  <a:cxn ang="0">
                    <a:pos x="104" y="105"/>
                  </a:cxn>
                  <a:cxn ang="0">
                    <a:pos x="96" y="122"/>
                  </a:cxn>
                  <a:cxn ang="0">
                    <a:pos x="95" y="137"/>
                  </a:cxn>
                  <a:cxn ang="0">
                    <a:pos x="89" y="147"/>
                  </a:cxn>
                  <a:cxn ang="0">
                    <a:pos x="78" y="160"/>
                  </a:cxn>
                  <a:cxn ang="0">
                    <a:pos x="64" y="164"/>
                  </a:cxn>
                  <a:cxn ang="0">
                    <a:pos x="64" y="154"/>
                  </a:cxn>
                  <a:cxn ang="0">
                    <a:pos x="55" y="158"/>
                  </a:cxn>
                  <a:cxn ang="0">
                    <a:pos x="49" y="162"/>
                  </a:cxn>
                  <a:cxn ang="0">
                    <a:pos x="44" y="164"/>
                  </a:cxn>
                  <a:cxn ang="0">
                    <a:pos x="38" y="162"/>
                  </a:cxn>
                  <a:cxn ang="0">
                    <a:pos x="38" y="154"/>
                  </a:cxn>
                  <a:cxn ang="0">
                    <a:pos x="29" y="158"/>
                  </a:cxn>
                  <a:cxn ang="0">
                    <a:pos x="23" y="164"/>
                  </a:cxn>
                  <a:cxn ang="0">
                    <a:pos x="17" y="167"/>
                  </a:cxn>
                  <a:cxn ang="0">
                    <a:pos x="12" y="160"/>
                  </a:cxn>
                  <a:cxn ang="0">
                    <a:pos x="6" y="150"/>
                  </a:cxn>
                  <a:cxn ang="0">
                    <a:pos x="0" y="147"/>
                  </a:cxn>
                </a:cxnLst>
                <a:rect l="0" t="0" r="r" b="b"/>
                <a:pathLst>
                  <a:path w="147" h="167">
                    <a:moveTo>
                      <a:pt x="0" y="147"/>
                    </a:moveTo>
                    <a:lnTo>
                      <a:pt x="4" y="143"/>
                    </a:lnTo>
                    <a:lnTo>
                      <a:pt x="4" y="139"/>
                    </a:lnTo>
                    <a:lnTo>
                      <a:pt x="6" y="139"/>
                    </a:lnTo>
                    <a:lnTo>
                      <a:pt x="10" y="139"/>
                    </a:lnTo>
                    <a:lnTo>
                      <a:pt x="12" y="137"/>
                    </a:lnTo>
                    <a:lnTo>
                      <a:pt x="14" y="137"/>
                    </a:lnTo>
                    <a:lnTo>
                      <a:pt x="17" y="141"/>
                    </a:lnTo>
                    <a:lnTo>
                      <a:pt x="19" y="137"/>
                    </a:lnTo>
                    <a:lnTo>
                      <a:pt x="17" y="128"/>
                    </a:lnTo>
                    <a:lnTo>
                      <a:pt x="15" y="124"/>
                    </a:lnTo>
                    <a:lnTo>
                      <a:pt x="14" y="124"/>
                    </a:lnTo>
                    <a:lnTo>
                      <a:pt x="10" y="124"/>
                    </a:lnTo>
                    <a:lnTo>
                      <a:pt x="6" y="128"/>
                    </a:lnTo>
                    <a:lnTo>
                      <a:pt x="8" y="122"/>
                    </a:lnTo>
                    <a:lnTo>
                      <a:pt x="6" y="118"/>
                    </a:lnTo>
                    <a:lnTo>
                      <a:pt x="8" y="118"/>
                    </a:lnTo>
                    <a:lnTo>
                      <a:pt x="12" y="118"/>
                    </a:lnTo>
                    <a:lnTo>
                      <a:pt x="15" y="118"/>
                    </a:lnTo>
                    <a:lnTo>
                      <a:pt x="17" y="118"/>
                    </a:lnTo>
                    <a:lnTo>
                      <a:pt x="19" y="116"/>
                    </a:lnTo>
                    <a:lnTo>
                      <a:pt x="19" y="116"/>
                    </a:lnTo>
                    <a:lnTo>
                      <a:pt x="29" y="116"/>
                    </a:lnTo>
                    <a:lnTo>
                      <a:pt x="29" y="113"/>
                    </a:lnTo>
                    <a:lnTo>
                      <a:pt x="29" y="107"/>
                    </a:lnTo>
                    <a:lnTo>
                      <a:pt x="29" y="105"/>
                    </a:lnTo>
                    <a:lnTo>
                      <a:pt x="32" y="105"/>
                    </a:lnTo>
                    <a:lnTo>
                      <a:pt x="38" y="115"/>
                    </a:lnTo>
                    <a:lnTo>
                      <a:pt x="38" y="116"/>
                    </a:lnTo>
                    <a:lnTo>
                      <a:pt x="44" y="116"/>
                    </a:lnTo>
                    <a:lnTo>
                      <a:pt x="46" y="116"/>
                    </a:lnTo>
                    <a:lnTo>
                      <a:pt x="47" y="115"/>
                    </a:lnTo>
                    <a:lnTo>
                      <a:pt x="51" y="115"/>
                    </a:lnTo>
                    <a:lnTo>
                      <a:pt x="55" y="116"/>
                    </a:lnTo>
                    <a:lnTo>
                      <a:pt x="57" y="118"/>
                    </a:lnTo>
                    <a:lnTo>
                      <a:pt x="59" y="118"/>
                    </a:lnTo>
                    <a:lnTo>
                      <a:pt x="59" y="115"/>
                    </a:lnTo>
                    <a:lnTo>
                      <a:pt x="59" y="113"/>
                    </a:lnTo>
                    <a:lnTo>
                      <a:pt x="63" y="98"/>
                    </a:lnTo>
                    <a:lnTo>
                      <a:pt x="64" y="92"/>
                    </a:lnTo>
                    <a:lnTo>
                      <a:pt x="64" y="88"/>
                    </a:lnTo>
                    <a:lnTo>
                      <a:pt x="63" y="84"/>
                    </a:lnTo>
                    <a:lnTo>
                      <a:pt x="63" y="83"/>
                    </a:lnTo>
                    <a:lnTo>
                      <a:pt x="59" y="79"/>
                    </a:lnTo>
                    <a:lnTo>
                      <a:pt x="59" y="79"/>
                    </a:lnTo>
                    <a:lnTo>
                      <a:pt x="57" y="77"/>
                    </a:lnTo>
                    <a:lnTo>
                      <a:pt x="55" y="77"/>
                    </a:lnTo>
                    <a:lnTo>
                      <a:pt x="53" y="75"/>
                    </a:lnTo>
                    <a:lnTo>
                      <a:pt x="53" y="73"/>
                    </a:lnTo>
                    <a:lnTo>
                      <a:pt x="57" y="71"/>
                    </a:lnTo>
                    <a:lnTo>
                      <a:pt x="57" y="71"/>
                    </a:lnTo>
                    <a:lnTo>
                      <a:pt x="59" y="71"/>
                    </a:lnTo>
                    <a:lnTo>
                      <a:pt x="57" y="67"/>
                    </a:lnTo>
                    <a:lnTo>
                      <a:pt x="57" y="67"/>
                    </a:lnTo>
                    <a:lnTo>
                      <a:pt x="57" y="64"/>
                    </a:lnTo>
                    <a:lnTo>
                      <a:pt x="61" y="62"/>
                    </a:lnTo>
                    <a:lnTo>
                      <a:pt x="64" y="62"/>
                    </a:lnTo>
                    <a:lnTo>
                      <a:pt x="64" y="58"/>
                    </a:lnTo>
                    <a:lnTo>
                      <a:pt x="64" y="56"/>
                    </a:lnTo>
                    <a:lnTo>
                      <a:pt x="64" y="52"/>
                    </a:lnTo>
                    <a:lnTo>
                      <a:pt x="64" y="49"/>
                    </a:lnTo>
                    <a:lnTo>
                      <a:pt x="63" y="47"/>
                    </a:lnTo>
                    <a:lnTo>
                      <a:pt x="57" y="47"/>
                    </a:lnTo>
                    <a:lnTo>
                      <a:pt x="53" y="49"/>
                    </a:lnTo>
                    <a:lnTo>
                      <a:pt x="47" y="49"/>
                    </a:lnTo>
                    <a:lnTo>
                      <a:pt x="46" y="49"/>
                    </a:lnTo>
                    <a:lnTo>
                      <a:pt x="42" y="49"/>
                    </a:lnTo>
                    <a:lnTo>
                      <a:pt x="40" y="49"/>
                    </a:lnTo>
                    <a:lnTo>
                      <a:pt x="40" y="47"/>
                    </a:lnTo>
                    <a:lnTo>
                      <a:pt x="40" y="43"/>
                    </a:lnTo>
                    <a:lnTo>
                      <a:pt x="40" y="39"/>
                    </a:lnTo>
                    <a:lnTo>
                      <a:pt x="38" y="35"/>
                    </a:lnTo>
                    <a:lnTo>
                      <a:pt x="40" y="32"/>
                    </a:lnTo>
                    <a:lnTo>
                      <a:pt x="64" y="32"/>
                    </a:lnTo>
                    <a:lnTo>
                      <a:pt x="68" y="34"/>
                    </a:lnTo>
                    <a:lnTo>
                      <a:pt x="68" y="32"/>
                    </a:lnTo>
                    <a:lnTo>
                      <a:pt x="70" y="32"/>
                    </a:lnTo>
                    <a:lnTo>
                      <a:pt x="70" y="34"/>
                    </a:lnTo>
                    <a:lnTo>
                      <a:pt x="74" y="34"/>
                    </a:lnTo>
                    <a:lnTo>
                      <a:pt x="74" y="34"/>
                    </a:lnTo>
                    <a:lnTo>
                      <a:pt x="78" y="35"/>
                    </a:lnTo>
                    <a:lnTo>
                      <a:pt x="79" y="35"/>
                    </a:lnTo>
                    <a:lnTo>
                      <a:pt x="79" y="34"/>
                    </a:lnTo>
                    <a:lnTo>
                      <a:pt x="79" y="35"/>
                    </a:lnTo>
                    <a:lnTo>
                      <a:pt x="83" y="37"/>
                    </a:lnTo>
                    <a:lnTo>
                      <a:pt x="85" y="35"/>
                    </a:lnTo>
                    <a:lnTo>
                      <a:pt x="89" y="35"/>
                    </a:lnTo>
                    <a:lnTo>
                      <a:pt x="91" y="37"/>
                    </a:lnTo>
                    <a:lnTo>
                      <a:pt x="93" y="37"/>
                    </a:lnTo>
                    <a:lnTo>
                      <a:pt x="93" y="37"/>
                    </a:lnTo>
                    <a:lnTo>
                      <a:pt x="95" y="37"/>
                    </a:lnTo>
                    <a:lnTo>
                      <a:pt x="96" y="37"/>
                    </a:lnTo>
                    <a:lnTo>
                      <a:pt x="96" y="35"/>
                    </a:lnTo>
                    <a:lnTo>
                      <a:pt x="95" y="34"/>
                    </a:lnTo>
                    <a:lnTo>
                      <a:pt x="96" y="32"/>
                    </a:lnTo>
                    <a:lnTo>
                      <a:pt x="98" y="28"/>
                    </a:lnTo>
                    <a:lnTo>
                      <a:pt x="98" y="26"/>
                    </a:lnTo>
                    <a:lnTo>
                      <a:pt x="108" y="9"/>
                    </a:lnTo>
                    <a:lnTo>
                      <a:pt x="113" y="7"/>
                    </a:lnTo>
                    <a:lnTo>
                      <a:pt x="115" y="3"/>
                    </a:lnTo>
                    <a:lnTo>
                      <a:pt x="119" y="3"/>
                    </a:lnTo>
                    <a:lnTo>
                      <a:pt x="125" y="0"/>
                    </a:lnTo>
                    <a:lnTo>
                      <a:pt x="128" y="2"/>
                    </a:lnTo>
                    <a:lnTo>
                      <a:pt x="130" y="0"/>
                    </a:lnTo>
                    <a:lnTo>
                      <a:pt x="134" y="0"/>
                    </a:lnTo>
                    <a:lnTo>
                      <a:pt x="136" y="0"/>
                    </a:lnTo>
                    <a:lnTo>
                      <a:pt x="138" y="2"/>
                    </a:lnTo>
                    <a:lnTo>
                      <a:pt x="142" y="3"/>
                    </a:lnTo>
                    <a:lnTo>
                      <a:pt x="143" y="2"/>
                    </a:lnTo>
                    <a:lnTo>
                      <a:pt x="145" y="2"/>
                    </a:lnTo>
                    <a:lnTo>
                      <a:pt x="145" y="3"/>
                    </a:lnTo>
                    <a:lnTo>
                      <a:pt x="147" y="7"/>
                    </a:lnTo>
                    <a:lnTo>
                      <a:pt x="147" y="13"/>
                    </a:lnTo>
                    <a:lnTo>
                      <a:pt x="143" y="17"/>
                    </a:lnTo>
                    <a:lnTo>
                      <a:pt x="142" y="18"/>
                    </a:lnTo>
                    <a:lnTo>
                      <a:pt x="134" y="30"/>
                    </a:lnTo>
                    <a:lnTo>
                      <a:pt x="136" y="35"/>
                    </a:lnTo>
                    <a:lnTo>
                      <a:pt x="134" y="41"/>
                    </a:lnTo>
                    <a:lnTo>
                      <a:pt x="134" y="43"/>
                    </a:lnTo>
                    <a:lnTo>
                      <a:pt x="130" y="49"/>
                    </a:lnTo>
                    <a:lnTo>
                      <a:pt x="130" y="52"/>
                    </a:lnTo>
                    <a:lnTo>
                      <a:pt x="130" y="54"/>
                    </a:lnTo>
                    <a:lnTo>
                      <a:pt x="130" y="60"/>
                    </a:lnTo>
                    <a:lnTo>
                      <a:pt x="130" y="62"/>
                    </a:lnTo>
                    <a:lnTo>
                      <a:pt x="130" y="67"/>
                    </a:lnTo>
                    <a:lnTo>
                      <a:pt x="128" y="69"/>
                    </a:lnTo>
                    <a:lnTo>
                      <a:pt x="128" y="75"/>
                    </a:lnTo>
                    <a:lnTo>
                      <a:pt x="128" y="83"/>
                    </a:lnTo>
                    <a:lnTo>
                      <a:pt x="119" y="92"/>
                    </a:lnTo>
                    <a:lnTo>
                      <a:pt x="115" y="92"/>
                    </a:lnTo>
                    <a:lnTo>
                      <a:pt x="113" y="94"/>
                    </a:lnTo>
                    <a:lnTo>
                      <a:pt x="110" y="94"/>
                    </a:lnTo>
                    <a:lnTo>
                      <a:pt x="108" y="98"/>
                    </a:lnTo>
                    <a:lnTo>
                      <a:pt x="104" y="101"/>
                    </a:lnTo>
                    <a:lnTo>
                      <a:pt x="104" y="105"/>
                    </a:lnTo>
                    <a:lnTo>
                      <a:pt x="96" y="111"/>
                    </a:lnTo>
                    <a:lnTo>
                      <a:pt x="95" y="116"/>
                    </a:lnTo>
                    <a:lnTo>
                      <a:pt x="96" y="122"/>
                    </a:lnTo>
                    <a:lnTo>
                      <a:pt x="96" y="122"/>
                    </a:lnTo>
                    <a:lnTo>
                      <a:pt x="96" y="132"/>
                    </a:lnTo>
                    <a:lnTo>
                      <a:pt x="95" y="137"/>
                    </a:lnTo>
                    <a:lnTo>
                      <a:pt x="95" y="141"/>
                    </a:lnTo>
                    <a:lnTo>
                      <a:pt x="93" y="147"/>
                    </a:lnTo>
                    <a:lnTo>
                      <a:pt x="89" y="147"/>
                    </a:lnTo>
                    <a:lnTo>
                      <a:pt x="85" y="148"/>
                    </a:lnTo>
                    <a:lnTo>
                      <a:pt x="83" y="152"/>
                    </a:lnTo>
                    <a:lnTo>
                      <a:pt x="78" y="160"/>
                    </a:lnTo>
                    <a:lnTo>
                      <a:pt x="74" y="164"/>
                    </a:lnTo>
                    <a:lnTo>
                      <a:pt x="70" y="164"/>
                    </a:lnTo>
                    <a:lnTo>
                      <a:pt x="64" y="164"/>
                    </a:lnTo>
                    <a:lnTo>
                      <a:pt x="64" y="160"/>
                    </a:lnTo>
                    <a:lnTo>
                      <a:pt x="63" y="160"/>
                    </a:lnTo>
                    <a:lnTo>
                      <a:pt x="64" y="154"/>
                    </a:lnTo>
                    <a:lnTo>
                      <a:pt x="64" y="152"/>
                    </a:lnTo>
                    <a:lnTo>
                      <a:pt x="61" y="154"/>
                    </a:lnTo>
                    <a:lnTo>
                      <a:pt x="55" y="158"/>
                    </a:lnTo>
                    <a:lnTo>
                      <a:pt x="53" y="158"/>
                    </a:lnTo>
                    <a:lnTo>
                      <a:pt x="51" y="158"/>
                    </a:lnTo>
                    <a:lnTo>
                      <a:pt x="49" y="162"/>
                    </a:lnTo>
                    <a:lnTo>
                      <a:pt x="47" y="164"/>
                    </a:lnTo>
                    <a:lnTo>
                      <a:pt x="44" y="164"/>
                    </a:lnTo>
                    <a:lnTo>
                      <a:pt x="44" y="164"/>
                    </a:lnTo>
                    <a:lnTo>
                      <a:pt x="44" y="162"/>
                    </a:lnTo>
                    <a:lnTo>
                      <a:pt x="40" y="162"/>
                    </a:lnTo>
                    <a:lnTo>
                      <a:pt x="38" y="162"/>
                    </a:lnTo>
                    <a:lnTo>
                      <a:pt x="38" y="164"/>
                    </a:lnTo>
                    <a:lnTo>
                      <a:pt x="38" y="160"/>
                    </a:lnTo>
                    <a:lnTo>
                      <a:pt x="38" y="154"/>
                    </a:lnTo>
                    <a:lnTo>
                      <a:pt x="32" y="154"/>
                    </a:lnTo>
                    <a:lnTo>
                      <a:pt x="32" y="154"/>
                    </a:lnTo>
                    <a:lnTo>
                      <a:pt x="29" y="158"/>
                    </a:lnTo>
                    <a:lnTo>
                      <a:pt x="25" y="158"/>
                    </a:lnTo>
                    <a:lnTo>
                      <a:pt x="25" y="162"/>
                    </a:lnTo>
                    <a:lnTo>
                      <a:pt x="23" y="164"/>
                    </a:lnTo>
                    <a:lnTo>
                      <a:pt x="19" y="164"/>
                    </a:lnTo>
                    <a:lnTo>
                      <a:pt x="19" y="167"/>
                    </a:lnTo>
                    <a:lnTo>
                      <a:pt x="17" y="167"/>
                    </a:lnTo>
                    <a:lnTo>
                      <a:pt x="15" y="167"/>
                    </a:lnTo>
                    <a:lnTo>
                      <a:pt x="15" y="164"/>
                    </a:lnTo>
                    <a:lnTo>
                      <a:pt x="12" y="160"/>
                    </a:lnTo>
                    <a:lnTo>
                      <a:pt x="12" y="154"/>
                    </a:lnTo>
                    <a:lnTo>
                      <a:pt x="6" y="152"/>
                    </a:lnTo>
                    <a:lnTo>
                      <a:pt x="6" y="150"/>
                    </a:lnTo>
                    <a:lnTo>
                      <a:pt x="0" y="147"/>
                    </a:lnTo>
                    <a:lnTo>
                      <a:pt x="0" y="147"/>
                    </a:lnTo>
                    <a:lnTo>
                      <a:pt x="0" y="14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4" name="Freeform 136"/>
              <p:cNvSpPr>
                <a:spLocks/>
              </p:cNvSpPr>
              <p:nvPr/>
            </p:nvSpPr>
            <p:spPr bwMode="auto">
              <a:xfrm>
                <a:off x="3001" y="3182"/>
                <a:ext cx="21" cy="32"/>
              </a:xfrm>
              <a:custGeom>
                <a:avLst/>
                <a:gdLst/>
                <a:ahLst/>
                <a:cxnLst>
                  <a:cxn ang="0">
                    <a:pos x="21" y="10"/>
                  </a:cxn>
                  <a:cxn ang="0">
                    <a:pos x="21" y="4"/>
                  </a:cxn>
                  <a:cxn ang="0">
                    <a:pos x="21" y="0"/>
                  </a:cxn>
                  <a:cxn ang="0">
                    <a:pos x="15" y="0"/>
                  </a:cxn>
                  <a:cxn ang="0">
                    <a:pos x="15" y="0"/>
                  </a:cxn>
                  <a:cxn ang="0">
                    <a:pos x="11" y="4"/>
                  </a:cxn>
                  <a:cxn ang="0">
                    <a:pos x="8" y="4"/>
                  </a:cxn>
                  <a:cxn ang="0">
                    <a:pos x="8" y="8"/>
                  </a:cxn>
                  <a:cxn ang="0">
                    <a:pos x="6" y="10"/>
                  </a:cxn>
                  <a:cxn ang="0">
                    <a:pos x="2" y="10"/>
                  </a:cxn>
                  <a:cxn ang="0">
                    <a:pos x="2" y="15"/>
                  </a:cxn>
                  <a:cxn ang="0">
                    <a:pos x="0" y="15"/>
                  </a:cxn>
                  <a:cxn ang="0">
                    <a:pos x="2" y="19"/>
                  </a:cxn>
                  <a:cxn ang="0">
                    <a:pos x="2" y="27"/>
                  </a:cxn>
                  <a:cxn ang="0">
                    <a:pos x="2" y="30"/>
                  </a:cxn>
                  <a:cxn ang="0">
                    <a:pos x="2" y="32"/>
                  </a:cxn>
                  <a:cxn ang="0">
                    <a:pos x="8" y="30"/>
                  </a:cxn>
                  <a:cxn ang="0">
                    <a:pos x="11" y="27"/>
                  </a:cxn>
                  <a:cxn ang="0">
                    <a:pos x="11" y="27"/>
                  </a:cxn>
                  <a:cxn ang="0">
                    <a:pos x="11" y="17"/>
                  </a:cxn>
                  <a:cxn ang="0">
                    <a:pos x="11" y="15"/>
                  </a:cxn>
                  <a:cxn ang="0">
                    <a:pos x="17" y="12"/>
                  </a:cxn>
                  <a:cxn ang="0">
                    <a:pos x="21" y="10"/>
                  </a:cxn>
                  <a:cxn ang="0">
                    <a:pos x="21" y="10"/>
                  </a:cxn>
                  <a:cxn ang="0">
                    <a:pos x="21" y="10"/>
                  </a:cxn>
                </a:cxnLst>
                <a:rect l="0" t="0" r="r" b="b"/>
                <a:pathLst>
                  <a:path w="21" h="32">
                    <a:moveTo>
                      <a:pt x="21" y="10"/>
                    </a:moveTo>
                    <a:lnTo>
                      <a:pt x="21" y="4"/>
                    </a:lnTo>
                    <a:lnTo>
                      <a:pt x="21" y="0"/>
                    </a:lnTo>
                    <a:lnTo>
                      <a:pt x="15" y="0"/>
                    </a:lnTo>
                    <a:lnTo>
                      <a:pt x="15" y="0"/>
                    </a:lnTo>
                    <a:lnTo>
                      <a:pt x="11" y="4"/>
                    </a:lnTo>
                    <a:lnTo>
                      <a:pt x="8" y="4"/>
                    </a:lnTo>
                    <a:lnTo>
                      <a:pt x="8" y="8"/>
                    </a:lnTo>
                    <a:lnTo>
                      <a:pt x="6" y="10"/>
                    </a:lnTo>
                    <a:lnTo>
                      <a:pt x="2" y="10"/>
                    </a:lnTo>
                    <a:lnTo>
                      <a:pt x="2" y="15"/>
                    </a:lnTo>
                    <a:lnTo>
                      <a:pt x="0" y="15"/>
                    </a:lnTo>
                    <a:lnTo>
                      <a:pt x="2" y="19"/>
                    </a:lnTo>
                    <a:lnTo>
                      <a:pt x="2" y="27"/>
                    </a:lnTo>
                    <a:lnTo>
                      <a:pt x="2" y="30"/>
                    </a:lnTo>
                    <a:lnTo>
                      <a:pt x="2" y="32"/>
                    </a:lnTo>
                    <a:lnTo>
                      <a:pt x="8" y="30"/>
                    </a:lnTo>
                    <a:lnTo>
                      <a:pt x="11" y="27"/>
                    </a:lnTo>
                    <a:lnTo>
                      <a:pt x="11" y="27"/>
                    </a:lnTo>
                    <a:lnTo>
                      <a:pt x="11" y="17"/>
                    </a:lnTo>
                    <a:lnTo>
                      <a:pt x="11" y="15"/>
                    </a:lnTo>
                    <a:lnTo>
                      <a:pt x="17" y="12"/>
                    </a:lnTo>
                    <a:lnTo>
                      <a:pt x="21" y="10"/>
                    </a:lnTo>
                    <a:lnTo>
                      <a:pt x="21" y="10"/>
                    </a:lnTo>
                    <a:lnTo>
                      <a:pt x="21"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5" name="Freeform 137"/>
              <p:cNvSpPr>
                <a:spLocks/>
              </p:cNvSpPr>
              <p:nvPr/>
            </p:nvSpPr>
            <p:spPr bwMode="auto">
              <a:xfrm>
                <a:off x="3323" y="3118"/>
                <a:ext cx="205" cy="213"/>
              </a:xfrm>
              <a:custGeom>
                <a:avLst/>
                <a:gdLst/>
                <a:ahLst/>
                <a:cxnLst>
                  <a:cxn ang="0">
                    <a:pos x="24" y="4"/>
                  </a:cxn>
                  <a:cxn ang="0">
                    <a:pos x="87" y="0"/>
                  </a:cxn>
                  <a:cxn ang="0">
                    <a:pos x="156" y="49"/>
                  </a:cxn>
                  <a:cxn ang="0">
                    <a:pos x="183" y="68"/>
                  </a:cxn>
                  <a:cxn ang="0">
                    <a:pos x="183" y="72"/>
                  </a:cxn>
                  <a:cxn ang="0">
                    <a:pos x="175" y="94"/>
                  </a:cxn>
                  <a:cxn ang="0">
                    <a:pos x="183" y="108"/>
                  </a:cxn>
                  <a:cxn ang="0">
                    <a:pos x="188" y="117"/>
                  </a:cxn>
                  <a:cxn ang="0">
                    <a:pos x="183" y="121"/>
                  </a:cxn>
                  <a:cxn ang="0">
                    <a:pos x="184" y="134"/>
                  </a:cxn>
                  <a:cxn ang="0">
                    <a:pos x="184" y="145"/>
                  </a:cxn>
                  <a:cxn ang="0">
                    <a:pos x="186" y="153"/>
                  </a:cxn>
                  <a:cxn ang="0">
                    <a:pos x="188" y="158"/>
                  </a:cxn>
                  <a:cxn ang="0">
                    <a:pos x="196" y="173"/>
                  </a:cxn>
                  <a:cxn ang="0">
                    <a:pos x="203" y="179"/>
                  </a:cxn>
                  <a:cxn ang="0">
                    <a:pos x="203" y="183"/>
                  </a:cxn>
                  <a:cxn ang="0">
                    <a:pos x="196" y="187"/>
                  </a:cxn>
                  <a:cxn ang="0">
                    <a:pos x="184" y="190"/>
                  </a:cxn>
                  <a:cxn ang="0">
                    <a:pos x="179" y="192"/>
                  </a:cxn>
                  <a:cxn ang="0">
                    <a:pos x="166" y="196"/>
                  </a:cxn>
                  <a:cxn ang="0">
                    <a:pos x="156" y="192"/>
                  </a:cxn>
                  <a:cxn ang="0">
                    <a:pos x="154" y="200"/>
                  </a:cxn>
                  <a:cxn ang="0">
                    <a:pos x="145" y="200"/>
                  </a:cxn>
                  <a:cxn ang="0">
                    <a:pos x="139" y="196"/>
                  </a:cxn>
                  <a:cxn ang="0">
                    <a:pos x="132" y="202"/>
                  </a:cxn>
                  <a:cxn ang="0">
                    <a:pos x="126" y="200"/>
                  </a:cxn>
                  <a:cxn ang="0">
                    <a:pos x="117" y="196"/>
                  </a:cxn>
                  <a:cxn ang="0">
                    <a:pos x="115" y="198"/>
                  </a:cxn>
                  <a:cxn ang="0">
                    <a:pos x="90" y="213"/>
                  </a:cxn>
                  <a:cxn ang="0">
                    <a:pos x="83" y="168"/>
                  </a:cxn>
                  <a:cxn ang="0">
                    <a:pos x="79" y="162"/>
                  </a:cxn>
                  <a:cxn ang="0">
                    <a:pos x="73" y="162"/>
                  </a:cxn>
                  <a:cxn ang="0">
                    <a:pos x="72" y="158"/>
                  </a:cxn>
                  <a:cxn ang="0">
                    <a:pos x="66" y="158"/>
                  </a:cxn>
                  <a:cxn ang="0">
                    <a:pos x="62" y="155"/>
                  </a:cxn>
                  <a:cxn ang="0">
                    <a:pos x="56" y="149"/>
                  </a:cxn>
                  <a:cxn ang="0">
                    <a:pos x="43" y="147"/>
                  </a:cxn>
                  <a:cxn ang="0">
                    <a:pos x="38" y="141"/>
                  </a:cxn>
                  <a:cxn ang="0">
                    <a:pos x="30" y="141"/>
                  </a:cxn>
                  <a:cxn ang="0">
                    <a:pos x="6" y="104"/>
                  </a:cxn>
                  <a:cxn ang="0">
                    <a:pos x="9" y="68"/>
                  </a:cxn>
                  <a:cxn ang="0">
                    <a:pos x="23" y="55"/>
                  </a:cxn>
                  <a:cxn ang="0">
                    <a:pos x="30" y="49"/>
                  </a:cxn>
                  <a:cxn ang="0">
                    <a:pos x="26" y="40"/>
                  </a:cxn>
                  <a:cxn ang="0">
                    <a:pos x="24" y="34"/>
                  </a:cxn>
                  <a:cxn ang="0">
                    <a:pos x="23" y="30"/>
                  </a:cxn>
                  <a:cxn ang="0">
                    <a:pos x="28" y="28"/>
                  </a:cxn>
                  <a:cxn ang="0">
                    <a:pos x="30" y="21"/>
                  </a:cxn>
                  <a:cxn ang="0">
                    <a:pos x="26" y="10"/>
                  </a:cxn>
                  <a:cxn ang="0">
                    <a:pos x="23" y="4"/>
                  </a:cxn>
                </a:cxnLst>
                <a:rect l="0" t="0" r="r" b="b"/>
                <a:pathLst>
                  <a:path w="205" h="213">
                    <a:moveTo>
                      <a:pt x="23" y="4"/>
                    </a:moveTo>
                    <a:lnTo>
                      <a:pt x="23" y="4"/>
                    </a:lnTo>
                    <a:lnTo>
                      <a:pt x="24" y="4"/>
                    </a:lnTo>
                    <a:lnTo>
                      <a:pt x="26" y="4"/>
                    </a:lnTo>
                    <a:lnTo>
                      <a:pt x="49" y="4"/>
                    </a:lnTo>
                    <a:lnTo>
                      <a:pt x="87" y="0"/>
                    </a:lnTo>
                    <a:lnTo>
                      <a:pt x="154" y="40"/>
                    </a:lnTo>
                    <a:lnTo>
                      <a:pt x="158" y="47"/>
                    </a:lnTo>
                    <a:lnTo>
                      <a:pt x="156" y="49"/>
                    </a:lnTo>
                    <a:lnTo>
                      <a:pt x="158" y="51"/>
                    </a:lnTo>
                    <a:lnTo>
                      <a:pt x="160" y="53"/>
                    </a:lnTo>
                    <a:lnTo>
                      <a:pt x="183" y="68"/>
                    </a:lnTo>
                    <a:lnTo>
                      <a:pt x="181" y="68"/>
                    </a:lnTo>
                    <a:lnTo>
                      <a:pt x="183" y="70"/>
                    </a:lnTo>
                    <a:lnTo>
                      <a:pt x="183" y="72"/>
                    </a:lnTo>
                    <a:lnTo>
                      <a:pt x="181" y="74"/>
                    </a:lnTo>
                    <a:lnTo>
                      <a:pt x="179" y="85"/>
                    </a:lnTo>
                    <a:lnTo>
                      <a:pt x="175" y="94"/>
                    </a:lnTo>
                    <a:lnTo>
                      <a:pt x="175" y="98"/>
                    </a:lnTo>
                    <a:lnTo>
                      <a:pt x="179" y="104"/>
                    </a:lnTo>
                    <a:lnTo>
                      <a:pt x="183" y="108"/>
                    </a:lnTo>
                    <a:lnTo>
                      <a:pt x="186" y="108"/>
                    </a:lnTo>
                    <a:lnTo>
                      <a:pt x="188" y="113"/>
                    </a:lnTo>
                    <a:lnTo>
                      <a:pt x="188" y="117"/>
                    </a:lnTo>
                    <a:lnTo>
                      <a:pt x="186" y="117"/>
                    </a:lnTo>
                    <a:lnTo>
                      <a:pt x="183" y="117"/>
                    </a:lnTo>
                    <a:lnTo>
                      <a:pt x="183" y="121"/>
                    </a:lnTo>
                    <a:lnTo>
                      <a:pt x="183" y="128"/>
                    </a:lnTo>
                    <a:lnTo>
                      <a:pt x="186" y="132"/>
                    </a:lnTo>
                    <a:lnTo>
                      <a:pt x="184" y="134"/>
                    </a:lnTo>
                    <a:lnTo>
                      <a:pt x="183" y="138"/>
                    </a:lnTo>
                    <a:lnTo>
                      <a:pt x="183" y="141"/>
                    </a:lnTo>
                    <a:lnTo>
                      <a:pt x="184" y="145"/>
                    </a:lnTo>
                    <a:lnTo>
                      <a:pt x="184" y="147"/>
                    </a:lnTo>
                    <a:lnTo>
                      <a:pt x="184" y="149"/>
                    </a:lnTo>
                    <a:lnTo>
                      <a:pt x="186" y="153"/>
                    </a:lnTo>
                    <a:lnTo>
                      <a:pt x="188" y="155"/>
                    </a:lnTo>
                    <a:lnTo>
                      <a:pt x="186" y="158"/>
                    </a:lnTo>
                    <a:lnTo>
                      <a:pt x="188" y="158"/>
                    </a:lnTo>
                    <a:lnTo>
                      <a:pt x="190" y="166"/>
                    </a:lnTo>
                    <a:lnTo>
                      <a:pt x="190" y="168"/>
                    </a:lnTo>
                    <a:lnTo>
                      <a:pt x="196" y="173"/>
                    </a:lnTo>
                    <a:lnTo>
                      <a:pt x="200" y="173"/>
                    </a:lnTo>
                    <a:lnTo>
                      <a:pt x="203" y="177"/>
                    </a:lnTo>
                    <a:lnTo>
                      <a:pt x="203" y="179"/>
                    </a:lnTo>
                    <a:lnTo>
                      <a:pt x="205" y="181"/>
                    </a:lnTo>
                    <a:lnTo>
                      <a:pt x="203" y="181"/>
                    </a:lnTo>
                    <a:lnTo>
                      <a:pt x="203" y="183"/>
                    </a:lnTo>
                    <a:lnTo>
                      <a:pt x="200" y="181"/>
                    </a:lnTo>
                    <a:lnTo>
                      <a:pt x="196" y="185"/>
                    </a:lnTo>
                    <a:lnTo>
                      <a:pt x="196" y="187"/>
                    </a:lnTo>
                    <a:lnTo>
                      <a:pt x="192" y="189"/>
                    </a:lnTo>
                    <a:lnTo>
                      <a:pt x="188" y="190"/>
                    </a:lnTo>
                    <a:lnTo>
                      <a:pt x="184" y="190"/>
                    </a:lnTo>
                    <a:lnTo>
                      <a:pt x="183" y="192"/>
                    </a:lnTo>
                    <a:lnTo>
                      <a:pt x="179" y="192"/>
                    </a:lnTo>
                    <a:lnTo>
                      <a:pt x="179" y="192"/>
                    </a:lnTo>
                    <a:lnTo>
                      <a:pt x="171" y="192"/>
                    </a:lnTo>
                    <a:lnTo>
                      <a:pt x="169" y="196"/>
                    </a:lnTo>
                    <a:lnTo>
                      <a:pt x="166" y="196"/>
                    </a:lnTo>
                    <a:lnTo>
                      <a:pt x="164" y="192"/>
                    </a:lnTo>
                    <a:lnTo>
                      <a:pt x="160" y="196"/>
                    </a:lnTo>
                    <a:lnTo>
                      <a:pt x="156" y="192"/>
                    </a:lnTo>
                    <a:lnTo>
                      <a:pt x="154" y="196"/>
                    </a:lnTo>
                    <a:lnTo>
                      <a:pt x="156" y="196"/>
                    </a:lnTo>
                    <a:lnTo>
                      <a:pt x="154" y="200"/>
                    </a:lnTo>
                    <a:lnTo>
                      <a:pt x="151" y="200"/>
                    </a:lnTo>
                    <a:lnTo>
                      <a:pt x="147" y="202"/>
                    </a:lnTo>
                    <a:lnTo>
                      <a:pt x="145" y="200"/>
                    </a:lnTo>
                    <a:lnTo>
                      <a:pt x="141" y="200"/>
                    </a:lnTo>
                    <a:lnTo>
                      <a:pt x="141" y="198"/>
                    </a:lnTo>
                    <a:lnTo>
                      <a:pt x="139" y="196"/>
                    </a:lnTo>
                    <a:lnTo>
                      <a:pt x="137" y="198"/>
                    </a:lnTo>
                    <a:lnTo>
                      <a:pt x="136" y="198"/>
                    </a:lnTo>
                    <a:lnTo>
                      <a:pt x="132" y="202"/>
                    </a:lnTo>
                    <a:lnTo>
                      <a:pt x="126" y="204"/>
                    </a:lnTo>
                    <a:lnTo>
                      <a:pt x="126" y="202"/>
                    </a:lnTo>
                    <a:lnTo>
                      <a:pt x="126" y="200"/>
                    </a:lnTo>
                    <a:lnTo>
                      <a:pt x="122" y="200"/>
                    </a:lnTo>
                    <a:lnTo>
                      <a:pt x="120" y="198"/>
                    </a:lnTo>
                    <a:lnTo>
                      <a:pt x="117" y="196"/>
                    </a:lnTo>
                    <a:lnTo>
                      <a:pt x="117" y="196"/>
                    </a:lnTo>
                    <a:lnTo>
                      <a:pt x="115" y="196"/>
                    </a:lnTo>
                    <a:lnTo>
                      <a:pt x="115" y="198"/>
                    </a:lnTo>
                    <a:lnTo>
                      <a:pt x="111" y="198"/>
                    </a:lnTo>
                    <a:lnTo>
                      <a:pt x="92" y="198"/>
                    </a:lnTo>
                    <a:lnTo>
                      <a:pt x="90" y="213"/>
                    </a:lnTo>
                    <a:lnTo>
                      <a:pt x="90" y="181"/>
                    </a:lnTo>
                    <a:lnTo>
                      <a:pt x="90" y="173"/>
                    </a:lnTo>
                    <a:lnTo>
                      <a:pt x="83" y="168"/>
                    </a:lnTo>
                    <a:lnTo>
                      <a:pt x="81" y="166"/>
                    </a:lnTo>
                    <a:lnTo>
                      <a:pt x="79" y="162"/>
                    </a:lnTo>
                    <a:lnTo>
                      <a:pt x="79" y="162"/>
                    </a:lnTo>
                    <a:lnTo>
                      <a:pt x="77" y="162"/>
                    </a:lnTo>
                    <a:lnTo>
                      <a:pt x="75" y="162"/>
                    </a:lnTo>
                    <a:lnTo>
                      <a:pt x="73" y="162"/>
                    </a:lnTo>
                    <a:lnTo>
                      <a:pt x="72" y="162"/>
                    </a:lnTo>
                    <a:lnTo>
                      <a:pt x="72" y="158"/>
                    </a:lnTo>
                    <a:lnTo>
                      <a:pt x="72" y="158"/>
                    </a:lnTo>
                    <a:lnTo>
                      <a:pt x="68" y="158"/>
                    </a:lnTo>
                    <a:lnTo>
                      <a:pt x="68" y="158"/>
                    </a:lnTo>
                    <a:lnTo>
                      <a:pt x="66" y="158"/>
                    </a:lnTo>
                    <a:lnTo>
                      <a:pt x="66" y="158"/>
                    </a:lnTo>
                    <a:lnTo>
                      <a:pt x="66" y="158"/>
                    </a:lnTo>
                    <a:lnTo>
                      <a:pt x="62" y="155"/>
                    </a:lnTo>
                    <a:lnTo>
                      <a:pt x="60" y="153"/>
                    </a:lnTo>
                    <a:lnTo>
                      <a:pt x="58" y="151"/>
                    </a:lnTo>
                    <a:lnTo>
                      <a:pt x="56" y="149"/>
                    </a:lnTo>
                    <a:lnTo>
                      <a:pt x="55" y="149"/>
                    </a:lnTo>
                    <a:lnTo>
                      <a:pt x="47" y="147"/>
                    </a:lnTo>
                    <a:lnTo>
                      <a:pt x="43" y="147"/>
                    </a:lnTo>
                    <a:lnTo>
                      <a:pt x="41" y="143"/>
                    </a:lnTo>
                    <a:lnTo>
                      <a:pt x="38" y="143"/>
                    </a:lnTo>
                    <a:lnTo>
                      <a:pt x="38" y="141"/>
                    </a:lnTo>
                    <a:lnTo>
                      <a:pt x="34" y="141"/>
                    </a:lnTo>
                    <a:lnTo>
                      <a:pt x="32" y="141"/>
                    </a:lnTo>
                    <a:lnTo>
                      <a:pt x="30" y="141"/>
                    </a:lnTo>
                    <a:lnTo>
                      <a:pt x="23" y="138"/>
                    </a:lnTo>
                    <a:lnTo>
                      <a:pt x="19" y="123"/>
                    </a:lnTo>
                    <a:lnTo>
                      <a:pt x="6" y="104"/>
                    </a:lnTo>
                    <a:lnTo>
                      <a:pt x="2" y="83"/>
                    </a:lnTo>
                    <a:lnTo>
                      <a:pt x="0" y="68"/>
                    </a:lnTo>
                    <a:lnTo>
                      <a:pt x="9" y="68"/>
                    </a:lnTo>
                    <a:lnTo>
                      <a:pt x="13" y="66"/>
                    </a:lnTo>
                    <a:lnTo>
                      <a:pt x="19" y="60"/>
                    </a:lnTo>
                    <a:lnTo>
                      <a:pt x="23" y="55"/>
                    </a:lnTo>
                    <a:lnTo>
                      <a:pt x="24" y="55"/>
                    </a:lnTo>
                    <a:lnTo>
                      <a:pt x="26" y="53"/>
                    </a:lnTo>
                    <a:lnTo>
                      <a:pt x="30" y="49"/>
                    </a:lnTo>
                    <a:lnTo>
                      <a:pt x="30" y="45"/>
                    </a:lnTo>
                    <a:lnTo>
                      <a:pt x="30" y="40"/>
                    </a:lnTo>
                    <a:lnTo>
                      <a:pt x="26" y="40"/>
                    </a:lnTo>
                    <a:lnTo>
                      <a:pt x="26" y="38"/>
                    </a:lnTo>
                    <a:lnTo>
                      <a:pt x="24" y="36"/>
                    </a:lnTo>
                    <a:lnTo>
                      <a:pt x="24" y="34"/>
                    </a:lnTo>
                    <a:lnTo>
                      <a:pt x="23" y="34"/>
                    </a:lnTo>
                    <a:lnTo>
                      <a:pt x="23" y="30"/>
                    </a:lnTo>
                    <a:lnTo>
                      <a:pt x="23" y="30"/>
                    </a:lnTo>
                    <a:lnTo>
                      <a:pt x="24" y="30"/>
                    </a:lnTo>
                    <a:lnTo>
                      <a:pt x="28" y="30"/>
                    </a:lnTo>
                    <a:lnTo>
                      <a:pt x="28" y="28"/>
                    </a:lnTo>
                    <a:lnTo>
                      <a:pt x="30" y="28"/>
                    </a:lnTo>
                    <a:lnTo>
                      <a:pt x="30" y="25"/>
                    </a:lnTo>
                    <a:lnTo>
                      <a:pt x="30" y="21"/>
                    </a:lnTo>
                    <a:lnTo>
                      <a:pt x="28" y="15"/>
                    </a:lnTo>
                    <a:lnTo>
                      <a:pt x="26" y="13"/>
                    </a:lnTo>
                    <a:lnTo>
                      <a:pt x="26" y="10"/>
                    </a:lnTo>
                    <a:lnTo>
                      <a:pt x="24" y="8"/>
                    </a:lnTo>
                    <a:lnTo>
                      <a:pt x="23" y="4"/>
                    </a:lnTo>
                    <a:lnTo>
                      <a:pt x="23" y="4"/>
                    </a:lnTo>
                    <a:lnTo>
                      <a:pt x="23" y="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6" name="Freeform 138"/>
              <p:cNvSpPr>
                <a:spLocks/>
              </p:cNvSpPr>
              <p:nvPr/>
            </p:nvSpPr>
            <p:spPr bwMode="auto">
              <a:xfrm>
                <a:off x="3312" y="3124"/>
                <a:ext cx="37" cy="32"/>
              </a:xfrm>
              <a:custGeom>
                <a:avLst/>
                <a:gdLst/>
                <a:ahLst/>
                <a:cxnLst>
                  <a:cxn ang="0">
                    <a:pos x="11" y="5"/>
                  </a:cxn>
                  <a:cxn ang="0">
                    <a:pos x="13" y="5"/>
                  </a:cxn>
                  <a:cxn ang="0">
                    <a:pos x="15" y="4"/>
                  </a:cxn>
                  <a:cxn ang="0">
                    <a:pos x="17" y="2"/>
                  </a:cxn>
                  <a:cxn ang="0">
                    <a:pos x="20" y="4"/>
                  </a:cxn>
                  <a:cxn ang="0">
                    <a:pos x="20" y="4"/>
                  </a:cxn>
                  <a:cxn ang="0">
                    <a:pos x="26" y="4"/>
                  </a:cxn>
                  <a:cxn ang="0">
                    <a:pos x="26" y="4"/>
                  </a:cxn>
                  <a:cxn ang="0">
                    <a:pos x="26" y="0"/>
                  </a:cxn>
                  <a:cxn ang="0">
                    <a:pos x="30" y="0"/>
                  </a:cxn>
                  <a:cxn ang="0">
                    <a:pos x="32" y="4"/>
                  </a:cxn>
                  <a:cxn ang="0">
                    <a:pos x="34" y="5"/>
                  </a:cxn>
                  <a:cxn ang="0">
                    <a:pos x="34" y="9"/>
                  </a:cxn>
                  <a:cxn ang="0">
                    <a:pos x="35" y="11"/>
                  </a:cxn>
                  <a:cxn ang="0">
                    <a:pos x="37" y="17"/>
                  </a:cxn>
                  <a:cxn ang="0">
                    <a:pos x="37" y="21"/>
                  </a:cxn>
                  <a:cxn ang="0">
                    <a:pos x="37" y="24"/>
                  </a:cxn>
                  <a:cxn ang="0">
                    <a:pos x="35" y="24"/>
                  </a:cxn>
                  <a:cxn ang="0">
                    <a:pos x="35" y="26"/>
                  </a:cxn>
                  <a:cxn ang="0">
                    <a:pos x="32" y="26"/>
                  </a:cxn>
                  <a:cxn ang="0">
                    <a:pos x="30" y="26"/>
                  </a:cxn>
                  <a:cxn ang="0">
                    <a:pos x="30" y="26"/>
                  </a:cxn>
                  <a:cxn ang="0">
                    <a:pos x="30" y="24"/>
                  </a:cxn>
                  <a:cxn ang="0">
                    <a:pos x="30" y="24"/>
                  </a:cxn>
                  <a:cxn ang="0">
                    <a:pos x="26" y="21"/>
                  </a:cxn>
                  <a:cxn ang="0">
                    <a:pos x="26" y="21"/>
                  </a:cxn>
                  <a:cxn ang="0">
                    <a:pos x="24" y="21"/>
                  </a:cxn>
                  <a:cxn ang="0">
                    <a:pos x="20" y="21"/>
                  </a:cxn>
                  <a:cxn ang="0">
                    <a:pos x="20" y="24"/>
                  </a:cxn>
                  <a:cxn ang="0">
                    <a:pos x="20" y="30"/>
                  </a:cxn>
                  <a:cxn ang="0">
                    <a:pos x="20" y="30"/>
                  </a:cxn>
                  <a:cxn ang="0">
                    <a:pos x="17" y="32"/>
                  </a:cxn>
                  <a:cxn ang="0">
                    <a:pos x="15" y="30"/>
                  </a:cxn>
                  <a:cxn ang="0">
                    <a:pos x="13" y="30"/>
                  </a:cxn>
                  <a:cxn ang="0">
                    <a:pos x="13" y="32"/>
                  </a:cxn>
                  <a:cxn ang="0">
                    <a:pos x="9" y="30"/>
                  </a:cxn>
                  <a:cxn ang="0">
                    <a:pos x="7" y="26"/>
                  </a:cxn>
                  <a:cxn ang="0">
                    <a:pos x="5" y="26"/>
                  </a:cxn>
                  <a:cxn ang="0">
                    <a:pos x="2" y="26"/>
                  </a:cxn>
                  <a:cxn ang="0">
                    <a:pos x="0" y="26"/>
                  </a:cxn>
                  <a:cxn ang="0">
                    <a:pos x="0" y="24"/>
                  </a:cxn>
                  <a:cxn ang="0">
                    <a:pos x="3" y="11"/>
                  </a:cxn>
                  <a:cxn ang="0">
                    <a:pos x="7" y="9"/>
                  </a:cxn>
                  <a:cxn ang="0">
                    <a:pos x="11" y="5"/>
                  </a:cxn>
                  <a:cxn ang="0">
                    <a:pos x="11" y="5"/>
                  </a:cxn>
                  <a:cxn ang="0">
                    <a:pos x="11" y="5"/>
                  </a:cxn>
                </a:cxnLst>
                <a:rect l="0" t="0" r="r" b="b"/>
                <a:pathLst>
                  <a:path w="37" h="32">
                    <a:moveTo>
                      <a:pt x="11" y="5"/>
                    </a:moveTo>
                    <a:lnTo>
                      <a:pt x="13" y="5"/>
                    </a:lnTo>
                    <a:lnTo>
                      <a:pt x="15" y="4"/>
                    </a:lnTo>
                    <a:lnTo>
                      <a:pt x="17" y="2"/>
                    </a:lnTo>
                    <a:lnTo>
                      <a:pt x="20" y="4"/>
                    </a:lnTo>
                    <a:lnTo>
                      <a:pt x="20" y="4"/>
                    </a:lnTo>
                    <a:lnTo>
                      <a:pt x="26" y="4"/>
                    </a:lnTo>
                    <a:lnTo>
                      <a:pt x="26" y="4"/>
                    </a:lnTo>
                    <a:lnTo>
                      <a:pt x="26" y="0"/>
                    </a:lnTo>
                    <a:lnTo>
                      <a:pt x="30" y="0"/>
                    </a:lnTo>
                    <a:lnTo>
                      <a:pt x="32" y="4"/>
                    </a:lnTo>
                    <a:lnTo>
                      <a:pt x="34" y="5"/>
                    </a:lnTo>
                    <a:lnTo>
                      <a:pt x="34" y="9"/>
                    </a:lnTo>
                    <a:lnTo>
                      <a:pt x="35" y="11"/>
                    </a:lnTo>
                    <a:lnTo>
                      <a:pt x="37" y="17"/>
                    </a:lnTo>
                    <a:lnTo>
                      <a:pt x="37" y="21"/>
                    </a:lnTo>
                    <a:lnTo>
                      <a:pt x="37" y="24"/>
                    </a:lnTo>
                    <a:lnTo>
                      <a:pt x="35" y="24"/>
                    </a:lnTo>
                    <a:lnTo>
                      <a:pt x="35" y="26"/>
                    </a:lnTo>
                    <a:lnTo>
                      <a:pt x="32" y="26"/>
                    </a:lnTo>
                    <a:lnTo>
                      <a:pt x="30" y="26"/>
                    </a:lnTo>
                    <a:lnTo>
                      <a:pt x="30" y="26"/>
                    </a:lnTo>
                    <a:lnTo>
                      <a:pt x="30" y="24"/>
                    </a:lnTo>
                    <a:lnTo>
                      <a:pt x="30" y="24"/>
                    </a:lnTo>
                    <a:lnTo>
                      <a:pt x="26" y="21"/>
                    </a:lnTo>
                    <a:lnTo>
                      <a:pt x="26" y="21"/>
                    </a:lnTo>
                    <a:lnTo>
                      <a:pt x="24" y="21"/>
                    </a:lnTo>
                    <a:lnTo>
                      <a:pt x="20" y="21"/>
                    </a:lnTo>
                    <a:lnTo>
                      <a:pt x="20" y="24"/>
                    </a:lnTo>
                    <a:lnTo>
                      <a:pt x="20" y="30"/>
                    </a:lnTo>
                    <a:lnTo>
                      <a:pt x="20" y="30"/>
                    </a:lnTo>
                    <a:lnTo>
                      <a:pt x="17" y="32"/>
                    </a:lnTo>
                    <a:lnTo>
                      <a:pt x="15" y="30"/>
                    </a:lnTo>
                    <a:lnTo>
                      <a:pt x="13" y="30"/>
                    </a:lnTo>
                    <a:lnTo>
                      <a:pt x="13" y="32"/>
                    </a:lnTo>
                    <a:lnTo>
                      <a:pt x="9" y="30"/>
                    </a:lnTo>
                    <a:lnTo>
                      <a:pt x="7" y="26"/>
                    </a:lnTo>
                    <a:lnTo>
                      <a:pt x="5" y="26"/>
                    </a:lnTo>
                    <a:lnTo>
                      <a:pt x="2" y="26"/>
                    </a:lnTo>
                    <a:lnTo>
                      <a:pt x="0" y="26"/>
                    </a:lnTo>
                    <a:lnTo>
                      <a:pt x="0" y="24"/>
                    </a:lnTo>
                    <a:lnTo>
                      <a:pt x="3" y="11"/>
                    </a:lnTo>
                    <a:lnTo>
                      <a:pt x="7" y="9"/>
                    </a:lnTo>
                    <a:lnTo>
                      <a:pt x="11" y="5"/>
                    </a:lnTo>
                    <a:lnTo>
                      <a:pt x="11" y="5"/>
                    </a:lnTo>
                    <a:lnTo>
                      <a:pt x="11" y="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7" name="Freeform 139"/>
              <p:cNvSpPr>
                <a:spLocks/>
              </p:cNvSpPr>
              <p:nvPr/>
            </p:nvSpPr>
            <p:spPr bwMode="auto">
              <a:xfrm>
                <a:off x="3312" y="3141"/>
                <a:ext cx="37" cy="47"/>
              </a:xfrm>
              <a:custGeom>
                <a:avLst/>
                <a:gdLst/>
                <a:ahLst/>
                <a:cxnLst>
                  <a:cxn ang="0">
                    <a:pos x="7" y="47"/>
                  </a:cxn>
                  <a:cxn ang="0">
                    <a:pos x="17" y="47"/>
                  </a:cxn>
                  <a:cxn ang="0">
                    <a:pos x="20" y="43"/>
                  </a:cxn>
                  <a:cxn ang="0">
                    <a:pos x="26" y="37"/>
                  </a:cxn>
                  <a:cxn ang="0">
                    <a:pos x="30" y="32"/>
                  </a:cxn>
                  <a:cxn ang="0">
                    <a:pos x="32" y="32"/>
                  </a:cxn>
                  <a:cxn ang="0">
                    <a:pos x="34" y="30"/>
                  </a:cxn>
                  <a:cxn ang="0">
                    <a:pos x="37" y="26"/>
                  </a:cxn>
                  <a:cxn ang="0">
                    <a:pos x="37" y="21"/>
                  </a:cxn>
                  <a:cxn ang="0">
                    <a:pos x="37" y="15"/>
                  </a:cxn>
                  <a:cxn ang="0">
                    <a:pos x="34" y="15"/>
                  </a:cxn>
                  <a:cxn ang="0">
                    <a:pos x="34" y="15"/>
                  </a:cxn>
                  <a:cxn ang="0">
                    <a:pos x="32" y="11"/>
                  </a:cxn>
                  <a:cxn ang="0">
                    <a:pos x="32" y="11"/>
                  </a:cxn>
                  <a:cxn ang="0">
                    <a:pos x="30" y="9"/>
                  </a:cxn>
                  <a:cxn ang="0">
                    <a:pos x="30" y="5"/>
                  </a:cxn>
                  <a:cxn ang="0">
                    <a:pos x="30" y="4"/>
                  </a:cxn>
                  <a:cxn ang="0">
                    <a:pos x="26" y="0"/>
                  </a:cxn>
                  <a:cxn ang="0">
                    <a:pos x="26" y="0"/>
                  </a:cxn>
                  <a:cxn ang="0">
                    <a:pos x="24" y="0"/>
                  </a:cxn>
                  <a:cxn ang="0">
                    <a:pos x="20" y="0"/>
                  </a:cxn>
                  <a:cxn ang="0">
                    <a:pos x="20" y="4"/>
                  </a:cxn>
                  <a:cxn ang="0">
                    <a:pos x="20" y="9"/>
                  </a:cxn>
                  <a:cxn ang="0">
                    <a:pos x="20" y="11"/>
                  </a:cxn>
                  <a:cxn ang="0">
                    <a:pos x="17" y="11"/>
                  </a:cxn>
                  <a:cxn ang="0">
                    <a:pos x="15" y="11"/>
                  </a:cxn>
                  <a:cxn ang="0">
                    <a:pos x="13" y="11"/>
                  </a:cxn>
                  <a:cxn ang="0">
                    <a:pos x="13" y="11"/>
                  </a:cxn>
                  <a:cxn ang="0">
                    <a:pos x="9" y="11"/>
                  </a:cxn>
                  <a:cxn ang="0">
                    <a:pos x="7" y="5"/>
                  </a:cxn>
                  <a:cxn ang="0">
                    <a:pos x="5" y="5"/>
                  </a:cxn>
                  <a:cxn ang="0">
                    <a:pos x="2" y="5"/>
                  </a:cxn>
                  <a:cxn ang="0">
                    <a:pos x="0" y="5"/>
                  </a:cxn>
                  <a:cxn ang="0">
                    <a:pos x="0" y="9"/>
                  </a:cxn>
                  <a:cxn ang="0">
                    <a:pos x="2" y="11"/>
                  </a:cxn>
                  <a:cxn ang="0">
                    <a:pos x="3" y="17"/>
                  </a:cxn>
                  <a:cxn ang="0">
                    <a:pos x="3" y="21"/>
                  </a:cxn>
                  <a:cxn ang="0">
                    <a:pos x="7" y="47"/>
                  </a:cxn>
                  <a:cxn ang="0">
                    <a:pos x="7" y="47"/>
                  </a:cxn>
                  <a:cxn ang="0">
                    <a:pos x="7" y="47"/>
                  </a:cxn>
                </a:cxnLst>
                <a:rect l="0" t="0" r="r" b="b"/>
                <a:pathLst>
                  <a:path w="37" h="47">
                    <a:moveTo>
                      <a:pt x="7" y="47"/>
                    </a:moveTo>
                    <a:lnTo>
                      <a:pt x="17" y="47"/>
                    </a:lnTo>
                    <a:lnTo>
                      <a:pt x="20" y="43"/>
                    </a:lnTo>
                    <a:lnTo>
                      <a:pt x="26" y="37"/>
                    </a:lnTo>
                    <a:lnTo>
                      <a:pt x="30" y="32"/>
                    </a:lnTo>
                    <a:lnTo>
                      <a:pt x="32" y="32"/>
                    </a:lnTo>
                    <a:lnTo>
                      <a:pt x="34" y="30"/>
                    </a:lnTo>
                    <a:lnTo>
                      <a:pt x="37" y="26"/>
                    </a:lnTo>
                    <a:lnTo>
                      <a:pt x="37" y="21"/>
                    </a:lnTo>
                    <a:lnTo>
                      <a:pt x="37" y="15"/>
                    </a:lnTo>
                    <a:lnTo>
                      <a:pt x="34" y="15"/>
                    </a:lnTo>
                    <a:lnTo>
                      <a:pt x="34" y="15"/>
                    </a:lnTo>
                    <a:lnTo>
                      <a:pt x="32" y="11"/>
                    </a:lnTo>
                    <a:lnTo>
                      <a:pt x="32" y="11"/>
                    </a:lnTo>
                    <a:lnTo>
                      <a:pt x="30" y="9"/>
                    </a:lnTo>
                    <a:lnTo>
                      <a:pt x="30" y="5"/>
                    </a:lnTo>
                    <a:lnTo>
                      <a:pt x="30" y="4"/>
                    </a:lnTo>
                    <a:lnTo>
                      <a:pt x="26" y="0"/>
                    </a:lnTo>
                    <a:lnTo>
                      <a:pt x="26" y="0"/>
                    </a:lnTo>
                    <a:lnTo>
                      <a:pt x="24" y="0"/>
                    </a:lnTo>
                    <a:lnTo>
                      <a:pt x="20" y="0"/>
                    </a:lnTo>
                    <a:lnTo>
                      <a:pt x="20" y="4"/>
                    </a:lnTo>
                    <a:lnTo>
                      <a:pt x="20" y="9"/>
                    </a:lnTo>
                    <a:lnTo>
                      <a:pt x="20" y="11"/>
                    </a:lnTo>
                    <a:lnTo>
                      <a:pt x="17" y="11"/>
                    </a:lnTo>
                    <a:lnTo>
                      <a:pt x="15" y="11"/>
                    </a:lnTo>
                    <a:lnTo>
                      <a:pt x="13" y="11"/>
                    </a:lnTo>
                    <a:lnTo>
                      <a:pt x="13" y="11"/>
                    </a:lnTo>
                    <a:lnTo>
                      <a:pt x="9" y="11"/>
                    </a:lnTo>
                    <a:lnTo>
                      <a:pt x="7" y="5"/>
                    </a:lnTo>
                    <a:lnTo>
                      <a:pt x="5" y="5"/>
                    </a:lnTo>
                    <a:lnTo>
                      <a:pt x="2" y="5"/>
                    </a:lnTo>
                    <a:lnTo>
                      <a:pt x="0" y="5"/>
                    </a:lnTo>
                    <a:lnTo>
                      <a:pt x="0" y="9"/>
                    </a:lnTo>
                    <a:lnTo>
                      <a:pt x="2" y="11"/>
                    </a:lnTo>
                    <a:lnTo>
                      <a:pt x="3" y="17"/>
                    </a:lnTo>
                    <a:lnTo>
                      <a:pt x="3" y="21"/>
                    </a:lnTo>
                    <a:lnTo>
                      <a:pt x="7" y="47"/>
                    </a:lnTo>
                    <a:lnTo>
                      <a:pt x="7" y="47"/>
                    </a:lnTo>
                    <a:lnTo>
                      <a:pt x="7" y="4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8" name="Freeform 140"/>
              <p:cNvSpPr>
                <a:spLocks/>
              </p:cNvSpPr>
              <p:nvPr/>
            </p:nvSpPr>
            <p:spPr bwMode="auto">
              <a:xfrm>
                <a:off x="3312" y="3141"/>
                <a:ext cx="37" cy="47"/>
              </a:xfrm>
              <a:custGeom>
                <a:avLst/>
                <a:gdLst/>
                <a:ahLst/>
                <a:cxnLst>
                  <a:cxn ang="0">
                    <a:pos x="7" y="47"/>
                  </a:cxn>
                  <a:cxn ang="0">
                    <a:pos x="17" y="47"/>
                  </a:cxn>
                  <a:cxn ang="0">
                    <a:pos x="20" y="43"/>
                  </a:cxn>
                  <a:cxn ang="0">
                    <a:pos x="26" y="37"/>
                  </a:cxn>
                  <a:cxn ang="0">
                    <a:pos x="30" y="32"/>
                  </a:cxn>
                  <a:cxn ang="0">
                    <a:pos x="32" y="32"/>
                  </a:cxn>
                  <a:cxn ang="0">
                    <a:pos x="34" y="30"/>
                  </a:cxn>
                  <a:cxn ang="0">
                    <a:pos x="37" y="26"/>
                  </a:cxn>
                  <a:cxn ang="0">
                    <a:pos x="37" y="21"/>
                  </a:cxn>
                  <a:cxn ang="0">
                    <a:pos x="37" y="15"/>
                  </a:cxn>
                  <a:cxn ang="0">
                    <a:pos x="34" y="15"/>
                  </a:cxn>
                  <a:cxn ang="0">
                    <a:pos x="34" y="15"/>
                  </a:cxn>
                  <a:cxn ang="0">
                    <a:pos x="32" y="11"/>
                  </a:cxn>
                  <a:cxn ang="0">
                    <a:pos x="32" y="11"/>
                  </a:cxn>
                  <a:cxn ang="0">
                    <a:pos x="30" y="9"/>
                  </a:cxn>
                  <a:cxn ang="0">
                    <a:pos x="30" y="5"/>
                  </a:cxn>
                  <a:cxn ang="0">
                    <a:pos x="30" y="4"/>
                  </a:cxn>
                  <a:cxn ang="0">
                    <a:pos x="26" y="0"/>
                  </a:cxn>
                  <a:cxn ang="0">
                    <a:pos x="26" y="0"/>
                  </a:cxn>
                  <a:cxn ang="0">
                    <a:pos x="24" y="0"/>
                  </a:cxn>
                  <a:cxn ang="0">
                    <a:pos x="20" y="0"/>
                  </a:cxn>
                  <a:cxn ang="0">
                    <a:pos x="20" y="4"/>
                  </a:cxn>
                  <a:cxn ang="0">
                    <a:pos x="20" y="9"/>
                  </a:cxn>
                  <a:cxn ang="0">
                    <a:pos x="20" y="11"/>
                  </a:cxn>
                  <a:cxn ang="0">
                    <a:pos x="17" y="11"/>
                  </a:cxn>
                  <a:cxn ang="0">
                    <a:pos x="15" y="11"/>
                  </a:cxn>
                  <a:cxn ang="0">
                    <a:pos x="13" y="11"/>
                  </a:cxn>
                  <a:cxn ang="0">
                    <a:pos x="13" y="11"/>
                  </a:cxn>
                  <a:cxn ang="0">
                    <a:pos x="9" y="11"/>
                  </a:cxn>
                  <a:cxn ang="0">
                    <a:pos x="7" y="5"/>
                  </a:cxn>
                  <a:cxn ang="0">
                    <a:pos x="5" y="5"/>
                  </a:cxn>
                  <a:cxn ang="0">
                    <a:pos x="2" y="5"/>
                  </a:cxn>
                  <a:cxn ang="0">
                    <a:pos x="0" y="5"/>
                  </a:cxn>
                  <a:cxn ang="0">
                    <a:pos x="0" y="9"/>
                  </a:cxn>
                  <a:cxn ang="0">
                    <a:pos x="2" y="11"/>
                  </a:cxn>
                  <a:cxn ang="0">
                    <a:pos x="3" y="17"/>
                  </a:cxn>
                  <a:cxn ang="0">
                    <a:pos x="3" y="21"/>
                  </a:cxn>
                  <a:cxn ang="0">
                    <a:pos x="7" y="47"/>
                  </a:cxn>
                  <a:cxn ang="0">
                    <a:pos x="7" y="47"/>
                  </a:cxn>
                  <a:cxn ang="0">
                    <a:pos x="7" y="47"/>
                  </a:cxn>
                </a:cxnLst>
                <a:rect l="0" t="0" r="r" b="b"/>
                <a:pathLst>
                  <a:path w="37" h="47">
                    <a:moveTo>
                      <a:pt x="7" y="47"/>
                    </a:moveTo>
                    <a:lnTo>
                      <a:pt x="17" y="47"/>
                    </a:lnTo>
                    <a:lnTo>
                      <a:pt x="20" y="43"/>
                    </a:lnTo>
                    <a:lnTo>
                      <a:pt x="26" y="37"/>
                    </a:lnTo>
                    <a:lnTo>
                      <a:pt x="30" y="32"/>
                    </a:lnTo>
                    <a:lnTo>
                      <a:pt x="32" y="32"/>
                    </a:lnTo>
                    <a:lnTo>
                      <a:pt x="34" y="30"/>
                    </a:lnTo>
                    <a:lnTo>
                      <a:pt x="37" y="26"/>
                    </a:lnTo>
                    <a:lnTo>
                      <a:pt x="37" y="21"/>
                    </a:lnTo>
                    <a:lnTo>
                      <a:pt x="37" y="15"/>
                    </a:lnTo>
                    <a:lnTo>
                      <a:pt x="34" y="15"/>
                    </a:lnTo>
                    <a:lnTo>
                      <a:pt x="34" y="15"/>
                    </a:lnTo>
                    <a:lnTo>
                      <a:pt x="32" y="11"/>
                    </a:lnTo>
                    <a:lnTo>
                      <a:pt x="32" y="11"/>
                    </a:lnTo>
                    <a:lnTo>
                      <a:pt x="30" y="9"/>
                    </a:lnTo>
                    <a:lnTo>
                      <a:pt x="30" y="5"/>
                    </a:lnTo>
                    <a:lnTo>
                      <a:pt x="30" y="4"/>
                    </a:lnTo>
                    <a:lnTo>
                      <a:pt x="26" y="0"/>
                    </a:lnTo>
                    <a:lnTo>
                      <a:pt x="26" y="0"/>
                    </a:lnTo>
                    <a:lnTo>
                      <a:pt x="24" y="0"/>
                    </a:lnTo>
                    <a:lnTo>
                      <a:pt x="20" y="0"/>
                    </a:lnTo>
                    <a:lnTo>
                      <a:pt x="20" y="4"/>
                    </a:lnTo>
                    <a:lnTo>
                      <a:pt x="20" y="9"/>
                    </a:lnTo>
                    <a:lnTo>
                      <a:pt x="20" y="11"/>
                    </a:lnTo>
                    <a:lnTo>
                      <a:pt x="17" y="11"/>
                    </a:lnTo>
                    <a:lnTo>
                      <a:pt x="15" y="11"/>
                    </a:lnTo>
                    <a:lnTo>
                      <a:pt x="13" y="11"/>
                    </a:lnTo>
                    <a:lnTo>
                      <a:pt x="13" y="11"/>
                    </a:lnTo>
                    <a:lnTo>
                      <a:pt x="9" y="11"/>
                    </a:lnTo>
                    <a:lnTo>
                      <a:pt x="7" y="5"/>
                    </a:lnTo>
                    <a:lnTo>
                      <a:pt x="5" y="5"/>
                    </a:lnTo>
                    <a:lnTo>
                      <a:pt x="2" y="5"/>
                    </a:lnTo>
                    <a:lnTo>
                      <a:pt x="0" y="5"/>
                    </a:lnTo>
                    <a:lnTo>
                      <a:pt x="0" y="9"/>
                    </a:lnTo>
                    <a:lnTo>
                      <a:pt x="2" y="11"/>
                    </a:lnTo>
                    <a:lnTo>
                      <a:pt x="3" y="17"/>
                    </a:lnTo>
                    <a:lnTo>
                      <a:pt x="3" y="21"/>
                    </a:lnTo>
                    <a:lnTo>
                      <a:pt x="7" y="47"/>
                    </a:lnTo>
                    <a:lnTo>
                      <a:pt x="7" y="47"/>
                    </a:lnTo>
                    <a:lnTo>
                      <a:pt x="7" y="4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9" name="Freeform 141"/>
              <p:cNvSpPr>
                <a:spLocks/>
              </p:cNvSpPr>
              <p:nvPr/>
            </p:nvSpPr>
            <p:spPr bwMode="auto">
              <a:xfrm>
                <a:off x="3001" y="3003"/>
                <a:ext cx="354" cy="349"/>
              </a:xfrm>
              <a:custGeom>
                <a:avLst/>
                <a:gdLst/>
                <a:ahLst/>
                <a:cxnLst>
                  <a:cxn ang="0">
                    <a:pos x="10" y="192"/>
                  </a:cxn>
                  <a:cxn ang="0">
                    <a:pos x="23" y="189"/>
                  </a:cxn>
                  <a:cxn ang="0">
                    <a:pos x="40" y="179"/>
                  </a:cxn>
                  <a:cxn ang="0">
                    <a:pos x="49" y="189"/>
                  </a:cxn>
                  <a:cxn ang="0">
                    <a:pos x="72" y="172"/>
                  </a:cxn>
                  <a:cxn ang="0">
                    <a:pos x="74" y="142"/>
                  </a:cxn>
                  <a:cxn ang="0">
                    <a:pos x="90" y="121"/>
                  </a:cxn>
                  <a:cxn ang="0">
                    <a:pos x="107" y="94"/>
                  </a:cxn>
                  <a:cxn ang="0">
                    <a:pos x="111" y="70"/>
                  </a:cxn>
                  <a:cxn ang="0">
                    <a:pos x="124" y="42"/>
                  </a:cxn>
                  <a:cxn ang="0">
                    <a:pos x="122" y="17"/>
                  </a:cxn>
                  <a:cxn ang="0">
                    <a:pos x="128" y="8"/>
                  </a:cxn>
                  <a:cxn ang="0">
                    <a:pos x="141" y="2"/>
                  </a:cxn>
                  <a:cxn ang="0">
                    <a:pos x="158" y="17"/>
                  </a:cxn>
                  <a:cxn ang="0">
                    <a:pos x="179" y="17"/>
                  </a:cxn>
                  <a:cxn ang="0">
                    <a:pos x="190" y="17"/>
                  </a:cxn>
                  <a:cxn ang="0">
                    <a:pos x="205" y="12"/>
                  </a:cxn>
                  <a:cxn ang="0">
                    <a:pos x="230" y="2"/>
                  </a:cxn>
                  <a:cxn ang="0">
                    <a:pos x="241" y="6"/>
                  </a:cxn>
                  <a:cxn ang="0">
                    <a:pos x="249" y="0"/>
                  </a:cxn>
                  <a:cxn ang="0">
                    <a:pos x="266" y="4"/>
                  </a:cxn>
                  <a:cxn ang="0">
                    <a:pos x="288" y="4"/>
                  </a:cxn>
                  <a:cxn ang="0">
                    <a:pos x="303" y="17"/>
                  </a:cxn>
                  <a:cxn ang="0">
                    <a:pos x="314" y="15"/>
                  </a:cxn>
                  <a:cxn ang="0">
                    <a:pos x="330" y="10"/>
                  </a:cxn>
                  <a:cxn ang="0">
                    <a:pos x="343" y="25"/>
                  </a:cxn>
                  <a:cxn ang="0">
                    <a:pos x="352" y="32"/>
                  </a:cxn>
                  <a:cxn ang="0">
                    <a:pos x="350" y="55"/>
                  </a:cxn>
                  <a:cxn ang="0">
                    <a:pos x="337" y="85"/>
                  </a:cxn>
                  <a:cxn ang="0">
                    <a:pos x="326" y="123"/>
                  </a:cxn>
                  <a:cxn ang="0">
                    <a:pos x="316" y="155"/>
                  </a:cxn>
                  <a:cxn ang="0">
                    <a:pos x="341" y="251"/>
                  </a:cxn>
                  <a:cxn ang="0">
                    <a:pos x="309" y="281"/>
                  </a:cxn>
                  <a:cxn ang="0">
                    <a:pos x="305" y="296"/>
                  </a:cxn>
                  <a:cxn ang="0">
                    <a:pos x="299" y="317"/>
                  </a:cxn>
                  <a:cxn ang="0">
                    <a:pos x="320" y="330"/>
                  </a:cxn>
                  <a:cxn ang="0">
                    <a:pos x="326" y="349"/>
                  </a:cxn>
                  <a:cxn ang="0">
                    <a:pos x="313" y="349"/>
                  </a:cxn>
                  <a:cxn ang="0">
                    <a:pos x="288" y="326"/>
                  </a:cxn>
                  <a:cxn ang="0">
                    <a:pos x="275" y="315"/>
                  </a:cxn>
                  <a:cxn ang="0">
                    <a:pos x="262" y="324"/>
                  </a:cxn>
                  <a:cxn ang="0">
                    <a:pos x="243" y="317"/>
                  </a:cxn>
                  <a:cxn ang="0">
                    <a:pos x="235" y="307"/>
                  </a:cxn>
                  <a:cxn ang="0">
                    <a:pos x="224" y="311"/>
                  </a:cxn>
                  <a:cxn ang="0">
                    <a:pos x="218" y="304"/>
                  </a:cxn>
                  <a:cxn ang="0">
                    <a:pos x="203" y="307"/>
                  </a:cxn>
                  <a:cxn ang="0">
                    <a:pos x="190" y="305"/>
                  </a:cxn>
                  <a:cxn ang="0">
                    <a:pos x="186" y="300"/>
                  </a:cxn>
                  <a:cxn ang="0">
                    <a:pos x="185" y="287"/>
                  </a:cxn>
                  <a:cxn ang="0">
                    <a:pos x="181" y="277"/>
                  </a:cxn>
                  <a:cxn ang="0">
                    <a:pos x="179" y="260"/>
                  </a:cxn>
                  <a:cxn ang="0">
                    <a:pos x="177" y="245"/>
                  </a:cxn>
                  <a:cxn ang="0">
                    <a:pos x="156" y="232"/>
                  </a:cxn>
                  <a:cxn ang="0">
                    <a:pos x="132" y="234"/>
                  </a:cxn>
                  <a:cxn ang="0">
                    <a:pos x="115" y="249"/>
                  </a:cxn>
                  <a:cxn ang="0">
                    <a:pos x="96" y="241"/>
                  </a:cxn>
                  <a:cxn ang="0">
                    <a:pos x="87" y="226"/>
                  </a:cxn>
                  <a:cxn ang="0">
                    <a:pos x="83" y="213"/>
                  </a:cxn>
                  <a:cxn ang="0">
                    <a:pos x="40" y="207"/>
                  </a:cxn>
                  <a:cxn ang="0">
                    <a:pos x="19" y="207"/>
                  </a:cxn>
                  <a:cxn ang="0">
                    <a:pos x="10" y="211"/>
                  </a:cxn>
                  <a:cxn ang="0">
                    <a:pos x="0" y="207"/>
                  </a:cxn>
                </a:cxnLst>
                <a:rect l="0" t="0" r="r" b="b"/>
                <a:pathLst>
                  <a:path w="354" h="349">
                    <a:moveTo>
                      <a:pt x="0" y="207"/>
                    </a:moveTo>
                    <a:lnTo>
                      <a:pt x="4" y="206"/>
                    </a:lnTo>
                    <a:lnTo>
                      <a:pt x="8" y="204"/>
                    </a:lnTo>
                    <a:lnTo>
                      <a:pt x="10" y="202"/>
                    </a:lnTo>
                    <a:lnTo>
                      <a:pt x="10" y="194"/>
                    </a:lnTo>
                    <a:lnTo>
                      <a:pt x="10" y="192"/>
                    </a:lnTo>
                    <a:lnTo>
                      <a:pt x="15" y="189"/>
                    </a:lnTo>
                    <a:lnTo>
                      <a:pt x="19" y="187"/>
                    </a:lnTo>
                    <a:lnTo>
                      <a:pt x="19" y="187"/>
                    </a:lnTo>
                    <a:lnTo>
                      <a:pt x="23" y="187"/>
                    </a:lnTo>
                    <a:lnTo>
                      <a:pt x="23" y="187"/>
                    </a:lnTo>
                    <a:lnTo>
                      <a:pt x="23" y="189"/>
                    </a:lnTo>
                    <a:lnTo>
                      <a:pt x="28" y="189"/>
                    </a:lnTo>
                    <a:lnTo>
                      <a:pt x="28" y="187"/>
                    </a:lnTo>
                    <a:lnTo>
                      <a:pt x="32" y="183"/>
                    </a:lnTo>
                    <a:lnTo>
                      <a:pt x="32" y="183"/>
                    </a:lnTo>
                    <a:lnTo>
                      <a:pt x="34" y="183"/>
                    </a:lnTo>
                    <a:lnTo>
                      <a:pt x="40" y="179"/>
                    </a:lnTo>
                    <a:lnTo>
                      <a:pt x="43" y="177"/>
                    </a:lnTo>
                    <a:lnTo>
                      <a:pt x="43" y="179"/>
                    </a:lnTo>
                    <a:lnTo>
                      <a:pt x="42" y="183"/>
                    </a:lnTo>
                    <a:lnTo>
                      <a:pt x="43" y="183"/>
                    </a:lnTo>
                    <a:lnTo>
                      <a:pt x="43" y="187"/>
                    </a:lnTo>
                    <a:lnTo>
                      <a:pt x="49" y="189"/>
                    </a:lnTo>
                    <a:lnTo>
                      <a:pt x="53" y="187"/>
                    </a:lnTo>
                    <a:lnTo>
                      <a:pt x="57" y="183"/>
                    </a:lnTo>
                    <a:lnTo>
                      <a:pt x="62" y="177"/>
                    </a:lnTo>
                    <a:lnTo>
                      <a:pt x="64" y="174"/>
                    </a:lnTo>
                    <a:lnTo>
                      <a:pt x="68" y="172"/>
                    </a:lnTo>
                    <a:lnTo>
                      <a:pt x="72" y="172"/>
                    </a:lnTo>
                    <a:lnTo>
                      <a:pt x="74" y="166"/>
                    </a:lnTo>
                    <a:lnTo>
                      <a:pt x="74" y="162"/>
                    </a:lnTo>
                    <a:lnTo>
                      <a:pt x="74" y="159"/>
                    </a:lnTo>
                    <a:lnTo>
                      <a:pt x="74" y="147"/>
                    </a:lnTo>
                    <a:lnTo>
                      <a:pt x="74" y="147"/>
                    </a:lnTo>
                    <a:lnTo>
                      <a:pt x="74" y="142"/>
                    </a:lnTo>
                    <a:lnTo>
                      <a:pt x="74" y="138"/>
                    </a:lnTo>
                    <a:lnTo>
                      <a:pt x="81" y="130"/>
                    </a:lnTo>
                    <a:lnTo>
                      <a:pt x="81" y="128"/>
                    </a:lnTo>
                    <a:lnTo>
                      <a:pt x="87" y="123"/>
                    </a:lnTo>
                    <a:lnTo>
                      <a:pt x="89" y="121"/>
                    </a:lnTo>
                    <a:lnTo>
                      <a:pt x="90" y="121"/>
                    </a:lnTo>
                    <a:lnTo>
                      <a:pt x="94" y="119"/>
                    </a:lnTo>
                    <a:lnTo>
                      <a:pt x="98" y="117"/>
                    </a:lnTo>
                    <a:lnTo>
                      <a:pt x="106" y="108"/>
                    </a:lnTo>
                    <a:lnTo>
                      <a:pt x="106" y="100"/>
                    </a:lnTo>
                    <a:lnTo>
                      <a:pt x="107" y="96"/>
                    </a:lnTo>
                    <a:lnTo>
                      <a:pt x="107" y="94"/>
                    </a:lnTo>
                    <a:lnTo>
                      <a:pt x="107" y="89"/>
                    </a:lnTo>
                    <a:lnTo>
                      <a:pt x="107" y="87"/>
                    </a:lnTo>
                    <a:lnTo>
                      <a:pt x="107" y="81"/>
                    </a:lnTo>
                    <a:lnTo>
                      <a:pt x="107" y="79"/>
                    </a:lnTo>
                    <a:lnTo>
                      <a:pt x="107" y="76"/>
                    </a:lnTo>
                    <a:lnTo>
                      <a:pt x="111" y="70"/>
                    </a:lnTo>
                    <a:lnTo>
                      <a:pt x="111" y="68"/>
                    </a:lnTo>
                    <a:lnTo>
                      <a:pt x="113" y="62"/>
                    </a:lnTo>
                    <a:lnTo>
                      <a:pt x="111" y="57"/>
                    </a:lnTo>
                    <a:lnTo>
                      <a:pt x="119" y="45"/>
                    </a:lnTo>
                    <a:lnTo>
                      <a:pt x="121" y="44"/>
                    </a:lnTo>
                    <a:lnTo>
                      <a:pt x="124" y="42"/>
                    </a:lnTo>
                    <a:lnTo>
                      <a:pt x="124" y="34"/>
                    </a:lnTo>
                    <a:lnTo>
                      <a:pt x="122" y="30"/>
                    </a:lnTo>
                    <a:lnTo>
                      <a:pt x="122" y="25"/>
                    </a:lnTo>
                    <a:lnTo>
                      <a:pt x="122" y="25"/>
                    </a:lnTo>
                    <a:lnTo>
                      <a:pt x="124" y="21"/>
                    </a:lnTo>
                    <a:lnTo>
                      <a:pt x="122" y="17"/>
                    </a:lnTo>
                    <a:lnTo>
                      <a:pt x="122" y="17"/>
                    </a:lnTo>
                    <a:lnTo>
                      <a:pt x="124" y="17"/>
                    </a:lnTo>
                    <a:lnTo>
                      <a:pt x="126" y="15"/>
                    </a:lnTo>
                    <a:lnTo>
                      <a:pt x="126" y="12"/>
                    </a:lnTo>
                    <a:lnTo>
                      <a:pt x="128" y="10"/>
                    </a:lnTo>
                    <a:lnTo>
                      <a:pt x="128" y="8"/>
                    </a:lnTo>
                    <a:lnTo>
                      <a:pt x="130" y="6"/>
                    </a:lnTo>
                    <a:lnTo>
                      <a:pt x="132" y="6"/>
                    </a:lnTo>
                    <a:lnTo>
                      <a:pt x="136" y="4"/>
                    </a:lnTo>
                    <a:lnTo>
                      <a:pt x="136" y="4"/>
                    </a:lnTo>
                    <a:lnTo>
                      <a:pt x="138" y="2"/>
                    </a:lnTo>
                    <a:lnTo>
                      <a:pt x="141" y="2"/>
                    </a:lnTo>
                    <a:lnTo>
                      <a:pt x="141" y="4"/>
                    </a:lnTo>
                    <a:lnTo>
                      <a:pt x="143" y="4"/>
                    </a:lnTo>
                    <a:lnTo>
                      <a:pt x="151" y="10"/>
                    </a:lnTo>
                    <a:lnTo>
                      <a:pt x="153" y="12"/>
                    </a:lnTo>
                    <a:lnTo>
                      <a:pt x="158" y="15"/>
                    </a:lnTo>
                    <a:lnTo>
                      <a:pt x="158" y="17"/>
                    </a:lnTo>
                    <a:lnTo>
                      <a:pt x="162" y="15"/>
                    </a:lnTo>
                    <a:lnTo>
                      <a:pt x="166" y="17"/>
                    </a:lnTo>
                    <a:lnTo>
                      <a:pt x="170" y="17"/>
                    </a:lnTo>
                    <a:lnTo>
                      <a:pt x="173" y="17"/>
                    </a:lnTo>
                    <a:lnTo>
                      <a:pt x="175" y="17"/>
                    </a:lnTo>
                    <a:lnTo>
                      <a:pt x="179" y="17"/>
                    </a:lnTo>
                    <a:lnTo>
                      <a:pt x="183" y="17"/>
                    </a:lnTo>
                    <a:lnTo>
                      <a:pt x="186" y="21"/>
                    </a:lnTo>
                    <a:lnTo>
                      <a:pt x="186" y="21"/>
                    </a:lnTo>
                    <a:lnTo>
                      <a:pt x="190" y="21"/>
                    </a:lnTo>
                    <a:lnTo>
                      <a:pt x="194" y="17"/>
                    </a:lnTo>
                    <a:lnTo>
                      <a:pt x="190" y="17"/>
                    </a:lnTo>
                    <a:lnTo>
                      <a:pt x="190" y="15"/>
                    </a:lnTo>
                    <a:lnTo>
                      <a:pt x="194" y="12"/>
                    </a:lnTo>
                    <a:lnTo>
                      <a:pt x="196" y="8"/>
                    </a:lnTo>
                    <a:lnTo>
                      <a:pt x="200" y="8"/>
                    </a:lnTo>
                    <a:lnTo>
                      <a:pt x="203" y="10"/>
                    </a:lnTo>
                    <a:lnTo>
                      <a:pt x="205" y="12"/>
                    </a:lnTo>
                    <a:lnTo>
                      <a:pt x="207" y="10"/>
                    </a:lnTo>
                    <a:lnTo>
                      <a:pt x="217" y="10"/>
                    </a:lnTo>
                    <a:lnTo>
                      <a:pt x="218" y="8"/>
                    </a:lnTo>
                    <a:lnTo>
                      <a:pt x="220" y="6"/>
                    </a:lnTo>
                    <a:lnTo>
                      <a:pt x="228" y="2"/>
                    </a:lnTo>
                    <a:lnTo>
                      <a:pt x="230" y="2"/>
                    </a:lnTo>
                    <a:lnTo>
                      <a:pt x="230" y="4"/>
                    </a:lnTo>
                    <a:lnTo>
                      <a:pt x="232" y="4"/>
                    </a:lnTo>
                    <a:lnTo>
                      <a:pt x="232" y="8"/>
                    </a:lnTo>
                    <a:lnTo>
                      <a:pt x="234" y="8"/>
                    </a:lnTo>
                    <a:lnTo>
                      <a:pt x="237" y="6"/>
                    </a:lnTo>
                    <a:lnTo>
                      <a:pt x="241" y="6"/>
                    </a:lnTo>
                    <a:lnTo>
                      <a:pt x="245" y="4"/>
                    </a:lnTo>
                    <a:lnTo>
                      <a:pt x="245" y="4"/>
                    </a:lnTo>
                    <a:lnTo>
                      <a:pt x="249" y="0"/>
                    </a:lnTo>
                    <a:lnTo>
                      <a:pt x="249" y="0"/>
                    </a:lnTo>
                    <a:lnTo>
                      <a:pt x="249" y="0"/>
                    </a:lnTo>
                    <a:lnTo>
                      <a:pt x="249" y="0"/>
                    </a:lnTo>
                    <a:lnTo>
                      <a:pt x="250" y="0"/>
                    </a:lnTo>
                    <a:lnTo>
                      <a:pt x="256" y="0"/>
                    </a:lnTo>
                    <a:lnTo>
                      <a:pt x="258" y="0"/>
                    </a:lnTo>
                    <a:lnTo>
                      <a:pt x="260" y="0"/>
                    </a:lnTo>
                    <a:lnTo>
                      <a:pt x="262" y="2"/>
                    </a:lnTo>
                    <a:lnTo>
                      <a:pt x="266" y="4"/>
                    </a:lnTo>
                    <a:lnTo>
                      <a:pt x="273" y="4"/>
                    </a:lnTo>
                    <a:lnTo>
                      <a:pt x="273" y="4"/>
                    </a:lnTo>
                    <a:lnTo>
                      <a:pt x="279" y="0"/>
                    </a:lnTo>
                    <a:lnTo>
                      <a:pt x="282" y="2"/>
                    </a:lnTo>
                    <a:lnTo>
                      <a:pt x="288" y="4"/>
                    </a:lnTo>
                    <a:lnTo>
                      <a:pt x="288" y="4"/>
                    </a:lnTo>
                    <a:lnTo>
                      <a:pt x="288" y="8"/>
                    </a:lnTo>
                    <a:lnTo>
                      <a:pt x="290" y="10"/>
                    </a:lnTo>
                    <a:lnTo>
                      <a:pt x="292" y="10"/>
                    </a:lnTo>
                    <a:lnTo>
                      <a:pt x="294" y="12"/>
                    </a:lnTo>
                    <a:lnTo>
                      <a:pt x="299" y="15"/>
                    </a:lnTo>
                    <a:lnTo>
                      <a:pt x="303" y="17"/>
                    </a:lnTo>
                    <a:lnTo>
                      <a:pt x="303" y="17"/>
                    </a:lnTo>
                    <a:lnTo>
                      <a:pt x="305" y="15"/>
                    </a:lnTo>
                    <a:lnTo>
                      <a:pt x="309" y="12"/>
                    </a:lnTo>
                    <a:lnTo>
                      <a:pt x="313" y="12"/>
                    </a:lnTo>
                    <a:lnTo>
                      <a:pt x="314" y="12"/>
                    </a:lnTo>
                    <a:lnTo>
                      <a:pt x="314" y="15"/>
                    </a:lnTo>
                    <a:lnTo>
                      <a:pt x="316" y="15"/>
                    </a:lnTo>
                    <a:lnTo>
                      <a:pt x="320" y="12"/>
                    </a:lnTo>
                    <a:lnTo>
                      <a:pt x="322" y="12"/>
                    </a:lnTo>
                    <a:lnTo>
                      <a:pt x="324" y="8"/>
                    </a:lnTo>
                    <a:lnTo>
                      <a:pt x="330" y="10"/>
                    </a:lnTo>
                    <a:lnTo>
                      <a:pt x="330" y="10"/>
                    </a:lnTo>
                    <a:lnTo>
                      <a:pt x="333" y="15"/>
                    </a:lnTo>
                    <a:lnTo>
                      <a:pt x="333" y="17"/>
                    </a:lnTo>
                    <a:lnTo>
                      <a:pt x="333" y="17"/>
                    </a:lnTo>
                    <a:lnTo>
                      <a:pt x="339" y="21"/>
                    </a:lnTo>
                    <a:lnTo>
                      <a:pt x="341" y="21"/>
                    </a:lnTo>
                    <a:lnTo>
                      <a:pt x="343" y="25"/>
                    </a:lnTo>
                    <a:lnTo>
                      <a:pt x="345" y="27"/>
                    </a:lnTo>
                    <a:lnTo>
                      <a:pt x="345" y="29"/>
                    </a:lnTo>
                    <a:lnTo>
                      <a:pt x="345" y="30"/>
                    </a:lnTo>
                    <a:lnTo>
                      <a:pt x="346" y="30"/>
                    </a:lnTo>
                    <a:lnTo>
                      <a:pt x="350" y="30"/>
                    </a:lnTo>
                    <a:lnTo>
                      <a:pt x="352" y="32"/>
                    </a:lnTo>
                    <a:lnTo>
                      <a:pt x="352" y="36"/>
                    </a:lnTo>
                    <a:lnTo>
                      <a:pt x="350" y="38"/>
                    </a:lnTo>
                    <a:lnTo>
                      <a:pt x="350" y="44"/>
                    </a:lnTo>
                    <a:lnTo>
                      <a:pt x="348" y="49"/>
                    </a:lnTo>
                    <a:lnTo>
                      <a:pt x="348" y="53"/>
                    </a:lnTo>
                    <a:lnTo>
                      <a:pt x="350" y="55"/>
                    </a:lnTo>
                    <a:lnTo>
                      <a:pt x="352" y="57"/>
                    </a:lnTo>
                    <a:lnTo>
                      <a:pt x="354" y="61"/>
                    </a:lnTo>
                    <a:lnTo>
                      <a:pt x="354" y="62"/>
                    </a:lnTo>
                    <a:lnTo>
                      <a:pt x="343" y="76"/>
                    </a:lnTo>
                    <a:lnTo>
                      <a:pt x="337" y="81"/>
                    </a:lnTo>
                    <a:lnTo>
                      <a:pt x="337" y="85"/>
                    </a:lnTo>
                    <a:lnTo>
                      <a:pt x="330" y="98"/>
                    </a:lnTo>
                    <a:lnTo>
                      <a:pt x="328" y="100"/>
                    </a:lnTo>
                    <a:lnTo>
                      <a:pt x="328" y="104"/>
                    </a:lnTo>
                    <a:lnTo>
                      <a:pt x="328" y="111"/>
                    </a:lnTo>
                    <a:lnTo>
                      <a:pt x="324" y="119"/>
                    </a:lnTo>
                    <a:lnTo>
                      <a:pt x="326" y="123"/>
                    </a:lnTo>
                    <a:lnTo>
                      <a:pt x="320" y="128"/>
                    </a:lnTo>
                    <a:lnTo>
                      <a:pt x="316" y="130"/>
                    </a:lnTo>
                    <a:lnTo>
                      <a:pt x="313" y="142"/>
                    </a:lnTo>
                    <a:lnTo>
                      <a:pt x="313" y="147"/>
                    </a:lnTo>
                    <a:lnTo>
                      <a:pt x="314" y="149"/>
                    </a:lnTo>
                    <a:lnTo>
                      <a:pt x="316" y="155"/>
                    </a:lnTo>
                    <a:lnTo>
                      <a:pt x="316" y="159"/>
                    </a:lnTo>
                    <a:lnTo>
                      <a:pt x="322" y="196"/>
                    </a:lnTo>
                    <a:lnTo>
                      <a:pt x="326" y="219"/>
                    </a:lnTo>
                    <a:lnTo>
                      <a:pt x="339" y="238"/>
                    </a:lnTo>
                    <a:lnTo>
                      <a:pt x="343" y="251"/>
                    </a:lnTo>
                    <a:lnTo>
                      <a:pt x="341" y="251"/>
                    </a:lnTo>
                    <a:lnTo>
                      <a:pt x="313" y="258"/>
                    </a:lnTo>
                    <a:lnTo>
                      <a:pt x="303" y="272"/>
                    </a:lnTo>
                    <a:lnTo>
                      <a:pt x="303" y="275"/>
                    </a:lnTo>
                    <a:lnTo>
                      <a:pt x="305" y="277"/>
                    </a:lnTo>
                    <a:lnTo>
                      <a:pt x="309" y="279"/>
                    </a:lnTo>
                    <a:lnTo>
                      <a:pt x="309" y="281"/>
                    </a:lnTo>
                    <a:lnTo>
                      <a:pt x="305" y="283"/>
                    </a:lnTo>
                    <a:lnTo>
                      <a:pt x="309" y="285"/>
                    </a:lnTo>
                    <a:lnTo>
                      <a:pt x="305" y="287"/>
                    </a:lnTo>
                    <a:lnTo>
                      <a:pt x="309" y="290"/>
                    </a:lnTo>
                    <a:lnTo>
                      <a:pt x="305" y="292"/>
                    </a:lnTo>
                    <a:lnTo>
                      <a:pt x="305" y="296"/>
                    </a:lnTo>
                    <a:lnTo>
                      <a:pt x="305" y="296"/>
                    </a:lnTo>
                    <a:lnTo>
                      <a:pt x="303" y="300"/>
                    </a:lnTo>
                    <a:lnTo>
                      <a:pt x="299" y="300"/>
                    </a:lnTo>
                    <a:lnTo>
                      <a:pt x="299" y="304"/>
                    </a:lnTo>
                    <a:lnTo>
                      <a:pt x="299" y="315"/>
                    </a:lnTo>
                    <a:lnTo>
                      <a:pt x="299" y="317"/>
                    </a:lnTo>
                    <a:lnTo>
                      <a:pt x="303" y="320"/>
                    </a:lnTo>
                    <a:lnTo>
                      <a:pt x="309" y="324"/>
                    </a:lnTo>
                    <a:lnTo>
                      <a:pt x="309" y="330"/>
                    </a:lnTo>
                    <a:lnTo>
                      <a:pt x="313" y="330"/>
                    </a:lnTo>
                    <a:lnTo>
                      <a:pt x="318" y="330"/>
                    </a:lnTo>
                    <a:lnTo>
                      <a:pt x="320" y="330"/>
                    </a:lnTo>
                    <a:lnTo>
                      <a:pt x="318" y="330"/>
                    </a:lnTo>
                    <a:lnTo>
                      <a:pt x="318" y="326"/>
                    </a:lnTo>
                    <a:lnTo>
                      <a:pt x="322" y="326"/>
                    </a:lnTo>
                    <a:lnTo>
                      <a:pt x="326" y="326"/>
                    </a:lnTo>
                    <a:lnTo>
                      <a:pt x="326" y="345"/>
                    </a:lnTo>
                    <a:lnTo>
                      <a:pt x="326" y="349"/>
                    </a:lnTo>
                    <a:lnTo>
                      <a:pt x="322" y="349"/>
                    </a:lnTo>
                    <a:lnTo>
                      <a:pt x="322" y="345"/>
                    </a:lnTo>
                    <a:lnTo>
                      <a:pt x="320" y="345"/>
                    </a:lnTo>
                    <a:lnTo>
                      <a:pt x="316" y="349"/>
                    </a:lnTo>
                    <a:lnTo>
                      <a:pt x="314" y="349"/>
                    </a:lnTo>
                    <a:lnTo>
                      <a:pt x="313" y="349"/>
                    </a:lnTo>
                    <a:lnTo>
                      <a:pt x="309" y="345"/>
                    </a:lnTo>
                    <a:lnTo>
                      <a:pt x="303" y="341"/>
                    </a:lnTo>
                    <a:lnTo>
                      <a:pt x="299" y="337"/>
                    </a:lnTo>
                    <a:lnTo>
                      <a:pt x="298" y="332"/>
                    </a:lnTo>
                    <a:lnTo>
                      <a:pt x="294" y="330"/>
                    </a:lnTo>
                    <a:lnTo>
                      <a:pt x="288" y="326"/>
                    </a:lnTo>
                    <a:lnTo>
                      <a:pt x="281" y="324"/>
                    </a:lnTo>
                    <a:lnTo>
                      <a:pt x="281" y="324"/>
                    </a:lnTo>
                    <a:lnTo>
                      <a:pt x="279" y="320"/>
                    </a:lnTo>
                    <a:lnTo>
                      <a:pt x="279" y="315"/>
                    </a:lnTo>
                    <a:lnTo>
                      <a:pt x="279" y="315"/>
                    </a:lnTo>
                    <a:lnTo>
                      <a:pt x="275" y="315"/>
                    </a:lnTo>
                    <a:lnTo>
                      <a:pt x="273" y="315"/>
                    </a:lnTo>
                    <a:lnTo>
                      <a:pt x="271" y="320"/>
                    </a:lnTo>
                    <a:lnTo>
                      <a:pt x="271" y="320"/>
                    </a:lnTo>
                    <a:lnTo>
                      <a:pt x="266" y="324"/>
                    </a:lnTo>
                    <a:lnTo>
                      <a:pt x="262" y="324"/>
                    </a:lnTo>
                    <a:lnTo>
                      <a:pt x="262" y="324"/>
                    </a:lnTo>
                    <a:lnTo>
                      <a:pt x="258" y="320"/>
                    </a:lnTo>
                    <a:lnTo>
                      <a:pt x="254" y="320"/>
                    </a:lnTo>
                    <a:lnTo>
                      <a:pt x="249" y="317"/>
                    </a:lnTo>
                    <a:lnTo>
                      <a:pt x="249" y="317"/>
                    </a:lnTo>
                    <a:lnTo>
                      <a:pt x="245" y="317"/>
                    </a:lnTo>
                    <a:lnTo>
                      <a:pt x="243" y="317"/>
                    </a:lnTo>
                    <a:lnTo>
                      <a:pt x="243" y="315"/>
                    </a:lnTo>
                    <a:lnTo>
                      <a:pt x="243" y="313"/>
                    </a:lnTo>
                    <a:lnTo>
                      <a:pt x="243" y="311"/>
                    </a:lnTo>
                    <a:lnTo>
                      <a:pt x="243" y="307"/>
                    </a:lnTo>
                    <a:lnTo>
                      <a:pt x="241" y="307"/>
                    </a:lnTo>
                    <a:lnTo>
                      <a:pt x="235" y="307"/>
                    </a:lnTo>
                    <a:lnTo>
                      <a:pt x="235" y="309"/>
                    </a:lnTo>
                    <a:lnTo>
                      <a:pt x="232" y="309"/>
                    </a:lnTo>
                    <a:lnTo>
                      <a:pt x="230" y="311"/>
                    </a:lnTo>
                    <a:lnTo>
                      <a:pt x="226" y="313"/>
                    </a:lnTo>
                    <a:lnTo>
                      <a:pt x="226" y="313"/>
                    </a:lnTo>
                    <a:lnTo>
                      <a:pt x="224" y="311"/>
                    </a:lnTo>
                    <a:lnTo>
                      <a:pt x="224" y="307"/>
                    </a:lnTo>
                    <a:lnTo>
                      <a:pt x="224" y="305"/>
                    </a:lnTo>
                    <a:lnTo>
                      <a:pt x="220" y="305"/>
                    </a:lnTo>
                    <a:lnTo>
                      <a:pt x="220" y="305"/>
                    </a:lnTo>
                    <a:lnTo>
                      <a:pt x="218" y="304"/>
                    </a:lnTo>
                    <a:lnTo>
                      <a:pt x="218" y="304"/>
                    </a:lnTo>
                    <a:lnTo>
                      <a:pt x="215" y="304"/>
                    </a:lnTo>
                    <a:lnTo>
                      <a:pt x="211" y="305"/>
                    </a:lnTo>
                    <a:lnTo>
                      <a:pt x="209" y="307"/>
                    </a:lnTo>
                    <a:lnTo>
                      <a:pt x="207" y="307"/>
                    </a:lnTo>
                    <a:lnTo>
                      <a:pt x="205" y="307"/>
                    </a:lnTo>
                    <a:lnTo>
                      <a:pt x="203" y="307"/>
                    </a:lnTo>
                    <a:lnTo>
                      <a:pt x="200" y="307"/>
                    </a:lnTo>
                    <a:lnTo>
                      <a:pt x="196" y="307"/>
                    </a:lnTo>
                    <a:lnTo>
                      <a:pt x="194" y="305"/>
                    </a:lnTo>
                    <a:lnTo>
                      <a:pt x="190" y="305"/>
                    </a:lnTo>
                    <a:lnTo>
                      <a:pt x="190" y="305"/>
                    </a:lnTo>
                    <a:lnTo>
                      <a:pt x="190" y="305"/>
                    </a:lnTo>
                    <a:lnTo>
                      <a:pt x="186" y="307"/>
                    </a:lnTo>
                    <a:lnTo>
                      <a:pt x="186" y="307"/>
                    </a:lnTo>
                    <a:lnTo>
                      <a:pt x="186" y="305"/>
                    </a:lnTo>
                    <a:lnTo>
                      <a:pt x="186" y="302"/>
                    </a:lnTo>
                    <a:lnTo>
                      <a:pt x="186" y="302"/>
                    </a:lnTo>
                    <a:lnTo>
                      <a:pt x="186" y="300"/>
                    </a:lnTo>
                    <a:lnTo>
                      <a:pt x="186" y="300"/>
                    </a:lnTo>
                    <a:lnTo>
                      <a:pt x="186" y="296"/>
                    </a:lnTo>
                    <a:lnTo>
                      <a:pt x="185" y="292"/>
                    </a:lnTo>
                    <a:lnTo>
                      <a:pt x="186" y="292"/>
                    </a:lnTo>
                    <a:lnTo>
                      <a:pt x="186" y="290"/>
                    </a:lnTo>
                    <a:lnTo>
                      <a:pt x="185" y="287"/>
                    </a:lnTo>
                    <a:lnTo>
                      <a:pt x="185" y="285"/>
                    </a:lnTo>
                    <a:lnTo>
                      <a:pt x="185" y="283"/>
                    </a:lnTo>
                    <a:lnTo>
                      <a:pt x="185" y="281"/>
                    </a:lnTo>
                    <a:lnTo>
                      <a:pt x="183" y="281"/>
                    </a:lnTo>
                    <a:lnTo>
                      <a:pt x="181" y="277"/>
                    </a:lnTo>
                    <a:lnTo>
                      <a:pt x="181" y="277"/>
                    </a:lnTo>
                    <a:lnTo>
                      <a:pt x="181" y="275"/>
                    </a:lnTo>
                    <a:lnTo>
                      <a:pt x="179" y="272"/>
                    </a:lnTo>
                    <a:lnTo>
                      <a:pt x="179" y="272"/>
                    </a:lnTo>
                    <a:lnTo>
                      <a:pt x="177" y="268"/>
                    </a:lnTo>
                    <a:lnTo>
                      <a:pt x="179" y="266"/>
                    </a:lnTo>
                    <a:lnTo>
                      <a:pt x="179" y="260"/>
                    </a:lnTo>
                    <a:lnTo>
                      <a:pt x="177" y="256"/>
                    </a:lnTo>
                    <a:lnTo>
                      <a:pt x="177" y="255"/>
                    </a:lnTo>
                    <a:lnTo>
                      <a:pt x="179" y="255"/>
                    </a:lnTo>
                    <a:lnTo>
                      <a:pt x="179" y="251"/>
                    </a:lnTo>
                    <a:lnTo>
                      <a:pt x="177" y="249"/>
                    </a:lnTo>
                    <a:lnTo>
                      <a:pt x="177" y="245"/>
                    </a:lnTo>
                    <a:lnTo>
                      <a:pt x="179" y="241"/>
                    </a:lnTo>
                    <a:lnTo>
                      <a:pt x="179" y="241"/>
                    </a:lnTo>
                    <a:lnTo>
                      <a:pt x="179" y="238"/>
                    </a:lnTo>
                    <a:lnTo>
                      <a:pt x="179" y="236"/>
                    </a:lnTo>
                    <a:lnTo>
                      <a:pt x="158" y="234"/>
                    </a:lnTo>
                    <a:lnTo>
                      <a:pt x="156" y="232"/>
                    </a:lnTo>
                    <a:lnTo>
                      <a:pt x="158" y="230"/>
                    </a:lnTo>
                    <a:lnTo>
                      <a:pt x="158" y="226"/>
                    </a:lnTo>
                    <a:lnTo>
                      <a:pt x="153" y="226"/>
                    </a:lnTo>
                    <a:lnTo>
                      <a:pt x="153" y="228"/>
                    </a:lnTo>
                    <a:lnTo>
                      <a:pt x="136" y="228"/>
                    </a:lnTo>
                    <a:lnTo>
                      <a:pt x="132" y="234"/>
                    </a:lnTo>
                    <a:lnTo>
                      <a:pt x="132" y="238"/>
                    </a:lnTo>
                    <a:lnTo>
                      <a:pt x="132" y="238"/>
                    </a:lnTo>
                    <a:lnTo>
                      <a:pt x="132" y="241"/>
                    </a:lnTo>
                    <a:lnTo>
                      <a:pt x="132" y="245"/>
                    </a:lnTo>
                    <a:lnTo>
                      <a:pt x="117" y="247"/>
                    </a:lnTo>
                    <a:lnTo>
                      <a:pt x="115" y="249"/>
                    </a:lnTo>
                    <a:lnTo>
                      <a:pt x="107" y="247"/>
                    </a:lnTo>
                    <a:lnTo>
                      <a:pt x="107" y="247"/>
                    </a:lnTo>
                    <a:lnTo>
                      <a:pt x="104" y="247"/>
                    </a:lnTo>
                    <a:lnTo>
                      <a:pt x="98" y="247"/>
                    </a:lnTo>
                    <a:lnTo>
                      <a:pt x="96" y="247"/>
                    </a:lnTo>
                    <a:lnTo>
                      <a:pt x="96" y="241"/>
                    </a:lnTo>
                    <a:lnTo>
                      <a:pt x="92" y="238"/>
                    </a:lnTo>
                    <a:lnTo>
                      <a:pt x="90" y="236"/>
                    </a:lnTo>
                    <a:lnTo>
                      <a:pt x="89" y="234"/>
                    </a:lnTo>
                    <a:lnTo>
                      <a:pt x="89" y="232"/>
                    </a:lnTo>
                    <a:lnTo>
                      <a:pt x="89" y="230"/>
                    </a:lnTo>
                    <a:lnTo>
                      <a:pt x="87" y="226"/>
                    </a:lnTo>
                    <a:lnTo>
                      <a:pt x="87" y="223"/>
                    </a:lnTo>
                    <a:lnTo>
                      <a:pt x="87" y="219"/>
                    </a:lnTo>
                    <a:lnTo>
                      <a:pt x="87" y="217"/>
                    </a:lnTo>
                    <a:lnTo>
                      <a:pt x="87" y="217"/>
                    </a:lnTo>
                    <a:lnTo>
                      <a:pt x="87" y="213"/>
                    </a:lnTo>
                    <a:lnTo>
                      <a:pt x="83" y="213"/>
                    </a:lnTo>
                    <a:lnTo>
                      <a:pt x="87" y="211"/>
                    </a:lnTo>
                    <a:lnTo>
                      <a:pt x="87" y="207"/>
                    </a:lnTo>
                    <a:lnTo>
                      <a:pt x="66" y="207"/>
                    </a:lnTo>
                    <a:lnTo>
                      <a:pt x="53" y="207"/>
                    </a:lnTo>
                    <a:lnTo>
                      <a:pt x="47" y="207"/>
                    </a:lnTo>
                    <a:lnTo>
                      <a:pt x="40" y="207"/>
                    </a:lnTo>
                    <a:lnTo>
                      <a:pt x="38" y="207"/>
                    </a:lnTo>
                    <a:lnTo>
                      <a:pt x="32" y="207"/>
                    </a:lnTo>
                    <a:lnTo>
                      <a:pt x="28" y="207"/>
                    </a:lnTo>
                    <a:lnTo>
                      <a:pt x="23" y="207"/>
                    </a:lnTo>
                    <a:lnTo>
                      <a:pt x="23" y="207"/>
                    </a:lnTo>
                    <a:lnTo>
                      <a:pt x="19" y="207"/>
                    </a:lnTo>
                    <a:lnTo>
                      <a:pt x="15" y="207"/>
                    </a:lnTo>
                    <a:lnTo>
                      <a:pt x="13" y="207"/>
                    </a:lnTo>
                    <a:lnTo>
                      <a:pt x="11" y="211"/>
                    </a:lnTo>
                    <a:lnTo>
                      <a:pt x="10" y="211"/>
                    </a:lnTo>
                    <a:lnTo>
                      <a:pt x="10" y="211"/>
                    </a:lnTo>
                    <a:lnTo>
                      <a:pt x="10" y="211"/>
                    </a:lnTo>
                    <a:lnTo>
                      <a:pt x="8" y="211"/>
                    </a:lnTo>
                    <a:lnTo>
                      <a:pt x="8" y="211"/>
                    </a:lnTo>
                    <a:lnTo>
                      <a:pt x="6" y="207"/>
                    </a:lnTo>
                    <a:lnTo>
                      <a:pt x="0" y="207"/>
                    </a:lnTo>
                    <a:lnTo>
                      <a:pt x="0" y="207"/>
                    </a:lnTo>
                    <a:lnTo>
                      <a:pt x="0" y="207"/>
                    </a:lnTo>
                    <a:lnTo>
                      <a:pt x="0" y="20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0" name="Freeform 142"/>
              <p:cNvSpPr>
                <a:spLocks/>
              </p:cNvSpPr>
              <p:nvPr/>
            </p:nvSpPr>
            <p:spPr bwMode="auto">
              <a:xfrm>
                <a:off x="3381" y="3278"/>
                <a:ext cx="59" cy="147"/>
              </a:xfrm>
              <a:custGeom>
                <a:avLst/>
                <a:gdLst/>
                <a:ahLst/>
                <a:cxnLst>
                  <a:cxn ang="0">
                    <a:pos x="6" y="0"/>
                  </a:cxn>
                  <a:cxn ang="0">
                    <a:pos x="10" y="0"/>
                  </a:cxn>
                  <a:cxn ang="0">
                    <a:pos x="12" y="4"/>
                  </a:cxn>
                  <a:cxn ang="0">
                    <a:pos x="15" y="4"/>
                  </a:cxn>
                  <a:cxn ang="0">
                    <a:pos x="19" y="4"/>
                  </a:cxn>
                  <a:cxn ang="0">
                    <a:pos x="21" y="8"/>
                  </a:cxn>
                  <a:cxn ang="0">
                    <a:pos x="30" y="15"/>
                  </a:cxn>
                  <a:cxn ang="0">
                    <a:pos x="30" y="55"/>
                  </a:cxn>
                  <a:cxn ang="0">
                    <a:pos x="32" y="74"/>
                  </a:cxn>
                  <a:cxn ang="0">
                    <a:pos x="40" y="79"/>
                  </a:cxn>
                  <a:cxn ang="0">
                    <a:pos x="44" y="83"/>
                  </a:cxn>
                  <a:cxn ang="0">
                    <a:pos x="51" y="93"/>
                  </a:cxn>
                  <a:cxn ang="0">
                    <a:pos x="59" y="102"/>
                  </a:cxn>
                  <a:cxn ang="0">
                    <a:pos x="59" y="106"/>
                  </a:cxn>
                  <a:cxn ang="0">
                    <a:pos x="57" y="108"/>
                  </a:cxn>
                  <a:cxn ang="0">
                    <a:pos x="53" y="111"/>
                  </a:cxn>
                  <a:cxn ang="0">
                    <a:pos x="53" y="113"/>
                  </a:cxn>
                  <a:cxn ang="0">
                    <a:pos x="55" y="121"/>
                  </a:cxn>
                  <a:cxn ang="0">
                    <a:pos x="51" y="126"/>
                  </a:cxn>
                  <a:cxn ang="0">
                    <a:pos x="46" y="134"/>
                  </a:cxn>
                  <a:cxn ang="0">
                    <a:pos x="44" y="138"/>
                  </a:cxn>
                  <a:cxn ang="0">
                    <a:pos x="44" y="147"/>
                  </a:cxn>
                  <a:cxn ang="0">
                    <a:pos x="38" y="145"/>
                  </a:cxn>
                  <a:cxn ang="0">
                    <a:pos x="38" y="142"/>
                  </a:cxn>
                  <a:cxn ang="0">
                    <a:pos x="32" y="138"/>
                  </a:cxn>
                  <a:cxn ang="0">
                    <a:pos x="27" y="130"/>
                  </a:cxn>
                  <a:cxn ang="0">
                    <a:pos x="27" y="123"/>
                  </a:cxn>
                  <a:cxn ang="0">
                    <a:pos x="27" y="117"/>
                  </a:cxn>
                  <a:cxn ang="0">
                    <a:pos x="32" y="108"/>
                  </a:cxn>
                  <a:cxn ang="0">
                    <a:pos x="32" y="100"/>
                  </a:cxn>
                  <a:cxn ang="0">
                    <a:pos x="27" y="94"/>
                  </a:cxn>
                  <a:cxn ang="0">
                    <a:pos x="21" y="96"/>
                  </a:cxn>
                  <a:cxn ang="0">
                    <a:pos x="17" y="98"/>
                  </a:cxn>
                  <a:cxn ang="0">
                    <a:pos x="14" y="93"/>
                  </a:cxn>
                  <a:cxn ang="0">
                    <a:pos x="10" y="89"/>
                  </a:cxn>
                  <a:cxn ang="0">
                    <a:pos x="4" y="89"/>
                  </a:cxn>
                  <a:cxn ang="0">
                    <a:pos x="2" y="83"/>
                  </a:cxn>
                  <a:cxn ang="0">
                    <a:pos x="0" y="79"/>
                  </a:cxn>
                  <a:cxn ang="0">
                    <a:pos x="4" y="76"/>
                  </a:cxn>
                  <a:cxn ang="0">
                    <a:pos x="4" y="70"/>
                  </a:cxn>
                  <a:cxn ang="0">
                    <a:pos x="4" y="66"/>
                  </a:cxn>
                  <a:cxn ang="0">
                    <a:pos x="8" y="62"/>
                  </a:cxn>
                  <a:cxn ang="0">
                    <a:pos x="14" y="59"/>
                  </a:cxn>
                  <a:cxn ang="0">
                    <a:pos x="14" y="57"/>
                  </a:cxn>
                  <a:cxn ang="0">
                    <a:pos x="12" y="55"/>
                  </a:cxn>
                  <a:cxn ang="0">
                    <a:pos x="12" y="51"/>
                  </a:cxn>
                  <a:cxn ang="0">
                    <a:pos x="12" y="45"/>
                  </a:cxn>
                  <a:cxn ang="0">
                    <a:pos x="12" y="42"/>
                  </a:cxn>
                  <a:cxn ang="0">
                    <a:pos x="10" y="34"/>
                  </a:cxn>
                  <a:cxn ang="0">
                    <a:pos x="15" y="29"/>
                  </a:cxn>
                  <a:cxn ang="0">
                    <a:pos x="15" y="27"/>
                  </a:cxn>
                  <a:cxn ang="0">
                    <a:pos x="15" y="19"/>
                  </a:cxn>
                  <a:cxn ang="0">
                    <a:pos x="12" y="15"/>
                  </a:cxn>
                  <a:cxn ang="0">
                    <a:pos x="14" y="8"/>
                  </a:cxn>
                  <a:cxn ang="0">
                    <a:pos x="8" y="8"/>
                  </a:cxn>
                  <a:cxn ang="0">
                    <a:pos x="6" y="4"/>
                  </a:cxn>
                  <a:cxn ang="0">
                    <a:pos x="4" y="0"/>
                  </a:cxn>
                </a:cxnLst>
                <a:rect l="0" t="0" r="r" b="b"/>
                <a:pathLst>
                  <a:path w="59" h="147">
                    <a:moveTo>
                      <a:pt x="4" y="0"/>
                    </a:moveTo>
                    <a:lnTo>
                      <a:pt x="6" y="0"/>
                    </a:lnTo>
                    <a:lnTo>
                      <a:pt x="8" y="0"/>
                    </a:lnTo>
                    <a:lnTo>
                      <a:pt x="10" y="0"/>
                    </a:lnTo>
                    <a:lnTo>
                      <a:pt x="12" y="0"/>
                    </a:lnTo>
                    <a:lnTo>
                      <a:pt x="12" y="4"/>
                    </a:lnTo>
                    <a:lnTo>
                      <a:pt x="14" y="4"/>
                    </a:lnTo>
                    <a:lnTo>
                      <a:pt x="15" y="4"/>
                    </a:lnTo>
                    <a:lnTo>
                      <a:pt x="17" y="4"/>
                    </a:lnTo>
                    <a:lnTo>
                      <a:pt x="19" y="4"/>
                    </a:lnTo>
                    <a:lnTo>
                      <a:pt x="19" y="4"/>
                    </a:lnTo>
                    <a:lnTo>
                      <a:pt x="21" y="8"/>
                    </a:lnTo>
                    <a:lnTo>
                      <a:pt x="23" y="8"/>
                    </a:lnTo>
                    <a:lnTo>
                      <a:pt x="30" y="15"/>
                    </a:lnTo>
                    <a:lnTo>
                      <a:pt x="30" y="23"/>
                    </a:lnTo>
                    <a:lnTo>
                      <a:pt x="30" y="55"/>
                    </a:lnTo>
                    <a:lnTo>
                      <a:pt x="30" y="57"/>
                    </a:lnTo>
                    <a:lnTo>
                      <a:pt x="32" y="74"/>
                    </a:lnTo>
                    <a:lnTo>
                      <a:pt x="38" y="78"/>
                    </a:lnTo>
                    <a:lnTo>
                      <a:pt x="40" y="79"/>
                    </a:lnTo>
                    <a:lnTo>
                      <a:pt x="42" y="81"/>
                    </a:lnTo>
                    <a:lnTo>
                      <a:pt x="44" y="83"/>
                    </a:lnTo>
                    <a:lnTo>
                      <a:pt x="51" y="87"/>
                    </a:lnTo>
                    <a:lnTo>
                      <a:pt x="51" y="93"/>
                    </a:lnTo>
                    <a:lnTo>
                      <a:pt x="57" y="96"/>
                    </a:lnTo>
                    <a:lnTo>
                      <a:pt x="59" y="102"/>
                    </a:lnTo>
                    <a:lnTo>
                      <a:pt x="59" y="104"/>
                    </a:lnTo>
                    <a:lnTo>
                      <a:pt x="59" y="106"/>
                    </a:lnTo>
                    <a:lnTo>
                      <a:pt x="57" y="108"/>
                    </a:lnTo>
                    <a:lnTo>
                      <a:pt x="57" y="108"/>
                    </a:lnTo>
                    <a:lnTo>
                      <a:pt x="53" y="108"/>
                    </a:lnTo>
                    <a:lnTo>
                      <a:pt x="53" y="111"/>
                    </a:lnTo>
                    <a:lnTo>
                      <a:pt x="55" y="111"/>
                    </a:lnTo>
                    <a:lnTo>
                      <a:pt x="53" y="113"/>
                    </a:lnTo>
                    <a:lnTo>
                      <a:pt x="55" y="117"/>
                    </a:lnTo>
                    <a:lnTo>
                      <a:pt x="55" y="121"/>
                    </a:lnTo>
                    <a:lnTo>
                      <a:pt x="55" y="125"/>
                    </a:lnTo>
                    <a:lnTo>
                      <a:pt x="51" y="126"/>
                    </a:lnTo>
                    <a:lnTo>
                      <a:pt x="47" y="128"/>
                    </a:lnTo>
                    <a:lnTo>
                      <a:pt x="46" y="134"/>
                    </a:lnTo>
                    <a:lnTo>
                      <a:pt x="46" y="138"/>
                    </a:lnTo>
                    <a:lnTo>
                      <a:pt x="44" y="138"/>
                    </a:lnTo>
                    <a:lnTo>
                      <a:pt x="44" y="145"/>
                    </a:lnTo>
                    <a:lnTo>
                      <a:pt x="44" y="147"/>
                    </a:lnTo>
                    <a:lnTo>
                      <a:pt x="40" y="147"/>
                    </a:lnTo>
                    <a:lnTo>
                      <a:pt x="38" y="145"/>
                    </a:lnTo>
                    <a:lnTo>
                      <a:pt x="40" y="145"/>
                    </a:lnTo>
                    <a:lnTo>
                      <a:pt x="38" y="142"/>
                    </a:lnTo>
                    <a:lnTo>
                      <a:pt x="36" y="138"/>
                    </a:lnTo>
                    <a:lnTo>
                      <a:pt x="32" y="138"/>
                    </a:lnTo>
                    <a:lnTo>
                      <a:pt x="30" y="134"/>
                    </a:lnTo>
                    <a:lnTo>
                      <a:pt x="27" y="130"/>
                    </a:lnTo>
                    <a:lnTo>
                      <a:pt x="27" y="128"/>
                    </a:lnTo>
                    <a:lnTo>
                      <a:pt x="27" y="123"/>
                    </a:lnTo>
                    <a:lnTo>
                      <a:pt x="25" y="121"/>
                    </a:lnTo>
                    <a:lnTo>
                      <a:pt x="27" y="117"/>
                    </a:lnTo>
                    <a:lnTo>
                      <a:pt x="27" y="113"/>
                    </a:lnTo>
                    <a:lnTo>
                      <a:pt x="32" y="108"/>
                    </a:lnTo>
                    <a:lnTo>
                      <a:pt x="32" y="104"/>
                    </a:lnTo>
                    <a:lnTo>
                      <a:pt x="32" y="100"/>
                    </a:lnTo>
                    <a:lnTo>
                      <a:pt x="32" y="96"/>
                    </a:lnTo>
                    <a:lnTo>
                      <a:pt x="27" y="94"/>
                    </a:lnTo>
                    <a:lnTo>
                      <a:pt x="23" y="94"/>
                    </a:lnTo>
                    <a:lnTo>
                      <a:pt x="21" y="96"/>
                    </a:lnTo>
                    <a:lnTo>
                      <a:pt x="17" y="96"/>
                    </a:lnTo>
                    <a:lnTo>
                      <a:pt x="17" y="98"/>
                    </a:lnTo>
                    <a:lnTo>
                      <a:pt x="14" y="96"/>
                    </a:lnTo>
                    <a:lnTo>
                      <a:pt x="14" y="93"/>
                    </a:lnTo>
                    <a:lnTo>
                      <a:pt x="12" y="93"/>
                    </a:lnTo>
                    <a:lnTo>
                      <a:pt x="10" y="89"/>
                    </a:lnTo>
                    <a:lnTo>
                      <a:pt x="10" y="87"/>
                    </a:lnTo>
                    <a:lnTo>
                      <a:pt x="4" y="89"/>
                    </a:lnTo>
                    <a:lnTo>
                      <a:pt x="4" y="87"/>
                    </a:lnTo>
                    <a:lnTo>
                      <a:pt x="2" y="83"/>
                    </a:lnTo>
                    <a:lnTo>
                      <a:pt x="0" y="81"/>
                    </a:lnTo>
                    <a:lnTo>
                      <a:pt x="0" y="79"/>
                    </a:lnTo>
                    <a:lnTo>
                      <a:pt x="0" y="79"/>
                    </a:lnTo>
                    <a:lnTo>
                      <a:pt x="4" y="76"/>
                    </a:lnTo>
                    <a:lnTo>
                      <a:pt x="4" y="72"/>
                    </a:lnTo>
                    <a:lnTo>
                      <a:pt x="4" y="70"/>
                    </a:lnTo>
                    <a:lnTo>
                      <a:pt x="4" y="68"/>
                    </a:lnTo>
                    <a:lnTo>
                      <a:pt x="4" y="66"/>
                    </a:lnTo>
                    <a:lnTo>
                      <a:pt x="4" y="64"/>
                    </a:lnTo>
                    <a:lnTo>
                      <a:pt x="8" y="62"/>
                    </a:lnTo>
                    <a:lnTo>
                      <a:pt x="12" y="62"/>
                    </a:lnTo>
                    <a:lnTo>
                      <a:pt x="14" y="59"/>
                    </a:lnTo>
                    <a:lnTo>
                      <a:pt x="15" y="59"/>
                    </a:lnTo>
                    <a:lnTo>
                      <a:pt x="14" y="57"/>
                    </a:lnTo>
                    <a:lnTo>
                      <a:pt x="12" y="57"/>
                    </a:lnTo>
                    <a:lnTo>
                      <a:pt x="12" y="55"/>
                    </a:lnTo>
                    <a:lnTo>
                      <a:pt x="12" y="51"/>
                    </a:lnTo>
                    <a:lnTo>
                      <a:pt x="12" y="51"/>
                    </a:lnTo>
                    <a:lnTo>
                      <a:pt x="14" y="49"/>
                    </a:lnTo>
                    <a:lnTo>
                      <a:pt x="12" y="45"/>
                    </a:lnTo>
                    <a:lnTo>
                      <a:pt x="12" y="44"/>
                    </a:lnTo>
                    <a:lnTo>
                      <a:pt x="12" y="42"/>
                    </a:lnTo>
                    <a:lnTo>
                      <a:pt x="12" y="38"/>
                    </a:lnTo>
                    <a:lnTo>
                      <a:pt x="10" y="34"/>
                    </a:lnTo>
                    <a:lnTo>
                      <a:pt x="12" y="32"/>
                    </a:lnTo>
                    <a:lnTo>
                      <a:pt x="15" y="29"/>
                    </a:lnTo>
                    <a:lnTo>
                      <a:pt x="15" y="27"/>
                    </a:lnTo>
                    <a:lnTo>
                      <a:pt x="15" y="27"/>
                    </a:lnTo>
                    <a:lnTo>
                      <a:pt x="15" y="21"/>
                    </a:lnTo>
                    <a:lnTo>
                      <a:pt x="15" y="19"/>
                    </a:lnTo>
                    <a:lnTo>
                      <a:pt x="12" y="17"/>
                    </a:lnTo>
                    <a:lnTo>
                      <a:pt x="12" y="15"/>
                    </a:lnTo>
                    <a:lnTo>
                      <a:pt x="14" y="10"/>
                    </a:lnTo>
                    <a:lnTo>
                      <a:pt x="14" y="8"/>
                    </a:lnTo>
                    <a:lnTo>
                      <a:pt x="12" y="8"/>
                    </a:lnTo>
                    <a:lnTo>
                      <a:pt x="8" y="8"/>
                    </a:lnTo>
                    <a:lnTo>
                      <a:pt x="8" y="4"/>
                    </a:lnTo>
                    <a:lnTo>
                      <a:pt x="6" y="4"/>
                    </a:lnTo>
                    <a:lnTo>
                      <a:pt x="4" y="0"/>
                    </a:lnTo>
                    <a:lnTo>
                      <a:pt x="4" y="0"/>
                    </a:lnTo>
                    <a:lnTo>
                      <a:pt x="4"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1" name="Freeform 143"/>
              <p:cNvSpPr>
                <a:spLocks/>
              </p:cNvSpPr>
              <p:nvPr/>
            </p:nvSpPr>
            <p:spPr bwMode="auto">
              <a:xfrm>
                <a:off x="3381" y="3278"/>
                <a:ext cx="59" cy="147"/>
              </a:xfrm>
              <a:custGeom>
                <a:avLst/>
                <a:gdLst/>
                <a:ahLst/>
                <a:cxnLst>
                  <a:cxn ang="0">
                    <a:pos x="6" y="0"/>
                  </a:cxn>
                  <a:cxn ang="0">
                    <a:pos x="10" y="0"/>
                  </a:cxn>
                  <a:cxn ang="0">
                    <a:pos x="12" y="4"/>
                  </a:cxn>
                  <a:cxn ang="0">
                    <a:pos x="15" y="4"/>
                  </a:cxn>
                  <a:cxn ang="0">
                    <a:pos x="19" y="4"/>
                  </a:cxn>
                  <a:cxn ang="0">
                    <a:pos x="21" y="8"/>
                  </a:cxn>
                  <a:cxn ang="0">
                    <a:pos x="30" y="15"/>
                  </a:cxn>
                  <a:cxn ang="0">
                    <a:pos x="30" y="55"/>
                  </a:cxn>
                  <a:cxn ang="0">
                    <a:pos x="32" y="74"/>
                  </a:cxn>
                  <a:cxn ang="0">
                    <a:pos x="40" y="79"/>
                  </a:cxn>
                  <a:cxn ang="0">
                    <a:pos x="44" y="83"/>
                  </a:cxn>
                  <a:cxn ang="0">
                    <a:pos x="51" y="93"/>
                  </a:cxn>
                  <a:cxn ang="0">
                    <a:pos x="59" y="102"/>
                  </a:cxn>
                  <a:cxn ang="0">
                    <a:pos x="59" y="106"/>
                  </a:cxn>
                  <a:cxn ang="0">
                    <a:pos x="57" y="108"/>
                  </a:cxn>
                  <a:cxn ang="0">
                    <a:pos x="53" y="111"/>
                  </a:cxn>
                  <a:cxn ang="0">
                    <a:pos x="53" y="113"/>
                  </a:cxn>
                  <a:cxn ang="0">
                    <a:pos x="55" y="121"/>
                  </a:cxn>
                  <a:cxn ang="0">
                    <a:pos x="51" y="126"/>
                  </a:cxn>
                  <a:cxn ang="0">
                    <a:pos x="46" y="134"/>
                  </a:cxn>
                  <a:cxn ang="0">
                    <a:pos x="44" y="138"/>
                  </a:cxn>
                  <a:cxn ang="0">
                    <a:pos x="44" y="147"/>
                  </a:cxn>
                  <a:cxn ang="0">
                    <a:pos x="38" y="145"/>
                  </a:cxn>
                  <a:cxn ang="0">
                    <a:pos x="38" y="142"/>
                  </a:cxn>
                  <a:cxn ang="0">
                    <a:pos x="32" y="138"/>
                  </a:cxn>
                  <a:cxn ang="0">
                    <a:pos x="27" y="130"/>
                  </a:cxn>
                  <a:cxn ang="0">
                    <a:pos x="27" y="123"/>
                  </a:cxn>
                  <a:cxn ang="0">
                    <a:pos x="27" y="117"/>
                  </a:cxn>
                  <a:cxn ang="0">
                    <a:pos x="32" y="108"/>
                  </a:cxn>
                  <a:cxn ang="0">
                    <a:pos x="32" y="100"/>
                  </a:cxn>
                  <a:cxn ang="0">
                    <a:pos x="27" y="94"/>
                  </a:cxn>
                  <a:cxn ang="0">
                    <a:pos x="21" y="96"/>
                  </a:cxn>
                  <a:cxn ang="0">
                    <a:pos x="17" y="98"/>
                  </a:cxn>
                  <a:cxn ang="0">
                    <a:pos x="14" y="93"/>
                  </a:cxn>
                  <a:cxn ang="0">
                    <a:pos x="10" y="89"/>
                  </a:cxn>
                  <a:cxn ang="0">
                    <a:pos x="4" y="89"/>
                  </a:cxn>
                  <a:cxn ang="0">
                    <a:pos x="2" y="83"/>
                  </a:cxn>
                  <a:cxn ang="0">
                    <a:pos x="0" y="79"/>
                  </a:cxn>
                  <a:cxn ang="0">
                    <a:pos x="4" y="76"/>
                  </a:cxn>
                  <a:cxn ang="0">
                    <a:pos x="4" y="70"/>
                  </a:cxn>
                  <a:cxn ang="0">
                    <a:pos x="4" y="66"/>
                  </a:cxn>
                  <a:cxn ang="0">
                    <a:pos x="8" y="62"/>
                  </a:cxn>
                  <a:cxn ang="0">
                    <a:pos x="14" y="59"/>
                  </a:cxn>
                  <a:cxn ang="0">
                    <a:pos x="14" y="57"/>
                  </a:cxn>
                  <a:cxn ang="0">
                    <a:pos x="12" y="55"/>
                  </a:cxn>
                  <a:cxn ang="0">
                    <a:pos x="12" y="51"/>
                  </a:cxn>
                  <a:cxn ang="0">
                    <a:pos x="12" y="45"/>
                  </a:cxn>
                  <a:cxn ang="0">
                    <a:pos x="12" y="42"/>
                  </a:cxn>
                  <a:cxn ang="0">
                    <a:pos x="10" y="34"/>
                  </a:cxn>
                  <a:cxn ang="0">
                    <a:pos x="15" y="29"/>
                  </a:cxn>
                  <a:cxn ang="0">
                    <a:pos x="15" y="27"/>
                  </a:cxn>
                  <a:cxn ang="0">
                    <a:pos x="15" y="19"/>
                  </a:cxn>
                  <a:cxn ang="0">
                    <a:pos x="12" y="15"/>
                  </a:cxn>
                  <a:cxn ang="0">
                    <a:pos x="14" y="8"/>
                  </a:cxn>
                  <a:cxn ang="0">
                    <a:pos x="8" y="8"/>
                  </a:cxn>
                  <a:cxn ang="0">
                    <a:pos x="6" y="4"/>
                  </a:cxn>
                  <a:cxn ang="0">
                    <a:pos x="4" y="0"/>
                  </a:cxn>
                </a:cxnLst>
                <a:rect l="0" t="0" r="r" b="b"/>
                <a:pathLst>
                  <a:path w="59" h="147">
                    <a:moveTo>
                      <a:pt x="4" y="0"/>
                    </a:moveTo>
                    <a:lnTo>
                      <a:pt x="6" y="0"/>
                    </a:lnTo>
                    <a:lnTo>
                      <a:pt x="8" y="0"/>
                    </a:lnTo>
                    <a:lnTo>
                      <a:pt x="10" y="0"/>
                    </a:lnTo>
                    <a:lnTo>
                      <a:pt x="12" y="0"/>
                    </a:lnTo>
                    <a:lnTo>
                      <a:pt x="12" y="4"/>
                    </a:lnTo>
                    <a:lnTo>
                      <a:pt x="14" y="4"/>
                    </a:lnTo>
                    <a:lnTo>
                      <a:pt x="15" y="4"/>
                    </a:lnTo>
                    <a:lnTo>
                      <a:pt x="17" y="4"/>
                    </a:lnTo>
                    <a:lnTo>
                      <a:pt x="19" y="4"/>
                    </a:lnTo>
                    <a:lnTo>
                      <a:pt x="19" y="4"/>
                    </a:lnTo>
                    <a:lnTo>
                      <a:pt x="21" y="8"/>
                    </a:lnTo>
                    <a:lnTo>
                      <a:pt x="23" y="8"/>
                    </a:lnTo>
                    <a:lnTo>
                      <a:pt x="30" y="15"/>
                    </a:lnTo>
                    <a:lnTo>
                      <a:pt x="30" y="23"/>
                    </a:lnTo>
                    <a:lnTo>
                      <a:pt x="30" y="55"/>
                    </a:lnTo>
                    <a:lnTo>
                      <a:pt x="30" y="57"/>
                    </a:lnTo>
                    <a:lnTo>
                      <a:pt x="32" y="74"/>
                    </a:lnTo>
                    <a:lnTo>
                      <a:pt x="38" y="78"/>
                    </a:lnTo>
                    <a:lnTo>
                      <a:pt x="40" y="79"/>
                    </a:lnTo>
                    <a:lnTo>
                      <a:pt x="42" y="81"/>
                    </a:lnTo>
                    <a:lnTo>
                      <a:pt x="44" y="83"/>
                    </a:lnTo>
                    <a:lnTo>
                      <a:pt x="51" y="87"/>
                    </a:lnTo>
                    <a:lnTo>
                      <a:pt x="51" y="93"/>
                    </a:lnTo>
                    <a:lnTo>
                      <a:pt x="57" y="96"/>
                    </a:lnTo>
                    <a:lnTo>
                      <a:pt x="59" y="102"/>
                    </a:lnTo>
                    <a:lnTo>
                      <a:pt x="59" y="104"/>
                    </a:lnTo>
                    <a:lnTo>
                      <a:pt x="59" y="106"/>
                    </a:lnTo>
                    <a:lnTo>
                      <a:pt x="57" y="108"/>
                    </a:lnTo>
                    <a:lnTo>
                      <a:pt x="57" y="108"/>
                    </a:lnTo>
                    <a:lnTo>
                      <a:pt x="53" y="108"/>
                    </a:lnTo>
                    <a:lnTo>
                      <a:pt x="53" y="111"/>
                    </a:lnTo>
                    <a:lnTo>
                      <a:pt x="55" y="111"/>
                    </a:lnTo>
                    <a:lnTo>
                      <a:pt x="53" y="113"/>
                    </a:lnTo>
                    <a:lnTo>
                      <a:pt x="55" y="117"/>
                    </a:lnTo>
                    <a:lnTo>
                      <a:pt x="55" y="121"/>
                    </a:lnTo>
                    <a:lnTo>
                      <a:pt x="55" y="125"/>
                    </a:lnTo>
                    <a:lnTo>
                      <a:pt x="51" y="126"/>
                    </a:lnTo>
                    <a:lnTo>
                      <a:pt x="47" y="128"/>
                    </a:lnTo>
                    <a:lnTo>
                      <a:pt x="46" y="134"/>
                    </a:lnTo>
                    <a:lnTo>
                      <a:pt x="46" y="138"/>
                    </a:lnTo>
                    <a:lnTo>
                      <a:pt x="44" y="138"/>
                    </a:lnTo>
                    <a:lnTo>
                      <a:pt x="44" y="145"/>
                    </a:lnTo>
                    <a:lnTo>
                      <a:pt x="44" y="147"/>
                    </a:lnTo>
                    <a:lnTo>
                      <a:pt x="40" y="147"/>
                    </a:lnTo>
                    <a:lnTo>
                      <a:pt x="38" y="145"/>
                    </a:lnTo>
                    <a:lnTo>
                      <a:pt x="40" y="145"/>
                    </a:lnTo>
                    <a:lnTo>
                      <a:pt x="38" y="142"/>
                    </a:lnTo>
                    <a:lnTo>
                      <a:pt x="36" y="138"/>
                    </a:lnTo>
                    <a:lnTo>
                      <a:pt x="32" y="138"/>
                    </a:lnTo>
                    <a:lnTo>
                      <a:pt x="30" y="134"/>
                    </a:lnTo>
                    <a:lnTo>
                      <a:pt x="27" y="130"/>
                    </a:lnTo>
                    <a:lnTo>
                      <a:pt x="27" y="128"/>
                    </a:lnTo>
                    <a:lnTo>
                      <a:pt x="27" y="123"/>
                    </a:lnTo>
                    <a:lnTo>
                      <a:pt x="25" y="121"/>
                    </a:lnTo>
                    <a:lnTo>
                      <a:pt x="27" y="117"/>
                    </a:lnTo>
                    <a:lnTo>
                      <a:pt x="27" y="113"/>
                    </a:lnTo>
                    <a:lnTo>
                      <a:pt x="32" y="108"/>
                    </a:lnTo>
                    <a:lnTo>
                      <a:pt x="32" y="104"/>
                    </a:lnTo>
                    <a:lnTo>
                      <a:pt x="32" y="100"/>
                    </a:lnTo>
                    <a:lnTo>
                      <a:pt x="32" y="96"/>
                    </a:lnTo>
                    <a:lnTo>
                      <a:pt x="27" y="94"/>
                    </a:lnTo>
                    <a:lnTo>
                      <a:pt x="23" y="94"/>
                    </a:lnTo>
                    <a:lnTo>
                      <a:pt x="21" y="96"/>
                    </a:lnTo>
                    <a:lnTo>
                      <a:pt x="17" y="96"/>
                    </a:lnTo>
                    <a:lnTo>
                      <a:pt x="17" y="98"/>
                    </a:lnTo>
                    <a:lnTo>
                      <a:pt x="14" y="96"/>
                    </a:lnTo>
                    <a:lnTo>
                      <a:pt x="14" y="93"/>
                    </a:lnTo>
                    <a:lnTo>
                      <a:pt x="12" y="93"/>
                    </a:lnTo>
                    <a:lnTo>
                      <a:pt x="10" y="89"/>
                    </a:lnTo>
                    <a:lnTo>
                      <a:pt x="10" y="87"/>
                    </a:lnTo>
                    <a:lnTo>
                      <a:pt x="4" y="89"/>
                    </a:lnTo>
                    <a:lnTo>
                      <a:pt x="4" y="87"/>
                    </a:lnTo>
                    <a:lnTo>
                      <a:pt x="2" y="83"/>
                    </a:lnTo>
                    <a:lnTo>
                      <a:pt x="0" y="81"/>
                    </a:lnTo>
                    <a:lnTo>
                      <a:pt x="0" y="79"/>
                    </a:lnTo>
                    <a:lnTo>
                      <a:pt x="0" y="79"/>
                    </a:lnTo>
                    <a:lnTo>
                      <a:pt x="4" y="76"/>
                    </a:lnTo>
                    <a:lnTo>
                      <a:pt x="4" y="72"/>
                    </a:lnTo>
                    <a:lnTo>
                      <a:pt x="4" y="70"/>
                    </a:lnTo>
                    <a:lnTo>
                      <a:pt x="4" y="68"/>
                    </a:lnTo>
                    <a:lnTo>
                      <a:pt x="4" y="66"/>
                    </a:lnTo>
                    <a:lnTo>
                      <a:pt x="4" y="64"/>
                    </a:lnTo>
                    <a:lnTo>
                      <a:pt x="8" y="62"/>
                    </a:lnTo>
                    <a:lnTo>
                      <a:pt x="12" y="62"/>
                    </a:lnTo>
                    <a:lnTo>
                      <a:pt x="14" y="59"/>
                    </a:lnTo>
                    <a:lnTo>
                      <a:pt x="15" y="59"/>
                    </a:lnTo>
                    <a:lnTo>
                      <a:pt x="14" y="57"/>
                    </a:lnTo>
                    <a:lnTo>
                      <a:pt x="12" y="57"/>
                    </a:lnTo>
                    <a:lnTo>
                      <a:pt x="12" y="55"/>
                    </a:lnTo>
                    <a:lnTo>
                      <a:pt x="12" y="51"/>
                    </a:lnTo>
                    <a:lnTo>
                      <a:pt x="12" y="51"/>
                    </a:lnTo>
                    <a:lnTo>
                      <a:pt x="14" y="49"/>
                    </a:lnTo>
                    <a:lnTo>
                      <a:pt x="12" y="45"/>
                    </a:lnTo>
                    <a:lnTo>
                      <a:pt x="12" y="44"/>
                    </a:lnTo>
                    <a:lnTo>
                      <a:pt x="12" y="42"/>
                    </a:lnTo>
                    <a:lnTo>
                      <a:pt x="12" y="38"/>
                    </a:lnTo>
                    <a:lnTo>
                      <a:pt x="10" y="34"/>
                    </a:lnTo>
                    <a:lnTo>
                      <a:pt x="12" y="32"/>
                    </a:lnTo>
                    <a:lnTo>
                      <a:pt x="15" y="29"/>
                    </a:lnTo>
                    <a:lnTo>
                      <a:pt x="15" y="27"/>
                    </a:lnTo>
                    <a:lnTo>
                      <a:pt x="15" y="27"/>
                    </a:lnTo>
                    <a:lnTo>
                      <a:pt x="15" y="21"/>
                    </a:lnTo>
                    <a:lnTo>
                      <a:pt x="15" y="19"/>
                    </a:lnTo>
                    <a:lnTo>
                      <a:pt x="12" y="17"/>
                    </a:lnTo>
                    <a:lnTo>
                      <a:pt x="12" y="15"/>
                    </a:lnTo>
                    <a:lnTo>
                      <a:pt x="14" y="10"/>
                    </a:lnTo>
                    <a:lnTo>
                      <a:pt x="14" y="8"/>
                    </a:lnTo>
                    <a:lnTo>
                      <a:pt x="12" y="8"/>
                    </a:lnTo>
                    <a:lnTo>
                      <a:pt x="8" y="8"/>
                    </a:lnTo>
                    <a:lnTo>
                      <a:pt x="8" y="4"/>
                    </a:lnTo>
                    <a:lnTo>
                      <a:pt x="6" y="4"/>
                    </a:lnTo>
                    <a:lnTo>
                      <a:pt x="4" y="0"/>
                    </a:lnTo>
                    <a:lnTo>
                      <a:pt x="4" y="0"/>
                    </a:lnTo>
                    <a:lnTo>
                      <a:pt x="4"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2" name="Freeform 144"/>
              <p:cNvSpPr>
                <a:spLocks/>
              </p:cNvSpPr>
              <p:nvPr/>
            </p:nvSpPr>
            <p:spPr bwMode="auto">
              <a:xfrm>
                <a:off x="3180" y="3256"/>
                <a:ext cx="216" cy="186"/>
              </a:xfrm>
              <a:custGeom>
                <a:avLst/>
                <a:gdLst/>
                <a:ahLst/>
                <a:cxnLst>
                  <a:cxn ang="0">
                    <a:pos x="47" y="54"/>
                  </a:cxn>
                  <a:cxn ang="0">
                    <a:pos x="49" y="62"/>
                  </a:cxn>
                  <a:cxn ang="0">
                    <a:pos x="58" y="56"/>
                  </a:cxn>
                  <a:cxn ang="0">
                    <a:pos x="66" y="62"/>
                  </a:cxn>
                  <a:cxn ang="0">
                    <a:pos x="71" y="67"/>
                  </a:cxn>
                  <a:cxn ang="0">
                    <a:pos x="83" y="73"/>
                  </a:cxn>
                  <a:cxn ang="0">
                    <a:pos x="92" y="69"/>
                  </a:cxn>
                  <a:cxn ang="0">
                    <a:pos x="100" y="64"/>
                  </a:cxn>
                  <a:cxn ang="0">
                    <a:pos x="109" y="75"/>
                  </a:cxn>
                  <a:cxn ang="0">
                    <a:pos x="126" y="90"/>
                  </a:cxn>
                  <a:cxn ang="0">
                    <a:pos x="139" y="98"/>
                  </a:cxn>
                  <a:cxn ang="0">
                    <a:pos x="147" y="98"/>
                  </a:cxn>
                  <a:cxn ang="0">
                    <a:pos x="139" y="75"/>
                  </a:cxn>
                  <a:cxn ang="0">
                    <a:pos x="134" y="81"/>
                  </a:cxn>
                  <a:cxn ang="0">
                    <a:pos x="122" y="67"/>
                  </a:cxn>
                  <a:cxn ang="0">
                    <a:pos x="126" y="49"/>
                  </a:cxn>
                  <a:cxn ang="0">
                    <a:pos x="130" y="39"/>
                  </a:cxn>
                  <a:cxn ang="0">
                    <a:pos x="130" y="30"/>
                  </a:cxn>
                  <a:cxn ang="0">
                    <a:pos x="124" y="20"/>
                  </a:cxn>
                  <a:cxn ang="0">
                    <a:pos x="173" y="3"/>
                  </a:cxn>
                  <a:cxn ang="0">
                    <a:pos x="183" y="7"/>
                  </a:cxn>
                  <a:cxn ang="0">
                    <a:pos x="198" y="13"/>
                  </a:cxn>
                  <a:cxn ang="0">
                    <a:pos x="207" y="20"/>
                  </a:cxn>
                  <a:cxn ang="0">
                    <a:pos x="209" y="30"/>
                  </a:cxn>
                  <a:cxn ang="0">
                    <a:pos x="213" y="37"/>
                  </a:cxn>
                  <a:cxn ang="0">
                    <a:pos x="216" y="49"/>
                  </a:cxn>
                  <a:cxn ang="0">
                    <a:pos x="211" y="56"/>
                  </a:cxn>
                  <a:cxn ang="0">
                    <a:pos x="213" y="67"/>
                  </a:cxn>
                  <a:cxn ang="0">
                    <a:pos x="213" y="75"/>
                  </a:cxn>
                  <a:cxn ang="0">
                    <a:pos x="215" y="81"/>
                  </a:cxn>
                  <a:cxn ang="0">
                    <a:pos x="207" y="88"/>
                  </a:cxn>
                  <a:cxn ang="0">
                    <a:pos x="207" y="98"/>
                  </a:cxn>
                  <a:cxn ang="0">
                    <a:pos x="203" y="105"/>
                  </a:cxn>
                  <a:cxn ang="0">
                    <a:pos x="201" y="115"/>
                  </a:cxn>
                  <a:cxn ang="0">
                    <a:pos x="164" y="126"/>
                  </a:cxn>
                  <a:cxn ang="0">
                    <a:pos x="158" y="139"/>
                  </a:cxn>
                  <a:cxn ang="0">
                    <a:pos x="149" y="139"/>
                  </a:cxn>
                  <a:cxn ang="0">
                    <a:pos x="135" y="143"/>
                  </a:cxn>
                  <a:cxn ang="0">
                    <a:pos x="128" y="150"/>
                  </a:cxn>
                  <a:cxn ang="0">
                    <a:pos x="126" y="156"/>
                  </a:cxn>
                  <a:cxn ang="0">
                    <a:pos x="96" y="184"/>
                  </a:cxn>
                  <a:cxn ang="0">
                    <a:pos x="83" y="182"/>
                  </a:cxn>
                  <a:cxn ang="0">
                    <a:pos x="75" y="182"/>
                  </a:cxn>
                  <a:cxn ang="0">
                    <a:pos x="66" y="181"/>
                  </a:cxn>
                  <a:cxn ang="0">
                    <a:pos x="56" y="177"/>
                  </a:cxn>
                  <a:cxn ang="0">
                    <a:pos x="51" y="175"/>
                  </a:cxn>
                  <a:cxn ang="0">
                    <a:pos x="28" y="179"/>
                  </a:cxn>
                  <a:cxn ang="0">
                    <a:pos x="19" y="169"/>
                  </a:cxn>
                  <a:cxn ang="0">
                    <a:pos x="7" y="160"/>
                  </a:cxn>
                  <a:cxn ang="0">
                    <a:pos x="0" y="152"/>
                  </a:cxn>
                  <a:cxn ang="0">
                    <a:pos x="41" y="84"/>
                  </a:cxn>
                  <a:cxn ang="0">
                    <a:pos x="41" y="71"/>
                  </a:cxn>
                  <a:cxn ang="0">
                    <a:pos x="41" y="54"/>
                  </a:cxn>
                </a:cxnLst>
                <a:rect l="0" t="0" r="r" b="b"/>
                <a:pathLst>
                  <a:path w="216" h="186">
                    <a:moveTo>
                      <a:pt x="41" y="54"/>
                    </a:moveTo>
                    <a:lnTo>
                      <a:pt x="43" y="54"/>
                    </a:lnTo>
                    <a:lnTo>
                      <a:pt x="43" y="54"/>
                    </a:lnTo>
                    <a:lnTo>
                      <a:pt x="47" y="54"/>
                    </a:lnTo>
                    <a:lnTo>
                      <a:pt x="47" y="56"/>
                    </a:lnTo>
                    <a:lnTo>
                      <a:pt x="47" y="60"/>
                    </a:lnTo>
                    <a:lnTo>
                      <a:pt x="49" y="62"/>
                    </a:lnTo>
                    <a:lnTo>
                      <a:pt x="49" y="62"/>
                    </a:lnTo>
                    <a:lnTo>
                      <a:pt x="53" y="60"/>
                    </a:lnTo>
                    <a:lnTo>
                      <a:pt x="55" y="58"/>
                    </a:lnTo>
                    <a:lnTo>
                      <a:pt x="58" y="58"/>
                    </a:lnTo>
                    <a:lnTo>
                      <a:pt x="58" y="56"/>
                    </a:lnTo>
                    <a:lnTo>
                      <a:pt x="64" y="56"/>
                    </a:lnTo>
                    <a:lnTo>
                      <a:pt x="66" y="56"/>
                    </a:lnTo>
                    <a:lnTo>
                      <a:pt x="66" y="60"/>
                    </a:lnTo>
                    <a:lnTo>
                      <a:pt x="66" y="62"/>
                    </a:lnTo>
                    <a:lnTo>
                      <a:pt x="66" y="64"/>
                    </a:lnTo>
                    <a:lnTo>
                      <a:pt x="66" y="66"/>
                    </a:lnTo>
                    <a:lnTo>
                      <a:pt x="68" y="66"/>
                    </a:lnTo>
                    <a:lnTo>
                      <a:pt x="71" y="67"/>
                    </a:lnTo>
                    <a:lnTo>
                      <a:pt x="71" y="67"/>
                    </a:lnTo>
                    <a:lnTo>
                      <a:pt x="77" y="71"/>
                    </a:lnTo>
                    <a:lnTo>
                      <a:pt x="81" y="71"/>
                    </a:lnTo>
                    <a:lnTo>
                      <a:pt x="83" y="73"/>
                    </a:lnTo>
                    <a:lnTo>
                      <a:pt x="83" y="73"/>
                    </a:lnTo>
                    <a:lnTo>
                      <a:pt x="87" y="73"/>
                    </a:lnTo>
                    <a:lnTo>
                      <a:pt x="92" y="71"/>
                    </a:lnTo>
                    <a:lnTo>
                      <a:pt x="92" y="69"/>
                    </a:lnTo>
                    <a:lnTo>
                      <a:pt x="96" y="64"/>
                    </a:lnTo>
                    <a:lnTo>
                      <a:pt x="98" y="64"/>
                    </a:lnTo>
                    <a:lnTo>
                      <a:pt x="100" y="64"/>
                    </a:lnTo>
                    <a:lnTo>
                      <a:pt x="100" y="64"/>
                    </a:lnTo>
                    <a:lnTo>
                      <a:pt x="100" y="69"/>
                    </a:lnTo>
                    <a:lnTo>
                      <a:pt x="103" y="73"/>
                    </a:lnTo>
                    <a:lnTo>
                      <a:pt x="103" y="75"/>
                    </a:lnTo>
                    <a:lnTo>
                      <a:pt x="109" y="75"/>
                    </a:lnTo>
                    <a:lnTo>
                      <a:pt x="115" y="81"/>
                    </a:lnTo>
                    <a:lnTo>
                      <a:pt x="119" y="81"/>
                    </a:lnTo>
                    <a:lnTo>
                      <a:pt x="122" y="86"/>
                    </a:lnTo>
                    <a:lnTo>
                      <a:pt x="126" y="90"/>
                    </a:lnTo>
                    <a:lnTo>
                      <a:pt x="130" y="94"/>
                    </a:lnTo>
                    <a:lnTo>
                      <a:pt x="134" y="98"/>
                    </a:lnTo>
                    <a:lnTo>
                      <a:pt x="135" y="98"/>
                    </a:lnTo>
                    <a:lnTo>
                      <a:pt x="139" y="98"/>
                    </a:lnTo>
                    <a:lnTo>
                      <a:pt x="141" y="96"/>
                    </a:lnTo>
                    <a:lnTo>
                      <a:pt x="143" y="96"/>
                    </a:lnTo>
                    <a:lnTo>
                      <a:pt x="143" y="98"/>
                    </a:lnTo>
                    <a:lnTo>
                      <a:pt x="147" y="98"/>
                    </a:lnTo>
                    <a:lnTo>
                      <a:pt x="147" y="96"/>
                    </a:lnTo>
                    <a:lnTo>
                      <a:pt x="147" y="75"/>
                    </a:lnTo>
                    <a:lnTo>
                      <a:pt x="143" y="75"/>
                    </a:lnTo>
                    <a:lnTo>
                      <a:pt x="139" y="75"/>
                    </a:lnTo>
                    <a:lnTo>
                      <a:pt x="139" y="79"/>
                    </a:lnTo>
                    <a:lnTo>
                      <a:pt x="141" y="81"/>
                    </a:lnTo>
                    <a:lnTo>
                      <a:pt x="139" y="81"/>
                    </a:lnTo>
                    <a:lnTo>
                      <a:pt x="134" y="81"/>
                    </a:lnTo>
                    <a:lnTo>
                      <a:pt x="132" y="79"/>
                    </a:lnTo>
                    <a:lnTo>
                      <a:pt x="130" y="75"/>
                    </a:lnTo>
                    <a:lnTo>
                      <a:pt x="126" y="69"/>
                    </a:lnTo>
                    <a:lnTo>
                      <a:pt x="122" y="67"/>
                    </a:lnTo>
                    <a:lnTo>
                      <a:pt x="122" y="64"/>
                    </a:lnTo>
                    <a:lnTo>
                      <a:pt x="122" y="54"/>
                    </a:lnTo>
                    <a:lnTo>
                      <a:pt x="122" y="51"/>
                    </a:lnTo>
                    <a:lnTo>
                      <a:pt x="126" y="49"/>
                    </a:lnTo>
                    <a:lnTo>
                      <a:pt x="128" y="45"/>
                    </a:lnTo>
                    <a:lnTo>
                      <a:pt x="128" y="45"/>
                    </a:lnTo>
                    <a:lnTo>
                      <a:pt x="128" y="41"/>
                    </a:lnTo>
                    <a:lnTo>
                      <a:pt x="130" y="39"/>
                    </a:lnTo>
                    <a:lnTo>
                      <a:pt x="128" y="37"/>
                    </a:lnTo>
                    <a:lnTo>
                      <a:pt x="130" y="34"/>
                    </a:lnTo>
                    <a:lnTo>
                      <a:pt x="128" y="32"/>
                    </a:lnTo>
                    <a:lnTo>
                      <a:pt x="130" y="30"/>
                    </a:lnTo>
                    <a:lnTo>
                      <a:pt x="130" y="30"/>
                    </a:lnTo>
                    <a:lnTo>
                      <a:pt x="128" y="26"/>
                    </a:lnTo>
                    <a:lnTo>
                      <a:pt x="126" y="24"/>
                    </a:lnTo>
                    <a:lnTo>
                      <a:pt x="124" y="20"/>
                    </a:lnTo>
                    <a:lnTo>
                      <a:pt x="134" y="7"/>
                    </a:lnTo>
                    <a:lnTo>
                      <a:pt x="164" y="0"/>
                    </a:lnTo>
                    <a:lnTo>
                      <a:pt x="171" y="3"/>
                    </a:lnTo>
                    <a:lnTo>
                      <a:pt x="173" y="3"/>
                    </a:lnTo>
                    <a:lnTo>
                      <a:pt x="175" y="5"/>
                    </a:lnTo>
                    <a:lnTo>
                      <a:pt x="179" y="5"/>
                    </a:lnTo>
                    <a:lnTo>
                      <a:pt x="179" y="7"/>
                    </a:lnTo>
                    <a:lnTo>
                      <a:pt x="183" y="7"/>
                    </a:lnTo>
                    <a:lnTo>
                      <a:pt x="183" y="11"/>
                    </a:lnTo>
                    <a:lnTo>
                      <a:pt x="186" y="11"/>
                    </a:lnTo>
                    <a:lnTo>
                      <a:pt x="196" y="13"/>
                    </a:lnTo>
                    <a:lnTo>
                      <a:pt x="198" y="13"/>
                    </a:lnTo>
                    <a:lnTo>
                      <a:pt x="199" y="15"/>
                    </a:lnTo>
                    <a:lnTo>
                      <a:pt x="201" y="17"/>
                    </a:lnTo>
                    <a:lnTo>
                      <a:pt x="203" y="17"/>
                    </a:lnTo>
                    <a:lnTo>
                      <a:pt x="207" y="20"/>
                    </a:lnTo>
                    <a:lnTo>
                      <a:pt x="207" y="20"/>
                    </a:lnTo>
                    <a:lnTo>
                      <a:pt x="207" y="24"/>
                    </a:lnTo>
                    <a:lnTo>
                      <a:pt x="209" y="24"/>
                    </a:lnTo>
                    <a:lnTo>
                      <a:pt x="209" y="30"/>
                    </a:lnTo>
                    <a:lnTo>
                      <a:pt x="213" y="30"/>
                    </a:lnTo>
                    <a:lnTo>
                      <a:pt x="215" y="30"/>
                    </a:lnTo>
                    <a:lnTo>
                      <a:pt x="215" y="32"/>
                    </a:lnTo>
                    <a:lnTo>
                      <a:pt x="213" y="37"/>
                    </a:lnTo>
                    <a:lnTo>
                      <a:pt x="213" y="39"/>
                    </a:lnTo>
                    <a:lnTo>
                      <a:pt x="216" y="41"/>
                    </a:lnTo>
                    <a:lnTo>
                      <a:pt x="216" y="41"/>
                    </a:lnTo>
                    <a:lnTo>
                      <a:pt x="216" y="49"/>
                    </a:lnTo>
                    <a:lnTo>
                      <a:pt x="216" y="49"/>
                    </a:lnTo>
                    <a:lnTo>
                      <a:pt x="216" y="51"/>
                    </a:lnTo>
                    <a:lnTo>
                      <a:pt x="213" y="54"/>
                    </a:lnTo>
                    <a:lnTo>
                      <a:pt x="211" y="56"/>
                    </a:lnTo>
                    <a:lnTo>
                      <a:pt x="213" y="60"/>
                    </a:lnTo>
                    <a:lnTo>
                      <a:pt x="213" y="64"/>
                    </a:lnTo>
                    <a:lnTo>
                      <a:pt x="213" y="66"/>
                    </a:lnTo>
                    <a:lnTo>
                      <a:pt x="213" y="67"/>
                    </a:lnTo>
                    <a:lnTo>
                      <a:pt x="215" y="71"/>
                    </a:lnTo>
                    <a:lnTo>
                      <a:pt x="213" y="73"/>
                    </a:lnTo>
                    <a:lnTo>
                      <a:pt x="213" y="73"/>
                    </a:lnTo>
                    <a:lnTo>
                      <a:pt x="213" y="75"/>
                    </a:lnTo>
                    <a:lnTo>
                      <a:pt x="213" y="79"/>
                    </a:lnTo>
                    <a:lnTo>
                      <a:pt x="215" y="79"/>
                    </a:lnTo>
                    <a:lnTo>
                      <a:pt x="216" y="81"/>
                    </a:lnTo>
                    <a:lnTo>
                      <a:pt x="215" y="81"/>
                    </a:lnTo>
                    <a:lnTo>
                      <a:pt x="213" y="84"/>
                    </a:lnTo>
                    <a:lnTo>
                      <a:pt x="209" y="84"/>
                    </a:lnTo>
                    <a:lnTo>
                      <a:pt x="207" y="86"/>
                    </a:lnTo>
                    <a:lnTo>
                      <a:pt x="207" y="88"/>
                    </a:lnTo>
                    <a:lnTo>
                      <a:pt x="207" y="90"/>
                    </a:lnTo>
                    <a:lnTo>
                      <a:pt x="207" y="92"/>
                    </a:lnTo>
                    <a:lnTo>
                      <a:pt x="207" y="94"/>
                    </a:lnTo>
                    <a:lnTo>
                      <a:pt x="207" y="98"/>
                    </a:lnTo>
                    <a:lnTo>
                      <a:pt x="203" y="101"/>
                    </a:lnTo>
                    <a:lnTo>
                      <a:pt x="201" y="101"/>
                    </a:lnTo>
                    <a:lnTo>
                      <a:pt x="201" y="103"/>
                    </a:lnTo>
                    <a:lnTo>
                      <a:pt x="203" y="105"/>
                    </a:lnTo>
                    <a:lnTo>
                      <a:pt x="207" y="109"/>
                    </a:lnTo>
                    <a:lnTo>
                      <a:pt x="207" y="111"/>
                    </a:lnTo>
                    <a:lnTo>
                      <a:pt x="207" y="111"/>
                    </a:lnTo>
                    <a:lnTo>
                      <a:pt x="201" y="115"/>
                    </a:lnTo>
                    <a:lnTo>
                      <a:pt x="190" y="116"/>
                    </a:lnTo>
                    <a:lnTo>
                      <a:pt x="186" y="118"/>
                    </a:lnTo>
                    <a:lnTo>
                      <a:pt x="167" y="126"/>
                    </a:lnTo>
                    <a:lnTo>
                      <a:pt x="164" y="126"/>
                    </a:lnTo>
                    <a:lnTo>
                      <a:pt x="158" y="130"/>
                    </a:lnTo>
                    <a:lnTo>
                      <a:pt x="154" y="133"/>
                    </a:lnTo>
                    <a:lnTo>
                      <a:pt x="158" y="139"/>
                    </a:lnTo>
                    <a:lnTo>
                      <a:pt x="158" y="139"/>
                    </a:lnTo>
                    <a:lnTo>
                      <a:pt x="154" y="139"/>
                    </a:lnTo>
                    <a:lnTo>
                      <a:pt x="154" y="139"/>
                    </a:lnTo>
                    <a:lnTo>
                      <a:pt x="151" y="139"/>
                    </a:lnTo>
                    <a:lnTo>
                      <a:pt x="149" y="139"/>
                    </a:lnTo>
                    <a:lnTo>
                      <a:pt x="149" y="139"/>
                    </a:lnTo>
                    <a:lnTo>
                      <a:pt x="143" y="139"/>
                    </a:lnTo>
                    <a:lnTo>
                      <a:pt x="139" y="139"/>
                    </a:lnTo>
                    <a:lnTo>
                      <a:pt x="135" y="143"/>
                    </a:lnTo>
                    <a:lnTo>
                      <a:pt x="135" y="143"/>
                    </a:lnTo>
                    <a:lnTo>
                      <a:pt x="130" y="145"/>
                    </a:lnTo>
                    <a:lnTo>
                      <a:pt x="128" y="148"/>
                    </a:lnTo>
                    <a:lnTo>
                      <a:pt x="128" y="150"/>
                    </a:lnTo>
                    <a:lnTo>
                      <a:pt x="128" y="152"/>
                    </a:lnTo>
                    <a:lnTo>
                      <a:pt x="128" y="154"/>
                    </a:lnTo>
                    <a:lnTo>
                      <a:pt x="128" y="154"/>
                    </a:lnTo>
                    <a:lnTo>
                      <a:pt x="126" y="156"/>
                    </a:lnTo>
                    <a:lnTo>
                      <a:pt x="119" y="158"/>
                    </a:lnTo>
                    <a:lnTo>
                      <a:pt x="109" y="167"/>
                    </a:lnTo>
                    <a:lnTo>
                      <a:pt x="100" y="177"/>
                    </a:lnTo>
                    <a:lnTo>
                      <a:pt x="96" y="184"/>
                    </a:lnTo>
                    <a:lnTo>
                      <a:pt x="90" y="186"/>
                    </a:lnTo>
                    <a:lnTo>
                      <a:pt x="87" y="186"/>
                    </a:lnTo>
                    <a:lnTo>
                      <a:pt x="83" y="182"/>
                    </a:lnTo>
                    <a:lnTo>
                      <a:pt x="83" y="182"/>
                    </a:lnTo>
                    <a:lnTo>
                      <a:pt x="83" y="182"/>
                    </a:lnTo>
                    <a:lnTo>
                      <a:pt x="81" y="182"/>
                    </a:lnTo>
                    <a:lnTo>
                      <a:pt x="79" y="182"/>
                    </a:lnTo>
                    <a:lnTo>
                      <a:pt x="75" y="182"/>
                    </a:lnTo>
                    <a:lnTo>
                      <a:pt x="71" y="184"/>
                    </a:lnTo>
                    <a:lnTo>
                      <a:pt x="71" y="184"/>
                    </a:lnTo>
                    <a:lnTo>
                      <a:pt x="68" y="182"/>
                    </a:lnTo>
                    <a:lnTo>
                      <a:pt x="66" y="181"/>
                    </a:lnTo>
                    <a:lnTo>
                      <a:pt x="62" y="181"/>
                    </a:lnTo>
                    <a:lnTo>
                      <a:pt x="60" y="181"/>
                    </a:lnTo>
                    <a:lnTo>
                      <a:pt x="56" y="177"/>
                    </a:lnTo>
                    <a:lnTo>
                      <a:pt x="56" y="177"/>
                    </a:lnTo>
                    <a:lnTo>
                      <a:pt x="55" y="175"/>
                    </a:lnTo>
                    <a:lnTo>
                      <a:pt x="53" y="177"/>
                    </a:lnTo>
                    <a:lnTo>
                      <a:pt x="51" y="175"/>
                    </a:lnTo>
                    <a:lnTo>
                      <a:pt x="51" y="175"/>
                    </a:lnTo>
                    <a:lnTo>
                      <a:pt x="49" y="175"/>
                    </a:lnTo>
                    <a:lnTo>
                      <a:pt x="47" y="175"/>
                    </a:lnTo>
                    <a:lnTo>
                      <a:pt x="43" y="175"/>
                    </a:lnTo>
                    <a:lnTo>
                      <a:pt x="28" y="179"/>
                    </a:lnTo>
                    <a:lnTo>
                      <a:pt x="24" y="177"/>
                    </a:lnTo>
                    <a:lnTo>
                      <a:pt x="23" y="175"/>
                    </a:lnTo>
                    <a:lnTo>
                      <a:pt x="23" y="173"/>
                    </a:lnTo>
                    <a:lnTo>
                      <a:pt x="19" y="169"/>
                    </a:lnTo>
                    <a:lnTo>
                      <a:pt x="17" y="169"/>
                    </a:lnTo>
                    <a:lnTo>
                      <a:pt x="15" y="169"/>
                    </a:lnTo>
                    <a:lnTo>
                      <a:pt x="11" y="164"/>
                    </a:lnTo>
                    <a:lnTo>
                      <a:pt x="7" y="160"/>
                    </a:lnTo>
                    <a:lnTo>
                      <a:pt x="7" y="160"/>
                    </a:lnTo>
                    <a:lnTo>
                      <a:pt x="4" y="158"/>
                    </a:lnTo>
                    <a:lnTo>
                      <a:pt x="4" y="154"/>
                    </a:lnTo>
                    <a:lnTo>
                      <a:pt x="0" y="152"/>
                    </a:lnTo>
                    <a:lnTo>
                      <a:pt x="4" y="90"/>
                    </a:lnTo>
                    <a:lnTo>
                      <a:pt x="43" y="90"/>
                    </a:lnTo>
                    <a:lnTo>
                      <a:pt x="41" y="88"/>
                    </a:lnTo>
                    <a:lnTo>
                      <a:pt x="41" y="84"/>
                    </a:lnTo>
                    <a:lnTo>
                      <a:pt x="43" y="81"/>
                    </a:lnTo>
                    <a:lnTo>
                      <a:pt x="43" y="79"/>
                    </a:lnTo>
                    <a:lnTo>
                      <a:pt x="41" y="75"/>
                    </a:lnTo>
                    <a:lnTo>
                      <a:pt x="41" y="71"/>
                    </a:lnTo>
                    <a:lnTo>
                      <a:pt x="41" y="64"/>
                    </a:lnTo>
                    <a:lnTo>
                      <a:pt x="39" y="56"/>
                    </a:lnTo>
                    <a:lnTo>
                      <a:pt x="41" y="54"/>
                    </a:lnTo>
                    <a:lnTo>
                      <a:pt x="41" y="54"/>
                    </a:lnTo>
                    <a:lnTo>
                      <a:pt x="41" y="54"/>
                    </a:lnTo>
                    <a:lnTo>
                      <a:pt x="41" y="54"/>
                    </a:lnTo>
                    <a:lnTo>
                      <a:pt x="41" y="5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3" name="Freeform 145"/>
              <p:cNvSpPr>
                <a:spLocks/>
              </p:cNvSpPr>
              <p:nvPr/>
            </p:nvSpPr>
            <p:spPr bwMode="auto">
              <a:xfrm>
                <a:off x="2990" y="3214"/>
                <a:ext cx="233" cy="228"/>
              </a:xfrm>
              <a:custGeom>
                <a:avLst/>
                <a:gdLst/>
                <a:ahLst/>
                <a:cxnLst>
                  <a:cxn ang="0">
                    <a:pos x="213" y="215"/>
                  </a:cxn>
                  <a:cxn ang="0">
                    <a:pos x="199" y="206"/>
                  </a:cxn>
                  <a:cxn ang="0">
                    <a:pos x="192" y="196"/>
                  </a:cxn>
                  <a:cxn ang="0">
                    <a:pos x="231" y="132"/>
                  </a:cxn>
                  <a:cxn ang="0">
                    <a:pos x="231" y="119"/>
                  </a:cxn>
                  <a:cxn ang="0">
                    <a:pos x="231" y="98"/>
                  </a:cxn>
                  <a:cxn ang="0">
                    <a:pos x="224" y="98"/>
                  </a:cxn>
                  <a:cxn ang="0">
                    <a:pos x="216" y="100"/>
                  </a:cxn>
                  <a:cxn ang="0">
                    <a:pos x="203" y="98"/>
                  </a:cxn>
                  <a:cxn ang="0">
                    <a:pos x="199" y="100"/>
                  </a:cxn>
                  <a:cxn ang="0">
                    <a:pos x="199" y="93"/>
                  </a:cxn>
                  <a:cxn ang="0">
                    <a:pos x="199" y="83"/>
                  </a:cxn>
                  <a:cxn ang="0">
                    <a:pos x="197" y="76"/>
                  </a:cxn>
                  <a:cxn ang="0">
                    <a:pos x="194" y="70"/>
                  </a:cxn>
                  <a:cxn ang="0">
                    <a:pos x="190" y="61"/>
                  </a:cxn>
                  <a:cxn ang="0">
                    <a:pos x="190" y="47"/>
                  </a:cxn>
                  <a:cxn ang="0">
                    <a:pos x="190" y="38"/>
                  </a:cxn>
                  <a:cxn ang="0">
                    <a:pos x="192" y="29"/>
                  </a:cxn>
                  <a:cxn ang="0">
                    <a:pos x="169" y="19"/>
                  </a:cxn>
                  <a:cxn ang="0">
                    <a:pos x="145" y="27"/>
                  </a:cxn>
                  <a:cxn ang="0">
                    <a:pos x="145" y="38"/>
                  </a:cxn>
                  <a:cxn ang="0">
                    <a:pos x="118" y="40"/>
                  </a:cxn>
                  <a:cxn ang="0">
                    <a:pos x="109" y="34"/>
                  </a:cxn>
                  <a:cxn ang="0">
                    <a:pos x="101" y="25"/>
                  </a:cxn>
                  <a:cxn ang="0">
                    <a:pos x="98" y="12"/>
                  </a:cxn>
                  <a:cxn ang="0">
                    <a:pos x="96" y="6"/>
                  </a:cxn>
                  <a:cxn ang="0">
                    <a:pos x="64" y="0"/>
                  </a:cxn>
                  <a:cxn ang="0">
                    <a:pos x="45" y="2"/>
                  </a:cxn>
                  <a:cxn ang="0">
                    <a:pos x="30" y="0"/>
                  </a:cxn>
                  <a:cxn ang="0">
                    <a:pos x="21" y="4"/>
                  </a:cxn>
                  <a:cxn ang="0">
                    <a:pos x="15" y="6"/>
                  </a:cxn>
                  <a:cxn ang="0">
                    <a:pos x="30" y="36"/>
                  </a:cxn>
                  <a:cxn ang="0">
                    <a:pos x="30" y="61"/>
                  </a:cxn>
                  <a:cxn ang="0">
                    <a:pos x="39" y="89"/>
                  </a:cxn>
                  <a:cxn ang="0">
                    <a:pos x="34" y="125"/>
                  </a:cxn>
                  <a:cxn ang="0">
                    <a:pos x="15" y="143"/>
                  </a:cxn>
                  <a:cxn ang="0">
                    <a:pos x="7" y="172"/>
                  </a:cxn>
                  <a:cxn ang="0">
                    <a:pos x="0" y="198"/>
                  </a:cxn>
                  <a:cxn ang="0">
                    <a:pos x="0" y="215"/>
                  </a:cxn>
                  <a:cxn ang="0">
                    <a:pos x="5" y="211"/>
                  </a:cxn>
                  <a:cxn ang="0">
                    <a:pos x="17" y="211"/>
                  </a:cxn>
                  <a:cxn ang="0">
                    <a:pos x="26" y="209"/>
                  </a:cxn>
                  <a:cxn ang="0">
                    <a:pos x="32" y="209"/>
                  </a:cxn>
                  <a:cxn ang="0">
                    <a:pos x="36" y="211"/>
                  </a:cxn>
                  <a:cxn ang="0">
                    <a:pos x="49" y="215"/>
                  </a:cxn>
                  <a:cxn ang="0">
                    <a:pos x="124" y="215"/>
                  </a:cxn>
                  <a:cxn ang="0">
                    <a:pos x="132" y="223"/>
                  </a:cxn>
                  <a:cxn ang="0">
                    <a:pos x="141" y="224"/>
                  </a:cxn>
                  <a:cxn ang="0">
                    <a:pos x="152" y="224"/>
                  </a:cxn>
                  <a:cxn ang="0">
                    <a:pos x="160" y="223"/>
                  </a:cxn>
                  <a:cxn ang="0">
                    <a:pos x="173" y="226"/>
                  </a:cxn>
                  <a:cxn ang="0">
                    <a:pos x="179" y="226"/>
                  </a:cxn>
                  <a:cxn ang="0">
                    <a:pos x="182" y="228"/>
                  </a:cxn>
                  <a:cxn ang="0">
                    <a:pos x="216" y="221"/>
                  </a:cxn>
                </a:cxnLst>
                <a:rect l="0" t="0" r="r" b="b"/>
                <a:pathLst>
                  <a:path w="233" h="228">
                    <a:moveTo>
                      <a:pt x="216" y="221"/>
                    </a:moveTo>
                    <a:lnTo>
                      <a:pt x="214" y="219"/>
                    </a:lnTo>
                    <a:lnTo>
                      <a:pt x="213" y="217"/>
                    </a:lnTo>
                    <a:lnTo>
                      <a:pt x="213" y="215"/>
                    </a:lnTo>
                    <a:lnTo>
                      <a:pt x="209" y="211"/>
                    </a:lnTo>
                    <a:lnTo>
                      <a:pt x="207" y="211"/>
                    </a:lnTo>
                    <a:lnTo>
                      <a:pt x="203" y="211"/>
                    </a:lnTo>
                    <a:lnTo>
                      <a:pt x="199" y="206"/>
                    </a:lnTo>
                    <a:lnTo>
                      <a:pt x="197" y="204"/>
                    </a:lnTo>
                    <a:lnTo>
                      <a:pt x="197" y="202"/>
                    </a:lnTo>
                    <a:lnTo>
                      <a:pt x="194" y="200"/>
                    </a:lnTo>
                    <a:lnTo>
                      <a:pt x="192" y="196"/>
                    </a:lnTo>
                    <a:lnTo>
                      <a:pt x="190" y="194"/>
                    </a:lnTo>
                    <a:lnTo>
                      <a:pt x="192" y="134"/>
                    </a:lnTo>
                    <a:lnTo>
                      <a:pt x="233" y="134"/>
                    </a:lnTo>
                    <a:lnTo>
                      <a:pt x="231" y="132"/>
                    </a:lnTo>
                    <a:lnTo>
                      <a:pt x="231" y="126"/>
                    </a:lnTo>
                    <a:lnTo>
                      <a:pt x="233" y="125"/>
                    </a:lnTo>
                    <a:lnTo>
                      <a:pt x="233" y="121"/>
                    </a:lnTo>
                    <a:lnTo>
                      <a:pt x="231" y="119"/>
                    </a:lnTo>
                    <a:lnTo>
                      <a:pt x="231" y="113"/>
                    </a:lnTo>
                    <a:lnTo>
                      <a:pt x="231" y="108"/>
                    </a:lnTo>
                    <a:lnTo>
                      <a:pt x="229" y="100"/>
                    </a:lnTo>
                    <a:lnTo>
                      <a:pt x="231" y="98"/>
                    </a:lnTo>
                    <a:lnTo>
                      <a:pt x="231" y="98"/>
                    </a:lnTo>
                    <a:lnTo>
                      <a:pt x="231" y="96"/>
                    </a:lnTo>
                    <a:lnTo>
                      <a:pt x="228" y="96"/>
                    </a:lnTo>
                    <a:lnTo>
                      <a:pt x="224" y="98"/>
                    </a:lnTo>
                    <a:lnTo>
                      <a:pt x="222" y="100"/>
                    </a:lnTo>
                    <a:lnTo>
                      <a:pt x="220" y="100"/>
                    </a:lnTo>
                    <a:lnTo>
                      <a:pt x="218" y="100"/>
                    </a:lnTo>
                    <a:lnTo>
                      <a:pt x="216" y="100"/>
                    </a:lnTo>
                    <a:lnTo>
                      <a:pt x="213" y="100"/>
                    </a:lnTo>
                    <a:lnTo>
                      <a:pt x="209" y="100"/>
                    </a:lnTo>
                    <a:lnTo>
                      <a:pt x="207" y="98"/>
                    </a:lnTo>
                    <a:lnTo>
                      <a:pt x="203" y="98"/>
                    </a:lnTo>
                    <a:lnTo>
                      <a:pt x="203" y="98"/>
                    </a:lnTo>
                    <a:lnTo>
                      <a:pt x="203" y="98"/>
                    </a:lnTo>
                    <a:lnTo>
                      <a:pt x="199" y="100"/>
                    </a:lnTo>
                    <a:lnTo>
                      <a:pt x="199" y="100"/>
                    </a:lnTo>
                    <a:lnTo>
                      <a:pt x="199" y="98"/>
                    </a:lnTo>
                    <a:lnTo>
                      <a:pt x="199" y="94"/>
                    </a:lnTo>
                    <a:lnTo>
                      <a:pt x="199" y="94"/>
                    </a:lnTo>
                    <a:lnTo>
                      <a:pt x="199" y="93"/>
                    </a:lnTo>
                    <a:lnTo>
                      <a:pt x="199" y="93"/>
                    </a:lnTo>
                    <a:lnTo>
                      <a:pt x="199" y="89"/>
                    </a:lnTo>
                    <a:lnTo>
                      <a:pt x="197" y="85"/>
                    </a:lnTo>
                    <a:lnTo>
                      <a:pt x="199" y="83"/>
                    </a:lnTo>
                    <a:lnTo>
                      <a:pt x="199" y="83"/>
                    </a:lnTo>
                    <a:lnTo>
                      <a:pt x="197" y="79"/>
                    </a:lnTo>
                    <a:lnTo>
                      <a:pt x="197" y="77"/>
                    </a:lnTo>
                    <a:lnTo>
                      <a:pt x="197" y="76"/>
                    </a:lnTo>
                    <a:lnTo>
                      <a:pt x="197" y="74"/>
                    </a:lnTo>
                    <a:lnTo>
                      <a:pt x="196" y="74"/>
                    </a:lnTo>
                    <a:lnTo>
                      <a:pt x="194" y="70"/>
                    </a:lnTo>
                    <a:lnTo>
                      <a:pt x="194" y="70"/>
                    </a:lnTo>
                    <a:lnTo>
                      <a:pt x="194" y="68"/>
                    </a:lnTo>
                    <a:lnTo>
                      <a:pt x="192" y="64"/>
                    </a:lnTo>
                    <a:lnTo>
                      <a:pt x="192" y="62"/>
                    </a:lnTo>
                    <a:lnTo>
                      <a:pt x="190" y="61"/>
                    </a:lnTo>
                    <a:lnTo>
                      <a:pt x="192" y="59"/>
                    </a:lnTo>
                    <a:lnTo>
                      <a:pt x="192" y="53"/>
                    </a:lnTo>
                    <a:lnTo>
                      <a:pt x="190" y="49"/>
                    </a:lnTo>
                    <a:lnTo>
                      <a:pt x="190" y="47"/>
                    </a:lnTo>
                    <a:lnTo>
                      <a:pt x="192" y="47"/>
                    </a:lnTo>
                    <a:lnTo>
                      <a:pt x="192" y="44"/>
                    </a:lnTo>
                    <a:lnTo>
                      <a:pt x="190" y="42"/>
                    </a:lnTo>
                    <a:lnTo>
                      <a:pt x="190" y="38"/>
                    </a:lnTo>
                    <a:lnTo>
                      <a:pt x="192" y="34"/>
                    </a:lnTo>
                    <a:lnTo>
                      <a:pt x="192" y="34"/>
                    </a:lnTo>
                    <a:lnTo>
                      <a:pt x="192" y="30"/>
                    </a:lnTo>
                    <a:lnTo>
                      <a:pt x="192" y="29"/>
                    </a:lnTo>
                    <a:lnTo>
                      <a:pt x="169" y="27"/>
                    </a:lnTo>
                    <a:lnTo>
                      <a:pt x="169" y="25"/>
                    </a:lnTo>
                    <a:lnTo>
                      <a:pt x="169" y="23"/>
                    </a:lnTo>
                    <a:lnTo>
                      <a:pt x="169" y="19"/>
                    </a:lnTo>
                    <a:lnTo>
                      <a:pt x="165" y="19"/>
                    </a:lnTo>
                    <a:lnTo>
                      <a:pt x="165" y="21"/>
                    </a:lnTo>
                    <a:lnTo>
                      <a:pt x="149" y="21"/>
                    </a:lnTo>
                    <a:lnTo>
                      <a:pt x="145" y="27"/>
                    </a:lnTo>
                    <a:lnTo>
                      <a:pt x="145" y="30"/>
                    </a:lnTo>
                    <a:lnTo>
                      <a:pt x="145" y="30"/>
                    </a:lnTo>
                    <a:lnTo>
                      <a:pt x="145" y="34"/>
                    </a:lnTo>
                    <a:lnTo>
                      <a:pt x="145" y="38"/>
                    </a:lnTo>
                    <a:lnTo>
                      <a:pt x="130" y="40"/>
                    </a:lnTo>
                    <a:lnTo>
                      <a:pt x="128" y="42"/>
                    </a:lnTo>
                    <a:lnTo>
                      <a:pt x="120" y="40"/>
                    </a:lnTo>
                    <a:lnTo>
                      <a:pt x="118" y="40"/>
                    </a:lnTo>
                    <a:lnTo>
                      <a:pt x="115" y="40"/>
                    </a:lnTo>
                    <a:lnTo>
                      <a:pt x="111" y="40"/>
                    </a:lnTo>
                    <a:lnTo>
                      <a:pt x="109" y="40"/>
                    </a:lnTo>
                    <a:lnTo>
                      <a:pt x="109" y="34"/>
                    </a:lnTo>
                    <a:lnTo>
                      <a:pt x="105" y="30"/>
                    </a:lnTo>
                    <a:lnTo>
                      <a:pt x="103" y="29"/>
                    </a:lnTo>
                    <a:lnTo>
                      <a:pt x="101" y="27"/>
                    </a:lnTo>
                    <a:lnTo>
                      <a:pt x="101" y="25"/>
                    </a:lnTo>
                    <a:lnTo>
                      <a:pt x="101" y="23"/>
                    </a:lnTo>
                    <a:lnTo>
                      <a:pt x="100" y="19"/>
                    </a:lnTo>
                    <a:lnTo>
                      <a:pt x="98" y="15"/>
                    </a:lnTo>
                    <a:lnTo>
                      <a:pt x="98" y="12"/>
                    </a:lnTo>
                    <a:lnTo>
                      <a:pt x="100" y="10"/>
                    </a:lnTo>
                    <a:lnTo>
                      <a:pt x="100" y="10"/>
                    </a:lnTo>
                    <a:lnTo>
                      <a:pt x="98" y="6"/>
                    </a:lnTo>
                    <a:lnTo>
                      <a:pt x="96" y="6"/>
                    </a:lnTo>
                    <a:lnTo>
                      <a:pt x="98" y="4"/>
                    </a:lnTo>
                    <a:lnTo>
                      <a:pt x="98" y="2"/>
                    </a:lnTo>
                    <a:lnTo>
                      <a:pt x="79" y="0"/>
                    </a:lnTo>
                    <a:lnTo>
                      <a:pt x="64" y="0"/>
                    </a:lnTo>
                    <a:lnTo>
                      <a:pt x="60" y="2"/>
                    </a:lnTo>
                    <a:lnTo>
                      <a:pt x="51" y="2"/>
                    </a:lnTo>
                    <a:lnTo>
                      <a:pt x="51" y="0"/>
                    </a:lnTo>
                    <a:lnTo>
                      <a:pt x="45" y="2"/>
                    </a:lnTo>
                    <a:lnTo>
                      <a:pt x="39" y="2"/>
                    </a:lnTo>
                    <a:lnTo>
                      <a:pt x="36" y="2"/>
                    </a:lnTo>
                    <a:lnTo>
                      <a:pt x="34" y="2"/>
                    </a:lnTo>
                    <a:lnTo>
                      <a:pt x="30" y="0"/>
                    </a:lnTo>
                    <a:lnTo>
                      <a:pt x="26" y="2"/>
                    </a:lnTo>
                    <a:lnTo>
                      <a:pt x="26" y="2"/>
                    </a:lnTo>
                    <a:lnTo>
                      <a:pt x="24" y="4"/>
                    </a:lnTo>
                    <a:lnTo>
                      <a:pt x="21" y="4"/>
                    </a:lnTo>
                    <a:lnTo>
                      <a:pt x="21" y="4"/>
                    </a:lnTo>
                    <a:lnTo>
                      <a:pt x="21" y="4"/>
                    </a:lnTo>
                    <a:lnTo>
                      <a:pt x="21" y="4"/>
                    </a:lnTo>
                    <a:lnTo>
                      <a:pt x="15" y="6"/>
                    </a:lnTo>
                    <a:lnTo>
                      <a:pt x="17" y="10"/>
                    </a:lnTo>
                    <a:lnTo>
                      <a:pt x="17" y="12"/>
                    </a:lnTo>
                    <a:lnTo>
                      <a:pt x="26" y="23"/>
                    </a:lnTo>
                    <a:lnTo>
                      <a:pt x="30" y="36"/>
                    </a:lnTo>
                    <a:lnTo>
                      <a:pt x="34" y="45"/>
                    </a:lnTo>
                    <a:lnTo>
                      <a:pt x="32" y="53"/>
                    </a:lnTo>
                    <a:lnTo>
                      <a:pt x="26" y="59"/>
                    </a:lnTo>
                    <a:lnTo>
                      <a:pt x="30" y="61"/>
                    </a:lnTo>
                    <a:lnTo>
                      <a:pt x="30" y="68"/>
                    </a:lnTo>
                    <a:lnTo>
                      <a:pt x="32" y="74"/>
                    </a:lnTo>
                    <a:lnTo>
                      <a:pt x="32" y="77"/>
                    </a:lnTo>
                    <a:lnTo>
                      <a:pt x="39" y="89"/>
                    </a:lnTo>
                    <a:lnTo>
                      <a:pt x="39" y="93"/>
                    </a:lnTo>
                    <a:lnTo>
                      <a:pt x="41" y="94"/>
                    </a:lnTo>
                    <a:lnTo>
                      <a:pt x="41" y="109"/>
                    </a:lnTo>
                    <a:lnTo>
                      <a:pt x="34" y="125"/>
                    </a:lnTo>
                    <a:lnTo>
                      <a:pt x="32" y="125"/>
                    </a:lnTo>
                    <a:lnTo>
                      <a:pt x="24" y="128"/>
                    </a:lnTo>
                    <a:lnTo>
                      <a:pt x="24" y="134"/>
                    </a:lnTo>
                    <a:lnTo>
                      <a:pt x="15" y="143"/>
                    </a:lnTo>
                    <a:lnTo>
                      <a:pt x="13" y="151"/>
                    </a:lnTo>
                    <a:lnTo>
                      <a:pt x="11" y="151"/>
                    </a:lnTo>
                    <a:lnTo>
                      <a:pt x="11" y="166"/>
                    </a:lnTo>
                    <a:lnTo>
                      <a:pt x="7" y="172"/>
                    </a:lnTo>
                    <a:lnTo>
                      <a:pt x="5" y="179"/>
                    </a:lnTo>
                    <a:lnTo>
                      <a:pt x="0" y="187"/>
                    </a:lnTo>
                    <a:lnTo>
                      <a:pt x="0" y="190"/>
                    </a:lnTo>
                    <a:lnTo>
                      <a:pt x="0" y="198"/>
                    </a:lnTo>
                    <a:lnTo>
                      <a:pt x="0" y="207"/>
                    </a:lnTo>
                    <a:lnTo>
                      <a:pt x="0" y="211"/>
                    </a:lnTo>
                    <a:lnTo>
                      <a:pt x="0" y="215"/>
                    </a:lnTo>
                    <a:lnTo>
                      <a:pt x="0" y="215"/>
                    </a:lnTo>
                    <a:lnTo>
                      <a:pt x="2" y="215"/>
                    </a:lnTo>
                    <a:lnTo>
                      <a:pt x="4" y="215"/>
                    </a:lnTo>
                    <a:lnTo>
                      <a:pt x="5" y="215"/>
                    </a:lnTo>
                    <a:lnTo>
                      <a:pt x="5" y="211"/>
                    </a:lnTo>
                    <a:lnTo>
                      <a:pt x="7" y="211"/>
                    </a:lnTo>
                    <a:lnTo>
                      <a:pt x="11" y="211"/>
                    </a:lnTo>
                    <a:lnTo>
                      <a:pt x="15" y="215"/>
                    </a:lnTo>
                    <a:lnTo>
                      <a:pt x="17" y="211"/>
                    </a:lnTo>
                    <a:lnTo>
                      <a:pt x="17" y="211"/>
                    </a:lnTo>
                    <a:lnTo>
                      <a:pt x="21" y="207"/>
                    </a:lnTo>
                    <a:lnTo>
                      <a:pt x="24" y="207"/>
                    </a:lnTo>
                    <a:lnTo>
                      <a:pt x="26" y="209"/>
                    </a:lnTo>
                    <a:lnTo>
                      <a:pt x="30" y="209"/>
                    </a:lnTo>
                    <a:lnTo>
                      <a:pt x="30" y="207"/>
                    </a:lnTo>
                    <a:lnTo>
                      <a:pt x="30" y="207"/>
                    </a:lnTo>
                    <a:lnTo>
                      <a:pt x="32" y="209"/>
                    </a:lnTo>
                    <a:lnTo>
                      <a:pt x="34" y="209"/>
                    </a:lnTo>
                    <a:lnTo>
                      <a:pt x="36" y="211"/>
                    </a:lnTo>
                    <a:lnTo>
                      <a:pt x="36" y="211"/>
                    </a:lnTo>
                    <a:lnTo>
                      <a:pt x="36" y="211"/>
                    </a:lnTo>
                    <a:lnTo>
                      <a:pt x="39" y="215"/>
                    </a:lnTo>
                    <a:lnTo>
                      <a:pt x="45" y="217"/>
                    </a:lnTo>
                    <a:lnTo>
                      <a:pt x="47" y="215"/>
                    </a:lnTo>
                    <a:lnTo>
                      <a:pt x="49" y="215"/>
                    </a:lnTo>
                    <a:lnTo>
                      <a:pt x="51" y="215"/>
                    </a:lnTo>
                    <a:lnTo>
                      <a:pt x="51" y="215"/>
                    </a:lnTo>
                    <a:lnTo>
                      <a:pt x="54" y="215"/>
                    </a:lnTo>
                    <a:lnTo>
                      <a:pt x="124" y="215"/>
                    </a:lnTo>
                    <a:lnTo>
                      <a:pt x="124" y="215"/>
                    </a:lnTo>
                    <a:lnTo>
                      <a:pt x="126" y="219"/>
                    </a:lnTo>
                    <a:lnTo>
                      <a:pt x="128" y="221"/>
                    </a:lnTo>
                    <a:lnTo>
                      <a:pt x="132" y="223"/>
                    </a:lnTo>
                    <a:lnTo>
                      <a:pt x="135" y="223"/>
                    </a:lnTo>
                    <a:lnTo>
                      <a:pt x="139" y="223"/>
                    </a:lnTo>
                    <a:lnTo>
                      <a:pt x="141" y="223"/>
                    </a:lnTo>
                    <a:lnTo>
                      <a:pt x="141" y="224"/>
                    </a:lnTo>
                    <a:lnTo>
                      <a:pt x="145" y="226"/>
                    </a:lnTo>
                    <a:lnTo>
                      <a:pt x="145" y="224"/>
                    </a:lnTo>
                    <a:lnTo>
                      <a:pt x="149" y="223"/>
                    </a:lnTo>
                    <a:lnTo>
                      <a:pt x="152" y="224"/>
                    </a:lnTo>
                    <a:lnTo>
                      <a:pt x="156" y="224"/>
                    </a:lnTo>
                    <a:lnTo>
                      <a:pt x="156" y="223"/>
                    </a:lnTo>
                    <a:lnTo>
                      <a:pt x="158" y="223"/>
                    </a:lnTo>
                    <a:lnTo>
                      <a:pt x="160" y="223"/>
                    </a:lnTo>
                    <a:lnTo>
                      <a:pt x="164" y="226"/>
                    </a:lnTo>
                    <a:lnTo>
                      <a:pt x="167" y="228"/>
                    </a:lnTo>
                    <a:lnTo>
                      <a:pt x="169" y="228"/>
                    </a:lnTo>
                    <a:lnTo>
                      <a:pt x="173" y="226"/>
                    </a:lnTo>
                    <a:lnTo>
                      <a:pt x="173" y="226"/>
                    </a:lnTo>
                    <a:lnTo>
                      <a:pt x="175" y="224"/>
                    </a:lnTo>
                    <a:lnTo>
                      <a:pt x="175" y="226"/>
                    </a:lnTo>
                    <a:lnTo>
                      <a:pt x="179" y="226"/>
                    </a:lnTo>
                    <a:lnTo>
                      <a:pt x="179" y="226"/>
                    </a:lnTo>
                    <a:lnTo>
                      <a:pt x="179" y="228"/>
                    </a:lnTo>
                    <a:lnTo>
                      <a:pt x="181" y="228"/>
                    </a:lnTo>
                    <a:lnTo>
                      <a:pt x="182" y="228"/>
                    </a:lnTo>
                    <a:lnTo>
                      <a:pt x="184" y="228"/>
                    </a:lnTo>
                    <a:lnTo>
                      <a:pt x="186" y="228"/>
                    </a:lnTo>
                    <a:lnTo>
                      <a:pt x="186" y="228"/>
                    </a:lnTo>
                    <a:lnTo>
                      <a:pt x="216" y="221"/>
                    </a:lnTo>
                    <a:lnTo>
                      <a:pt x="216" y="221"/>
                    </a:lnTo>
                    <a:lnTo>
                      <a:pt x="216" y="22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4" name="Freeform 146"/>
              <p:cNvSpPr>
                <a:spLocks/>
              </p:cNvSpPr>
              <p:nvPr/>
            </p:nvSpPr>
            <p:spPr bwMode="auto">
              <a:xfrm>
                <a:off x="3238" y="3393"/>
                <a:ext cx="147" cy="134"/>
              </a:xfrm>
              <a:custGeom>
                <a:avLst/>
                <a:gdLst/>
                <a:ahLst/>
                <a:cxnLst>
                  <a:cxn ang="0">
                    <a:pos x="8" y="42"/>
                  </a:cxn>
                  <a:cxn ang="0">
                    <a:pos x="13" y="45"/>
                  </a:cxn>
                  <a:cxn ang="0">
                    <a:pos x="23" y="44"/>
                  </a:cxn>
                  <a:cxn ang="0">
                    <a:pos x="25" y="44"/>
                  </a:cxn>
                  <a:cxn ang="0">
                    <a:pos x="38" y="45"/>
                  </a:cxn>
                  <a:cxn ang="0">
                    <a:pos x="62" y="19"/>
                  </a:cxn>
                  <a:cxn ang="0">
                    <a:pos x="70" y="15"/>
                  </a:cxn>
                  <a:cxn ang="0">
                    <a:pos x="70" y="10"/>
                  </a:cxn>
                  <a:cxn ang="0">
                    <a:pos x="79" y="4"/>
                  </a:cxn>
                  <a:cxn ang="0">
                    <a:pos x="93" y="0"/>
                  </a:cxn>
                  <a:cxn ang="0">
                    <a:pos x="98" y="0"/>
                  </a:cxn>
                  <a:cxn ang="0">
                    <a:pos x="102" y="8"/>
                  </a:cxn>
                  <a:cxn ang="0">
                    <a:pos x="113" y="11"/>
                  </a:cxn>
                  <a:cxn ang="0">
                    <a:pos x="119" y="10"/>
                  </a:cxn>
                  <a:cxn ang="0">
                    <a:pos x="132" y="17"/>
                  </a:cxn>
                  <a:cxn ang="0">
                    <a:pos x="143" y="25"/>
                  </a:cxn>
                  <a:cxn ang="0">
                    <a:pos x="147" y="30"/>
                  </a:cxn>
                  <a:cxn ang="0">
                    <a:pos x="147" y="36"/>
                  </a:cxn>
                  <a:cxn ang="0">
                    <a:pos x="143" y="47"/>
                  </a:cxn>
                  <a:cxn ang="0">
                    <a:pos x="147" y="53"/>
                  </a:cxn>
                  <a:cxn ang="0">
                    <a:pos x="143" y="60"/>
                  </a:cxn>
                  <a:cxn ang="0">
                    <a:pos x="140" y="66"/>
                  </a:cxn>
                  <a:cxn ang="0">
                    <a:pos x="143" y="74"/>
                  </a:cxn>
                  <a:cxn ang="0">
                    <a:pos x="143" y="83"/>
                  </a:cxn>
                  <a:cxn ang="0">
                    <a:pos x="138" y="91"/>
                  </a:cxn>
                  <a:cxn ang="0">
                    <a:pos x="134" y="98"/>
                  </a:cxn>
                  <a:cxn ang="0">
                    <a:pos x="134" y="106"/>
                  </a:cxn>
                  <a:cxn ang="0">
                    <a:pos x="108" y="130"/>
                  </a:cxn>
                  <a:cxn ang="0">
                    <a:pos x="94" y="130"/>
                  </a:cxn>
                  <a:cxn ang="0">
                    <a:pos x="87" y="128"/>
                  </a:cxn>
                  <a:cxn ang="0">
                    <a:pos x="74" y="125"/>
                  </a:cxn>
                  <a:cxn ang="0">
                    <a:pos x="74" y="121"/>
                  </a:cxn>
                  <a:cxn ang="0">
                    <a:pos x="64" y="115"/>
                  </a:cxn>
                  <a:cxn ang="0">
                    <a:pos x="55" y="115"/>
                  </a:cxn>
                  <a:cxn ang="0">
                    <a:pos x="45" y="109"/>
                  </a:cxn>
                  <a:cxn ang="0">
                    <a:pos x="42" y="98"/>
                  </a:cxn>
                  <a:cxn ang="0">
                    <a:pos x="38" y="94"/>
                  </a:cxn>
                  <a:cxn ang="0">
                    <a:pos x="38" y="91"/>
                  </a:cxn>
                  <a:cxn ang="0">
                    <a:pos x="29" y="83"/>
                  </a:cxn>
                  <a:cxn ang="0">
                    <a:pos x="19" y="70"/>
                  </a:cxn>
                  <a:cxn ang="0">
                    <a:pos x="15" y="66"/>
                  </a:cxn>
                  <a:cxn ang="0">
                    <a:pos x="10" y="59"/>
                  </a:cxn>
                  <a:cxn ang="0">
                    <a:pos x="8" y="53"/>
                  </a:cxn>
                  <a:cxn ang="0">
                    <a:pos x="0" y="49"/>
                  </a:cxn>
                  <a:cxn ang="0">
                    <a:pos x="0" y="44"/>
                  </a:cxn>
                  <a:cxn ang="0">
                    <a:pos x="0" y="42"/>
                  </a:cxn>
                </a:cxnLst>
                <a:rect l="0" t="0" r="r" b="b"/>
                <a:pathLst>
                  <a:path w="147" h="134">
                    <a:moveTo>
                      <a:pt x="0" y="42"/>
                    </a:moveTo>
                    <a:lnTo>
                      <a:pt x="2" y="42"/>
                    </a:lnTo>
                    <a:lnTo>
                      <a:pt x="8" y="42"/>
                    </a:lnTo>
                    <a:lnTo>
                      <a:pt x="10" y="44"/>
                    </a:lnTo>
                    <a:lnTo>
                      <a:pt x="12" y="45"/>
                    </a:lnTo>
                    <a:lnTo>
                      <a:pt x="13" y="45"/>
                    </a:lnTo>
                    <a:lnTo>
                      <a:pt x="17" y="44"/>
                    </a:lnTo>
                    <a:lnTo>
                      <a:pt x="21" y="44"/>
                    </a:lnTo>
                    <a:lnTo>
                      <a:pt x="23" y="44"/>
                    </a:lnTo>
                    <a:lnTo>
                      <a:pt x="25" y="44"/>
                    </a:lnTo>
                    <a:lnTo>
                      <a:pt x="25" y="44"/>
                    </a:lnTo>
                    <a:lnTo>
                      <a:pt x="25" y="44"/>
                    </a:lnTo>
                    <a:lnTo>
                      <a:pt x="29" y="47"/>
                    </a:lnTo>
                    <a:lnTo>
                      <a:pt x="32" y="47"/>
                    </a:lnTo>
                    <a:lnTo>
                      <a:pt x="38" y="45"/>
                    </a:lnTo>
                    <a:lnTo>
                      <a:pt x="42" y="38"/>
                    </a:lnTo>
                    <a:lnTo>
                      <a:pt x="51" y="28"/>
                    </a:lnTo>
                    <a:lnTo>
                      <a:pt x="62" y="19"/>
                    </a:lnTo>
                    <a:lnTo>
                      <a:pt x="68" y="17"/>
                    </a:lnTo>
                    <a:lnTo>
                      <a:pt x="70" y="15"/>
                    </a:lnTo>
                    <a:lnTo>
                      <a:pt x="70" y="15"/>
                    </a:lnTo>
                    <a:lnTo>
                      <a:pt x="70" y="13"/>
                    </a:lnTo>
                    <a:lnTo>
                      <a:pt x="70" y="11"/>
                    </a:lnTo>
                    <a:lnTo>
                      <a:pt x="70" y="10"/>
                    </a:lnTo>
                    <a:lnTo>
                      <a:pt x="74" y="6"/>
                    </a:lnTo>
                    <a:lnTo>
                      <a:pt x="77" y="4"/>
                    </a:lnTo>
                    <a:lnTo>
                      <a:pt x="79" y="4"/>
                    </a:lnTo>
                    <a:lnTo>
                      <a:pt x="83" y="0"/>
                    </a:lnTo>
                    <a:lnTo>
                      <a:pt x="87" y="0"/>
                    </a:lnTo>
                    <a:lnTo>
                      <a:pt x="93" y="0"/>
                    </a:lnTo>
                    <a:lnTo>
                      <a:pt x="93" y="0"/>
                    </a:lnTo>
                    <a:lnTo>
                      <a:pt x="94" y="0"/>
                    </a:lnTo>
                    <a:lnTo>
                      <a:pt x="98" y="0"/>
                    </a:lnTo>
                    <a:lnTo>
                      <a:pt x="100" y="0"/>
                    </a:lnTo>
                    <a:lnTo>
                      <a:pt x="102" y="0"/>
                    </a:lnTo>
                    <a:lnTo>
                      <a:pt x="102" y="8"/>
                    </a:lnTo>
                    <a:lnTo>
                      <a:pt x="108" y="8"/>
                    </a:lnTo>
                    <a:lnTo>
                      <a:pt x="109" y="8"/>
                    </a:lnTo>
                    <a:lnTo>
                      <a:pt x="113" y="11"/>
                    </a:lnTo>
                    <a:lnTo>
                      <a:pt x="113" y="10"/>
                    </a:lnTo>
                    <a:lnTo>
                      <a:pt x="115" y="8"/>
                    </a:lnTo>
                    <a:lnTo>
                      <a:pt x="119" y="10"/>
                    </a:lnTo>
                    <a:lnTo>
                      <a:pt x="125" y="13"/>
                    </a:lnTo>
                    <a:lnTo>
                      <a:pt x="128" y="17"/>
                    </a:lnTo>
                    <a:lnTo>
                      <a:pt x="132" y="17"/>
                    </a:lnTo>
                    <a:lnTo>
                      <a:pt x="138" y="19"/>
                    </a:lnTo>
                    <a:lnTo>
                      <a:pt x="140" y="21"/>
                    </a:lnTo>
                    <a:lnTo>
                      <a:pt x="143" y="25"/>
                    </a:lnTo>
                    <a:lnTo>
                      <a:pt x="147" y="25"/>
                    </a:lnTo>
                    <a:lnTo>
                      <a:pt x="147" y="28"/>
                    </a:lnTo>
                    <a:lnTo>
                      <a:pt x="147" y="30"/>
                    </a:lnTo>
                    <a:lnTo>
                      <a:pt x="147" y="34"/>
                    </a:lnTo>
                    <a:lnTo>
                      <a:pt x="147" y="34"/>
                    </a:lnTo>
                    <a:lnTo>
                      <a:pt x="147" y="36"/>
                    </a:lnTo>
                    <a:lnTo>
                      <a:pt x="147" y="40"/>
                    </a:lnTo>
                    <a:lnTo>
                      <a:pt x="143" y="42"/>
                    </a:lnTo>
                    <a:lnTo>
                      <a:pt x="143" y="47"/>
                    </a:lnTo>
                    <a:lnTo>
                      <a:pt x="143" y="51"/>
                    </a:lnTo>
                    <a:lnTo>
                      <a:pt x="143" y="53"/>
                    </a:lnTo>
                    <a:lnTo>
                      <a:pt x="147" y="53"/>
                    </a:lnTo>
                    <a:lnTo>
                      <a:pt x="147" y="55"/>
                    </a:lnTo>
                    <a:lnTo>
                      <a:pt x="143" y="59"/>
                    </a:lnTo>
                    <a:lnTo>
                      <a:pt x="143" y="60"/>
                    </a:lnTo>
                    <a:lnTo>
                      <a:pt x="143" y="64"/>
                    </a:lnTo>
                    <a:lnTo>
                      <a:pt x="140" y="64"/>
                    </a:lnTo>
                    <a:lnTo>
                      <a:pt x="140" y="66"/>
                    </a:lnTo>
                    <a:lnTo>
                      <a:pt x="143" y="70"/>
                    </a:lnTo>
                    <a:lnTo>
                      <a:pt x="143" y="72"/>
                    </a:lnTo>
                    <a:lnTo>
                      <a:pt x="143" y="74"/>
                    </a:lnTo>
                    <a:lnTo>
                      <a:pt x="143" y="77"/>
                    </a:lnTo>
                    <a:lnTo>
                      <a:pt x="143" y="79"/>
                    </a:lnTo>
                    <a:lnTo>
                      <a:pt x="143" y="83"/>
                    </a:lnTo>
                    <a:lnTo>
                      <a:pt x="143" y="85"/>
                    </a:lnTo>
                    <a:lnTo>
                      <a:pt x="140" y="89"/>
                    </a:lnTo>
                    <a:lnTo>
                      <a:pt x="138" y="91"/>
                    </a:lnTo>
                    <a:lnTo>
                      <a:pt x="134" y="91"/>
                    </a:lnTo>
                    <a:lnTo>
                      <a:pt x="134" y="94"/>
                    </a:lnTo>
                    <a:lnTo>
                      <a:pt x="134" y="98"/>
                    </a:lnTo>
                    <a:lnTo>
                      <a:pt x="134" y="98"/>
                    </a:lnTo>
                    <a:lnTo>
                      <a:pt x="134" y="104"/>
                    </a:lnTo>
                    <a:lnTo>
                      <a:pt x="134" y="106"/>
                    </a:lnTo>
                    <a:lnTo>
                      <a:pt x="134" y="113"/>
                    </a:lnTo>
                    <a:lnTo>
                      <a:pt x="113" y="134"/>
                    </a:lnTo>
                    <a:lnTo>
                      <a:pt x="108" y="130"/>
                    </a:lnTo>
                    <a:lnTo>
                      <a:pt x="104" y="128"/>
                    </a:lnTo>
                    <a:lnTo>
                      <a:pt x="98" y="130"/>
                    </a:lnTo>
                    <a:lnTo>
                      <a:pt x="94" y="130"/>
                    </a:lnTo>
                    <a:lnTo>
                      <a:pt x="94" y="130"/>
                    </a:lnTo>
                    <a:lnTo>
                      <a:pt x="91" y="128"/>
                    </a:lnTo>
                    <a:lnTo>
                      <a:pt x="87" y="128"/>
                    </a:lnTo>
                    <a:lnTo>
                      <a:pt x="85" y="125"/>
                    </a:lnTo>
                    <a:lnTo>
                      <a:pt x="81" y="125"/>
                    </a:lnTo>
                    <a:lnTo>
                      <a:pt x="74" y="125"/>
                    </a:lnTo>
                    <a:lnTo>
                      <a:pt x="74" y="125"/>
                    </a:lnTo>
                    <a:lnTo>
                      <a:pt x="74" y="123"/>
                    </a:lnTo>
                    <a:lnTo>
                      <a:pt x="74" y="121"/>
                    </a:lnTo>
                    <a:lnTo>
                      <a:pt x="70" y="119"/>
                    </a:lnTo>
                    <a:lnTo>
                      <a:pt x="68" y="119"/>
                    </a:lnTo>
                    <a:lnTo>
                      <a:pt x="64" y="115"/>
                    </a:lnTo>
                    <a:lnTo>
                      <a:pt x="62" y="115"/>
                    </a:lnTo>
                    <a:lnTo>
                      <a:pt x="57" y="115"/>
                    </a:lnTo>
                    <a:lnTo>
                      <a:pt x="55" y="115"/>
                    </a:lnTo>
                    <a:lnTo>
                      <a:pt x="51" y="115"/>
                    </a:lnTo>
                    <a:lnTo>
                      <a:pt x="49" y="111"/>
                    </a:lnTo>
                    <a:lnTo>
                      <a:pt x="45" y="109"/>
                    </a:lnTo>
                    <a:lnTo>
                      <a:pt x="44" y="106"/>
                    </a:lnTo>
                    <a:lnTo>
                      <a:pt x="44" y="104"/>
                    </a:lnTo>
                    <a:lnTo>
                      <a:pt x="42" y="98"/>
                    </a:lnTo>
                    <a:lnTo>
                      <a:pt x="44" y="98"/>
                    </a:lnTo>
                    <a:lnTo>
                      <a:pt x="40" y="94"/>
                    </a:lnTo>
                    <a:lnTo>
                      <a:pt x="38" y="94"/>
                    </a:lnTo>
                    <a:lnTo>
                      <a:pt x="38" y="91"/>
                    </a:lnTo>
                    <a:lnTo>
                      <a:pt x="38" y="91"/>
                    </a:lnTo>
                    <a:lnTo>
                      <a:pt x="38" y="91"/>
                    </a:lnTo>
                    <a:lnTo>
                      <a:pt x="34" y="89"/>
                    </a:lnTo>
                    <a:lnTo>
                      <a:pt x="34" y="85"/>
                    </a:lnTo>
                    <a:lnTo>
                      <a:pt x="29" y="83"/>
                    </a:lnTo>
                    <a:lnTo>
                      <a:pt x="25" y="81"/>
                    </a:lnTo>
                    <a:lnTo>
                      <a:pt x="21" y="74"/>
                    </a:lnTo>
                    <a:lnTo>
                      <a:pt x="19" y="70"/>
                    </a:lnTo>
                    <a:lnTo>
                      <a:pt x="17" y="70"/>
                    </a:lnTo>
                    <a:lnTo>
                      <a:pt x="15" y="68"/>
                    </a:lnTo>
                    <a:lnTo>
                      <a:pt x="15" y="66"/>
                    </a:lnTo>
                    <a:lnTo>
                      <a:pt x="13" y="64"/>
                    </a:lnTo>
                    <a:lnTo>
                      <a:pt x="12" y="60"/>
                    </a:lnTo>
                    <a:lnTo>
                      <a:pt x="10" y="59"/>
                    </a:lnTo>
                    <a:lnTo>
                      <a:pt x="10" y="59"/>
                    </a:lnTo>
                    <a:lnTo>
                      <a:pt x="10" y="57"/>
                    </a:lnTo>
                    <a:lnTo>
                      <a:pt x="8" y="53"/>
                    </a:lnTo>
                    <a:lnTo>
                      <a:pt x="4" y="53"/>
                    </a:lnTo>
                    <a:lnTo>
                      <a:pt x="4" y="51"/>
                    </a:lnTo>
                    <a:lnTo>
                      <a:pt x="0" y="49"/>
                    </a:lnTo>
                    <a:lnTo>
                      <a:pt x="0" y="47"/>
                    </a:lnTo>
                    <a:lnTo>
                      <a:pt x="0" y="45"/>
                    </a:lnTo>
                    <a:lnTo>
                      <a:pt x="0" y="44"/>
                    </a:lnTo>
                    <a:lnTo>
                      <a:pt x="0" y="42"/>
                    </a:lnTo>
                    <a:lnTo>
                      <a:pt x="0" y="42"/>
                    </a:lnTo>
                    <a:lnTo>
                      <a:pt x="0" y="42"/>
                    </a:lnTo>
                    <a:lnTo>
                      <a:pt x="0" y="42"/>
                    </a:lnTo>
                    <a:lnTo>
                      <a:pt x="0" y="4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5" name="Freeform 147"/>
              <p:cNvSpPr>
                <a:spLocks/>
              </p:cNvSpPr>
              <p:nvPr/>
            </p:nvSpPr>
            <p:spPr bwMode="auto">
              <a:xfrm>
                <a:off x="3238" y="3393"/>
                <a:ext cx="147" cy="134"/>
              </a:xfrm>
              <a:custGeom>
                <a:avLst/>
                <a:gdLst/>
                <a:ahLst/>
                <a:cxnLst>
                  <a:cxn ang="0">
                    <a:pos x="8" y="42"/>
                  </a:cxn>
                  <a:cxn ang="0">
                    <a:pos x="13" y="45"/>
                  </a:cxn>
                  <a:cxn ang="0">
                    <a:pos x="23" y="44"/>
                  </a:cxn>
                  <a:cxn ang="0">
                    <a:pos x="25" y="44"/>
                  </a:cxn>
                  <a:cxn ang="0">
                    <a:pos x="38" y="45"/>
                  </a:cxn>
                  <a:cxn ang="0">
                    <a:pos x="62" y="19"/>
                  </a:cxn>
                  <a:cxn ang="0">
                    <a:pos x="70" y="15"/>
                  </a:cxn>
                  <a:cxn ang="0">
                    <a:pos x="70" y="10"/>
                  </a:cxn>
                  <a:cxn ang="0">
                    <a:pos x="79" y="4"/>
                  </a:cxn>
                  <a:cxn ang="0">
                    <a:pos x="93" y="0"/>
                  </a:cxn>
                  <a:cxn ang="0">
                    <a:pos x="98" y="0"/>
                  </a:cxn>
                  <a:cxn ang="0">
                    <a:pos x="102" y="8"/>
                  </a:cxn>
                  <a:cxn ang="0">
                    <a:pos x="113" y="11"/>
                  </a:cxn>
                  <a:cxn ang="0">
                    <a:pos x="119" y="10"/>
                  </a:cxn>
                  <a:cxn ang="0">
                    <a:pos x="132" y="17"/>
                  </a:cxn>
                  <a:cxn ang="0">
                    <a:pos x="143" y="25"/>
                  </a:cxn>
                  <a:cxn ang="0">
                    <a:pos x="147" y="30"/>
                  </a:cxn>
                  <a:cxn ang="0">
                    <a:pos x="147" y="36"/>
                  </a:cxn>
                  <a:cxn ang="0">
                    <a:pos x="143" y="47"/>
                  </a:cxn>
                  <a:cxn ang="0">
                    <a:pos x="147" y="53"/>
                  </a:cxn>
                  <a:cxn ang="0">
                    <a:pos x="143" y="60"/>
                  </a:cxn>
                  <a:cxn ang="0">
                    <a:pos x="140" y="66"/>
                  </a:cxn>
                  <a:cxn ang="0">
                    <a:pos x="143" y="74"/>
                  </a:cxn>
                  <a:cxn ang="0">
                    <a:pos x="143" y="83"/>
                  </a:cxn>
                  <a:cxn ang="0">
                    <a:pos x="138" y="91"/>
                  </a:cxn>
                  <a:cxn ang="0">
                    <a:pos x="134" y="98"/>
                  </a:cxn>
                  <a:cxn ang="0">
                    <a:pos x="134" y="106"/>
                  </a:cxn>
                  <a:cxn ang="0">
                    <a:pos x="108" y="130"/>
                  </a:cxn>
                  <a:cxn ang="0">
                    <a:pos x="94" y="130"/>
                  </a:cxn>
                  <a:cxn ang="0">
                    <a:pos x="87" y="128"/>
                  </a:cxn>
                  <a:cxn ang="0">
                    <a:pos x="74" y="125"/>
                  </a:cxn>
                  <a:cxn ang="0">
                    <a:pos x="74" y="121"/>
                  </a:cxn>
                  <a:cxn ang="0">
                    <a:pos x="64" y="115"/>
                  </a:cxn>
                  <a:cxn ang="0">
                    <a:pos x="55" y="115"/>
                  </a:cxn>
                  <a:cxn ang="0">
                    <a:pos x="45" y="109"/>
                  </a:cxn>
                  <a:cxn ang="0">
                    <a:pos x="42" y="98"/>
                  </a:cxn>
                  <a:cxn ang="0">
                    <a:pos x="38" y="94"/>
                  </a:cxn>
                  <a:cxn ang="0">
                    <a:pos x="38" y="91"/>
                  </a:cxn>
                  <a:cxn ang="0">
                    <a:pos x="29" y="83"/>
                  </a:cxn>
                  <a:cxn ang="0">
                    <a:pos x="19" y="70"/>
                  </a:cxn>
                  <a:cxn ang="0">
                    <a:pos x="15" y="66"/>
                  </a:cxn>
                  <a:cxn ang="0">
                    <a:pos x="10" y="59"/>
                  </a:cxn>
                  <a:cxn ang="0">
                    <a:pos x="8" y="53"/>
                  </a:cxn>
                  <a:cxn ang="0">
                    <a:pos x="0" y="49"/>
                  </a:cxn>
                  <a:cxn ang="0">
                    <a:pos x="0" y="44"/>
                  </a:cxn>
                  <a:cxn ang="0">
                    <a:pos x="0" y="42"/>
                  </a:cxn>
                </a:cxnLst>
                <a:rect l="0" t="0" r="r" b="b"/>
                <a:pathLst>
                  <a:path w="147" h="134">
                    <a:moveTo>
                      <a:pt x="0" y="42"/>
                    </a:moveTo>
                    <a:lnTo>
                      <a:pt x="2" y="42"/>
                    </a:lnTo>
                    <a:lnTo>
                      <a:pt x="8" y="42"/>
                    </a:lnTo>
                    <a:lnTo>
                      <a:pt x="10" y="44"/>
                    </a:lnTo>
                    <a:lnTo>
                      <a:pt x="12" y="45"/>
                    </a:lnTo>
                    <a:lnTo>
                      <a:pt x="13" y="45"/>
                    </a:lnTo>
                    <a:lnTo>
                      <a:pt x="17" y="44"/>
                    </a:lnTo>
                    <a:lnTo>
                      <a:pt x="21" y="44"/>
                    </a:lnTo>
                    <a:lnTo>
                      <a:pt x="23" y="44"/>
                    </a:lnTo>
                    <a:lnTo>
                      <a:pt x="25" y="44"/>
                    </a:lnTo>
                    <a:lnTo>
                      <a:pt x="25" y="44"/>
                    </a:lnTo>
                    <a:lnTo>
                      <a:pt x="25" y="44"/>
                    </a:lnTo>
                    <a:lnTo>
                      <a:pt x="29" y="47"/>
                    </a:lnTo>
                    <a:lnTo>
                      <a:pt x="32" y="47"/>
                    </a:lnTo>
                    <a:lnTo>
                      <a:pt x="38" y="45"/>
                    </a:lnTo>
                    <a:lnTo>
                      <a:pt x="42" y="38"/>
                    </a:lnTo>
                    <a:lnTo>
                      <a:pt x="51" y="28"/>
                    </a:lnTo>
                    <a:lnTo>
                      <a:pt x="62" y="19"/>
                    </a:lnTo>
                    <a:lnTo>
                      <a:pt x="68" y="17"/>
                    </a:lnTo>
                    <a:lnTo>
                      <a:pt x="70" y="15"/>
                    </a:lnTo>
                    <a:lnTo>
                      <a:pt x="70" y="15"/>
                    </a:lnTo>
                    <a:lnTo>
                      <a:pt x="70" y="13"/>
                    </a:lnTo>
                    <a:lnTo>
                      <a:pt x="70" y="11"/>
                    </a:lnTo>
                    <a:lnTo>
                      <a:pt x="70" y="10"/>
                    </a:lnTo>
                    <a:lnTo>
                      <a:pt x="74" y="6"/>
                    </a:lnTo>
                    <a:lnTo>
                      <a:pt x="77" y="4"/>
                    </a:lnTo>
                    <a:lnTo>
                      <a:pt x="79" y="4"/>
                    </a:lnTo>
                    <a:lnTo>
                      <a:pt x="83" y="0"/>
                    </a:lnTo>
                    <a:lnTo>
                      <a:pt x="87" y="0"/>
                    </a:lnTo>
                    <a:lnTo>
                      <a:pt x="93" y="0"/>
                    </a:lnTo>
                    <a:lnTo>
                      <a:pt x="93" y="0"/>
                    </a:lnTo>
                    <a:lnTo>
                      <a:pt x="94" y="0"/>
                    </a:lnTo>
                    <a:lnTo>
                      <a:pt x="98" y="0"/>
                    </a:lnTo>
                    <a:lnTo>
                      <a:pt x="100" y="0"/>
                    </a:lnTo>
                    <a:lnTo>
                      <a:pt x="102" y="0"/>
                    </a:lnTo>
                    <a:lnTo>
                      <a:pt x="102" y="8"/>
                    </a:lnTo>
                    <a:lnTo>
                      <a:pt x="108" y="8"/>
                    </a:lnTo>
                    <a:lnTo>
                      <a:pt x="109" y="8"/>
                    </a:lnTo>
                    <a:lnTo>
                      <a:pt x="113" y="11"/>
                    </a:lnTo>
                    <a:lnTo>
                      <a:pt x="113" y="10"/>
                    </a:lnTo>
                    <a:lnTo>
                      <a:pt x="115" y="8"/>
                    </a:lnTo>
                    <a:lnTo>
                      <a:pt x="119" y="10"/>
                    </a:lnTo>
                    <a:lnTo>
                      <a:pt x="125" y="13"/>
                    </a:lnTo>
                    <a:lnTo>
                      <a:pt x="128" y="17"/>
                    </a:lnTo>
                    <a:lnTo>
                      <a:pt x="132" y="17"/>
                    </a:lnTo>
                    <a:lnTo>
                      <a:pt x="138" y="19"/>
                    </a:lnTo>
                    <a:lnTo>
                      <a:pt x="140" y="21"/>
                    </a:lnTo>
                    <a:lnTo>
                      <a:pt x="143" y="25"/>
                    </a:lnTo>
                    <a:lnTo>
                      <a:pt x="147" y="25"/>
                    </a:lnTo>
                    <a:lnTo>
                      <a:pt x="147" y="28"/>
                    </a:lnTo>
                    <a:lnTo>
                      <a:pt x="147" y="30"/>
                    </a:lnTo>
                    <a:lnTo>
                      <a:pt x="147" y="34"/>
                    </a:lnTo>
                    <a:lnTo>
                      <a:pt x="147" y="34"/>
                    </a:lnTo>
                    <a:lnTo>
                      <a:pt x="147" y="36"/>
                    </a:lnTo>
                    <a:lnTo>
                      <a:pt x="147" y="40"/>
                    </a:lnTo>
                    <a:lnTo>
                      <a:pt x="143" y="42"/>
                    </a:lnTo>
                    <a:lnTo>
                      <a:pt x="143" y="47"/>
                    </a:lnTo>
                    <a:lnTo>
                      <a:pt x="143" y="51"/>
                    </a:lnTo>
                    <a:lnTo>
                      <a:pt x="143" y="53"/>
                    </a:lnTo>
                    <a:lnTo>
                      <a:pt x="147" y="53"/>
                    </a:lnTo>
                    <a:lnTo>
                      <a:pt x="147" y="55"/>
                    </a:lnTo>
                    <a:lnTo>
                      <a:pt x="143" y="59"/>
                    </a:lnTo>
                    <a:lnTo>
                      <a:pt x="143" y="60"/>
                    </a:lnTo>
                    <a:lnTo>
                      <a:pt x="143" y="64"/>
                    </a:lnTo>
                    <a:lnTo>
                      <a:pt x="140" y="64"/>
                    </a:lnTo>
                    <a:lnTo>
                      <a:pt x="140" y="66"/>
                    </a:lnTo>
                    <a:lnTo>
                      <a:pt x="143" y="70"/>
                    </a:lnTo>
                    <a:lnTo>
                      <a:pt x="143" y="72"/>
                    </a:lnTo>
                    <a:lnTo>
                      <a:pt x="143" y="74"/>
                    </a:lnTo>
                    <a:lnTo>
                      <a:pt x="143" y="77"/>
                    </a:lnTo>
                    <a:lnTo>
                      <a:pt x="143" y="79"/>
                    </a:lnTo>
                    <a:lnTo>
                      <a:pt x="143" y="83"/>
                    </a:lnTo>
                    <a:lnTo>
                      <a:pt x="143" y="85"/>
                    </a:lnTo>
                    <a:lnTo>
                      <a:pt x="140" y="89"/>
                    </a:lnTo>
                    <a:lnTo>
                      <a:pt x="138" y="91"/>
                    </a:lnTo>
                    <a:lnTo>
                      <a:pt x="134" y="91"/>
                    </a:lnTo>
                    <a:lnTo>
                      <a:pt x="134" y="94"/>
                    </a:lnTo>
                    <a:lnTo>
                      <a:pt x="134" y="98"/>
                    </a:lnTo>
                    <a:lnTo>
                      <a:pt x="134" y="98"/>
                    </a:lnTo>
                    <a:lnTo>
                      <a:pt x="134" y="104"/>
                    </a:lnTo>
                    <a:lnTo>
                      <a:pt x="134" y="106"/>
                    </a:lnTo>
                    <a:lnTo>
                      <a:pt x="134" y="113"/>
                    </a:lnTo>
                    <a:lnTo>
                      <a:pt x="113" y="134"/>
                    </a:lnTo>
                    <a:lnTo>
                      <a:pt x="108" y="130"/>
                    </a:lnTo>
                    <a:lnTo>
                      <a:pt x="104" y="128"/>
                    </a:lnTo>
                    <a:lnTo>
                      <a:pt x="98" y="130"/>
                    </a:lnTo>
                    <a:lnTo>
                      <a:pt x="94" y="130"/>
                    </a:lnTo>
                    <a:lnTo>
                      <a:pt x="94" y="130"/>
                    </a:lnTo>
                    <a:lnTo>
                      <a:pt x="91" y="128"/>
                    </a:lnTo>
                    <a:lnTo>
                      <a:pt x="87" y="128"/>
                    </a:lnTo>
                    <a:lnTo>
                      <a:pt x="85" y="125"/>
                    </a:lnTo>
                    <a:lnTo>
                      <a:pt x="81" y="125"/>
                    </a:lnTo>
                    <a:lnTo>
                      <a:pt x="74" y="125"/>
                    </a:lnTo>
                    <a:lnTo>
                      <a:pt x="74" y="125"/>
                    </a:lnTo>
                    <a:lnTo>
                      <a:pt x="74" y="123"/>
                    </a:lnTo>
                    <a:lnTo>
                      <a:pt x="74" y="121"/>
                    </a:lnTo>
                    <a:lnTo>
                      <a:pt x="70" y="119"/>
                    </a:lnTo>
                    <a:lnTo>
                      <a:pt x="68" y="119"/>
                    </a:lnTo>
                    <a:lnTo>
                      <a:pt x="64" y="115"/>
                    </a:lnTo>
                    <a:lnTo>
                      <a:pt x="62" y="115"/>
                    </a:lnTo>
                    <a:lnTo>
                      <a:pt x="57" y="115"/>
                    </a:lnTo>
                    <a:lnTo>
                      <a:pt x="55" y="115"/>
                    </a:lnTo>
                    <a:lnTo>
                      <a:pt x="51" y="115"/>
                    </a:lnTo>
                    <a:lnTo>
                      <a:pt x="49" y="111"/>
                    </a:lnTo>
                    <a:lnTo>
                      <a:pt x="45" y="109"/>
                    </a:lnTo>
                    <a:lnTo>
                      <a:pt x="44" y="106"/>
                    </a:lnTo>
                    <a:lnTo>
                      <a:pt x="44" y="104"/>
                    </a:lnTo>
                    <a:lnTo>
                      <a:pt x="42" y="98"/>
                    </a:lnTo>
                    <a:lnTo>
                      <a:pt x="44" y="98"/>
                    </a:lnTo>
                    <a:lnTo>
                      <a:pt x="40" y="94"/>
                    </a:lnTo>
                    <a:lnTo>
                      <a:pt x="38" y="94"/>
                    </a:lnTo>
                    <a:lnTo>
                      <a:pt x="38" y="91"/>
                    </a:lnTo>
                    <a:lnTo>
                      <a:pt x="38" y="91"/>
                    </a:lnTo>
                    <a:lnTo>
                      <a:pt x="38" y="91"/>
                    </a:lnTo>
                    <a:lnTo>
                      <a:pt x="34" y="89"/>
                    </a:lnTo>
                    <a:lnTo>
                      <a:pt x="34" y="85"/>
                    </a:lnTo>
                    <a:lnTo>
                      <a:pt x="29" y="83"/>
                    </a:lnTo>
                    <a:lnTo>
                      <a:pt x="25" y="81"/>
                    </a:lnTo>
                    <a:lnTo>
                      <a:pt x="21" y="74"/>
                    </a:lnTo>
                    <a:lnTo>
                      <a:pt x="19" y="70"/>
                    </a:lnTo>
                    <a:lnTo>
                      <a:pt x="17" y="70"/>
                    </a:lnTo>
                    <a:lnTo>
                      <a:pt x="15" y="68"/>
                    </a:lnTo>
                    <a:lnTo>
                      <a:pt x="15" y="66"/>
                    </a:lnTo>
                    <a:lnTo>
                      <a:pt x="13" y="64"/>
                    </a:lnTo>
                    <a:lnTo>
                      <a:pt x="12" y="60"/>
                    </a:lnTo>
                    <a:lnTo>
                      <a:pt x="10" y="59"/>
                    </a:lnTo>
                    <a:lnTo>
                      <a:pt x="10" y="59"/>
                    </a:lnTo>
                    <a:lnTo>
                      <a:pt x="10" y="57"/>
                    </a:lnTo>
                    <a:lnTo>
                      <a:pt x="8" y="53"/>
                    </a:lnTo>
                    <a:lnTo>
                      <a:pt x="4" y="53"/>
                    </a:lnTo>
                    <a:lnTo>
                      <a:pt x="4" y="51"/>
                    </a:lnTo>
                    <a:lnTo>
                      <a:pt x="0" y="49"/>
                    </a:lnTo>
                    <a:lnTo>
                      <a:pt x="0" y="47"/>
                    </a:lnTo>
                    <a:lnTo>
                      <a:pt x="0" y="45"/>
                    </a:lnTo>
                    <a:lnTo>
                      <a:pt x="0" y="44"/>
                    </a:lnTo>
                    <a:lnTo>
                      <a:pt x="0" y="42"/>
                    </a:lnTo>
                    <a:lnTo>
                      <a:pt x="0" y="42"/>
                    </a:lnTo>
                    <a:lnTo>
                      <a:pt x="0" y="42"/>
                    </a:lnTo>
                    <a:lnTo>
                      <a:pt x="0" y="42"/>
                    </a:lnTo>
                    <a:lnTo>
                      <a:pt x="0" y="4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6" name="Freeform 148"/>
              <p:cNvSpPr>
                <a:spLocks/>
              </p:cNvSpPr>
              <p:nvPr/>
            </p:nvSpPr>
            <p:spPr bwMode="auto">
              <a:xfrm>
                <a:off x="3139" y="3437"/>
                <a:ext cx="173" cy="173"/>
              </a:xfrm>
              <a:custGeom>
                <a:avLst/>
                <a:gdLst/>
                <a:ahLst/>
                <a:cxnLst>
                  <a:cxn ang="0">
                    <a:pos x="99" y="3"/>
                  </a:cxn>
                  <a:cxn ang="0">
                    <a:pos x="103" y="9"/>
                  </a:cxn>
                  <a:cxn ang="0">
                    <a:pos x="109" y="13"/>
                  </a:cxn>
                  <a:cxn ang="0">
                    <a:pos x="112" y="18"/>
                  </a:cxn>
                  <a:cxn ang="0">
                    <a:pos x="114" y="26"/>
                  </a:cxn>
                  <a:cxn ang="0">
                    <a:pos x="120" y="32"/>
                  </a:cxn>
                  <a:cxn ang="0">
                    <a:pos x="133" y="43"/>
                  </a:cxn>
                  <a:cxn ang="0">
                    <a:pos x="137" y="47"/>
                  </a:cxn>
                  <a:cxn ang="0">
                    <a:pos x="139" y="52"/>
                  </a:cxn>
                  <a:cxn ang="0">
                    <a:pos x="143" y="60"/>
                  </a:cxn>
                  <a:cxn ang="0">
                    <a:pos x="148" y="67"/>
                  </a:cxn>
                  <a:cxn ang="0">
                    <a:pos x="156" y="73"/>
                  </a:cxn>
                  <a:cxn ang="0">
                    <a:pos x="167" y="77"/>
                  </a:cxn>
                  <a:cxn ang="0">
                    <a:pos x="173" y="81"/>
                  </a:cxn>
                  <a:cxn ang="0">
                    <a:pos x="173" y="84"/>
                  </a:cxn>
                  <a:cxn ang="0">
                    <a:pos x="163" y="86"/>
                  </a:cxn>
                  <a:cxn ang="0">
                    <a:pos x="161" y="92"/>
                  </a:cxn>
                  <a:cxn ang="0">
                    <a:pos x="154" y="96"/>
                  </a:cxn>
                  <a:cxn ang="0">
                    <a:pos x="144" y="97"/>
                  </a:cxn>
                  <a:cxn ang="0">
                    <a:pos x="139" y="105"/>
                  </a:cxn>
                  <a:cxn ang="0">
                    <a:pos x="133" y="105"/>
                  </a:cxn>
                  <a:cxn ang="0">
                    <a:pos x="126" y="118"/>
                  </a:cxn>
                  <a:cxn ang="0">
                    <a:pos x="124" y="124"/>
                  </a:cxn>
                  <a:cxn ang="0">
                    <a:pos x="118" y="129"/>
                  </a:cxn>
                  <a:cxn ang="0">
                    <a:pos x="114" y="131"/>
                  </a:cxn>
                  <a:cxn ang="0">
                    <a:pos x="107" y="135"/>
                  </a:cxn>
                  <a:cxn ang="0">
                    <a:pos x="103" y="145"/>
                  </a:cxn>
                  <a:cxn ang="0">
                    <a:pos x="103" y="152"/>
                  </a:cxn>
                  <a:cxn ang="0">
                    <a:pos x="96" y="152"/>
                  </a:cxn>
                  <a:cxn ang="0">
                    <a:pos x="84" y="154"/>
                  </a:cxn>
                  <a:cxn ang="0">
                    <a:pos x="69" y="150"/>
                  </a:cxn>
                  <a:cxn ang="0">
                    <a:pos x="60" y="146"/>
                  </a:cxn>
                  <a:cxn ang="0">
                    <a:pos x="48" y="160"/>
                  </a:cxn>
                  <a:cxn ang="0">
                    <a:pos x="37" y="165"/>
                  </a:cxn>
                  <a:cxn ang="0">
                    <a:pos x="26" y="173"/>
                  </a:cxn>
                  <a:cxn ang="0">
                    <a:pos x="15" y="171"/>
                  </a:cxn>
                  <a:cxn ang="0">
                    <a:pos x="13" y="162"/>
                  </a:cxn>
                  <a:cxn ang="0">
                    <a:pos x="5" y="143"/>
                  </a:cxn>
                  <a:cxn ang="0">
                    <a:pos x="0" y="137"/>
                  </a:cxn>
                  <a:cxn ang="0">
                    <a:pos x="18" y="81"/>
                  </a:cxn>
                  <a:cxn ang="0">
                    <a:pos x="54" y="9"/>
                  </a:cxn>
                  <a:cxn ang="0">
                    <a:pos x="64" y="7"/>
                  </a:cxn>
                  <a:cxn ang="0">
                    <a:pos x="67" y="13"/>
                  </a:cxn>
                  <a:cxn ang="0">
                    <a:pos x="67" y="16"/>
                  </a:cxn>
                  <a:cxn ang="0">
                    <a:pos x="82" y="3"/>
                  </a:cxn>
                  <a:cxn ang="0">
                    <a:pos x="88" y="5"/>
                  </a:cxn>
                  <a:cxn ang="0">
                    <a:pos x="99" y="0"/>
                  </a:cxn>
                  <a:cxn ang="0">
                    <a:pos x="99" y="0"/>
                  </a:cxn>
                </a:cxnLst>
                <a:rect l="0" t="0" r="r" b="b"/>
                <a:pathLst>
                  <a:path w="173" h="173">
                    <a:moveTo>
                      <a:pt x="99" y="0"/>
                    </a:moveTo>
                    <a:lnTo>
                      <a:pt x="99" y="1"/>
                    </a:lnTo>
                    <a:lnTo>
                      <a:pt x="99" y="3"/>
                    </a:lnTo>
                    <a:lnTo>
                      <a:pt x="99" y="5"/>
                    </a:lnTo>
                    <a:lnTo>
                      <a:pt x="99" y="7"/>
                    </a:lnTo>
                    <a:lnTo>
                      <a:pt x="103" y="9"/>
                    </a:lnTo>
                    <a:lnTo>
                      <a:pt x="103" y="11"/>
                    </a:lnTo>
                    <a:lnTo>
                      <a:pt x="109" y="11"/>
                    </a:lnTo>
                    <a:lnTo>
                      <a:pt x="109" y="13"/>
                    </a:lnTo>
                    <a:lnTo>
                      <a:pt x="109" y="16"/>
                    </a:lnTo>
                    <a:lnTo>
                      <a:pt x="109" y="16"/>
                    </a:lnTo>
                    <a:lnTo>
                      <a:pt x="112" y="18"/>
                    </a:lnTo>
                    <a:lnTo>
                      <a:pt x="112" y="22"/>
                    </a:lnTo>
                    <a:lnTo>
                      <a:pt x="114" y="24"/>
                    </a:lnTo>
                    <a:lnTo>
                      <a:pt x="114" y="26"/>
                    </a:lnTo>
                    <a:lnTo>
                      <a:pt x="116" y="28"/>
                    </a:lnTo>
                    <a:lnTo>
                      <a:pt x="118" y="28"/>
                    </a:lnTo>
                    <a:lnTo>
                      <a:pt x="120" y="32"/>
                    </a:lnTo>
                    <a:lnTo>
                      <a:pt x="126" y="39"/>
                    </a:lnTo>
                    <a:lnTo>
                      <a:pt x="129" y="41"/>
                    </a:lnTo>
                    <a:lnTo>
                      <a:pt x="133" y="43"/>
                    </a:lnTo>
                    <a:lnTo>
                      <a:pt x="133" y="47"/>
                    </a:lnTo>
                    <a:lnTo>
                      <a:pt x="137" y="47"/>
                    </a:lnTo>
                    <a:lnTo>
                      <a:pt x="137" y="47"/>
                    </a:lnTo>
                    <a:lnTo>
                      <a:pt x="137" y="48"/>
                    </a:lnTo>
                    <a:lnTo>
                      <a:pt x="137" y="50"/>
                    </a:lnTo>
                    <a:lnTo>
                      <a:pt x="139" y="52"/>
                    </a:lnTo>
                    <a:lnTo>
                      <a:pt x="143" y="56"/>
                    </a:lnTo>
                    <a:lnTo>
                      <a:pt x="143" y="56"/>
                    </a:lnTo>
                    <a:lnTo>
                      <a:pt x="143" y="60"/>
                    </a:lnTo>
                    <a:lnTo>
                      <a:pt x="143" y="64"/>
                    </a:lnTo>
                    <a:lnTo>
                      <a:pt x="144" y="67"/>
                    </a:lnTo>
                    <a:lnTo>
                      <a:pt x="148" y="67"/>
                    </a:lnTo>
                    <a:lnTo>
                      <a:pt x="150" y="73"/>
                    </a:lnTo>
                    <a:lnTo>
                      <a:pt x="154" y="73"/>
                    </a:lnTo>
                    <a:lnTo>
                      <a:pt x="156" y="73"/>
                    </a:lnTo>
                    <a:lnTo>
                      <a:pt x="161" y="73"/>
                    </a:lnTo>
                    <a:lnTo>
                      <a:pt x="163" y="73"/>
                    </a:lnTo>
                    <a:lnTo>
                      <a:pt x="167" y="77"/>
                    </a:lnTo>
                    <a:lnTo>
                      <a:pt x="169" y="77"/>
                    </a:lnTo>
                    <a:lnTo>
                      <a:pt x="173" y="77"/>
                    </a:lnTo>
                    <a:lnTo>
                      <a:pt x="173" y="81"/>
                    </a:lnTo>
                    <a:lnTo>
                      <a:pt x="173" y="81"/>
                    </a:lnTo>
                    <a:lnTo>
                      <a:pt x="173" y="82"/>
                    </a:lnTo>
                    <a:lnTo>
                      <a:pt x="173" y="84"/>
                    </a:lnTo>
                    <a:lnTo>
                      <a:pt x="169" y="84"/>
                    </a:lnTo>
                    <a:lnTo>
                      <a:pt x="167" y="84"/>
                    </a:lnTo>
                    <a:lnTo>
                      <a:pt x="163" y="86"/>
                    </a:lnTo>
                    <a:lnTo>
                      <a:pt x="163" y="88"/>
                    </a:lnTo>
                    <a:lnTo>
                      <a:pt x="163" y="92"/>
                    </a:lnTo>
                    <a:lnTo>
                      <a:pt x="161" y="92"/>
                    </a:lnTo>
                    <a:lnTo>
                      <a:pt x="160" y="96"/>
                    </a:lnTo>
                    <a:lnTo>
                      <a:pt x="156" y="96"/>
                    </a:lnTo>
                    <a:lnTo>
                      <a:pt x="154" y="96"/>
                    </a:lnTo>
                    <a:lnTo>
                      <a:pt x="152" y="96"/>
                    </a:lnTo>
                    <a:lnTo>
                      <a:pt x="148" y="96"/>
                    </a:lnTo>
                    <a:lnTo>
                      <a:pt x="144" y="97"/>
                    </a:lnTo>
                    <a:lnTo>
                      <a:pt x="143" y="101"/>
                    </a:lnTo>
                    <a:lnTo>
                      <a:pt x="143" y="101"/>
                    </a:lnTo>
                    <a:lnTo>
                      <a:pt x="139" y="105"/>
                    </a:lnTo>
                    <a:lnTo>
                      <a:pt x="139" y="105"/>
                    </a:lnTo>
                    <a:lnTo>
                      <a:pt x="137" y="105"/>
                    </a:lnTo>
                    <a:lnTo>
                      <a:pt x="133" y="105"/>
                    </a:lnTo>
                    <a:lnTo>
                      <a:pt x="131" y="107"/>
                    </a:lnTo>
                    <a:lnTo>
                      <a:pt x="128" y="114"/>
                    </a:lnTo>
                    <a:lnTo>
                      <a:pt x="126" y="118"/>
                    </a:lnTo>
                    <a:lnTo>
                      <a:pt x="128" y="120"/>
                    </a:lnTo>
                    <a:lnTo>
                      <a:pt x="128" y="124"/>
                    </a:lnTo>
                    <a:lnTo>
                      <a:pt x="124" y="124"/>
                    </a:lnTo>
                    <a:lnTo>
                      <a:pt x="124" y="126"/>
                    </a:lnTo>
                    <a:lnTo>
                      <a:pt x="120" y="126"/>
                    </a:lnTo>
                    <a:lnTo>
                      <a:pt x="118" y="129"/>
                    </a:lnTo>
                    <a:lnTo>
                      <a:pt x="116" y="131"/>
                    </a:lnTo>
                    <a:lnTo>
                      <a:pt x="116" y="131"/>
                    </a:lnTo>
                    <a:lnTo>
                      <a:pt x="114" y="131"/>
                    </a:lnTo>
                    <a:lnTo>
                      <a:pt x="112" y="135"/>
                    </a:lnTo>
                    <a:lnTo>
                      <a:pt x="109" y="135"/>
                    </a:lnTo>
                    <a:lnTo>
                      <a:pt x="107" y="135"/>
                    </a:lnTo>
                    <a:lnTo>
                      <a:pt x="103" y="139"/>
                    </a:lnTo>
                    <a:lnTo>
                      <a:pt x="103" y="143"/>
                    </a:lnTo>
                    <a:lnTo>
                      <a:pt x="103" y="145"/>
                    </a:lnTo>
                    <a:lnTo>
                      <a:pt x="103" y="148"/>
                    </a:lnTo>
                    <a:lnTo>
                      <a:pt x="103" y="152"/>
                    </a:lnTo>
                    <a:lnTo>
                      <a:pt x="103" y="152"/>
                    </a:lnTo>
                    <a:lnTo>
                      <a:pt x="99" y="156"/>
                    </a:lnTo>
                    <a:lnTo>
                      <a:pt x="97" y="154"/>
                    </a:lnTo>
                    <a:lnTo>
                      <a:pt x="96" y="152"/>
                    </a:lnTo>
                    <a:lnTo>
                      <a:pt x="92" y="154"/>
                    </a:lnTo>
                    <a:lnTo>
                      <a:pt x="88" y="154"/>
                    </a:lnTo>
                    <a:lnTo>
                      <a:pt x="84" y="154"/>
                    </a:lnTo>
                    <a:lnTo>
                      <a:pt x="82" y="154"/>
                    </a:lnTo>
                    <a:lnTo>
                      <a:pt x="79" y="154"/>
                    </a:lnTo>
                    <a:lnTo>
                      <a:pt x="69" y="150"/>
                    </a:lnTo>
                    <a:lnTo>
                      <a:pt x="69" y="150"/>
                    </a:lnTo>
                    <a:lnTo>
                      <a:pt x="67" y="146"/>
                    </a:lnTo>
                    <a:lnTo>
                      <a:pt x="60" y="146"/>
                    </a:lnTo>
                    <a:lnTo>
                      <a:pt x="56" y="146"/>
                    </a:lnTo>
                    <a:lnTo>
                      <a:pt x="50" y="150"/>
                    </a:lnTo>
                    <a:lnTo>
                      <a:pt x="48" y="160"/>
                    </a:lnTo>
                    <a:lnTo>
                      <a:pt x="45" y="162"/>
                    </a:lnTo>
                    <a:lnTo>
                      <a:pt x="39" y="165"/>
                    </a:lnTo>
                    <a:lnTo>
                      <a:pt x="37" y="165"/>
                    </a:lnTo>
                    <a:lnTo>
                      <a:pt x="33" y="169"/>
                    </a:lnTo>
                    <a:lnTo>
                      <a:pt x="30" y="169"/>
                    </a:lnTo>
                    <a:lnTo>
                      <a:pt x="26" y="173"/>
                    </a:lnTo>
                    <a:lnTo>
                      <a:pt x="22" y="171"/>
                    </a:lnTo>
                    <a:lnTo>
                      <a:pt x="18" y="173"/>
                    </a:lnTo>
                    <a:lnTo>
                      <a:pt x="15" y="171"/>
                    </a:lnTo>
                    <a:lnTo>
                      <a:pt x="9" y="173"/>
                    </a:lnTo>
                    <a:lnTo>
                      <a:pt x="9" y="169"/>
                    </a:lnTo>
                    <a:lnTo>
                      <a:pt x="13" y="162"/>
                    </a:lnTo>
                    <a:lnTo>
                      <a:pt x="13" y="160"/>
                    </a:lnTo>
                    <a:lnTo>
                      <a:pt x="9" y="148"/>
                    </a:lnTo>
                    <a:lnTo>
                      <a:pt x="5" y="143"/>
                    </a:lnTo>
                    <a:lnTo>
                      <a:pt x="0" y="137"/>
                    </a:lnTo>
                    <a:lnTo>
                      <a:pt x="0" y="137"/>
                    </a:lnTo>
                    <a:lnTo>
                      <a:pt x="0" y="137"/>
                    </a:lnTo>
                    <a:lnTo>
                      <a:pt x="0" y="137"/>
                    </a:lnTo>
                    <a:lnTo>
                      <a:pt x="3" y="81"/>
                    </a:lnTo>
                    <a:lnTo>
                      <a:pt x="18" y="81"/>
                    </a:lnTo>
                    <a:lnTo>
                      <a:pt x="22" y="13"/>
                    </a:lnTo>
                    <a:lnTo>
                      <a:pt x="37" y="13"/>
                    </a:lnTo>
                    <a:lnTo>
                      <a:pt x="54" y="9"/>
                    </a:lnTo>
                    <a:lnTo>
                      <a:pt x="60" y="7"/>
                    </a:lnTo>
                    <a:lnTo>
                      <a:pt x="64" y="7"/>
                    </a:lnTo>
                    <a:lnTo>
                      <a:pt x="64" y="7"/>
                    </a:lnTo>
                    <a:lnTo>
                      <a:pt x="65" y="7"/>
                    </a:lnTo>
                    <a:lnTo>
                      <a:pt x="65" y="11"/>
                    </a:lnTo>
                    <a:lnTo>
                      <a:pt x="67" y="13"/>
                    </a:lnTo>
                    <a:lnTo>
                      <a:pt x="65" y="13"/>
                    </a:lnTo>
                    <a:lnTo>
                      <a:pt x="65" y="16"/>
                    </a:lnTo>
                    <a:lnTo>
                      <a:pt x="67" y="16"/>
                    </a:lnTo>
                    <a:lnTo>
                      <a:pt x="73" y="13"/>
                    </a:lnTo>
                    <a:lnTo>
                      <a:pt x="79" y="7"/>
                    </a:lnTo>
                    <a:lnTo>
                      <a:pt x="82" y="3"/>
                    </a:lnTo>
                    <a:lnTo>
                      <a:pt x="84" y="3"/>
                    </a:lnTo>
                    <a:lnTo>
                      <a:pt x="84" y="3"/>
                    </a:lnTo>
                    <a:lnTo>
                      <a:pt x="88" y="5"/>
                    </a:lnTo>
                    <a:lnTo>
                      <a:pt x="90" y="3"/>
                    </a:lnTo>
                    <a:lnTo>
                      <a:pt x="96" y="0"/>
                    </a:lnTo>
                    <a:lnTo>
                      <a:pt x="99" y="0"/>
                    </a:lnTo>
                    <a:lnTo>
                      <a:pt x="99" y="0"/>
                    </a:lnTo>
                    <a:lnTo>
                      <a:pt x="99" y="0"/>
                    </a:lnTo>
                    <a:lnTo>
                      <a:pt x="99" y="0"/>
                    </a:lnTo>
                    <a:lnTo>
                      <a:pt x="99"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7" name="Freeform 149"/>
              <p:cNvSpPr>
                <a:spLocks/>
              </p:cNvSpPr>
              <p:nvPr/>
            </p:nvSpPr>
            <p:spPr bwMode="auto">
              <a:xfrm>
                <a:off x="2990" y="3420"/>
                <a:ext cx="248" cy="233"/>
              </a:xfrm>
              <a:custGeom>
                <a:avLst/>
                <a:gdLst/>
                <a:ahLst/>
                <a:cxnLst>
                  <a:cxn ang="0">
                    <a:pos x="152" y="96"/>
                  </a:cxn>
                  <a:cxn ang="0">
                    <a:pos x="186" y="30"/>
                  </a:cxn>
                  <a:cxn ang="0">
                    <a:pos x="213" y="24"/>
                  </a:cxn>
                  <a:cxn ang="0">
                    <a:pos x="213" y="28"/>
                  </a:cxn>
                  <a:cxn ang="0">
                    <a:pos x="213" y="33"/>
                  </a:cxn>
                  <a:cxn ang="0">
                    <a:pos x="226" y="24"/>
                  </a:cxn>
                  <a:cxn ang="0">
                    <a:pos x="233" y="20"/>
                  </a:cxn>
                  <a:cxn ang="0">
                    <a:pos x="243" y="17"/>
                  </a:cxn>
                  <a:cxn ang="0">
                    <a:pos x="246" y="13"/>
                  </a:cxn>
                  <a:cxn ang="0">
                    <a:pos x="241" y="11"/>
                  </a:cxn>
                  <a:cxn ang="0">
                    <a:pos x="235" y="11"/>
                  </a:cxn>
                  <a:cxn ang="0">
                    <a:pos x="186" y="20"/>
                  </a:cxn>
                  <a:cxn ang="0">
                    <a:pos x="181" y="20"/>
                  </a:cxn>
                  <a:cxn ang="0">
                    <a:pos x="177" y="20"/>
                  </a:cxn>
                  <a:cxn ang="0">
                    <a:pos x="171" y="20"/>
                  </a:cxn>
                  <a:cxn ang="0">
                    <a:pos x="167" y="20"/>
                  </a:cxn>
                  <a:cxn ang="0">
                    <a:pos x="158" y="17"/>
                  </a:cxn>
                  <a:cxn ang="0">
                    <a:pos x="152" y="18"/>
                  </a:cxn>
                  <a:cxn ang="0">
                    <a:pos x="143" y="20"/>
                  </a:cxn>
                  <a:cxn ang="0">
                    <a:pos x="137" y="17"/>
                  </a:cxn>
                  <a:cxn ang="0">
                    <a:pos x="128" y="15"/>
                  </a:cxn>
                  <a:cxn ang="0">
                    <a:pos x="122" y="9"/>
                  </a:cxn>
                  <a:cxn ang="0">
                    <a:pos x="51" y="7"/>
                  </a:cxn>
                  <a:cxn ang="0">
                    <a:pos x="45" y="11"/>
                  </a:cxn>
                  <a:cxn ang="0">
                    <a:pos x="36" y="5"/>
                  </a:cxn>
                  <a:cxn ang="0">
                    <a:pos x="32" y="3"/>
                  </a:cxn>
                  <a:cxn ang="0">
                    <a:pos x="30" y="3"/>
                  </a:cxn>
                  <a:cxn ang="0">
                    <a:pos x="21" y="0"/>
                  </a:cxn>
                  <a:cxn ang="0">
                    <a:pos x="15" y="7"/>
                  </a:cxn>
                  <a:cxn ang="0">
                    <a:pos x="5" y="5"/>
                  </a:cxn>
                  <a:cxn ang="0">
                    <a:pos x="2" y="9"/>
                  </a:cxn>
                  <a:cxn ang="0">
                    <a:pos x="0" y="24"/>
                  </a:cxn>
                  <a:cxn ang="0">
                    <a:pos x="26" y="65"/>
                  </a:cxn>
                  <a:cxn ang="0">
                    <a:pos x="37" y="92"/>
                  </a:cxn>
                  <a:cxn ang="0">
                    <a:pos x="45" y="114"/>
                  </a:cxn>
                  <a:cxn ang="0">
                    <a:pos x="54" y="152"/>
                  </a:cxn>
                  <a:cxn ang="0">
                    <a:pos x="51" y="167"/>
                  </a:cxn>
                  <a:cxn ang="0">
                    <a:pos x="58" y="180"/>
                  </a:cxn>
                  <a:cxn ang="0">
                    <a:pos x="58" y="190"/>
                  </a:cxn>
                  <a:cxn ang="0">
                    <a:pos x="64" y="205"/>
                  </a:cxn>
                  <a:cxn ang="0">
                    <a:pos x="75" y="220"/>
                  </a:cxn>
                  <a:cxn ang="0">
                    <a:pos x="86" y="222"/>
                  </a:cxn>
                  <a:cxn ang="0">
                    <a:pos x="88" y="214"/>
                  </a:cxn>
                  <a:cxn ang="0">
                    <a:pos x="98" y="218"/>
                  </a:cxn>
                  <a:cxn ang="0">
                    <a:pos x="105" y="229"/>
                  </a:cxn>
                  <a:cxn ang="0">
                    <a:pos x="115" y="231"/>
                  </a:cxn>
                  <a:cxn ang="0">
                    <a:pos x="122" y="229"/>
                  </a:cxn>
                  <a:cxn ang="0">
                    <a:pos x="128" y="233"/>
                  </a:cxn>
                  <a:cxn ang="0">
                    <a:pos x="133" y="226"/>
                  </a:cxn>
                  <a:cxn ang="0">
                    <a:pos x="145" y="220"/>
                  </a:cxn>
                  <a:cxn ang="0">
                    <a:pos x="149" y="152"/>
                  </a:cxn>
                </a:cxnLst>
                <a:rect l="0" t="0" r="r" b="b"/>
                <a:pathLst>
                  <a:path w="248" h="233">
                    <a:moveTo>
                      <a:pt x="149" y="152"/>
                    </a:moveTo>
                    <a:lnTo>
                      <a:pt x="149" y="152"/>
                    </a:lnTo>
                    <a:lnTo>
                      <a:pt x="152" y="96"/>
                    </a:lnTo>
                    <a:lnTo>
                      <a:pt x="167" y="96"/>
                    </a:lnTo>
                    <a:lnTo>
                      <a:pt x="171" y="28"/>
                    </a:lnTo>
                    <a:lnTo>
                      <a:pt x="186" y="30"/>
                    </a:lnTo>
                    <a:lnTo>
                      <a:pt x="203" y="24"/>
                    </a:lnTo>
                    <a:lnTo>
                      <a:pt x="209" y="24"/>
                    </a:lnTo>
                    <a:lnTo>
                      <a:pt x="213" y="24"/>
                    </a:lnTo>
                    <a:lnTo>
                      <a:pt x="213" y="24"/>
                    </a:lnTo>
                    <a:lnTo>
                      <a:pt x="213" y="24"/>
                    </a:lnTo>
                    <a:lnTo>
                      <a:pt x="213" y="28"/>
                    </a:lnTo>
                    <a:lnTo>
                      <a:pt x="216" y="28"/>
                    </a:lnTo>
                    <a:lnTo>
                      <a:pt x="213" y="28"/>
                    </a:lnTo>
                    <a:lnTo>
                      <a:pt x="213" y="33"/>
                    </a:lnTo>
                    <a:lnTo>
                      <a:pt x="216" y="33"/>
                    </a:lnTo>
                    <a:lnTo>
                      <a:pt x="222" y="28"/>
                    </a:lnTo>
                    <a:lnTo>
                      <a:pt x="226" y="24"/>
                    </a:lnTo>
                    <a:lnTo>
                      <a:pt x="229" y="20"/>
                    </a:lnTo>
                    <a:lnTo>
                      <a:pt x="233" y="20"/>
                    </a:lnTo>
                    <a:lnTo>
                      <a:pt x="233" y="20"/>
                    </a:lnTo>
                    <a:lnTo>
                      <a:pt x="237" y="20"/>
                    </a:lnTo>
                    <a:lnTo>
                      <a:pt x="239" y="20"/>
                    </a:lnTo>
                    <a:lnTo>
                      <a:pt x="243" y="17"/>
                    </a:lnTo>
                    <a:lnTo>
                      <a:pt x="248" y="17"/>
                    </a:lnTo>
                    <a:lnTo>
                      <a:pt x="246" y="13"/>
                    </a:lnTo>
                    <a:lnTo>
                      <a:pt x="246" y="13"/>
                    </a:lnTo>
                    <a:lnTo>
                      <a:pt x="243" y="11"/>
                    </a:lnTo>
                    <a:lnTo>
                      <a:pt x="243" y="13"/>
                    </a:lnTo>
                    <a:lnTo>
                      <a:pt x="241" y="11"/>
                    </a:lnTo>
                    <a:lnTo>
                      <a:pt x="241" y="11"/>
                    </a:lnTo>
                    <a:lnTo>
                      <a:pt x="239" y="11"/>
                    </a:lnTo>
                    <a:lnTo>
                      <a:pt x="235" y="11"/>
                    </a:lnTo>
                    <a:lnTo>
                      <a:pt x="233" y="11"/>
                    </a:lnTo>
                    <a:lnTo>
                      <a:pt x="186" y="20"/>
                    </a:lnTo>
                    <a:lnTo>
                      <a:pt x="186" y="20"/>
                    </a:lnTo>
                    <a:lnTo>
                      <a:pt x="184" y="20"/>
                    </a:lnTo>
                    <a:lnTo>
                      <a:pt x="182" y="20"/>
                    </a:lnTo>
                    <a:lnTo>
                      <a:pt x="181" y="20"/>
                    </a:lnTo>
                    <a:lnTo>
                      <a:pt x="179" y="20"/>
                    </a:lnTo>
                    <a:lnTo>
                      <a:pt x="179" y="20"/>
                    </a:lnTo>
                    <a:lnTo>
                      <a:pt x="177" y="20"/>
                    </a:lnTo>
                    <a:lnTo>
                      <a:pt x="175" y="20"/>
                    </a:lnTo>
                    <a:lnTo>
                      <a:pt x="173" y="18"/>
                    </a:lnTo>
                    <a:lnTo>
                      <a:pt x="171" y="20"/>
                    </a:lnTo>
                    <a:lnTo>
                      <a:pt x="171" y="20"/>
                    </a:lnTo>
                    <a:lnTo>
                      <a:pt x="169" y="20"/>
                    </a:lnTo>
                    <a:lnTo>
                      <a:pt x="167" y="20"/>
                    </a:lnTo>
                    <a:lnTo>
                      <a:pt x="164" y="20"/>
                    </a:lnTo>
                    <a:lnTo>
                      <a:pt x="160" y="17"/>
                    </a:lnTo>
                    <a:lnTo>
                      <a:pt x="158" y="17"/>
                    </a:lnTo>
                    <a:lnTo>
                      <a:pt x="154" y="17"/>
                    </a:lnTo>
                    <a:lnTo>
                      <a:pt x="154" y="18"/>
                    </a:lnTo>
                    <a:lnTo>
                      <a:pt x="152" y="18"/>
                    </a:lnTo>
                    <a:lnTo>
                      <a:pt x="149" y="17"/>
                    </a:lnTo>
                    <a:lnTo>
                      <a:pt x="145" y="18"/>
                    </a:lnTo>
                    <a:lnTo>
                      <a:pt x="143" y="20"/>
                    </a:lnTo>
                    <a:lnTo>
                      <a:pt x="139" y="18"/>
                    </a:lnTo>
                    <a:lnTo>
                      <a:pt x="139" y="17"/>
                    </a:lnTo>
                    <a:lnTo>
                      <a:pt x="137" y="17"/>
                    </a:lnTo>
                    <a:lnTo>
                      <a:pt x="133" y="17"/>
                    </a:lnTo>
                    <a:lnTo>
                      <a:pt x="130" y="17"/>
                    </a:lnTo>
                    <a:lnTo>
                      <a:pt x="128" y="15"/>
                    </a:lnTo>
                    <a:lnTo>
                      <a:pt x="126" y="13"/>
                    </a:lnTo>
                    <a:lnTo>
                      <a:pt x="124" y="9"/>
                    </a:lnTo>
                    <a:lnTo>
                      <a:pt x="122" y="9"/>
                    </a:lnTo>
                    <a:lnTo>
                      <a:pt x="54" y="9"/>
                    </a:lnTo>
                    <a:lnTo>
                      <a:pt x="51" y="7"/>
                    </a:lnTo>
                    <a:lnTo>
                      <a:pt x="51" y="7"/>
                    </a:lnTo>
                    <a:lnTo>
                      <a:pt x="49" y="9"/>
                    </a:lnTo>
                    <a:lnTo>
                      <a:pt x="47" y="9"/>
                    </a:lnTo>
                    <a:lnTo>
                      <a:pt x="45" y="11"/>
                    </a:lnTo>
                    <a:lnTo>
                      <a:pt x="39" y="9"/>
                    </a:lnTo>
                    <a:lnTo>
                      <a:pt x="36" y="5"/>
                    </a:lnTo>
                    <a:lnTo>
                      <a:pt x="36" y="5"/>
                    </a:lnTo>
                    <a:lnTo>
                      <a:pt x="36" y="3"/>
                    </a:lnTo>
                    <a:lnTo>
                      <a:pt x="34" y="3"/>
                    </a:lnTo>
                    <a:lnTo>
                      <a:pt x="32" y="3"/>
                    </a:lnTo>
                    <a:lnTo>
                      <a:pt x="30" y="0"/>
                    </a:lnTo>
                    <a:lnTo>
                      <a:pt x="30" y="0"/>
                    </a:lnTo>
                    <a:lnTo>
                      <a:pt x="30" y="3"/>
                    </a:lnTo>
                    <a:lnTo>
                      <a:pt x="26" y="3"/>
                    </a:lnTo>
                    <a:lnTo>
                      <a:pt x="24" y="0"/>
                    </a:lnTo>
                    <a:lnTo>
                      <a:pt x="21" y="0"/>
                    </a:lnTo>
                    <a:lnTo>
                      <a:pt x="17" y="3"/>
                    </a:lnTo>
                    <a:lnTo>
                      <a:pt x="17" y="5"/>
                    </a:lnTo>
                    <a:lnTo>
                      <a:pt x="15" y="7"/>
                    </a:lnTo>
                    <a:lnTo>
                      <a:pt x="11" y="5"/>
                    </a:lnTo>
                    <a:lnTo>
                      <a:pt x="7" y="5"/>
                    </a:lnTo>
                    <a:lnTo>
                      <a:pt x="5" y="5"/>
                    </a:lnTo>
                    <a:lnTo>
                      <a:pt x="5" y="9"/>
                    </a:lnTo>
                    <a:lnTo>
                      <a:pt x="4" y="9"/>
                    </a:lnTo>
                    <a:lnTo>
                      <a:pt x="2" y="9"/>
                    </a:lnTo>
                    <a:lnTo>
                      <a:pt x="0" y="7"/>
                    </a:lnTo>
                    <a:lnTo>
                      <a:pt x="0" y="7"/>
                    </a:lnTo>
                    <a:lnTo>
                      <a:pt x="0" y="24"/>
                    </a:lnTo>
                    <a:lnTo>
                      <a:pt x="11" y="33"/>
                    </a:lnTo>
                    <a:lnTo>
                      <a:pt x="17" y="45"/>
                    </a:lnTo>
                    <a:lnTo>
                      <a:pt x="26" y="65"/>
                    </a:lnTo>
                    <a:lnTo>
                      <a:pt x="30" y="73"/>
                    </a:lnTo>
                    <a:lnTo>
                      <a:pt x="37" y="86"/>
                    </a:lnTo>
                    <a:lnTo>
                      <a:pt x="37" y="92"/>
                    </a:lnTo>
                    <a:lnTo>
                      <a:pt x="49" y="107"/>
                    </a:lnTo>
                    <a:lnTo>
                      <a:pt x="49" y="113"/>
                    </a:lnTo>
                    <a:lnTo>
                      <a:pt x="45" y="114"/>
                    </a:lnTo>
                    <a:lnTo>
                      <a:pt x="49" y="124"/>
                    </a:lnTo>
                    <a:lnTo>
                      <a:pt x="49" y="137"/>
                    </a:lnTo>
                    <a:lnTo>
                      <a:pt x="54" y="152"/>
                    </a:lnTo>
                    <a:lnTo>
                      <a:pt x="54" y="160"/>
                    </a:lnTo>
                    <a:lnTo>
                      <a:pt x="54" y="165"/>
                    </a:lnTo>
                    <a:lnTo>
                      <a:pt x="51" y="167"/>
                    </a:lnTo>
                    <a:lnTo>
                      <a:pt x="54" y="169"/>
                    </a:lnTo>
                    <a:lnTo>
                      <a:pt x="54" y="180"/>
                    </a:lnTo>
                    <a:lnTo>
                      <a:pt x="58" y="180"/>
                    </a:lnTo>
                    <a:lnTo>
                      <a:pt x="60" y="182"/>
                    </a:lnTo>
                    <a:lnTo>
                      <a:pt x="58" y="186"/>
                    </a:lnTo>
                    <a:lnTo>
                      <a:pt x="58" y="190"/>
                    </a:lnTo>
                    <a:lnTo>
                      <a:pt x="60" y="192"/>
                    </a:lnTo>
                    <a:lnTo>
                      <a:pt x="60" y="199"/>
                    </a:lnTo>
                    <a:lnTo>
                      <a:pt x="64" y="205"/>
                    </a:lnTo>
                    <a:lnTo>
                      <a:pt x="69" y="214"/>
                    </a:lnTo>
                    <a:lnTo>
                      <a:pt x="73" y="216"/>
                    </a:lnTo>
                    <a:lnTo>
                      <a:pt x="75" y="220"/>
                    </a:lnTo>
                    <a:lnTo>
                      <a:pt x="79" y="224"/>
                    </a:lnTo>
                    <a:lnTo>
                      <a:pt x="85" y="224"/>
                    </a:lnTo>
                    <a:lnTo>
                      <a:pt x="86" y="222"/>
                    </a:lnTo>
                    <a:lnTo>
                      <a:pt x="86" y="220"/>
                    </a:lnTo>
                    <a:lnTo>
                      <a:pt x="86" y="218"/>
                    </a:lnTo>
                    <a:lnTo>
                      <a:pt x="88" y="214"/>
                    </a:lnTo>
                    <a:lnTo>
                      <a:pt x="92" y="214"/>
                    </a:lnTo>
                    <a:lnTo>
                      <a:pt x="94" y="218"/>
                    </a:lnTo>
                    <a:lnTo>
                      <a:pt x="98" y="218"/>
                    </a:lnTo>
                    <a:lnTo>
                      <a:pt x="96" y="222"/>
                    </a:lnTo>
                    <a:lnTo>
                      <a:pt x="100" y="226"/>
                    </a:lnTo>
                    <a:lnTo>
                      <a:pt x="105" y="229"/>
                    </a:lnTo>
                    <a:lnTo>
                      <a:pt x="109" y="231"/>
                    </a:lnTo>
                    <a:lnTo>
                      <a:pt x="111" y="231"/>
                    </a:lnTo>
                    <a:lnTo>
                      <a:pt x="115" y="231"/>
                    </a:lnTo>
                    <a:lnTo>
                      <a:pt x="117" y="231"/>
                    </a:lnTo>
                    <a:lnTo>
                      <a:pt x="118" y="229"/>
                    </a:lnTo>
                    <a:lnTo>
                      <a:pt x="122" y="229"/>
                    </a:lnTo>
                    <a:lnTo>
                      <a:pt x="124" y="233"/>
                    </a:lnTo>
                    <a:lnTo>
                      <a:pt x="126" y="233"/>
                    </a:lnTo>
                    <a:lnTo>
                      <a:pt x="128" y="233"/>
                    </a:lnTo>
                    <a:lnTo>
                      <a:pt x="128" y="229"/>
                    </a:lnTo>
                    <a:lnTo>
                      <a:pt x="130" y="226"/>
                    </a:lnTo>
                    <a:lnTo>
                      <a:pt x="133" y="226"/>
                    </a:lnTo>
                    <a:lnTo>
                      <a:pt x="133" y="222"/>
                    </a:lnTo>
                    <a:lnTo>
                      <a:pt x="137" y="220"/>
                    </a:lnTo>
                    <a:lnTo>
                      <a:pt x="145" y="220"/>
                    </a:lnTo>
                    <a:lnTo>
                      <a:pt x="147" y="220"/>
                    </a:lnTo>
                    <a:lnTo>
                      <a:pt x="149" y="152"/>
                    </a:lnTo>
                    <a:lnTo>
                      <a:pt x="149" y="152"/>
                    </a:lnTo>
                    <a:lnTo>
                      <a:pt x="149" y="152"/>
                    </a:lnTo>
                    <a:lnTo>
                      <a:pt x="149" y="1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8" name="Freeform 150"/>
              <p:cNvSpPr>
                <a:spLocks noEditPoints="1"/>
              </p:cNvSpPr>
              <p:nvPr/>
            </p:nvSpPr>
            <p:spPr bwMode="auto">
              <a:xfrm>
                <a:off x="3566" y="3325"/>
                <a:ext cx="137" cy="264"/>
              </a:xfrm>
              <a:custGeom>
                <a:avLst/>
                <a:gdLst/>
                <a:ahLst/>
                <a:cxnLst>
                  <a:cxn ang="0">
                    <a:pos x="39" y="260"/>
                  </a:cxn>
                  <a:cxn ang="0">
                    <a:pos x="64" y="253"/>
                  </a:cxn>
                  <a:cxn ang="0">
                    <a:pos x="71" y="240"/>
                  </a:cxn>
                  <a:cxn ang="0">
                    <a:pos x="75" y="226"/>
                  </a:cxn>
                  <a:cxn ang="0">
                    <a:pos x="79" y="217"/>
                  </a:cxn>
                  <a:cxn ang="0">
                    <a:pos x="90" y="191"/>
                  </a:cxn>
                  <a:cxn ang="0">
                    <a:pos x="103" y="153"/>
                  </a:cxn>
                  <a:cxn ang="0">
                    <a:pos x="113" y="132"/>
                  </a:cxn>
                  <a:cxn ang="0">
                    <a:pos x="120" y="108"/>
                  </a:cxn>
                  <a:cxn ang="0">
                    <a:pos x="122" y="91"/>
                  </a:cxn>
                  <a:cxn ang="0">
                    <a:pos x="126" y="78"/>
                  </a:cxn>
                  <a:cxn ang="0">
                    <a:pos x="126" y="68"/>
                  </a:cxn>
                  <a:cxn ang="0">
                    <a:pos x="133" y="78"/>
                  </a:cxn>
                  <a:cxn ang="0">
                    <a:pos x="135" y="68"/>
                  </a:cxn>
                  <a:cxn ang="0">
                    <a:pos x="132" y="53"/>
                  </a:cxn>
                  <a:cxn ang="0">
                    <a:pos x="133" y="40"/>
                  </a:cxn>
                  <a:cxn ang="0">
                    <a:pos x="128" y="15"/>
                  </a:cxn>
                  <a:cxn ang="0">
                    <a:pos x="122" y="10"/>
                  </a:cxn>
                  <a:cxn ang="0">
                    <a:pos x="118" y="8"/>
                  </a:cxn>
                  <a:cxn ang="0">
                    <a:pos x="113" y="14"/>
                  </a:cxn>
                  <a:cxn ang="0">
                    <a:pos x="111" y="21"/>
                  </a:cxn>
                  <a:cxn ang="0">
                    <a:pos x="103" y="32"/>
                  </a:cxn>
                  <a:cxn ang="0">
                    <a:pos x="100" y="32"/>
                  </a:cxn>
                  <a:cxn ang="0">
                    <a:pos x="98" y="44"/>
                  </a:cxn>
                  <a:cxn ang="0">
                    <a:pos x="92" y="44"/>
                  </a:cxn>
                  <a:cxn ang="0">
                    <a:pos x="96" y="53"/>
                  </a:cxn>
                  <a:cxn ang="0">
                    <a:pos x="85" y="59"/>
                  </a:cxn>
                  <a:cxn ang="0">
                    <a:pos x="83" y="55"/>
                  </a:cxn>
                  <a:cxn ang="0">
                    <a:pos x="79" y="64"/>
                  </a:cxn>
                  <a:cxn ang="0">
                    <a:pos x="77" y="68"/>
                  </a:cxn>
                  <a:cxn ang="0">
                    <a:pos x="75" y="63"/>
                  </a:cxn>
                  <a:cxn ang="0">
                    <a:pos x="66" y="78"/>
                  </a:cxn>
                  <a:cxn ang="0">
                    <a:pos x="60" y="72"/>
                  </a:cxn>
                  <a:cxn ang="0">
                    <a:pos x="51" y="74"/>
                  </a:cxn>
                  <a:cxn ang="0">
                    <a:pos x="49" y="78"/>
                  </a:cxn>
                  <a:cxn ang="0">
                    <a:pos x="36" y="81"/>
                  </a:cxn>
                  <a:cxn ang="0">
                    <a:pos x="26" y="83"/>
                  </a:cxn>
                  <a:cxn ang="0">
                    <a:pos x="19" y="104"/>
                  </a:cxn>
                  <a:cxn ang="0">
                    <a:pos x="21" y="119"/>
                  </a:cxn>
                  <a:cxn ang="0">
                    <a:pos x="26" y="140"/>
                  </a:cxn>
                  <a:cxn ang="0">
                    <a:pos x="22" y="153"/>
                  </a:cxn>
                  <a:cxn ang="0">
                    <a:pos x="17" y="166"/>
                  </a:cxn>
                  <a:cxn ang="0">
                    <a:pos x="5" y="179"/>
                  </a:cxn>
                  <a:cxn ang="0">
                    <a:pos x="2" y="196"/>
                  </a:cxn>
                  <a:cxn ang="0">
                    <a:pos x="5" y="213"/>
                  </a:cxn>
                  <a:cxn ang="0">
                    <a:pos x="11" y="221"/>
                  </a:cxn>
                  <a:cxn ang="0">
                    <a:pos x="5" y="232"/>
                  </a:cxn>
                  <a:cxn ang="0">
                    <a:pos x="7" y="247"/>
                  </a:cxn>
                  <a:cxn ang="0">
                    <a:pos x="17" y="255"/>
                  </a:cxn>
                  <a:cxn ang="0">
                    <a:pos x="26" y="260"/>
                  </a:cxn>
                  <a:cxn ang="0">
                    <a:pos x="30" y="264"/>
                  </a:cxn>
                  <a:cxn ang="0">
                    <a:pos x="107" y="19"/>
                  </a:cxn>
                  <a:cxn ang="0">
                    <a:pos x="107" y="19"/>
                  </a:cxn>
                  <a:cxn ang="0">
                    <a:pos x="107" y="25"/>
                  </a:cxn>
                  <a:cxn ang="0">
                    <a:pos x="107" y="25"/>
                  </a:cxn>
                  <a:cxn ang="0">
                    <a:pos x="101" y="23"/>
                  </a:cxn>
                  <a:cxn ang="0">
                    <a:pos x="101" y="27"/>
                  </a:cxn>
                  <a:cxn ang="0">
                    <a:pos x="101" y="25"/>
                  </a:cxn>
                  <a:cxn ang="0">
                    <a:pos x="126" y="95"/>
                  </a:cxn>
                  <a:cxn ang="0">
                    <a:pos x="128" y="93"/>
                  </a:cxn>
                  <a:cxn ang="0">
                    <a:pos x="126" y="98"/>
                  </a:cxn>
                </a:cxnLst>
                <a:rect l="0" t="0" r="r" b="b"/>
                <a:pathLst>
                  <a:path w="137" h="264">
                    <a:moveTo>
                      <a:pt x="30" y="264"/>
                    </a:moveTo>
                    <a:lnTo>
                      <a:pt x="30" y="262"/>
                    </a:lnTo>
                    <a:lnTo>
                      <a:pt x="36" y="262"/>
                    </a:lnTo>
                    <a:lnTo>
                      <a:pt x="39" y="260"/>
                    </a:lnTo>
                    <a:lnTo>
                      <a:pt x="41" y="257"/>
                    </a:lnTo>
                    <a:lnTo>
                      <a:pt x="54" y="255"/>
                    </a:lnTo>
                    <a:lnTo>
                      <a:pt x="58" y="255"/>
                    </a:lnTo>
                    <a:lnTo>
                      <a:pt x="64" y="253"/>
                    </a:lnTo>
                    <a:lnTo>
                      <a:pt x="64" y="251"/>
                    </a:lnTo>
                    <a:lnTo>
                      <a:pt x="68" y="251"/>
                    </a:lnTo>
                    <a:lnTo>
                      <a:pt x="69" y="245"/>
                    </a:lnTo>
                    <a:lnTo>
                      <a:pt x="71" y="240"/>
                    </a:lnTo>
                    <a:lnTo>
                      <a:pt x="73" y="236"/>
                    </a:lnTo>
                    <a:lnTo>
                      <a:pt x="77" y="234"/>
                    </a:lnTo>
                    <a:lnTo>
                      <a:pt x="75" y="228"/>
                    </a:lnTo>
                    <a:lnTo>
                      <a:pt x="75" y="226"/>
                    </a:lnTo>
                    <a:lnTo>
                      <a:pt x="77" y="225"/>
                    </a:lnTo>
                    <a:lnTo>
                      <a:pt x="79" y="221"/>
                    </a:lnTo>
                    <a:lnTo>
                      <a:pt x="79" y="217"/>
                    </a:lnTo>
                    <a:lnTo>
                      <a:pt x="79" y="217"/>
                    </a:lnTo>
                    <a:lnTo>
                      <a:pt x="85" y="213"/>
                    </a:lnTo>
                    <a:lnTo>
                      <a:pt x="85" y="200"/>
                    </a:lnTo>
                    <a:lnTo>
                      <a:pt x="88" y="193"/>
                    </a:lnTo>
                    <a:lnTo>
                      <a:pt x="90" y="191"/>
                    </a:lnTo>
                    <a:lnTo>
                      <a:pt x="92" y="183"/>
                    </a:lnTo>
                    <a:lnTo>
                      <a:pt x="98" y="174"/>
                    </a:lnTo>
                    <a:lnTo>
                      <a:pt x="101" y="159"/>
                    </a:lnTo>
                    <a:lnTo>
                      <a:pt x="103" y="153"/>
                    </a:lnTo>
                    <a:lnTo>
                      <a:pt x="103" y="147"/>
                    </a:lnTo>
                    <a:lnTo>
                      <a:pt x="107" y="140"/>
                    </a:lnTo>
                    <a:lnTo>
                      <a:pt x="109" y="138"/>
                    </a:lnTo>
                    <a:lnTo>
                      <a:pt x="113" y="132"/>
                    </a:lnTo>
                    <a:lnTo>
                      <a:pt x="115" y="121"/>
                    </a:lnTo>
                    <a:lnTo>
                      <a:pt x="117" y="113"/>
                    </a:lnTo>
                    <a:lnTo>
                      <a:pt x="118" y="112"/>
                    </a:lnTo>
                    <a:lnTo>
                      <a:pt x="120" y="108"/>
                    </a:lnTo>
                    <a:lnTo>
                      <a:pt x="118" y="102"/>
                    </a:lnTo>
                    <a:lnTo>
                      <a:pt x="120" y="98"/>
                    </a:lnTo>
                    <a:lnTo>
                      <a:pt x="122" y="93"/>
                    </a:lnTo>
                    <a:lnTo>
                      <a:pt x="122" y="91"/>
                    </a:lnTo>
                    <a:lnTo>
                      <a:pt x="126" y="87"/>
                    </a:lnTo>
                    <a:lnTo>
                      <a:pt x="126" y="83"/>
                    </a:lnTo>
                    <a:lnTo>
                      <a:pt x="122" y="81"/>
                    </a:lnTo>
                    <a:lnTo>
                      <a:pt x="126" y="78"/>
                    </a:lnTo>
                    <a:lnTo>
                      <a:pt x="122" y="74"/>
                    </a:lnTo>
                    <a:lnTo>
                      <a:pt x="122" y="74"/>
                    </a:lnTo>
                    <a:lnTo>
                      <a:pt x="122" y="68"/>
                    </a:lnTo>
                    <a:lnTo>
                      <a:pt x="126" y="68"/>
                    </a:lnTo>
                    <a:lnTo>
                      <a:pt x="126" y="68"/>
                    </a:lnTo>
                    <a:lnTo>
                      <a:pt x="126" y="74"/>
                    </a:lnTo>
                    <a:lnTo>
                      <a:pt x="130" y="78"/>
                    </a:lnTo>
                    <a:lnTo>
                      <a:pt x="133" y="78"/>
                    </a:lnTo>
                    <a:lnTo>
                      <a:pt x="133" y="74"/>
                    </a:lnTo>
                    <a:lnTo>
                      <a:pt x="133" y="72"/>
                    </a:lnTo>
                    <a:lnTo>
                      <a:pt x="135" y="72"/>
                    </a:lnTo>
                    <a:lnTo>
                      <a:pt x="135" y="68"/>
                    </a:lnTo>
                    <a:lnTo>
                      <a:pt x="137" y="64"/>
                    </a:lnTo>
                    <a:lnTo>
                      <a:pt x="137" y="63"/>
                    </a:lnTo>
                    <a:lnTo>
                      <a:pt x="133" y="57"/>
                    </a:lnTo>
                    <a:lnTo>
                      <a:pt x="132" y="53"/>
                    </a:lnTo>
                    <a:lnTo>
                      <a:pt x="133" y="51"/>
                    </a:lnTo>
                    <a:lnTo>
                      <a:pt x="133" y="47"/>
                    </a:lnTo>
                    <a:lnTo>
                      <a:pt x="132" y="44"/>
                    </a:lnTo>
                    <a:lnTo>
                      <a:pt x="133" y="40"/>
                    </a:lnTo>
                    <a:lnTo>
                      <a:pt x="133" y="32"/>
                    </a:lnTo>
                    <a:lnTo>
                      <a:pt x="130" y="29"/>
                    </a:lnTo>
                    <a:lnTo>
                      <a:pt x="130" y="19"/>
                    </a:lnTo>
                    <a:lnTo>
                      <a:pt x="128" y="15"/>
                    </a:lnTo>
                    <a:lnTo>
                      <a:pt x="128" y="19"/>
                    </a:lnTo>
                    <a:lnTo>
                      <a:pt x="126" y="14"/>
                    </a:lnTo>
                    <a:lnTo>
                      <a:pt x="122" y="10"/>
                    </a:lnTo>
                    <a:lnTo>
                      <a:pt x="122" y="10"/>
                    </a:lnTo>
                    <a:lnTo>
                      <a:pt x="122" y="4"/>
                    </a:lnTo>
                    <a:lnTo>
                      <a:pt x="122" y="0"/>
                    </a:lnTo>
                    <a:lnTo>
                      <a:pt x="117" y="6"/>
                    </a:lnTo>
                    <a:lnTo>
                      <a:pt x="118" y="8"/>
                    </a:lnTo>
                    <a:lnTo>
                      <a:pt x="115" y="10"/>
                    </a:lnTo>
                    <a:lnTo>
                      <a:pt x="111" y="8"/>
                    </a:lnTo>
                    <a:lnTo>
                      <a:pt x="109" y="8"/>
                    </a:lnTo>
                    <a:lnTo>
                      <a:pt x="113" y="14"/>
                    </a:lnTo>
                    <a:lnTo>
                      <a:pt x="113" y="14"/>
                    </a:lnTo>
                    <a:lnTo>
                      <a:pt x="115" y="15"/>
                    </a:lnTo>
                    <a:lnTo>
                      <a:pt x="115" y="19"/>
                    </a:lnTo>
                    <a:lnTo>
                      <a:pt x="111" y="21"/>
                    </a:lnTo>
                    <a:lnTo>
                      <a:pt x="111" y="27"/>
                    </a:lnTo>
                    <a:lnTo>
                      <a:pt x="109" y="31"/>
                    </a:lnTo>
                    <a:lnTo>
                      <a:pt x="107" y="29"/>
                    </a:lnTo>
                    <a:lnTo>
                      <a:pt x="103" y="32"/>
                    </a:lnTo>
                    <a:lnTo>
                      <a:pt x="103" y="34"/>
                    </a:lnTo>
                    <a:lnTo>
                      <a:pt x="101" y="38"/>
                    </a:lnTo>
                    <a:lnTo>
                      <a:pt x="100" y="34"/>
                    </a:lnTo>
                    <a:lnTo>
                      <a:pt x="100" y="32"/>
                    </a:lnTo>
                    <a:lnTo>
                      <a:pt x="98" y="32"/>
                    </a:lnTo>
                    <a:lnTo>
                      <a:pt x="94" y="34"/>
                    </a:lnTo>
                    <a:lnTo>
                      <a:pt x="94" y="38"/>
                    </a:lnTo>
                    <a:lnTo>
                      <a:pt x="98" y="44"/>
                    </a:lnTo>
                    <a:lnTo>
                      <a:pt x="100" y="44"/>
                    </a:lnTo>
                    <a:lnTo>
                      <a:pt x="98" y="44"/>
                    </a:lnTo>
                    <a:lnTo>
                      <a:pt x="96" y="44"/>
                    </a:lnTo>
                    <a:lnTo>
                      <a:pt x="92" y="44"/>
                    </a:lnTo>
                    <a:lnTo>
                      <a:pt x="92" y="47"/>
                    </a:lnTo>
                    <a:lnTo>
                      <a:pt x="96" y="49"/>
                    </a:lnTo>
                    <a:lnTo>
                      <a:pt x="98" y="51"/>
                    </a:lnTo>
                    <a:lnTo>
                      <a:pt x="96" y="53"/>
                    </a:lnTo>
                    <a:lnTo>
                      <a:pt x="94" y="51"/>
                    </a:lnTo>
                    <a:lnTo>
                      <a:pt x="90" y="53"/>
                    </a:lnTo>
                    <a:lnTo>
                      <a:pt x="90" y="55"/>
                    </a:lnTo>
                    <a:lnTo>
                      <a:pt x="85" y="59"/>
                    </a:lnTo>
                    <a:lnTo>
                      <a:pt x="85" y="55"/>
                    </a:lnTo>
                    <a:lnTo>
                      <a:pt x="85" y="55"/>
                    </a:lnTo>
                    <a:lnTo>
                      <a:pt x="85" y="51"/>
                    </a:lnTo>
                    <a:lnTo>
                      <a:pt x="83" y="55"/>
                    </a:lnTo>
                    <a:lnTo>
                      <a:pt x="85" y="57"/>
                    </a:lnTo>
                    <a:lnTo>
                      <a:pt x="83" y="59"/>
                    </a:lnTo>
                    <a:lnTo>
                      <a:pt x="79" y="61"/>
                    </a:lnTo>
                    <a:lnTo>
                      <a:pt x="79" y="64"/>
                    </a:lnTo>
                    <a:lnTo>
                      <a:pt x="83" y="64"/>
                    </a:lnTo>
                    <a:lnTo>
                      <a:pt x="83" y="68"/>
                    </a:lnTo>
                    <a:lnTo>
                      <a:pt x="79" y="68"/>
                    </a:lnTo>
                    <a:lnTo>
                      <a:pt x="77" y="68"/>
                    </a:lnTo>
                    <a:lnTo>
                      <a:pt x="77" y="68"/>
                    </a:lnTo>
                    <a:lnTo>
                      <a:pt x="75" y="68"/>
                    </a:lnTo>
                    <a:lnTo>
                      <a:pt x="77" y="64"/>
                    </a:lnTo>
                    <a:lnTo>
                      <a:pt x="75" y="63"/>
                    </a:lnTo>
                    <a:lnTo>
                      <a:pt x="68" y="68"/>
                    </a:lnTo>
                    <a:lnTo>
                      <a:pt x="68" y="74"/>
                    </a:lnTo>
                    <a:lnTo>
                      <a:pt x="68" y="78"/>
                    </a:lnTo>
                    <a:lnTo>
                      <a:pt x="66" y="78"/>
                    </a:lnTo>
                    <a:lnTo>
                      <a:pt x="64" y="78"/>
                    </a:lnTo>
                    <a:lnTo>
                      <a:pt x="64" y="78"/>
                    </a:lnTo>
                    <a:lnTo>
                      <a:pt x="64" y="72"/>
                    </a:lnTo>
                    <a:lnTo>
                      <a:pt x="60" y="72"/>
                    </a:lnTo>
                    <a:lnTo>
                      <a:pt x="58" y="74"/>
                    </a:lnTo>
                    <a:lnTo>
                      <a:pt x="53" y="74"/>
                    </a:lnTo>
                    <a:lnTo>
                      <a:pt x="53" y="74"/>
                    </a:lnTo>
                    <a:lnTo>
                      <a:pt x="51" y="74"/>
                    </a:lnTo>
                    <a:lnTo>
                      <a:pt x="51" y="78"/>
                    </a:lnTo>
                    <a:lnTo>
                      <a:pt x="49" y="78"/>
                    </a:lnTo>
                    <a:lnTo>
                      <a:pt x="49" y="79"/>
                    </a:lnTo>
                    <a:lnTo>
                      <a:pt x="49" y="78"/>
                    </a:lnTo>
                    <a:lnTo>
                      <a:pt x="45" y="74"/>
                    </a:lnTo>
                    <a:lnTo>
                      <a:pt x="45" y="78"/>
                    </a:lnTo>
                    <a:lnTo>
                      <a:pt x="41" y="74"/>
                    </a:lnTo>
                    <a:lnTo>
                      <a:pt x="36" y="81"/>
                    </a:lnTo>
                    <a:lnTo>
                      <a:pt x="34" y="81"/>
                    </a:lnTo>
                    <a:lnTo>
                      <a:pt x="32" y="81"/>
                    </a:lnTo>
                    <a:lnTo>
                      <a:pt x="30" y="81"/>
                    </a:lnTo>
                    <a:lnTo>
                      <a:pt x="26" y="83"/>
                    </a:lnTo>
                    <a:lnTo>
                      <a:pt x="30" y="89"/>
                    </a:lnTo>
                    <a:lnTo>
                      <a:pt x="22" y="98"/>
                    </a:lnTo>
                    <a:lnTo>
                      <a:pt x="22" y="98"/>
                    </a:lnTo>
                    <a:lnTo>
                      <a:pt x="19" y="104"/>
                    </a:lnTo>
                    <a:lnTo>
                      <a:pt x="19" y="108"/>
                    </a:lnTo>
                    <a:lnTo>
                      <a:pt x="21" y="110"/>
                    </a:lnTo>
                    <a:lnTo>
                      <a:pt x="19" y="113"/>
                    </a:lnTo>
                    <a:lnTo>
                      <a:pt x="21" y="119"/>
                    </a:lnTo>
                    <a:lnTo>
                      <a:pt x="21" y="125"/>
                    </a:lnTo>
                    <a:lnTo>
                      <a:pt x="26" y="132"/>
                    </a:lnTo>
                    <a:lnTo>
                      <a:pt x="22" y="136"/>
                    </a:lnTo>
                    <a:lnTo>
                      <a:pt x="26" y="140"/>
                    </a:lnTo>
                    <a:lnTo>
                      <a:pt x="26" y="142"/>
                    </a:lnTo>
                    <a:lnTo>
                      <a:pt x="26" y="144"/>
                    </a:lnTo>
                    <a:lnTo>
                      <a:pt x="26" y="145"/>
                    </a:lnTo>
                    <a:lnTo>
                      <a:pt x="22" y="153"/>
                    </a:lnTo>
                    <a:lnTo>
                      <a:pt x="21" y="159"/>
                    </a:lnTo>
                    <a:lnTo>
                      <a:pt x="21" y="162"/>
                    </a:lnTo>
                    <a:lnTo>
                      <a:pt x="17" y="162"/>
                    </a:lnTo>
                    <a:lnTo>
                      <a:pt x="17" y="166"/>
                    </a:lnTo>
                    <a:lnTo>
                      <a:pt x="13" y="168"/>
                    </a:lnTo>
                    <a:lnTo>
                      <a:pt x="13" y="176"/>
                    </a:lnTo>
                    <a:lnTo>
                      <a:pt x="11" y="177"/>
                    </a:lnTo>
                    <a:lnTo>
                      <a:pt x="5" y="179"/>
                    </a:lnTo>
                    <a:lnTo>
                      <a:pt x="5" y="181"/>
                    </a:lnTo>
                    <a:lnTo>
                      <a:pt x="5" y="187"/>
                    </a:lnTo>
                    <a:lnTo>
                      <a:pt x="2" y="191"/>
                    </a:lnTo>
                    <a:lnTo>
                      <a:pt x="2" y="196"/>
                    </a:lnTo>
                    <a:lnTo>
                      <a:pt x="0" y="198"/>
                    </a:lnTo>
                    <a:lnTo>
                      <a:pt x="2" y="200"/>
                    </a:lnTo>
                    <a:lnTo>
                      <a:pt x="2" y="208"/>
                    </a:lnTo>
                    <a:lnTo>
                      <a:pt x="5" y="213"/>
                    </a:lnTo>
                    <a:lnTo>
                      <a:pt x="5" y="217"/>
                    </a:lnTo>
                    <a:lnTo>
                      <a:pt x="5" y="221"/>
                    </a:lnTo>
                    <a:lnTo>
                      <a:pt x="7" y="221"/>
                    </a:lnTo>
                    <a:lnTo>
                      <a:pt x="11" y="221"/>
                    </a:lnTo>
                    <a:lnTo>
                      <a:pt x="7" y="221"/>
                    </a:lnTo>
                    <a:lnTo>
                      <a:pt x="5" y="223"/>
                    </a:lnTo>
                    <a:lnTo>
                      <a:pt x="5" y="226"/>
                    </a:lnTo>
                    <a:lnTo>
                      <a:pt x="5" y="232"/>
                    </a:lnTo>
                    <a:lnTo>
                      <a:pt x="5" y="241"/>
                    </a:lnTo>
                    <a:lnTo>
                      <a:pt x="7" y="241"/>
                    </a:lnTo>
                    <a:lnTo>
                      <a:pt x="7" y="245"/>
                    </a:lnTo>
                    <a:lnTo>
                      <a:pt x="7" y="247"/>
                    </a:lnTo>
                    <a:lnTo>
                      <a:pt x="11" y="251"/>
                    </a:lnTo>
                    <a:lnTo>
                      <a:pt x="11" y="251"/>
                    </a:lnTo>
                    <a:lnTo>
                      <a:pt x="13" y="253"/>
                    </a:lnTo>
                    <a:lnTo>
                      <a:pt x="17" y="255"/>
                    </a:lnTo>
                    <a:lnTo>
                      <a:pt x="19" y="255"/>
                    </a:lnTo>
                    <a:lnTo>
                      <a:pt x="21" y="257"/>
                    </a:lnTo>
                    <a:lnTo>
                      <a:pt x="22" y="257"/>
                    </a:lnTo>
                    <a:lnTo>
                      <a:pt x="26" y="260"/>
                    </a:lnTo>
                    <a:lnTo>
                      <a:pt x="26" y="262"/>
                    </a:lnTo>
                    <a:lnTo>
                      <a:pt x="30" y="262"/>
                    </a:lnTo>
                    <a:lnTo>
                      <a:pt x="30" y="264"/>
                    </a:lnTo>
                    <a:lnTo>
                      <a:pt x="30" y="264"/>
                    </a:lnTo>
                    <a:lnTo>
                      <a:pt x="30" y="264"/>
                    </a:lnTo>
                    <a:lnTo>
                      <a:pt x="30" y="264"/>
                    </a:lnTo>
                    <a:close/>
                    <a:moveTo>
                      <a:pt x="107" y="19"/>
                    </a:moveTo>
                    <a:lnTo>
                      <a:pt x="107" y="19"/>
                    </a:lnTo>
                    <a:lnTo>
                      <a:pt x="109" y="14"/>
                    </a:lnTo>
                    <a:lnTo>
                      <a:pt x="109" y="15"/>
                    </a:lnTo>
                    <a:lnTo>
                      <a:pt x="107" y="19"/>
                    </a:lnTo>
                    <a:lnTo>
                      <a:pt x="107" y="19"/>
                    </a:lnTo>
                    <a:lnTo>
                      <a:pt x="107" y="19"/>
                    </a:lnTo>
                    <a:lnTo>
                      <a:pt x="107" y="19"/>
                    </a:lnTo>
                    <a:close/>
                    <a:moveTo>
                      <a:pt x="107" y="25"/>
                    </a:moveTo>
                    <a:lnTo>
                      <a:pt x="107" y="25"/>
                    </a:lnTo>
                    <a:lnTo>
                      <a:pt x="107" y="27"/>
                    </a:lnTo>
                    <a:lnTo>
                      <a:pt x="107" y="27"/>
                    </a:lnTo>
                    <a:lnTo>
                      <a:pt x="107" y="25"/>
                    </a:lnTo>
                    <a:lnTo>
                      <a:pt x="107" y="25"/>
                    </a:lnTo>
                    <a:lnTo>
                      <a:pt x="107" y="25"/>
                    </a:lnTo>
                    <a:lnTo>
                      <a:pt x="107" y="25"/>
                    </a:lnTo>
                    <a:close/>
                    <a:moveTo>
                      <a:pt x="101" y="25"/>
                    </a:moveTo>
                    <a:lnTo>
                      <a:pt x="101" y="23"/>
                    </a:lnTo>
                    <a:lnTo>
                      <a:pt x="101" y="25"/>
                    </a:lnTo>
                    <a:lnTo>
                      <a:pt x="103" y="25"/>
                    </a:lnTo>
                    <a:lnTo>
                      <a:pt x="103" y="29"/>
                    </a:lnTo>
                    <a:lnTo>
                      <a:pt x="101" y="27"/>
                    </a:lnTo>
                    <a:lnTo>
                      <a:pt x="100" y="27"/>
                    </a:lnTo>
                    <a:lnTo>
                      <a:pt x="101" y="25"/>
                    </a:lnTo>
                    <a:lnTo>
                      <a:pt x="101" y="25"/>
                    </a:lnTo>
                    <a:lnTo>
                      <a:pt x="101" y="25"/>
                    </a:lnTo>
                    <a:lnTo>
                      <a:pt x="101" y="25"/>
                    </a:lnTo>
                    <a:close/>
                    <a:moveTo>
                      <a:pt x="126" y="98"/>
                    </a:moveTo>
                    <a:lnTo>
                      <a:pt x="126" y="96"/>
                    </a:lnTo>
                    <a:lnTo>
                      <a:pt x="126" y="95"/>
                    </a:lnTo>
                    <a:lnTo>
                      <a:pt x="126" y="93"/>
                    </a:lnTo>
                    <a:lnTo>
                      <a:pt x="126" y="93"/>
                    </a:lnTo>
                    <a:lnTo>
                      <a:pt x="128" y="91"/>
                    </a:lnTo>
                    <a:lnTo>
                      <a:pt x="128" y="93"/>
                    </a:lnTo>
                    <a:lnTo>
                      <a:pt x="126" y="96"/>
                    </a:lnTo>
                    <a:lnTo>
                      <a:pt x="126" y="98"/>
                    </a:lnTo>
                    <a:lnTo>
                      <a:pt x="126" y="98"/>
                    </a:lnTo>
                    <a:lnTo>
                      <a:pt x="126" y="9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9" name="Freeform 151"/>
              <p:cNvSpPr>
                <a:spLocks/>
              </p:cNvSpPr>
              <p:nvPr/>
            </p:nvSpPr>
            <p:spPr bwMode="auto">
              <a:xfrm>
                <a:off x="3332" y="3299"/>
                <a:ext cx="196" cy="311"/>
              </a:xfrm>
              <a:custGeom>
                <a:avLst/>
                <a:gdLst/>
                <a:ahLst/>
                <a:cxnLst>
                  <a:cxn ang="0">
                    <a:pos x="34" y="194"/>
                  </a:cxn>
                  <a:cxn ang="0">
                    <a:pos x="40" y="183"/>
                  </a:cxn>
                  <a:cxn ang="0">
                    <a:pos x="44" y="170"/>
                  </a:cxn>
                  <a:cxn ang="0">
                    <a:pos x="44" y="158"/>
                  </a:cxn>
                  <a:cxn ang="0">
                    <a:pos x="46" y="147"/>
                  </a:cxn>
                  <a:cxn ang="0">
                    <a:pos x="47" y="130"/>
                  </a:cxn>
                  <a:cxn ang="0">
                    <a:pos x="49" y="119"/>
                  </a:cxn>
                  <a:cxn ang="0">
                    <a:pos x="31" y="111"/>
                  </a:cxn>
                  <a:cxn ang="0">
                    <a:pos x="14" y="105"/>
                  </a:cxn>
                  <a:cxn ang="0">
                    <a:pos x="0" y="89"/>
                  </a:cxn>
                  <a:cxn ang="0">
                    <a:pos x="36" y="72"/>
                  </a:cxn>
                  <a:cxn ang="0">
                    <a:pos x="61" y="70"/>
                  </a:cxn>
                  <a:cxn ang="0">
                    <a:pos x="68" y="73"/>
                  </a:cxn>
                  <a:cxn ang="0">
                    <a:pos x="81" y="81"/>
                  </a:cxn>
                  <a:cxn ang="0">
                    <a:pos x="74" y="100"/>
                  </a:cxn>
                  <a:cxn ang="0">
                    <a:pos x="85" y="117"/>
                  </a:cxn>
                  <a:cxn ang="0">
                    <a:pos x="91" y="126"/>
                  </a:cxn>
                  <a:cxn ang="0">
                    <a:pos x="95" y="105"/>
                  </a:cxn>
                  <a:cxn ang="0">
                    <a:pos x="100" y="90"/>
                  </a:cxn>
                  <a:cxn ang="0">
                    <a:pos x="104" y="85"/>
                  </a:cxn>
                  <a:cxn ang="0">
                    <a:pos x="98" y="70"/>
                  </a:cxn>
                  <a:cxn ang="0">
                    <a:pos x="85" y="55"/>
                  </a:cxn>
                  <a:cxn ang="0">
                    <a:pos x="102" y="17"/>
                  </a:cxn>
                  <a:cxn ang="0">
                    <a:pos x="111" y="19"/>
                  </a:cxn>
                  <a:cxn ang="0">
                    <a:pos x="123" y="17"/>
                  </a:cxn>
                  <a:cxn ang="0">
                    <a:pos x="132" y="19"/>
                  </a:cxn>
                  <a:cxn ang="0">
                    <a:pos x="143" y="13"/>
                  </a:cxn>
                  <a:cxn ang="0">
                    <a:pos x="157" y="13"/>
                  </a:cxn>
                  <a:cxn ang="0">
                    <a:pos x="174" y="9"/>
                  </a:cxn>
                  <a:cxn ang="0">
                    <a:pos x="189" y="0"/>
                  </a:cxn>
                  <a:cxn ang="0">
                    <a:pos x="194" y="4"/>
                  </a:cxn>
                  <a:cxn ang="0">
                    <a:pos x="191" y="15"/>
                  </a:cxn>
                  <a:cxn ang="0">
                    <a:pos x="192" y="30"/>
                  </a:cxn>
                  <a:cxn ang="0">
                    <a:pos x="191" y="47"/>
                  </a:cxn>
                  <a:cxn ang="0">
                    <a:pos x="187" y="66"/>
                  </a:cxn>
                  <a:cxn ang="0">
                    <a:pos x="194" y="79"/>
                  </a:cxn>
                  <a:cxn ang="0">
                    <a:pos x="189" y="85"/>
                  </a:cxn>
                  <a:cxn ang="0">
                    <a:pos x="189" y="90"/>
                  </a:cxn>
                  <a:cxn ang="0">
                    <a:pos x="177" y="109"/>
                  </a:cxn>
                  <a:cxn ang="0">
                    <a:pos x="159" y="121"/>
                  </a:cxn>
                  <a:cxn ang="0">
                    <a:pos x="130" y="134"/>
                  </a:cxn>
                  <a:cxn ang="0">
                    <a:pos x="119" y="139"/>
                  </a:cxn>
                  <a:cxn ang="0">
                    <a:pos x="110" y="154"/>
                  </a:cxn>
                  <a:cxn ang="0">
                    <a:pos x="91" y="166"/>
                  </a:cxn>
                  <a:cxn ang="0">
                    <a:pos x="79" y="173"/>
                  </a:cxn>
                  <a:cxn ang="0">
                    <a:pos x="78" y="181"/>
                  </a:cxn>
                  <a:cxn ang="0">
                    <a:pos x="79" y="200"/>
                  </a:cxn>
                  <a:cxn ang="0">
                    <a:pos x="85" y="224"/>
                  </a:cxn>
                  <a:cxn ang="0">
                    <a:pos x="89" y="224"/>
                  </a:cxn>
                  <a:cxn ang="0">
                    <a:pos x="89" y="235"/>
                  </a:cxn>
                  <a:cxn ang="0">
                    <a:pos x="83" y="251"/>
                  </a:cxn>
                  <a:cxn ang="0">
                    <a:pos x="85" y="264"/>
                  </a:cxn>
                  <a:cxn ang="0">
                    <a:pos x="40" y="286"/>
                  </a:cxn>
                  <a:cxn ang="0">
                    <a:pos x="31" y="294"/>
                  </a:cxn>
                  <a:cxn ang="0">
                    <a:pos x="36" y="303"/>
                  </a:cxn>
                  <a:cxn ang="0">
                    <a:pos x="34" y="309"/>
                  </a:cxn>
                  <a:cxn ang="0">
                    <a:pos x="23" y="309"/>
                  </a:cxn>
                  <a:cxn ang="0">
                    <a:pos x="21" y="298"/>
                  </a:cxn>
                  <a:cxn ang="0">
                    <a:pos x="21" y="279"/>
                  </a:cxn>
                  <a:cxn ang="0">
                    <a:pos x="19" y="252"/>
                  </a:cxn>
                  <a:cxn ang="0">
                    <a:pos x="14" y="228"/>
                  </a:cxn>
                </a:cxnLst>
                <a:rect l="0" t="0" r="r" b="b"/>
                <a:pathLst>
                  <a:path w="196" h="311">
                    <a:moveTo>
                      <a:pt x="14" y="228"/>
                    </a:moveTo>
                    <a:lnTo>
                      <a:pt x="34" y="207"/>
                    </a:lnTo>
                    <a:lnTo>
                      <a:pt x="34" y="200"/>
                    </a:lnTo>
                    <a:lnTo>
                      <a:pt x="34" y="200"/>
                    </a:lnTo>
                    <a:lnTo>
                      <a:pt x="34" y="194"/>
                    </a:lnTo>
                    <a:lnTo>
                      <a:pt x="36" y="192"/>
                    </a:lnTo>
                    <a:lnTo>
                      <a:pt x="36" y="188"/>
                    </a:lnTo>
                    <a:lnTo>
                      <a:pt x="36" y="186"/>
                    </a:lnTo>
                    <a:lnTo>
                      <a:pt x="40" y="185"/>
                    </a:lnTo>
                    <a:lnTo>
                      <a:pt x="40" y="183"/>
                    </a:lnTo>
                    <a:lnTo>
                      <a:pt x="44" y="181"/>
                    </a:lnTo>
                    <a:lnTo>
                      <a:pt x="46" y="177"/>
                    </a:lnTo>
                    <a:lnTo>
                      <a:pt x="46" y="173"/>
                    </a:lnTo>
                    <a:lnTo>
                      <a:pt x="44" y="173"/>
                    </a:lnTo>
                    <a:lnTo>
                      <a:pt x="44" y="170"/>
                    </a:lnTo>
                    <a:lnTo>
                      <a:pt x="46" y="166"/>
                    </a:lnTo>
                    <a:lnTo>
                      <a:pt x="44" y="164"/>
                    </a:lnTo>
                    <a:lnTo>
                      <a:pt x="42" y="160"/>
                    </a:lnTo>
                    <a:lnTo>
                      <a:pt x="42" y="160"/>
                    </a:lnTo>
                    <a:lnTo>
                      <a:pt x="44" y="158"/>
                    </a:lnTo>
                    <a:lnTo>
                      <a:pt x="44" y="154"/>
                    </a:lnTo>
                    <a:lnTo>
                      <a:pt x="44" y="153"/>
                    </a:lnTo>
                    <a:lnTo>
                      <a:pt x="47" y="149"/>
                    </a:lnTo>
                    <a:lnTo>
                      <a:pt x="47" y="147"/>
                    </a:lnTo>
                    <a:lnTo>
                      <a:pt x="46" y="147"/>
                    </a:lnTo>
                    <a:lnTo>
                      <a:pt x="44" y="145"/>
                    </a:lnTo>
                    <a:lnTo>
                      <a:pt x="46" y="141"/>
                    </a:lnTo>
                    <a:lnTo>
                      <a:pt x="46" y="136"/>
                    </a:lnTo>
                    <a:lnTo>
                      <a:pt x="47" y="134"/>
                    </a:lnTo>
                    <a:lnTo>
                      <a:pt x="47" y="130"/>
                    </a:lnTo>
                    <a:lnTo>
                      <a:pt x="47" y="130"/>
                    </a:lnTo>
                    <a:lnTo>
                      <a:pt x="47" y="128"/>
                    </a:lnTo>
                    <a:lnTo>
                      <a:pt x="47" y="124"/>
                    </a:lnTo>
                    <a:lnTo>
                      <a:pt x="49" y="122"/>
                    </a:lnTo>
                    <a:lnTo>
                      <a:pt x="49" y="119"/>
                    </a:lnTo>
                    <a:lnTo>
                      <a:pt x="44" y="119"/>
                    </a:lnTo>
                    <a:lnTo>
                      <a:pt x="42" y="115"/>
                    </a:lnTo>
                    <a:lnTo>
                      <a:pt x="40" y="113"/>
                    </a:lnTo>
                    <a:lnTo>
                      <a:pt x="34" y="111"/>
                    </a:lnTo>
                    <a:lnTo>
                      <a:pt x="31" y="111"/>
                    </a:lnTo>
                    <a:lnTo>
                      <a:pt x="27" y="109"/>
                    </a:lnTo>
                    <a:lnTo>
                      <a:pt x="21" y="104"/>
                    </a:lnTo>
                    <a:lnTo>
                      <a:pt x="17" y="104"/>
                    </a:lnTo>
                    <a:lnTo>
                      <a:pt x="15" y="104"/>
                    </a:lnTo>
                    <a:lnTo>
                      <a:pt x="14" y="105"/>
                    </a:lnTo>
                    <a:lnTo>
                      <a:pt x="12" y="104"/>
                    </a:lnTo>
                    <a:lnTo>
                      <a:pt x="10" y="104"/>
                    </a:lnTo>
                    <a:lnTo>
                      <a:pt x="4" y="104"/>
                    </a:lnTo>
                    <a:lnTo>
                      <a:pt x="4" y="94"/>
                    </a:lnTo>
                    <a:lnTo>
                      <a:pt x="0" y="89"/>
                    </a:lnTo>
                    <a:lnTo>
                      <a:pt x="4" y="85"/>
                    </a:lnTo>
                    <a:lnTo>
                      <a:pt x="10" y="81"/>
                    </a:lnTo>
                    <a:lnTo>
                      <a:pt x="14" y="81"/>
                    </a:lnTo>
                    <a:lnTo>
                      <a:pt x="34" y="73"/>
                    </a:lnTo>
                    <a:lnTo>
                      <a:pt x="36" y="72"/>
                    </a:lnTo>
                    <a:lnTo>
                      <a:pt x="47" y="70"/>
                    </a:lnTo>
                    <a:lnTo>
                      <a:pt x="53" y="66"/>
                    </a:lnTo>
                    <a:lnTo>
                      <a:pt x="59" y="66"/>
                    </a:lnTo>
                    <a:lnTo>
                      <a:pt x="59" y="66"/>
                    </a:lnTo>
                    <a:lnTo>
                      <a:pt x="61" y="70"/>
                    </a:lnTo>
                    <a:lnTo>
                      <a:pt x="61" y="70"/>
                    </a:lnTo>
                    <a:lnTo>
                      <a:pt x="61" y="73"/>
                    </a:lnTo>
                    <a:lnTo>
                      <a:pt x="64" y="75"/>
                    </a:lnTo>
                    <a:lnTo>
                      <a:pt x="64" y="73"/>
                    </a:lnTo>
                    <a:lnTo>
                      <a:pt x="68" y="73"/>
                    </a:lnTo>
                    <a:lnTo>
                      <a:pt x="70" y="72"/>
                    </a:lnTo>
                    <a:lnTo>
                      <a:pt x="74" y="72"/>
                    </a:lnTo>
                    <a:lnTo>
                      <a:pt x="79" y="73"/>
                    </a:lnTo>
                    <a:lnTo>
                      <a:pt x="81" y="79"/>
                    </a:lnTo>
                    <a:lnTo>
                      <a:pt x="81" y="81"/>
                    </a:lnTo>
                    <a:lnTo>
                      <a:pt x="79" y="87"/>
                    </a:lnTo>
                    <a:lnTo>
                      <a:pt x="76" y="90"/>
                    </a:lnTo>
                    <a:lnTo>
                      <a:pt x="76" y="96"/>
                    </a:lnTo>
                    <a:lnTo>
                      <a:pt x="72" y="98"/>
                    </a:lnTo>
                    <a:lnTo>
                      <a:pt x="74" y="100"/>
                    </a:lnTo>
                    <a:lnTo>
                      <a:pt x="74" y="105"/>
                    </a:lnTo>
                    <a:lnTo>
                      <a:pt x="76" y="109"/>
                    </a:lnTo>
                    <a:lnTo>
                      <a:pt x="78" y="111"/>
                    </a:lnTo>
                    <a:lnTo>
                      <a:pt x="81" y="115"/>
                    </a:lnTo>
                    <a:lnTo>
                      <a:pt x="85" y="117"/>
                    </a:lnTo>
                    <a:lnTo>
                      <a:pt x="85" y="119"/>
                    </a:lnTo>
                    <a:lnTo>
                      <a:pt x="89" y="122"/>
                    </a:lnTo>
                    <a:lnTo>
                      <a:pt x="85" y="124"/>
                    </a:lnTo>
                    <a:lnTo>
                      <a:pt x="89" y="126"/>
                    </a:lnTo>
                    <a:lnTo>
                      <a:pt x="91" y="126"/>
                    </a:lnTo>
                    <a:lnTo>
                      <a:pt x="91" y="122"/>
                    </a:lnTo>
                    <a:lnTo>
                      <a:pt x="91" y="117"/>
                    </a:lnTo>
                    <a:lnTo>
                      <a:pt x="95" y="115"/>
                    </a:lnTo>
                    <a:lnTo>
                      <a:pt x="95" y="111"/>
                    </a:lnTo>
                    <a:lnTo>
                      <a:pt x="95" y="105"/>
                    </a:lnTo>
                    <a:lnTo>
                      <a:pt x="98" y="104"/>
                    </a:lnTo>
                    <a:lnTo>
                      <a:pt x="102" y="104"/>
                    </a:lnTo>
                    <a:lnTo>
                      <a:pt x="102" y="100"/>
                    </a:lnTo>
                    <a:lnTo>
                      <a:pt x="102" y="94"/>
                    </a:lnTo>
                    <a:lnTo>
                      <a:pt x="100" y="90"/>
                    </a:lnTo>
                    <a:lnTo>
                      <a:pt x="102" y="89"/>
                    </a:lnTo>
                    <a:lnTo>
                      <a:pt x="100" y="89"/>
                    </a:lnTo>
                    <a:lnTo>
                      <a:pt x="100" y="87"/>
                    </a:lnTo>
                    <a:lnTo>
                      <a:pt x="104" y="87"/>
                    </a:lnTo>
                    <a:lnTo>
                      <a:pt x="104" y="85"/>
                    </a:lnTo>
                    <a:lnTo>
                      <a:pt x="106" y="83"/>
                    </a:lnTo>
                    <a:lnTo>
                      <a:pt x="106" y="81"/>
                    </a:lnTo>
                    <a:lnTo>
                      <a:pt x="106" y="79"/>
                    </a:lnTo>
                    <a:lnTo>
                      <a:pt x="104" y="73"/>
                    </a:lnTo>
                    <a:lnTo>
                      <a:pt x="98" y="70"/>
                    </a:lnTo>
                    <a:lnTo>
                      <a:pt x="98" y="66"/>
                    </a:lnTo>
                    <a:lnTo>
                      <a:pt x="91" y="60"/>
                    </a:lnTo>
                    <a:lnTo>
                      <a:pt x="89" y="58"/>
                    </a:lnTo>
                    <a:lnTo>
                      <a:pt x="89" y="57"/>
                    </a:lnTo>
                    <a:lnTo>
                      <a:pt x="85" y="55"/>
                    </a:lnTo>
                    <a:lnTo>
                      <a:pt x="79" y="51"/>
                    </a:lnTo>
                    <a:lnTo>
                      <a:pt x="78" y="34"/>
                    </a:lnTo>
                    <a:lnTo>
                      <a:pt x="81" y="17"/>
                    </a:lnTo>
                    <a:lnTo>
                      <a:pt x="98" y="17"/>
                    </a:lnTo>
                    <a:lnTo>
                      <a:pt x="102" y="17"/>
                    </a:lnTo>
                    <a:lnTo>
                      <a:pt x="102" y="15"/>
                    </a:lnTo>
                    <a:lnTo>
                      <a:pt x="106" y="15"/>
                    </a:lnTo>
                    <a:lnTo>
                      <a:pt x="106" y="15"/>
                    </a:lnTo>
                    <a:lnTo>
                      <a:pt x="108" y="17"/>
                    </a:lnTo>
                    <a:lnTo>
                      <a:pt x="111" y="19"/>
                    </a:lnTo>
                    <a:lnTo>
                      <a:pt x="113" y="19"/>
                    </a:lnTo>
                    <a:lnTo>
                      <a:pt x="115" y="21"/>
                    </a:lnTo>
                    <a:lnTo>
                      <a:pt x="115" y="23"/>
                    </a:lnTo>
                    <a:lnTo>
                      <a:pt x="119" y="21"/>
                    </a:lnTo>
                    <a:lnTo>
                      <a:pt x="123" y="17"/>
                    </a:lnTo>
                    <a:lnTo>
                      <a:pt x="125" y="17"/>
                    </a:lnTo>
                    <a:lnTo>
                      <a:pt x="128" y="15"/>
                    </a:lnTo>
                    <a:lnTo>
                      <a:pt x="128" y="17"/>
                    </a:lnTo>
                    <a:lnTo>
                      <a:pt x="128" y="19"/>
                    </a:lnTo>
                    <a:lnTo>
                      <a:pt x="132" y="19"/>
                    </a:lnTo>
                    <a:lnTo>
                      <a:pt x="134" y="21"/>
                    </a:lnTo>
                    <a:lnTo>
                      <a:pt x="138" y="19"/>
                    </a:lnTo>
                    <a:lnTo>
                      <a:pt x="143" y="19"/>
                    </a:lnTo>
                    <a:lnTo>
                      <a:pt x="143" y="15"/>
                    </a:lnTo>
                    <a:lnTo>
                      <a:pt x="143" y="13"/>
                    </a:lnTo>
                    <a:lnTo>
                      <a:pt x="143" y="11"/>
                    </a:lnTo>
                    <a:lnTo>
                      <a:pt x="149" y="13"/>
                    </a:lnTo>
                    <a:lnTo>
                      <a:pt x="153" y="11"/>
                    </a:lnTo>
                    <a:lnTo>
                      <a:pt x="153" y="13"/>
                    </a:lnTo>
                    <a:lnTo>
                      <a:pt x="157" y="13"/>
                    </a:lnTo>
                    <a:lnTo>
                      <a:pt x="159" y="11"/>
                    </a:lnTo>
                    <a:lnTo>
                      <a:pt x="166" y="9"/>
                    </a:lnTo>
                    <a:lnTo>
                      <a:pt x="168" y="11"/>
                    </a:lnTo>
                    <a:lnTo>
                      <a:pt x="172" y="9"/>
                    </a:lnTo>
                    <a:lnTo>
                      <a:pt x="174" y="9"/>
                    </a:lnTo>
                    <a:lnTo>
                      <a:pt x="177" y="9"/>
                    </a:lnTo>
                    <a:lnTo>
                      <a:pt x="179" y="6"/>
                    </a:lnTo>
                    <a:lnTo>
                      <a:pt x="183" y="6"/>
                    </a:lnTo>
                    <a:lnTo>
                      <a:pt x="185" y="4"/>
                    </a:lnTo>
                    <a:lnTo>
                      <a:pt x="189" y="0"/>
                    </a:lnTo>
                    <a:lnTo>
                      <a:pt x="191" y="0"/>
                    </a:lnTo>
                    <a:lnTo>
                      <a:pt x="192" y="0"/>
                    </a:lnTo>
                    <a:lnTo>
                      <a:pt x="194" y="0"/>
                    </a:lnTo>
                    <a:lnTo>
                      <a:pt x="196" y="0"/>
                    </a:lnTo>
                    <a:lnTo>
                      <a:pt x="194" y="4"/>
                    </a:lnTo>
                    <a:lnTo>
                      <a:pt x="194" y="6"/>
                    </a:lnTo>
                    <a:lnTo>
                      <a:pt x="194" y="6"/>
                    </a:lnTo>
                    <a:lnTo>
                      <a:pt x="191" y="11"/>
                    </a:lnTo>
                    <a:lnTo>
                      <a:pt x="191" y="13"/>
                    </a:lnTo>
                    <a:lnTo>
                      <a:pt x="191" y="15"/>
                    </a:lnTo>
                    <a:lnTo>
                      <a:pt x="191" y="17"/>
                    </a:lnTo>
                    <a:lnTo>
                      <a:pt x="191" y="19"/>
                    </a:lnTo>
                    <a:lnTo>
                      <a:pt x="191" y="24"/>
                    </a:lnTo>
                    <a:lnTo>
                      <a:pt x="192" y="30"/>
                    </a:lnTo>
                    <a:lnTo>
                      <a:pt x="192" y="30"/>
                    </a:lnTo>
                    <a:lnTo>
                      <a:pt x="192" y="36"/>
                    </a:lnTo>
                    <a:lnTo>
                      <a:pt x="192" y="36"/>
                    </a:lnTo>
                    <a:lnTo>
                      <a:pt x="192" y="40"/>
                    </a:lnTo>
                    <a:lnTo>
                      <a:pt x="191" y="41"/>
                    </a:lnTo>
                    <a:lnTo>
                      <a:pt x="191" y="47"/>
                    </a:lnTo>
                    <a:lnTo>
                      <a:pt x="191" y="57"/>
                    </a:lnTo>
                    <a:lnTo>
                      <a:pt x="189" y="57"/>
                    </a:lnTo>
                    <a:lnTo>
                      <a:pt x="191" y="58"/>
                    </a:lnTo>
                    <a:lnTo>
                      <a:pt x="191" y="66"/>
                    </a:lnTo>
                    <a:lnTo>
                      <a:pt x="187" y="66"/>
                    </a:lnTo>
                    <a:lnTo>
                      <a:pt x="187" y="70"/>
                    </a:lnTo>
                    <a:lnTo>
                      <a:pt x="189" y="70"/>
                    </a:lnTo>
                    <a:lnTo>
                      <a:pt x="192" y="70"/>
                    </a:lnTo>
                    <a:lnTo>
                      <a:pt x="192" y="70"/>
                    </a:lnTo>
                    <a:lnTo>
                      <a:pt x="194" y="79"/>
                    </a:lnTo>
                    <a:lnTo>
                      <a:pt x="192" y="79"/>
                    </a:lnTo>
                    <a:lnTo>
                      <a:pt x="191" y="81"/>
                    </a:lnTo>
                    <a:lnTo>
                      <a:pt x="191" y="83"/>
                    </a:lnTo>
                    <a:lnTo>
                      <a:pt x="191" y="85"/>
                    </a:lnTo>
                    <a:lnTo>
                      <a:pt x="189" y="85"/>
                    </a:lnTo>
                    <a:lnTo>
                      <a:pt x="185" y="89"/>
                    </a:lnTo>
                    <a:lnTo>
                      <a:pt x="187" y="89"/>
                    </a:lnTo>
                    <a:lnTo>
                      <a:pt x="187" y="89"/>
                    </a:lnTo>
                    <a:lnTo>
                      <a:pt x="191" y="89"/>
                    </a:lnTo>
                    <a:lnTo>
                      <a:pt x="189" y="90"/>
                    </a:lnTo>
                    <a:lnTo>
                      <a:pt x="187" y="94"/>
                    </a:lnTo>
                    <a:lnTo>
                      <a:pt x="185" y="96"/>
                    </a:lnTo>
                    <a:lnTo>
                      <a:pt x="183" y="100"/>
                    </a:lnTo>
                    <a:lnTo>
                      <a:pt x="183" y="104"/>
                    </a:lnTo>
                    <a:lnTo>
                      <a:pt x="177" y="109"/>
                    </a:lnTo>
                    <a:lnTo>
                      <a:pt x="174" y="109"/>
                    </a:lnTo>
                    <a:lnTo>
                      <a:pt x="174" y="111"/>
                    </a:lnTo>
                    <a:lnTo>
                      <a:pt x="162" y="119"/>
                    </a:lnTo>
                    <a:lnTo>
                      <a:pt x="160" y="119"/>
                    </a:lnTo>
                    <a:lnTo>
                      <a:pt x="159" y="121"/>
                    </a:lnTo>
                    <a:lnTo>
                      <a:pt x="149" y="128"/>
                    </a:lnTo>
                    <a:lnTo>
                      <a:pt x="143" y="126"/>
                    </a:lnTo>
                    <a:lnTo>
                      <a:pt x="143" y="128"/>
                    </a:lnTo>
                    <a:lnTo>
                      <a:pt x="138" y="130"/>
                    </a:lnTo>
                    <a:lnTo>
                      <a:pt x="130" y="134"/>
                    </a:lnTo>
                    <a:lnTo>
                      <a:pt x="128" y="134"/>
                    </a:lnTo>
                    <a:lnTo>
                      <a:pt x="128" y="136"/>
                    </a:lnTo>
                    <a:lnTo>
                      <a:pt x="123" y="141"/>
                    </a:lnTo>
                    <a:lnTo>
                      <a:pt x="123" y="141"/>
                    </a:lnTo>
                    <a:lnTo>
                      <a:pt x="119" y="139"/>
                    </a:lnTo>
                    <a:lnTo>
                      <a:pt x="119" y="145"/>
                    </a:lnTo>
                    <a:lnTo>
                      <a:pt x="119" y="145"/>
                    </a:lnTo>
                    <a:lnTo>
                      <a:pt x="117" y="147"/>
                    </a:lnTo>
                    <a:lnTo>
                      <a:pt x="110" y="153"/>
                    </a:lnTo>
                    <a:lnTo>
                      <a:pt x="110" y="154"/>
                    </a:lnTo>
                    <a:lnTo>
                      <a:pt x="108" y="156"/>
                    </a:lnTo>
                    <a:lnTo>
                      <a:pt x="106" y="156"/>
                    </a:lnTo>
                    <a:lnTo>
                      <a:pt x="106" y="160"/>
                    </a:lnTo>
                    <a:lnTo>
                      <a:pt x="100" y="160"/>
                    </a:lnTo>
                    <a:lnTo>
                      <a:pt x="91" y="166"/>
                    </a:lnTo>
                    <a:lnTo>
                      <a:pt x="91" y="170"/>
                    </a:lnTo>
                    <a:lnTo>
                      <a:pt x="89" y="173"/>
                    </a:lnTo>
                    <a:lnTo>
                      <a:pt x="85" y="173"/>
                    </a:lnTo>
                    <a:lnTo>
                      <a:pt x="83" y="175"/>
                    </a:lnTo>
                    <a:lnTo>
                      <a:pt x="79" y="173"/>
                    </a:lnTo>
                    <a:lnTo>
                      <a:pt x="78" y="173"/>
                    </a:lnTo>
                    <a:lnTo>
                      <a:pt x="78" y="173"/>
                    </a:lnTo>
                    <a:lnTo>
                      <a:pt x="79" y="177"/>
                    </a:lnTo>
                    <a:lnTo>
                      <a:pt x="79" y="179"/>
                    </a:lnTo>
                    <a:lnTo>
                      <a:pt x="78" y="181"/>
                    </a:lnTo>
                    <a:lnTo>
                      <a:pt x="78" y="185"/>
                    </a:lnTo>
                    <a:lnTo>
                      <a:pt x="76" y="186"/>
                    </a:lnTo>
                    <a:lnTo>
                      <a:pt x="81" y="194"/>
                    </a:lnTo>
                    <a:lnTo>
                      <a:pt x="81" y="198"/>
                    </a:lnTo>
                    <a:lnTo>
                      <a:pt x="79" y="200"/>
                    </a:lnTo>
                    <a:lnTo>
                      <a:pt x="81" y="200"/>
                    </a:lnTo>
                    <a:lnTo>
                      <a:pt x="83" y="203"/>
                    </a:lnTo>
                    <a:lnTo>
                      <a:pt x="83" y="207"/>
                    </a:lnTo>
                    <a:lnTo>
                      <a:pt x="85" y="211"/>
                    </a:lnTo>
                    <a:lnTo>
                      <a:pt x="85" y="224"/>
                    </a:lnTo>
                    <a:lnTo>
                      <a:pt x="85" y="228"/>
                    </a:lnTo>
                    <a:lnTo>
                      <a:pt x="85" y="228"/>
                    </a:lnTo>
                    <a:lnTo>
                      <a:pt x="85" y="224"/>
                    </a:lnTo>
                    <a:lnTo>
                      <a:pt x="89" y="219"/>
                    </a:lnTo>
                    <a:lnTo>
                      <a:pt x="89" y="224"/>
                    </a:lnTo>
                    <a:lnTo>
                      <a:pt x="89" y="224"/>
                    </a:lnTo>
                    <a:lnTo>
                      <a:pt x="89" y="228"/>
                    </a:lnTo>
                    <a:lnTo>
                      <a:pt x="89" y="230"/>
                    </a:lnTo>
                    <a:lnTo>
                      <a:pt x="89" y="234"/>
                    </a:lnTo>
                    <a:lnTo>
                      <a:pt x="89" y="235"/>
                    </a:lnTo>
                    <a:lnTo>
                      <a:pt x="85" y="243"/>
                    </a:lnTo>
                    <a:lnTo>
                      <a:pt x="85" y="245"/>
                    </a:lnTo>
                    <a:lnTo>
                      <a:pt x="85" y="247"/>
                    </a:lnTo>
                    <a:lnTo>
                      <a:pt x="85" y="251"/>
                    </a:lnTo>
                    <a:lnTo>
                      <a:pt x="83" y="251"/>
                    </a:lnTo>
                    <a:lnTo>
                      <a:pt x="85" y="254"/>
                    </a:lnTo>
                    <a:lnTo>
                      <a:pt x="85" y="252"/>
                    </a:lnTo>
                    <a:lnTo>
                      <a:pt x="89" y="254"/>
                    </a:lnTo>
                    <a:lnTo>
                      <a:pt x="85" y="258"/>
                    </a:lnTo>
                    <a:lnTo>
                      <a:pt x="85" y="264"/>
                    </a:lnTo>
                    <a:lnTo>
                      <a:pt x="78" y="269"/>
                    </a:lnTo>
                    <a:lnTo>
                      <a:pt x="64" y="275"/>
                    </a:lnTo>
                    <a:lnTo>
                      <a:pt x="49" y="279"/>
                    </a:lnTo>
                    <a:lnTo>
                      <a:pt x="42" y="284"/>
                    </a:lnTo>
                    <a:lnTo>
                      <a:pt x="40" y="286"/>
                    </a:lnTo>
                    <a:lnTo>
                      <a:pt x="36" y="288"/>
                    </a:lnTo>
                    <a:lnTo>
                      <a:pt x="34" y="290"/>
                    </a:lnTo>
                    <a:lnTo>
                      <a:pt x="34" y="294"/>
                    </a:lnTo>
                    <a:lnTo>
                      <a:pt x="31" y="294"/>
                    </a:lnTo>
                    <a:lnTo>
                      <a:pt x="31" y="294"/>
                    </a:lnTo>
                    <a:lnTo>
                      <a:pt x="31" y="298"/>
                    </a:lnTo>
                    <a:lnTo>
                      <a:pt x="31" y="300"/>
                    </a:lnTo>
                    <a:lnTo>
                      <a:pt x="31" y="303"/>
                    </a:lnTo>
                    <a:lnTo>
                      <a:pt x="34" y="303"/>
                    </a:lnTo>
                    <a:lnTo>
                      <a:pt x="36" y="303"/>
                    </a:lnTo>
                    <a:lnTo>
                      <a:pt x="36" y="298"/>
                    </a:lnTo>
                    <a:lnTo>
                      <a:pt x="40" y="298"/>
                    </a:lnTo>
                    <a:lnTo>
                      <a:pt x="40" y="300"/>
                    </a:lnTo>
                    <a:lnTo>
                      <a:pt x="36" y="305"/>
                    </a:lnTo>
                    <a:lnTo>
                      <a:pt x="34" y="309"/>
                    </a:lnTo>
                    <a:lnTo>
                      <a:pt x="34" y="311"/>
                    </a:lnTo>
                    <a:lnTo>
                      <a:pt x="31" y="311"/>
                    </a:lnTo>
                    <a:lnTo>
                      <a:pt x="27" y="311"/>
                    </a:lnTo>
                    <a:lnTo>
                      <a:pt x="25" y="311"/>
                    </a:lnTo>
                    <a:lnTo>
                      <a:pt x="23" y="309"/>
                    </a:lnTo>
                    <a:lnTo>
                      <a:pt x="25" y="305"/>
                    </a:lnTo>
                    <a:lnTo>
                      <a:pt x="25" y="303"/>
                    </a:lnTo>
                    <a:lnTo>
                      <a:pt x="25" y="303"/>
                    </a:lnTo>
                    <a:lnTo>
                      <a:pt x="23" y="300"/>
                    </a:lnTo>
                    <a:lnTo>
                      <a:pt x="21" y="298"/>
                    </a:lnTo>
                    <a:lnTo>
                      <a:pt x="19" y="298"/>
                    </a:lnTo>
                    <a:lnTo>
                      <a:pt x="19" y="298"/>
                    </a:lnTo>
                    <a:lnTo>
                      <a:pt x="19" y="290"/>
                    </a:lnTo>
                    <a:lnTo>
                      <a:pt x="19" y="284"/>
                    </a:lnTo>
                    <a:lnTo>
                      <a:pt x="21" y="279"/>
                    </a:lnTo>
                    <a:lnTo>
                      <a:pt x="21" y="264"/>
                    </a:lnTo>
                    <a:lnTo>
                      <a:pt x="19" y="260"/>
                    </a:lnTo>
                    <a:lnTo>
                      <a:pt x="19" y="256"/>
                    </a:lnTo>
                    <a:lnTo>
                      <a:pt x="19" y="252"/>
                    </a:lnTo>
                    <a:lnTo>
                      <a:pt x="19" y="252"/>
                    </a:lnTo>
                    <a:lnTo>
                      <a:pt x="19" y="243"/>
                    </a:lnTo>
                    <a:lnTo>
                      <a:pt x="17" y="237"/>
                    </a:lnTo>
                    <a:lnTo>
                      <a:pt x="15" y="234"/>
                    </a:lnTo>
                    <a:lnTo>
                      <a:pt x="14" y="230"/>
                    </a:lnTo>
                    <a:lnTo>
                      <a:pt x="14" y="228"/>
                    </a:lnTo>
                    <a:lnTo>
                      <a:pt x="14" y="228"/>
                    </a:lnTo>
                    <a:lnTo>
                      <a:pt x="14" y="22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0" name="Freeform 152"/>
              <p:cNvSpPr>
                <a:spLocks/>
              </p:cNvSpPr>
              <p:nvPr/>
            </p:nvSpPr>
            <p:spPr bwMode="auto">
              <a:xfrm>
                <a:off x="3332" y="3589"/>
                <a:ext cx="27" cy="26"/>
              </a:xfrm>
              <a:custGeom>
                <a:avLst/>
                <a:gdLst/>
                <a:ahLst/>
                <a:cxnLst>
                  <a:cxn ang="0">
                    <a:pos x="23" y="8"/>
                  </a:cxn>
                  <a:cxn ang="0">
                    <a:pos x="23" y="8"/>
                  </a:cxn>
                  <a:cxn ang="0">
                    <a:pos x="23" y="8"/>
                  </a:cxn>
                  <a:cxn ang="0">
                    <a:pos x="25" y="10"/>
                  </a:cxn>
                  <a:cxn ang="0">
                    <a:pos x="27" y="11"/>
                  </a:cxn>
                  <a:cxn ang="0">
                    <a:pos x="27" y="13"/>
                  </a:cxn>
                  <a:cxn ang="0">
                    <a:pos x="27" y="15"/>
                  </a:cxn>
                  <a:cxn ang="0">
                    <a:pos x="25" y="17"/>
                  </a:cxn>
                  <a:cxn ang="0">
                    <a:pos x="27" y="21"/>
                  </a:cxn>
                  <a:cxn ang="0">
                    <a:pos x="25" y="21"/>
                  </a:cxn>
                  <a:cxn ang="0">
                    <a:pos x="23" y="21"/>
                  </a:cxn>
                  <a:cxn ang="0">
                    <a:pos x="23" y="23"/>
                  </a:cxn>
                  <a:cxn ang="0">
                    <a:pos x="23" y="26"/>
                  </a:cxn>
                  <a:cxn ang="0">
                    <a:pos x="19" y="26"/>
                  </a:cxn>
                  <a:cxn ang="0">
                    <a:pos x="14" y="26"/>
                  </a:cxn>
                  <a:cxn ang="0">
                    <a:pos x="8" y="25"/>
                  </a:cxn>
                  <a:cxn ang="0">
                    <a:pos x="4" y="21"/>
                  </a:cxn>
                  <a:cxn ang="0">
                    <a:pos x="4" y="17"/>
                  </a:cxn>
                  <a:cxn ang="0">
                    <a:pos x="0" y="17"/>
                  </a:cxn>
                  <a:cxn ang="0">
                    <a:pos x="4" y="13"/>
                  </a:cxn>
                  <a:cxn ang="0">
                    <a:pos x="8" y="6"/>
                  </a:cxn>
                  <a:cxn ang="0">
                    <a:pos x="8" y="2"/>
                  </a:cxn>
                  <a:cxn ang="0">
                    <a:pos x="12" y="0"/>
                  </a:cxn>
                  <a:cxn ang="0">
                    <a:pos x="17" y="4"/>
                  </a:cxn>
                  <a:cxn ang="0">
                    <a:pos x="19" y="6"/>
                  </a:cxn>
                  <a:cxn ang="0">
                    <a:pos x="23" y="8"/>
                  </a:cxn>
                  <a:cxn ang="0">
                    <a:pos x="23" y="8"/>
                  </a:cxn>
                  <a:cxn ang="0">
                    <a:pos x="23" y="8"/>
                  </a:cxn>
                  <a:cxn ang="0">
                    <a:pos x="23" y="8"/>
                  </a:cxn>
                </a:cxnLst>
                <a:rect l="0" t="0" r="r" b="b"/>
                <a:pathLst>
                  <a:path w="27" h="26">
                    <a:moveTo>
                      <a:pt x="23" y="8"/>
                    </a:moveTo>
                    <a:lnTo>
                      <a:pt x="23" y="8"/>
                    </a:lnTo>
                    <a:lnTo>
                      <a:pt x="23" y="8"/>
                    </a:lnTo>
                    <a:lnTo>
                      <a:pt x="25" y="10"/>
                    </a:lnTo>
                    <a:lnTo>
                      <a:pt x="27" y="11"/>
                    </a:lnTo>
                    <a:lnTo>
                      <a:pt x="27" y="13"/>
                    </a:lnTo>
                    <a:lnTo>
                      <a:pt x="27" y="15"/>
                    </a:lnTo>
                    <a:lnTo>
                      <a:pt x="25" y="17"/>
                    </a:lnTo>
                    <a:lnTo>
                      <a:pt x="27" y="21"/>
                    </a:lnTo>
                    <a:lnTo>
                      <a:pt x="25" y="21"/>
                    </a:lnTo>
                    <a:lnTo>
                      <a:pt x="23" y="21"/>
                    </a:lnTo>
                    <a:lnTo>
                      <a:pt x="23" y="23"/>
                    </a:lnTo>
                    <a:lnTo>
                      <a:pt x="23" y="26"/>
                    </a:lnTo>
                    <a:lnTo>
                      <a:pt x="19" y="26"/>
                    </a:lnTo>
                    <a:lnTo>
                      <a:pt x="14" y="26"/>
                    </a:lnTo>
                    <a:lnTo>
                      <a:pt x="8" y="25"/>
                    </a:lnTo>
                    <a:lnTo>
                      <a:pt x="4" y="21"/>
                    </a:lnTo>
                    <a:lnTo>
                      <a:pt x="4" y="17"/>
                    </a:lnTo>
                    <a:lnTo>
                      <a:pt x="0" y="17"/>
                    </a:lnTo>
                    <a:lnTo>
                      <a:pt x="4" y="13"/>
                    </a:lnTo>
                    <a:lnTo>
                      <a:pt x="8" y="6"/>
                    </a:lnTo>
                    <a:lnTo>
                      <a:pt x="8" y="2"/>
                    </a:lnTo>
                    <a:lnTo>
                      <a:pt x="12" y="0"/>
                    </a:lnTo>
                    <a:lnTo>
                      <a:pt x="17" y="4"/>
                    </a:lnTo>
                    <a:lnTo>
                      <a:pt x="19" y="6"/>
                    </a:lnTo>
                    <a:lnTo>
                      <a:pt x="23" y="8"/>
                    </a:lnTo>
                    <a:lnTo>
                      <a:pt x="23" y="8"/>
                    </a:lnTo>
                    <a:lnTo>
                      <a:pt x="23" y="8"/>
                    </a:lnTo>
                    <a:lnTo>
                      <a:pt x="23" y="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1" name="Freeform 153"/>
              <p:cNvSpPr>
                <a:spLocks/>
              </p:cNvSpPr>
              <p:nvPr/>
            </p:nvSpPr>
            <p:spPr bwMode="auto">
              <a:xfrm>
                <a:off x="3259" y="3647"/>
                <a:ext cx="47" cy="44"/>
              </a:xfrm>
              <a:custGeom>
                <a:avLst/>
                <a:gdLst/>
                <a:ahLst/>
                <a:cxnLst>
                  <a:cxn ang="0">
                    <a:pos x="6" y="34"/>
                  </a:cxn>
                  <a:cxn ang="0">
                    <a:pos x="6" y="33"/>
                  </a:cxn>
                  <a:cxn ang="0">
                    <a:pos x="6" y="29"/>
                  </a:cxn>
                  <a:cxn ang="0">
                    <a:pos x="6" y="25"/>
                  </a:cxn>
                  <a:cxn ang="0">
                    <a:pos x="0" y="25"/>
                  </a:cxn>
                  <a:cxn ang="0">
                    <a:pos x="0" y="21"/>
                  </a:cxn>
                  <a:cxn ang="0">
                    <a:pos x="2" y="19"/>
                  </a:cxn>
                  <a:cxn ang="0">
                    <a:pos x="9" y="16"/>
                  </a:cxn>
                  <a:cxn ang="0">
                    <a:pos x="11" y="10"/>
                  </a:cxn>
                  <a:cxn ang="0">
                    <a:pos x="15" y="8"/>
                  </a:cxn>
                  <a:cxn ang="0">
                    <a:pos x="23" y="4"/>
                  </a:cxn>
                  <a:cxn ang="0">
                    <a:pos x="23" y="2"/>
                  </a:cxn>
                  <a:cxn ang="0">
                    <a:pos x="26" y="2"/>
                  </a:cxn>
                  <a:cxn ang="0">
                    <a:pos x="26" y="0"/>
                  </a:cxn>
                  <a:cxn ang="0">
                    <a:pos x="30" y="0"/>
                  </a:cxn>
                  <a:cxn ang="0">
                    <a:pos x="32" y="2"/>
                  </a:cxn>
                  <a:cxn ang="0">
                    <a:pos x="34" y="0"/>
                  </a:cxn>
                  <a:cxn ang="0">
                    <a:pos x="36" y="2"/>
                  </a:cxn>
                  <a:cxn ang="0">
                    <a:pos x="40" y="2"/>
                  </a:cxn>
                  <a:cxn ang="0">
                    <a:pos x="43" y="4"/>
                  </a:cxn>
                  <a:cxn ang="0">
                    <a:pos x="47" y="12"/>
                  </a:cxn>
                  <a:cxn ang="0">
                    <a:pos x="47" y="17"/>
                  </a:cxn>
                  <a:cxn ang="0">
                    <a:pos x="43" y="21"/>
                  </a:cxn>
                  <a:cxn ang="0">
                    <a:pos x="40" y="23"/>
                  </a:cxn>
                  <a:cxn ang="0">
                    <a:pos x="40" y="25"/>
                  </a:cxn>
                  <a:cxn ang="0">
                    <a:pos x="41" y="25"/>
                  </a:cxn>
                  <a:cxn ang="0">
                    <a:pos x="41" y="29"/>
                  </a:cxn>
                  <a:cxn ang="0">
                    <a:pos x="38" y="33"/>
                  </a:cxn>
                  <a:cxn ang="0">
                    <a:pos x="34" y="31"/>
                  </a:cxn>
                  <a:cxn ang="0">
                    <a:pos x="32" y="33"/>
                  </a:cxn>
                  <a:cxn ang="0">
                    <a:pos x="28" y="33"/>
                  </a:cxn>
                  <a:cxn ang="0">
                    <a:pos x="23" y="34"/>
                  </a:cxn>
                  <a:cxn ang="0">
                    <a:pos x="23" y="38"/>
                  </a:cxn>
                  <a:cxn ang="0">
                    <a:pos x="23" y="38"/>
                  </a:cxn>
                  <a:cxn ang="0">
                    <a:pos x="21" y="40"/>
                  </a:cxn>
                  <a:cxn ang="0">
                    <a:pos x="17" y="44"/>
                  </a:cxn>
                  <a:cxn ang="0">
                    <a:pos x="11" y="40"/>
                  </a:cxn>
                  <a:cxn ang="0">
                    <a:pos x="11" y="38"/>
                  </a:cxn>
                  <a:cxn ang="0">
                    <a:pos x="6" y="34"/>
                  </a:cxn>
                  <a:cxn ang="0">
                    <a:pos x="6" y="34"/>
                  </a:cxn>
                  <a:cxn ang="0">
                    <a:pos x="6" y="34"/>
                  </a:cxn>
                </a:cxnLst>
                <a:rect l="0" t="0" r="r" b="b"/>
                <a:pathLst>
                  <a:path w="47" h="44">
                    <a:moveTo>
                      <a:pt x="6" y="34"/>
                    </a:moveTo>
                    <a:lnTo>
                      <a:pt x="6" y="33"/>
                    </a:lnTo>
                    <a:lnTo>
                      <a:pt x="6" y="29"/>
                    </a:lnTo>
                    <a:lnTo>
                      <a:pt x="6" y="25"/>
                    </a:lnTo>
                    <a:lnTo>
                      <a:pt x="0" y="25"/>
                    </a:lnTo>
                    <a:lnTo>
                      <a:pt x="0" y="21"/>
                    </a:lnTo>
                    <a:lnTo>
                      <a:pt x="2" y="19"/>
                    </a:lnTo>
                    <a:lnTo>
                      <a:pt x="9" y="16"/>
                    </a:lnTo>
                    <a:lnTo>
                      <a:pt x="11" y="10"/>
                    </a:lnTo>
                    <a:lnTo>
                      <a:pt x="15" y="8"/>
                    </a:lnTo>
                    <a:lnTo>
                      <a:pt x="23" y="4"/>
                    </a:lnTo>
                    <a:lnTo>
                      <a:pt x="23" y="2"/>
                    </a:lnTo>
                    <a:lnTo>
                      <a:pt x="26" y="2"/>
                    </a:lnTo>
                    <a:lnTo>
                      <a:pt x="26" y="0"/>
                    </a:lnTo>
                    <a:lnTo>
                      <a:pt x="30" y="0"/>
                    </a:lnTo>
                    <a:lnTo>
                      <a:pt x="32" y="2"/>
                    </a:lnTo>
                    <a:lnTo>
                      <a:pt x="34" y="0"/>
                    </a:lnTo>
                    <a:lnTo>
                      <a:pt x="36" y="2"/>
                    </a:lnTo>
                    <a:lnTo>
                      <a:pt x="40" y="2"/>
                    </a:lnTo>
                    <a:lnTo>
                      <a:pt x="43" y="4"/>
                    </a:lnTo>
                    <a:lnTo>
                      <a:pt x="47" y="12"/>
                    </a:lnTo>
                    <a:lnTo>
                      <a:pt x="47" y="17"/>
                    </a:lnTo>
                    <a:lnTo>
                      <a:pt x="43" y="21"/>
                    </a:lnTo>
                    <a:lnTo>
                      <a:pt x="40" y="23"/>
                    </a:lnTo>
                    <a:lnTo>
                      <a:pt x="40" y="25"/>
                    </a:lnTo>
                    <a:lnTo>
                      <a:pt x="41" y="25"/>
                    </a:lnTo>
                    <a:lnTo>
                      <a:pt x="41" y="29"/>
                    </a:lnTo>
                    <a:lnTo>
                      <a:pt x="38" y="33"/>
                    </a:lnTo>
                    <a:lnTo>
                      <a:pt x="34" y="31"/>
                    </a:lnTo>
                    <a:lnTo>
                      <a:pt x="32" y="33"/>
                    </a:lnTo>
                    <a:lnTo>
                      <a:pt x="28" y="33"/>
                    </a:lnTo>
                    <a:lnTo>
                      <a:pt x="23" y="34"/>
                    </a:lnTo>
                    <a:lnTo>
                      <a:pt x="23" y="38"/>
                    </a:lnTo>
                    <a:lnTo>
                      <a:pt x="23" y="38"/>
                    </a:lnTo>
                    <a:lnTo>
                      <a:pt x="21" y="40"/>
                    </a:lnTo>
                    <a:lnTo>
                      <a:pt x="17" y="44"/>
                    </a:lnTo>
                    <a:lnTo>
                      <a:pt x="11" y="40"/>
                    </a:lnTo>
                    <a:lnTo>
                      <a:pt x="11" y="38"/>
                    </a:lnTo>
                    <a:lnTo>
                      <a:pt x="6" y="34"/>
                    </a:lnTo>
                    <a:lnTo>
                      <a:pt x="6" y="34"/>
                    </a:lnTo>
                    <a:lnTo>
                      <a:pt x="6" y="3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2" name="Freeform 154"/>
              <p:cNvSpPr>
                <a:spLocks noEditPoints="1"/>
              </p:cNvSpPr>
              <p:nvPr/>
            </p:nvSpPr>
            <p:spPr bwMode="auto">
              <a:xfrm>
                <a:off x="2896" y="1020"/>
                <a:ext cx="195" cy="211"/>
              </a:xfrm>
              <a:custGeom>
                <a:avLst/>
                <a:gdLst/>
                <a:ahLst/>
                <a:cxnLst>
                  <a:cxn ang="0">
                    <a:pos x="88" y="21"/>
                  </a:cxn>
                  <a:cxn ang="0">
                    <a:pos x="131" y="43"/>
                  </a:cxn>
                  <a:cxn ang="0">
                    <a:pos x="122" y="54"/>
                  </a:cxn>
                  <a:cxn ang="0">
                    <a:pos x="120" y="60"/>
                  </a:cxn>
                  <a:cxn ang="0">
                    <a:pos x="150" y="75"/>
                  </a:cxn>
                  <a:cxn ang="0">
                    <a:pos x="180" y="62"/>
                  </a:cxn>
                  <a:cxn ang="0">
                    <a:pos x="192" y="24"/>
                  </a:cxn>
                  <a:cxn ang="0">
                    <a:pos x="162" y="11"/>
                  </a:cxn>
                  <a:cxn ang="0">
                    <a:pos x="152" y="9"/>
                  </a:cxn>
                  <a:cxn ang="0">
                    <a:pos x="143" y="11"/>
                  </a:cxn>
                  <a:cxn ang="0">
                    <a:pos x="131" y="7"/>
                  </a:cxn>
                  <a:cxn ang="0">
                    <a:pos x="128" y="17"/>
                  </a:cxn>
                  <a:cxn ang="0">
                    <a:pos x="107" y="9"/>
                  </a:cxn>
                  <a:cxn ang="0">
                    <a:pos x="101" y="21"/>
                  </a:cxn>
                  <a:cxn ang="0">
                    <a:pos x="86" y="22"/>
                  </a:cxn>
                  <a:cxn ang="0">
                    <a:pos x="90" y="43"/>
                  </a:cxn>
                  <a:cxn ang="0">
                    <a:pos x="143" y="124"/>
                  </a:cxn>
                  <a:cxn ang="0">
                    <a:pos x="167" y="137"/>
                  </a:cxn>
                  <a:cxn ang="0">
                    <a:pos x="162" y="167"/>
                  </a:cxn>
                  <a:cxn ang="0">
                    <a:pos x="150" y="158"/>
                  </a:cxn>
                  <a:cxn ang="0">
                    <a:pos x="141" y="147"/>
                  </a:cxn>
                  <a:cxn ang="0">
                    <a:pos x="116" y="83"/>
                  </a:cxn>
                  <a:cxn ang="0">
                    <a:pos x="124" y="113"/>
                  </a:cxn>
                  <a:cxn ang="0">
                    <a:pos x="145" y="117"/>
                  </a:cxn>
                  <a:cxn ang="0">
                    <a:pos x="131" y="102"/>
                  </a:cxn>
                  <a:cxn ang="0">
                    <a:pos x="15" y="122"/>
                  </a:cxn>
                  <a:cxn ang="0">
                    <a:pos x="9" y="103"/>
                  </a:cxn>
                  <a:cxn ang="0">
                    <a:pos x="19" y="128"/>
                  </a:cxn>
                  <a:cxn ang="0">
                    <a:pos x="79" y="201"/>
                  </a:cxn>
                  <a:cxn ang="0">
                    <a:pos x="71" y="188"/>
                  </a:cxn>
                  <a:cxn ang="0">
                    <a:pos x="52" y="173"/>
                  </a:cxn>
                  <a:cxn ang="0">
                    <a:pos x="54" y="160"/>
                  </a:cxn>
                  <a:cxn ang="0">
                    <a:pos x="56" y="152"/>
                  </a:cxn>
                  <a:cxn ang="0">
                    <a:pos x="83" y="141"/>
                  </a:cxn>
                  <a:cxn ang="0">
                    <a:pos x="54" y="147"/>
                  </a:cxn>
                  <a:cxn ang="0">
                    <a:pos x="49" y="135"/>
                  </a:cxn>
                  <a:cxn ang="0">
                    <a:pos x="73" y="118"/>
                  </a:cxn>
                  <a:cxn ang="0">
                    <a:pos x="73" y="100"/>
                  </a:cxn>
                  <a:cxn ang="0">
                    <a:pos x="60" y="102"/>
                  </a:cxn>
                  <a:cxn ang="0">
                    <a:pos x="49" y="102"/>
                  </a:cxn>
                  <a:cxn ang="0">
                    <a:pos x="37" y="130"/>
                  </a:cxn>
                  <a:cxn ang="0">
                    <a:pos x="28" y="109"/>
                  </a:cxn>
                  <a:cxn ang="0">
                    <a:pos x="9" y="92"/>
                  </a:cxn>
                  <a:cxn ang="0">
                    <a:pos x="15" y="88"/>
                  </a:cxn>
                  <a:cxn ang="0">
                    <a:pos x="7" y="83"/>
                  </a:cxn>
                  <a:cxn ang="0">
                    <a:pos x="3" y="51"/>
                  </a:cxn>
                  <a:cxn ang="0">
                    <a:pos x="19" y="49"/>
                  </a:cxn>
                  <a:cxn ang="0">
                    <a:pos x="24" y="54"/>
                  </a:cxn>
                  <a:cxn ang="0">
                    <a:pos x="34" y="62"/>
                  </a:cxn>
                  <a:cxn ang="0">
                    <a:pos x="43" y="49"/>
                  </a:cxn>
                  <a:cxn ang="0">
                    <a:pos x="54" y="79"/>
                  </a:cxn>
                  <a:cxn ang="0">
                    <a:pos x="60" y="64"/>
                  </a:cxn>
                  <a:cxn ang="0">
                    <a:pos x="69" y="39"/>
                  </a:cxn>
                  <a:cxn ang="0">
                    <a:pos x="83" y="69"/>
                  </a:cxn>
                  <a:cxn ang="0">
                    <a:pos x="107" y="75"/>
                  </a:cxn>
                  <a:cxn ang="0">
                    <a:pos x="122" y="100"/>
                  </a:cxn>
                  <a:cxn ang="0">
                    <a:pos x="107" y="134"/>
                  </a:cxn>
                  <a:cxn ang="0">
                    <a:pos x="98" y="162"/>
                  </a:cxn>
                  <a:cxn ang="0">
                    <a:pos x="94" y="201"/>
                  </a:cxn>
                </a:cxnLst>
                <a:rect l="0" t="0" r="r" b="b"/>
                <a:pathLst>
                  <a:path w="195" h="211">
                    <a:moveTo>
                      <a:pt x="88" y="21"/>
                    </a:moveTo>
                    <a:lnTo>
                      <a:pt x="86" y="17"/>
                    </a:lnTo>
                    <a:lnTo>
                      <a:pt x="84" y="15"/>
                    </a:lnTo>
                    <a:lnTo>
                      <a:pt x="86" y="13"/>
                    </a:lnTo>
                    <a:lnTo>
                      <a:pt x="88" y="11"/>
                    </a:lnTo>
                    <a:lnTo>
                      <a:pt x="90" y="13"/>
                    </a:lnTo>
                    <a:lnTo>
                      <a:pt x="92" y="15"/>
                    </a:lnTo>
                    <a:lnTo>
                      <a:pt x="92" y="17"/>
                    </a:lnTo>
                    <a:lnTo>
                      <a:pt x="90" y="19"/>
                    </a:lnTo>
                    <a:lnTo>
                      <a:pt x="88" y="21"/>
                    </a:lnTo>
                    <a:lnTo>
                      <a:pt x="88" y="21"/>
                    </a:lnTo>
                    <a:lnTo>
                      <a:pt x="88" y="21"/>
                    </a:lnTo>
                    <a:lnTo>
                      <a:pt x="88" y="21"/>
                    </a:lnTo>
                    <a:close/>
                    <a:moveTo>
                      <a:pt x="107" y="49"/>
                    </a:moveTo>
                    <a:lnTo>
                      <a:pt x="107" y="49"/>
                    </a:lnTo>
                    <a:lnTo>
                      <a:pt x="107" y="47"/>
                    </a:lnTo>
                    <a:lnTo>
                      <a:pt x="111" y="45"/>
                    </a:lnTo>
                    <a:lnTo>
                      <a:pt x="113" y="43"/>
                    </a:lnTo>
                    <a:lnTo>
                      <a:pt x="120" y="43"/>
                    </a:lnTo>
                    <a:lnTo>
                      <a:pt x="126" y="43"/>
                    </a:lnTo>
                    <a:lnTo>
                      <a:pt x="128" y="41"/>
                    </a:lnTo>
                    <a:lnTo>
                      <a:pt x="131" y="41"/>
                    </a:lnTo>
                    <a:lnTo>
                      <a:pt x="131" y="41"/>
                    </a:lnTo>
                    <a:lnTo>
                      <a:pt x="131" y="43"/>
                    </a:lnTo>
                    <a:lnTo>
                      <a:pt x="131" y="45"/>
                    </a:lnTo>
                    <a:lnTo>
                      <a:pt x="128" y="47"/>
                    </a:lnTo>
                    <a:lnTo>
                      <a:pt x="128" y="49"/>
                    </a:lnTo>
                    <a:lnTo>
                      <a:pt x="124" y="47"/>
                    </a:lnTo>
                    <a:lnTo>
                      <a:pt x="118" y="49"/>
                    </a:lnTo>
                    <a:lnTo>
                      <a:pt x="115" y="47"/>
                    </a:lnTo>
                    <a:lnTo>
                      <a:pt x="115" y="49"/>
                    </a:lnTo>
                    <a:lnTo>
                      <a:pt x="116" y="51"/>
                    </a:lnTo>
                    <a:lnTo>
                      <a:pt x="122" y="51"/>
                    </a:lnTo>
                    <a:lnTo>
                      <a:pt x="124" y="53"/>
                    </a:lnTo>
                    <a:lnTo>
                      <a:pt x="124" y="54"/>
                    </a:lnTo>
                    <a:lnTo>
                      <a:pt x="122" y="54"/>
                    </a:lnTo>
                    <a:lnTo>
                      <a:pt x="118" y="53"/>
                    </a:lnTo>
                    <a:lnTo>
                      <a:pt x="116" y="54"/>
                    </a:lnTo>
                    <a:lnTo>
                      <a:pt x="115" y="54"/>
                    </a:lnTo>
                    <a:lnTo>
                      <a:pt x="111" y="53"/>
                    </a:lnTo>
                    <a:lnTo>
                      <a:pt x="107" y="51"/>
                    </a:lnTo>
                    <a:lnTo>
                      <a:pt x="103" y="53"/>
                    </a:lnTo>
                    <a:lnTo>
                      <a:pt x="103" y="54"/>
                    </a:lnTo>
                    <a:lnTo>
                      <a:pt x="107" y="54"/>
                    </a:lnTo>
                    <a:lnTo>
                      <a:pt x="113" y="60"/>
                    </a:lnTo>
                    <a:lnTo>
                      <a:pt x="115" y="60"/>
                    </a:lnTo>
                    <a:lnTo>
                      <a:pt x="118" y="58"/>
                    </a:lnTo>
                    <a:lnTo>
                      <a:pt x="120" y="60"/>
                    </a:lnTo>
                    <a:lnTo>
                      <a:pt x="122" y="64"/>
                    </a:lnTo>
                    <a:lnTo>
                      <a:pt x="122" y="66"/>
                    </a:lnTo>
                    <a:lnTo>
                      <a:pt x="124" y="68"/>
                    </a:lnTo>
                    <a:lnTo>
                      <a:pt x="128" y="66"/>
                    </a:lnTo>
                    <a:lnTo>
                      <a:pt x="131" y="66"/>
                    </a:lnTo>
                    <a:lnTo>
                      <a:pt x="137" y="64"/>
                    </a:lnTo>
                    <a:lnTo>
                      <a:pt x="141" y="64"/>
                    </a:lnTo>
                    <a:lnTo>
                      <a:pt x="145" y="62"/>
                    </a:lnTo>
                    <a:lnTo>
                      <a:pt x="147" y="64"/>
                    </a:lnTo>
                    <a:lnTo>
                      <a:pt x="145" y="68"/>
                    </a:lnTo>
                    <a:lnTo>
                      <a:pt x="147" y="71"/>
                    </a:lnTo>
                    <a:lnTo>
                      <a:pt x="150" y="75"/>
                    </a:lnTo>
                    <a:lnTo>
                      <a:pt x="154" y="75"/>
                    </a:lnTo>
                    <a:lnTo>
                      <a:pt x="160" y="73"/>
                    </a:lnTo>
                    <a:lnTo>
                      <a:pt x="162" y="71"/>
                    </a:lnTo>
                    <a:lnTo>
                      <a:pt x="162" y="69"/>
                    </a:lnTo>
                    <a:lnTo>
                      <a:pt x="162" y="68"/>
                    </a:lnTo>
                    <a:lnTo>
                      <a:pt x="162" y="66"/>
                    </a:lnTo>
                    <a:lnTo>
                      <a:pt x="165" y="62"/>
                    </a:lnTo>
                    <a:lnTo>
                      <a:pt x="167" y="62"/>
                    </a:lnTo>
                    <a:lnTo>
                      <a:pt x="171" y="64"/>
                    </a:lnTo>
                    <a:lnTo>
                      <a:pt x="173" y="66"/>
                    </a:lnTo>
                    <a:lnTo>
                      <a:pt x="175" y="66"/>
                    </a:lnTo>
                    <a:lnTo>
                      <a:pt x="180" y="62"/>
                    </a:lnTo>
                    <a:lnTo>
                      <a:pt x="180" y="60"/>
                    </a:lnTo>
                    <a:lnTo>
                      <a:pt x="180" y="54"/>
                    </a:lnTo>
                    <a:lnTo>
                      <a:pt x="179" y="54"/>
                    </a:lnTo>
                    <a:lnTo>
                      <a:pt x="182" y="53"/>
                    </a:lnTo>
                    <a:lnTo>
                      <a:pt x="184" y="49"/>
                    </a:lnTo>
                    <a:lnTo>
                      <a:pt x="186" y="43"/>
                    </a:lnTo>
                    <a:lnTo>
                      <a:pt x="190" y="39"/>
                    </a:lnTo>
                    <a:lnTo>
                      <a:pt x="192" y="36"/>
                    </a:lnTo>
                    <a:lnTo>
                      <a:pt x="195" y="34"/>
                    </a:lnTo>
                    <a:lnTo>
                      <a:pt x="195" y="30"/>
                    </a:lnTo>
                    <a:lnTo>
                      <a:pt x="192" y="28"/>
                    </a:lnTo>
                    <a:lnTo>
                      <a:pt x="192" y="24"/>
                    </a:lnTo>
                    <a:lnTo>
                      <a:pt x="192" y="22"/>
                    </a:lnTo>
                    <a:lnTo>
                      <a:pt x="192" y="21"/>
                    </a:lnTo>
                    <a:lnTo>
                      <a:pt x="192" y="19"/>
                    </a:lnTo>
                    <a:lnTo>
                      <a:pt x="186" y="19"/>
                    </a:lnTo>
                    <a:lnTo>
                      <a:pt x="184" y="17"/>
                    </a:lnTo>
                    <a:lnTo>
                      <a:pt x="182" y="17"/>
                    </a:lnTo>
                    <a:lnTo>
                      <a:pt x="175" y="17"/>
                    </a:lnTo>
                    <a:lnTo>
                      <a:pt x="173" y="17"/>
                    </a:lnTo>
                    <a:lnTo>
                      <a:pt x="171" y="15"/>
                    </a:lnTo>
                    <a:lnTo>
                      <a:pt x="165" y="15"/>
                    </a:lnTo>
                    <a:lnTo>
                      <a:pt x="165" y="13"/>
                    </a:lnTo>
                    <a:lnTo>
                      <a:pt x="162" y="11"/>
                    </a:lnTo>
                    <a:lnTo>
                      <a:pt x="162" y="9"/>
                    </a:lnTo>
                    <a:lnTo>
                      <a:pt x="160" y="11"/>
                    </a:lnTo>
                    <a:lnTo>
                      <a:pt x="160" y="11"/>
                    </a:lnTo>
                    <a:lnTo>
                      <a:pt x="160" y="7"/>
                    </a:lnTo>
                    <a:lnTo>
                      <a:pt x="160" y="5"/>
                    </a:lnTo>
                    <a:lnTo>
                      <a:pt x="158" y="7"/>
                    </a:lnTo>
                    <a:lnTo>
                      <a:pt x="156" y="11"/>
                    </a:lnTo>
                    <a:lnTo>
                      <a:pt x="154" y="11"/>
                    </a:lnTo>
                    <a:lnTo>
                      <a:pt x="154" y="7"/>
                    </a:lnTo>
                    <a:lnTo>
                      <a:pt x="152" y="5"/>
                    </a:lnTo>
                    <a:lnTo>
                      <a:pt x="152" y="7"/>
                    </a:lnTo>
                    <a:lnTo>
                      <a:pt x="152" y="9"/>
                    </a:lnTo>
                    <a:lnTo>
                      <a:pt x="152" y="11"/>
                    </a:lnTo>
                    <a:lnTo>
                      <a:pt x="148" y="15"/>
                    </a:lnTo>
                    <a:lnTo>
                      <a:pt x="148" y="17"/>
                    </a:lnTo>
                    <a:lnTo>
                      <a:pt x="148" y="21"/>
                    </a:lnTo>
                    <a:lnTo>
                      <a:pt x="145" y="19"/>
                    </a:lnTo>
                    <a:lnTo>
                      <a:pt x="145" y="17"/>
                    </a:lnTo>
                    <a:lnTo>
                      <a:pt x="143" y="17"/>
                    </a:lnTo>
                    <a:lnTo>
                      <a:pt x="143" y="19"/>
                    </a:lnTo>
                    <a:lnTo>
                      <a:pt x="143" y="21"/>
                    </a:lnTo>
                    <a:lnTo>
                      <a:pt x="141" y="19"/>
                    </a:lnTo>
                    <a:lnTo>
                      <a:pt x="141" y="17"/>
                    </a:lnTo>
                    <a:lnTo>
                      <a:pt x="143" y="11"/>
                    </a:lnTo>
                    <a:lnTo>
                      <a:pt x="143" y="5"/>
                    </a:lnTo>
                    <a:lnTo>
                      <a:pt x="141" y="4"/>
                    </a:lnTo>
                    <a:lnTo>
                      <a:pt x="137" y="0"/>
                    </a:lnTo>
                    <a:lnTo>
                      <a:pt x="137" y="0"/>
                    </a:lnTo>
                    <a:lnTo>
                      <a:pt x="135" y="0"/>
                    </a:lnTo>
                    <a:lnTo>
                      <a:pt x="135" y="4"/>
                    </a:lnTo>
                    <a:lnTo>
                      <a:pt x="137" y="4"/>
                    </a:lnTo>
                    <a:lnTo>
                      <a:pt x="137" y="5"/>
                    </a:lnTo>
                    <a:lnTo>
                      <a:pt x="135" y="5"/>
                    </a:lnTo>
                    <a:lnTo>
                      <a:pt x="131" y="4"/>
                    </a:lnTo>
                    <a:lnTo>
                      <a:pt x="131" y="4"/>
                    </a:lnTo>
                    <a:lnTo>
                      <a:pt x="131" y="7"/>
                    </a:lnTo>
                    <a:lnTo>
                      <a:pt x="135" y="11"/>
                    </a:lnTo>
                    <a:lnTo>
                      <a:pt x="135" y="15"/>
                    </a:lnTo>
                    <a:lnTo>
                      <a:pt x="135" y="19"/>
                    </a:lnTo>
                    <a:lnTo>
                      <a:pt x="135" y="22"/>
                    </a:lnTo>
                    <a:lnTo>
                      <a:pt x="137" y="28"/>
                    </a:lnTo>
                    <a:lnTo>
                      <a:pt x="135" y="30"/>
                    </a:lnTo>
                    <a:lnTo>
                      <a:pt x="135" y="30"/>
                    </a:lnTo>
                    <a:lnTo>
                      <a:pt x="131" y="28"/>
                    </a:lnTo>
                    <a:lnTo>
                      <a:pt x="128" y="24"/>
                    </a:lnTo>
                    <a:lnTo>
                      <a:pt x="126" y="22"/>
                    </a:lnTo>
                    <a:lnTo>
                      <a:pt x="126" y="21"/>
                    </a:lnTo>
                    <a:lnTo>
                      <a:pt x="128" y="17"/>
                    </a:lnTo>
                    <a:lnTo>
                      <a:pt x="128" y="15"/>
                    </a:lnTo>
                    <a:lnTo>
                      <a:pt x="126" y="15"/>
                    </a:lnTo>
                    <a:lnTo>
                      <a:pt x="122" y="17"/>
                    </a:lnTo>
                    <a:lnTo>
                      <a:pt x="120" y="17"/>
                    </a:lnTo>
                    <a:lnTo>
                      <a:pt x="118" y="17"/>
                    </a:lnTo>
                    <a:lnTo>
                      <a:pt x="116" y="21"/>
                    </a:lnTo>
                    <a:lnTo>
                      <a:pt x="113" y="19"/>
                    </a:lnTo>
                    <a:lnTo>
                      <a:pt x="113" y="17"/>
                    </a:lnTo>
                    <a:lnTo>
                      <a:pt x="113" y="15"/>
                    </a:lnTo>
                    <a:lnTo>
                      <a:pt x="111" y="15"/>
                    </a:lnTo>
                    <a:lnTo>
                      <a:pt x="109" y="11"/>
                    </a:lnTo>
                    <a:lnTo>
                      <a:pt x="107" y="9"/>
                    </a:lnTo>
                    <a:lnTo>
                      <a:pt x="107" y="7"/>
                    </a:lnTo>
                    <a:lnTo>
                      <a:pt x="103" y="7"/>
                    </a:lnTo>
                    <a:lnTo>
                      <a:pt x="103" y="5"/>
                    </a:lnTo>
                    <a:lnTo>
                      <a:pt x="103" y="4"/>
                    </a:lnTo>
                    <a:lnTo>
                      <a:pt x="101" y="0"/>
                    </a:lnTo>
                    <a:lnTo>
                      <a:pt x="101" y="0"/>
                    </a:lnTo>
                    <a:lnTo>
                      <a:pt x="99" y="4"/>
                    </a:lnTo>
                    <a:lnTo>
                      <a:pt x="98" y="5"/>
                    </a:lnTo>
                    <a:lnTo>
                      <a:pt x="99" y="11"/>
                    </a:lnTo>
                    <a:lnTo>
                      <a:pt x="101" y="15"/>
                    </a:lnTo>
                    <a:lnTo>
                      <a:pt x="101" y="21"/>
                    </a:lnTo>
                    <a:lnTo>
                      <a:pt x="101" y="21"/>
                    </a:lnTo>
                    <a:lnTo>
                      <a:pt x="98" y="19"/>
                    </a:lnTo>
                    <a:lnTo>
                      <a:pt x="98" y="15"/>
                    </a:lnTo>
                    <a:lnTo>
                      <a:pt x="96" y="13"/>
                    </a:lnTo>
                    <a:lnTo>
                      <a:pt x="96" y="17"/>
                    </a:lnTo>
                    <a:lnTo>
                      <a:pt x="96" y="21"/>
                    </a:lnTo>
                    <a:lnTo>
                      <a:pt x="98" y="24"/>
                    </a:lnTo>
                    <a:lnTo>
                      <a:pt x="98" y="24"/>
                    </a:lnTo>
                    <a:lnTo>
                      <a:pt x="98" y="30"/>
                    </a:lnTo>
                    <a:lnTo>
                      <a:pt x="96" y="28"/>
                    </a:lnTo>
                    <a:lnTo>
                      <a:pt x="94" y="24"/>
                    </a:lnTo>
                    <a:lnTo>
                      <a:pt x="92" y="22"/>
                    </a:lnTo>
                    <a:lnTo>
                      <a:pt x="86" y="22"/>
                    </a:lnTo>
                    <a:lnTo>
                      <a:pt x="83" y="21"/>
                    </a:lnTo>
                    <a:lnTo>
                      <a:pt x="83" y="22"/>
                    </a:lnTo>
                    <a:lnTo>
                      <a:pt x="83" y="28"/>
                    </a:lnTo>
                    <a:lnTo>
                      <a:pt x="84" y="24"/>
                    </a:lnTo>
                    <a:lnTo>
                      <a:pt x="88" y="28"/>
                    </a:lnTo>
                    <a:lnTo>
                      <a:pt x="86" y="30"/>
                    </a:lnTo>
                    <a:lnTo>
                      <a:pt x="86" y="30"/>
                    </a:lnTo>
                    <a:lnTo>
                      <a:pt x="90" y="30"/>
                    </a:lnTo>
                    <a:lnTo>
                      <a:pt x="92" y="34"/>
                    </a:lnTo>
                    <a:lnTo>
                      <a:pt x="86" y="36"/>
                    </a:lnTo>
                    <a:lnTo>
                      <a:pt x="86" y="37"/>
                    </a:lnTo>
                    <a:lnTo>
                      <a:pt x="90" y="43"/>
                    </a:lnTo>
                    <a:lnTo>
                      <a:pt x="94" y="45"/>
                    </a:lnTo>
                    <a:lnTo>
                      <a:pt x="96" y="47"/>
                    </a:lnTo>
                    <a:lnTo>
                      <a:pt x="101" y="47"/>
                    </a:lnTo>
                    <a:lnTo>
                      <a:pt x="103" y="47"/>
                    </a:lnTo>
                    <a:lnTo>
                      <a:pt x="107" y="49"/>
                    </a:lnTo>
                    <a:lnTo>
                      <a:pt x="107" y="49"/>
                    </a:lnTo>
                    <a:lnTo>
                      <a:pt x="107" y="49"/>
                    </a:lnTo>
                    <a:lnTo>
                      <a:pt x="107" y="49"/>
                    </a:lnTo>
                    <a:close/>
                    <a:moveTo>
                      <a:pt x="131" y="132"/>
                    </a:moveTo>
                    <a:lnTo>
                      <a:pt x="131" y="128"/>
                    </a:lnTo>
                    <a:lnTo>
                      <a:pt x="137" y="126"/>
                    </a:lnTo>
                    <a:lnTo>
                      <a:pt x="143" y="124"/>
                    </a:lnTo>
                    <a:lnTo>
                      <a:pt x="147" y="122"/>
                    </a:lnTo>
                    <a:lnTo>
                      <a:pt x="152" y="118"/>
                    </a:lnTo>
                    <a:lnTo>
                      <a:pt x="158" y="117"/>
                    </a:lnTo>
                    <a:lnTo>
                      <a:pt x="158" y="120"/>
                    </a:lnTo>
                    <a:lnTo>
                      <a:pt x="162" y="124"/>
                    </a:lnTo>
                    <a:lnTo>
                      <a:pt x="162" y="126"/>
                    </a:lnTo>
                    <a:lnTo>
                      <a:pt x="158" y="128"/>
                    </a:lnTo>
                    <a:lnTo>
                      <a:pt x="158" y="130"/>
                    </a:lnTo>
                    <a:lnTo>
                      <a:pt x="158" y="134"/>
                    </a:lnTo>
                    <a:lnTo>
                      <a:pt x="162" y="137"/>
                    </a:lnTo>
                    <a:lnTo>
                      <a:pt x="165" y="141"/>
                    </a:lnTo>
                    <a:lnTo>
                      <a:pt x="167" y="137"/>
                    </a:lnTo>
                    <a:lnTo>
                      <a:pt x="173" y="137"/>
                    </a:lnTo>
                    <a:lnTo>
                      <a:pt x="175" y="137"/>
                    </a:lnTo>
                    <a:lnTo>
                      <a:pt x="177" y="141"/>
                    </a:lnTo>
                    <a:lnTo>
                      <a:pt x="180" y="141"/>
                    </a:lnTo>
                    <a:lnTo>
                      <a:pt x="179" y="141"/>
                    </a:lnTo>
                    <a:lnTo>
                      <a:pt x="175" y="143"/>
                    </a:lnTo>
                    <a:lnTo>
                      <a:pt x="171" y="149"/>
                    </a:lnTo>
                    <a:lnTo>
                      <a:pt x="171" y="152"/>
                    </a:lnTo>
                    <a:lnTo>
                      <a:pt x="171" y="160"/>
                    </a:lnTo>
                    <a:lnTo>
                      <a:pt x="165" y="162"/>
                    </a:lnTo>
                    <a:lnTo>
                      <a:pt x="162" y="162"/>
                    </a:lnTo>
                    <a:lnTo>
                      <a:pt x="162" y="167"/>
                    </a:lnTo>
                    <a:lnTo>
                      <a:pt x="162" y="167"/>
                    </a:lnTo>
                    <a:lnTo>
                      <a:pt x="158" y="171"/>
                    </a:lnTo>
                    <a:lnTo>
                      <a:pt x="156" y="171"/>
                    </a:lnTo>
                    <a:lnTo>
                      <a:pt x="156" y="167"/>
                    </a:lnTo>
                    <a:lnTo>
                      <a:pt x="158" y="166"/>
                    </a:lnTo>
                    <a:lnTo>
                      <a:pt x="156" y="162"/>
                    </a:lnTo>
                    <a:lnTo>
                      <a:pt x="158" y="156"/>
                    </a:lnTo>
                    <a:lnTo>
                      <a:pt x="158" y="152"/>
                    </a:lnTo>
                    <a:lnTo>
                      <a:pt x="156" y="152"/>
                    </a:lnTo>
                    <a:lnTo>
                      <a:pt x="154" y="152"/>
                    </a:lnTo>
                    <a:lnTo>
                      <a:pt x="152" y="154"/>
                    </a:lnTo>
                    <a:lnTo>
                      <a:pt x="150" y="158"/>
                    </a:lnTo>
                    <a:lnTo>
                      <a:pt x="147" y="160"/>
                    </a:lnTo>
                    <a:lnTo>
                      <a:pt x="145" y="160"/>
                    </a:lnTo>
                    <a:lnTo>
                      <a:pt x="141" y="162"/>
                    </a:lnTo>
                    <a:lnTo>
                      <a:pt x="137" y="162"/>
                    </a:lnTo>
                    <a:lnTo>
                      <a:pt x="135" y="166"/>
                    </a:lnTo>
                    <a:lnTo>
                      <a:pt x="131" y="166"/>
                    </a:lnTo>
                    <a:lnTo>
                      <a:pt x="131" y="162"/>
                    </a:lnTo>
                    <a:lnTo>
                      <a:pt x="135" y="160"/>
                    </a:lnTo>
                    <a:lnTo>
                      <a:pt x="131" y="158"/>
                    </a:lnTo>
                    <a:lnTo>
                      <a:pt x="137" y="154"/>
                    </a:lnTo>
                    <a:lnTo>
                      <a:pt x="137" y="149"/>
                    </a:lnTo>
                    <a:lnTo>
                      <a:pt x="141" y="147"/>
                    </a:lnTo>
                    <a:lnTo>
                      <a:pt x="141" y="141"/>
                    </a:lnTo>
                    <a:lnTo>
                      <a:pt x="141" y="137"/>
                    </a:lnTo>
                    <a:lnTo>
                      <a:pt x="141" y="137"/>
                    </a:lnTo>
                    <a:lnTo>
                      <a:pt x="137" y="137"/>
                    </a:lnTo>
                    <a:lnTo>
                      <a:pt x="131" y="134"/>
                    </a:lnTo>
                    <a:lnTo>
                      <a:pt x="131" y="132"/>
                    </a:lnTo>
                    <a:lnTo>
                      <a:pt x="131" y="132"/>
                    </a:lnTo>
                    <a:lnTo>
                      <a:pt x="131" y="132"/>
                    </a:lnTo>
                    <a:lnTo>
                      <a:pt x="131" y="132"/>
                    </a:lnTo>
                    <a:close/>
                    <a:moveTo>
                      <a:pt x="113" y="79"/>
                    </a:moveTo>
                    <a:lnTo>
                      <a:pt x="115" y="83"/>
                    </a:lnTo>
                    <a:lnTo>
                      <a:pt x="116" y="83"/>
                    </a:lnTo>
                    <a:lnTo>
                      <a:pt x="120" y="86"/>
                    </a:lnTo>
                    <a:lnTo>
                      <a:pt x="124" y="83"/>
                    </a:lnTo>
                    <a:lnTo>
                      <a:pt x="124" y="79"/>
                    </a:lnTo>
                    <a:lnTo>
                      <a:pt x="120" y="79"/>
                    </a:lnTo>
                    <a:lnTo>
                      <a:pt x="115" y="77"/>
                    </a:lnTo>
                    <a:lnTo>
                      <a:pt x="113" y="77"/>
                    </a:lnTo>
                    <a:lnTo>
                      <a:pt x="113" y="79"/>
                    </a:lnTo>
                    <a:lnTo>
                      <a:pt x="113" y="79"/>
                    </a:lnTo>
                    <a:lnTo>
                      <a:pt x="113" y="79"/>
                    </a:lnTo>
                    <a:lnTo>
                      <a:pt x="113" y="79"/>
                    </a:lnTo>
                    <a:close/>
                    <a:moveTo>
                      <a:pt x="120" y="111"/>
                    </a:moveTo>
                    <a:lnTo>
                      <a:pt x="124" y="113"/>
                    </a:lnTo>
                    <a:lnTo>
                      <a:pt x="128" y="113"/>
                    </a:lnTo>
                    <a:lnTo>
                      <a:pt x="128" y="117"/>
                    </a:lnTo>
                    <a:lnTo>
                      <a:pt x="128" y="117"/>
                    </a:lnTo>
                    <a:lnTo>
                      <a:pt x="128" y="118"/>
                    </a:lnTo>
                    <a:lnTo>
                      <a:pt x="131" y="120"/>
                    </a:lnTo>
                    <a:lnTo>
                      <a:pt x="128" y="124"/>
                    </a:lnTo>
                    <a:lnTo>
                      <a:pt x="131" y="122"/>
                    </a:lnTo>
                    <a:lnTo>
                      <a:pt x="135" y="124"/>
                    </a:lnTo>
                    <a:lnTo>
                      <a:pt x="135" y="122"/>
                    </a:lnTo>
                    <a:lnTo>
                      <a:pt x="141" y="118"/>
                    </a:lnTo>
                    <a:lnTo>
                      <a:pt x="143" y="118"/>
                    </a:lnTo>
                    <a:lnTo>
                      <a:pt x="145" y="117"/>
                    </a:lnTo>
                    <a:lnTo>
                      <a:pt x="145" y="117"/>
                    </a:lnTo>
                    <a:lnTo>
                      <a:pt x="145" y="113"/>
                    </a:lnTo>
                    <a:lnTo>
                      <a:pt x="147" y="111"/>
                    </a:lnTo>
                    <a:lnTo>
                      <a:pt x="148" y="107"/>
                    </a:lnTo>
                    <a:lnTo>
                      <a:pt x="147" y="103"/>
                    </a:lnTo>
                    <a:lnTo>
                      <a:pt x="143" y="103"/>
                    </a:lnTo>
                    <a:lnTo>
                      <a:pt x="143" y="102"/>
                    </a:lnTo>
                    <a:lnTo>
                      <a:pt x="141" y="102"/>
                    </a:lnTo>
                    <a:lnTo>
                      <a:pt x="141" y="103"/>
                    </a:lnTo>
                    <a:lnTo>
                      <a:pt x="135" y="103"/>
                    </a:lnTo>
                    <a:lnTo>
                      <a:pt x="135" y="103"/>
                    </a:lnTo>
                    <a:lnTo>
                      <a:pt x="131" y="102"/>
                    </a:lnTo>
                    <a:lnTo>
                      <a:pt x="128" y="103"/>
                    </a:lnTo>
                    <a:lnTo>
                      <a:pt x="128" y="107"/>
                    </a:lnTo>
                    <a:lnTo>
                      <a:pt x="128" y="107"/>
                    </a:lnTo>
                    <a:lnTo>
                      <a:pt x="126" y="107"/>
                    </a:lnTo>
                    <a:lnTo>
                      <a:pt x="122" y="111"/>
                    </a:lnTo>
                    <a:lnTo>
                      <a:pt x="120" y="111"/>
                    </a:lnTo>
                    <a:lnTo>
                      <a:pt x="120" y="111"/>
                    </a:lnTo>
                    <a:lnTo>
                      <a:pt x="120" y="111"/>
                    </a:lnTo>
                    <a:lnTo>
                      <a:pt x="120" y="111"/>
                    </a:lnTo>
                    <a:close/>
                    <a:moveTo>
                      <a:pt x="19" y="128"/>
                    </a:moveTo>
                    <a:lnTo>
                      <a:pt x="15" y="122"/>
                    </a:lnTo>
                    <a:lnTo>
                      <a:pt x="15" y="122"/>
                    </a:lnTo>
                    <a:lnTo>
                      <a:pt x="15" y="118"/>
                    </a:lnTo>
                    <a:lnTo>
                      <a:pt x="11" y="117"/>
                    </a:lnTo>
                    <a:lnTo>
                      <a:pt x="7" y="117"/>
                    </a:lnTo>
                    <a:lnTo>
                      <a:pt x="5" y="113"/>
                    </a:lnTo>
                    <a:lnTo>
                      <a:pt x="5" y="107"/>
                    </a:lnTo>
                    <a:lnTo>
                      <a:pt x="3" y="103"/>
                    </a:lnTo>
                    <a:lnTo>
                      <a:pt x="2" y="102"/>
                    </a:lnTo>
                    <a:lnTo>
                      <a:pt x="2" y="96"/>
                    </a:lnTo>
                    <a:lnTo>
                      <a:pt x="2" y="94"/>
                    </a:lnTo>
                    <a:lnTo>
                      <a:pt x="3" y="96"/>
                    </a:lnTo>
                    <a:lnTo>
                      <a:pt x="7" y="100"/>
                    </a:lnTo>
                    <a:lnTo>
                      <a:pt x="9" y="103"/>
                    </a:lnTo>
                    <a:lnTo>
                      <a:pt x="7" y="107"/>
                    </a:lnTo>
                    <a:lnTo>
                      <a:pt x="11" y="111"/>
                    </a:lnTo>
                    <a:lnTo>
                      <a:pt x="13" y="113"/>
                    </a:lnTo>
                    <a:lnTo>
                      <a:pt x="15" y="113"/>
                    </a:lnTo>
                    <a:lnTo>
                      <a:pt x="15" y="113"/>
                    </a:lnTo>
                    <a:lnTo>
                      <a:pt x="15" y="113"/>
                    </a:lnTo>
                    <a:lnTo>
                      <a:pt x="19" y="117"/>
                    </a:lnTo>
                    <a:lnTo>
                      <a:pt x="19" y="122"/>
                    </a:lnTo>
                    <a:lnTo>
                      <a:pt x="22" y="126"/>
                    </a:lnTo>
                    <a:lnTo>
                      <a:pt x="22" y="128"/>
                    </a:lnTo>
                    <a:lnTo>
                      <a:pt x="19" y="128"/>
                    </a:lnTo>
                    <a:lnTo>
                      <a:pt x="19" y="128"/>
                    </a:lnTo>
                    <a:lnTo>
                      <a:pt x="19" y="128"/>
                    </a:lnTo>
                    <a:lnTo>
                      <a:pt x="19" y="128"/>
                    </a:lnTo>
                    <a:lnTo>
                      <a:pt x="19" y="128"/>
                    </a:lnTo>
                    <a:lnTo>
                      <a:pt x="19" y="128"/>
                    </a:lnTo>
                    <a:close/>
                    <a:moveTo>
                      <a:pt x="86" y="211"/>
                    </a:moveTo>
                    <a:lnTo>
                      <a:pt x="84" y="209"/>
                    </a:lnTo>
                    <a:lnTo>
                      <a:pt x="83" y="209"/>
                    </a:lnTo>
                    <a:lnTo>
                      <a:pt x="83" y="211"/>
                    </a:lnTo>
                    <a:lnTo>
                      <a:pt x="83" y="211"/>
                    </a:lnTo>
                    <a:lnTo>
                      <a:pt x="83" y="209"/>
                    </a:lnTo>
                    <a:lnTo>
                      <a:pt x="83" y="205"/>
                    </a:lnTo>
                    <a:lnTo>
                      <a:pt x="79" y="201"/>
                    </a:lnTo>
                    <a:lnTo>
                      <a:pt x="77" y="201"/>
                    </a:lnTo>
                    <a:lnTo>
                      <a:pt x="73" y="196"/>
                    </a:lnTo>
                    <a:lnTo>
                      <a:pt x="73" y="192"/>
                    </a:lnTo>
                    <a:lnTo>
                      <a:pt x="77" y="192"/>
                    </a:lnTo>
                    <a:lnTo>
                      <a:pt x="77" y="192"/>
                    </a:lnTo>
                    <a:lnTo>
                      <a:pt x="77" y="190"/>
                    </a:lnTo>
                    <a:lnTo>
                      <a:pt x="77" y="188"/>
                    </a:lnTo>
                    <a:lnTo>
                      <a:pt x="77" y="186"/>
                    </a:lnTo>
                    <a:lnTo>
                      <a:pt x="77" y="186"/>
                    </a:lnTo>
                    <a:lnTo>
                      <a:pt x="73" y="186"/>
                    </a:lnTo>
                    <a:lnTo>
                      <a:pt x="73" y="186"/>
                    </a:lnTo>
                    <a:lnTo>
                      <a:pt x="71" y="188"/>
                    </a:lnTo>
                    <a:lnTo>
                      <a:pt x="67" y="190"/>
                    </a:lnTo>
                    <a:lnTo>
                      <a:pt x="64" y="186"/>
                    </a:lnTo>
                    <a:lnTo>
                      <a:pt x="64" y="184"/>
                    </a:lnTo>
                    <a:lnTo>
                      <a:pt x="62" y="183"/>
                    </a:lnTo>
                    <a:lnTo>
                      <a:pt x="60" y="181"/>
                    </a:lnTo>
                    <a:lnTo>
                      <a:pt x="58" y="181"/>
                    </a:lnTo>
                    <a:lnTo>
                      <a:pt x="56" y="181"/>
                    </a:lnTo>
                    <a:lnTo>
                      <a:pt x="54" y="177"/>
                    </a:lnTo>
                    <a:lnTo>
                      <a:pt x="54" y="175"/>
                    </a:lnTo>
                    <a:lnTo>
                      <a:pt x="52" y="173"/>
                    </a:lnTo>
                    <a:lnTo>
                      <a:pt x="52" y="173"/>
                    </a:lnTo>
                    <a:lnTo>
                      <a:pt x="52" y="173"/>
                    </a:lnTo>
                    <a:lnTo>
                      <a:pt x="52" y="171"/>
                    </a:lnTo>
                    <a:lnTo>
                      <a:pt x="49" y="171"/>
                    </a:lnTo>
                    <a:lnTo>
                      <a:pt x="49" y="167"/>
                    </a:lnTo>
                    <a:lnTo>
                      <a:pt x="49" y="167"/>
                    </a:lnTo>
                    <a:lnTo>
                      <a:pt x="49" y="167"/>
                    </a:lnTo>
                    <a:lnTo>
                      <a:pt x="49" y="162"/>
                    </a:lnTo>
                    <a:lnTo>
                      <a:pt x="49" y="162"/>
                    </a:lnTo>
                    <a:lnTo>
                      <a:pt x="47" y="160"/>
                    </a:lnTo>
                    <a:lnTo>
                      <a:pt x="47" y="158"/>
                    </a:lnTo>
                    <a:lnTo>
                      <a:pt x="49" y="156"/>
                    </a:lnTo>
                    <a:lnTo>
                      <a:pt x="52" y="156"/>
                    </a:lnTo>
                    <a:lnTo>
                      <a:pt x="54" y="160"/>
                    </a:lnTo>
                    <a:lnTo>
                      <a:pt x="54" y="160"/>
                    </a:lnTo>
                    <a:lnTo>
                      <a:pt x="56" y="160"/>
                    </a:lnTo>
                    <a:lnTo>
                      <a:pt x="58" y="158"/>
                    </a:lnTo>
                    <a:lnTo>
                      <a:pt x="60" y="160"/>
                    </a:lnTo>
                    <a:lnTo>
                      <a:pt x="62" y="160"/>
                    </a:lnTo>
                    <a:lnTo>
                      <a:pt x="66" y="160"/>
                    </a:lnTo>
                    <a:lnTo>
                      <a:pt x="71" y="160"/>
                    </a:lnTo>
                    <a:lnTo>
                      <a:pt x="73" y="158"/>
                    </a:lnTo>
                    <a:lnTo>
                      <a:pt x="69" y="156"/>
                    </a:lnTo>
                    <a:lnTo>
                      <a:pt x="66" y="156"/>
                    </a:lnTo>
                    <a:lnTo>
                      <a:pt x="60" y="154"/>
                    </a:lnTo>
                    <a:lnTo>
                      <a:pt x="56" y="152"/>
                    </a:lnTo>
                    <a:lnTo>
                      <a:pt x="56" y="152"/>
                    </a:lnTo>
                    <a:lnTo>
                      <a:pt x="60" y="150"/>
                    </a:lnTo>
                    <a:lnTo>
                      <a:pt x="62" y="150"/>
                    </a:lnTo>
                    <a:lnTo>
                      <a:pt x="69" y="149"/>
                    </a:lnTo>
                    <a:lnTo>
                      <a:pt x="73" y="147"/>
                    </a:lnTo>
                    <a:lnTo>
                      <a:pt x="77" y="147"/>
                    </a:lnTo>
                    <a:lnTo>
                      <a:pt x="79" y="147"/>
                    </a:lnTo>
                    <a:lnTo>
                      <a:pt x="79" y="147"/>
                    </a:lnTo>
                    <a:lnTo>
                      <a:pt x="83" y="147"/>
                    </a:lnTo>
                    <a:lnTo>
                      <a:pt x="83" y="143"/>
                    </a:lnTo>
                    <a:lnTo>
                      <a:pt x="83" y="141"/>
                    </a:lnTo>
                    <a:lnTo>
                      <a:pt x="83" y="141"/>
                    </a:lnTo>
                    <a:lnTo>
                      <a:pt x="83" y="141"/>
                    </a:lnTo>
                    <a:lnTo>
                      <a:pt x="79" y="141"/>
                    </a:lnTo>
                    <a:lnTo>
                      <a:pt x="77" y="143"/>
                    </a:lnTo>
                    <a:lnTo>
                      <a:pt x="71" y="143"/>
                    </a:lnTo>
                    <a:lnTo>
                      <a:pt x="67" y="143"/>
                    </a:lnTo>
                    <a:lnTo>
                      <a:pt x="67" y="141"/>
                    </a:lnTo>
                    <a:lnTo>
                      <a:pt x="64" y="141"/>
                    </a:lnTo>
                    <a:lnTo>
                      <a:pt x="64" y="143"/>
                    </a:lnTo>
                    <a:lnTo>
                      <a:pt x="62" y="143"/>
                    </a:lnTo>
                    <a:lnTo>
                      <a:pt x="60" y="147"/>
                    </a:lnTo>
                    <a:lnTo>
                      <a:pt x="56" y="147"/>
                    </a:lnTo>
                    <a:lnTo>
                      <a:pt x="54" y="147"/>
                    </a:lnTo>
                    <a:lnTo>
                      <a:pt x="52" y="149"/>
                    </a:lnTo>
                    <a:lnTo>
                      <a:pt x="49" y="149"/>
                    </a:lnTo>
                    <a:lnTo>
                      <a:pt x="47" y="150"/>
                    </a:lnTo>
                    <a:lnTo>
                      <a:pt x="43" y="150"/>
                    </a:lnTo>
                    <a:lnTo>
                      <a:pt x="43" y="149"/>
                    </a:lnTo>
                    <a:lnTo>
                      <a:pt x="43" y="147"/>
                    </a:lnTo>
                    <a:lnTo>
                      <a:pt x="41" y="141"/>
                    </a:lnTo>
                    <a:lnTo>
                      <a:pt x="43" y="137"/>
                    </a:lnTo>
                    <a:lnTo>
                      <a:pt x="43" y="137"/>
                    </a:lnTo>
                    <a:lnTo>
                      <a:pt x="43" y="135"/>
                    </a:lnTo>
                    <a:lnTo>
                      <a:pt x="47" y="134"/>
                    </a:lnTo>
                    <a:lnTo>
                      <a:pt x="49" y="135"/>
                    </a:lnTo>
                    <a:lnTo>
                      <a:pt x="49" y="137"/>
                    </a:lnTo>
                    <a:lnTo>
                      <a:pt x="49" y="137"/>
                    </a:lnTo>
                    <a:lnTo>
                      <a:pt x="49" y="135"/>
                    </a:lnTo>
                    <a:lnTo>
                      <a:pt x="52" y="134"/>
                    </a:lnTo>
                    <a:lnTo>
                      <a:pt x="54" y="134"/>
                    </a:lnTo>
                    <a:lnTo>
                      <a:pt x="56" y="130"/>
                    </a:lnTo>
                    <a:lnTo>
                      <a:pt x="60" y="126"/>
                    </a:lnTo>
                    <a:lnTo>
                      <a:pt x="64" y="124"/>
                    </a:lnTo>
                    <a:lnTo>
                      <a:pt x="64" y="122"/>
                    </a:lnTo>
                    <a:lnTo>
                      <a:pt x="64" y="120"/>
                    </a:lnTo>
                    <a:lnTo>
                      <a:pt x="69" y="118"/>
                    </a:lnTo>
                    <a:lnTo>
                      <a:pt x="73" y="118"/>
                    </a:lnTo>
                    <a:lnTo>
                      <a:pt x="77" y="117"/>
                    </a:lnTo>
                    <a:lnTo>
                      <a:pt x="83" y="117"/>
                    </a:lnTo>
                    <a:lnTo>
                      <a:pt x="83" y="113"/>
                    </a:lnTo>
                    <a:lnTo>
                      <a:pt x="83" y="113"/>
                    </a:lnTo>
                    <a:lnTo>
                      <a:pt x="83" y="113"/>
                    </a:lnTo>
                    <a:lnTo>
                      <a:pt x="77" y="113"/>
                    </a:lnTo>
                    <a:lnTo>
                      <a:pt x="77" y="117"/>
                    </a:lnTo>
                    <a:lnTo>
                      <a:pt x="73" y="113"/>
                    </a:lnTo>
                    <a:lnTo>
                      <a:pt x="73" y="111"/>
                    </a:lnTo>
                    <a:lnTo>
                      <a:pt x="73" y="107"/>
                    </a:lnTo>
                    <a:lnTo>
                      <a:pt x="73" y="103"/>
                    </a:lnTo>
                    <a:lnTo>
                      <a:pt x="73" y="100"/>
                    </a:lnTo>
                    <a:lnTo>
                      <a:pt x="71" y="100"/>
                    </a:lnTo>
                    <a:lnTo>
                      <a:pt x="71" y="103"/>
                    </a:lnTo>
                    <a:lnTo>
                      <a:pt x="71" y="107"/>
                    </a:lnTo>
                    <a:lnTo>
                      <a:pt x="69" y="111"/>
                    </a:lnTo>
                    <a:lnTo>
                      <a:pt x="64" y="117"/>
                    </a:lnTo>
                    <a:lnTo>
                      <a:pt x="62" y="117"/>
                    </a:lnTo>
                    <a:lnTo>
                      <a:pt x="60" y="117"/>
                    </a:lnTo>
                    <a:lnTo>
                      <a:pt x="58" y="111"/>
                    </a:lnTo>
                    <a:lnTo>
                      <a:pt x="60" y="109"/>
                    </a:lnTo>
                    <a:lnTo>
                      <a:pt x="62" y="107"/>
                    </a:lnTo>
                    <a:lnTo>
                      <a:pt x="62" y="103"/>
                    </a:lnTo>
                    <a:lnTo>
                      <a:pt x="60" y="102"/>
                    </a:lnTo>
                    <a:lnTo>
                      <a:pt x="60" y="98"/>
                    </a:lnTo>
                    <a:lnTo>
                      <a:pt x="58" y="96"/>
                    </a:lnTo>
                    <a:lnTo>
                      <a:pt x="56" y="96"/>
                    </a:lnTo>
                    <a:lnTo>
                      <a:pt x="56" y="98"/>
                    </a:lnTo>
                    <a:lnTo>
                      <a:pt x="56" y="103"/>
                    </a:lnTo>
                    <a:lnTo>
                      <a:pt x="56" y="107"/>
                    </a:lnTo>
                    <a:lnTo>
                      <a:pt x="54" y="109"/>
                    </a:lnTo>
                    <a:lnTo>
                      <a:pt x="52" y="107"/>
                    </a:lnTo>
                    <a:lnTo>
                      <a:pt x="54" y="103"/>
                    </a:lnTo>
                    <a:lnTo>
                      <a:pt x="52" y="102"/>
                    </a:lnTo>
                    <a:lnTo>
                      <a:pt x="52" y="102"/>
                    </a:lnTo>
                    <a:lnTo>
                      <a:pt x="49" y="102"/>
                    </a:lnTo>
                    <a:lnTo>
                      <a:pt x="49" y="103"/>
                    </a:lnTo>
                    <a:lnTo>
                      <a:pt x="49" y="107"/>
                    </a:lnTo>
                    <a:lnTo>
                      <a:pt x="49" y="111"/>
                    </a:lnTo>
                    <a:lnTo>
                      <a:pt x="52" y="113"/>
                    </a:lnTo>
                    <a:lnTo>
                      <a:pt x="52" y="117"/>
                    </a:lnTo>
                    <a:lnTo>
                      <a:pt x="52" y="120"/>
                    </a:lnTo>
                    <a:lnTo>
                      <a:pt x="52" y="118"/>
                    </a:lnTo>
                    <a:lnTo>
                      <a:pt x="49" y="120"/>
                    </a:lnTo>
                    <a:lnTo>
                      <a:pt x="47" y="124"/>
                    </a:lnTo>
                    <a:lnTo>
                      <a:pt x="47" y="128"/>
                    </a:lnTo>
                    <a:lnTo>
                      <a:pt x="43" y="130"/>
                    </a:lnTo>
                    <a:lnTo>
                      <a:pt x="37" y="130"/>
                    </a:lnTo>
                    <a:lnTo>
                      <a:pt x="34" y="130"/>
                    </a:lnTo>
                    <a:lnTo>
                      <a:pt x="34" y="128"/>
                    </a:lnTo>
                    <a:lnTo>
                      <a:pt x="35" y="126"/>
                    </a:lnTo>
                    <a:lnTo>
                      <a:pt x="34" y="122"/>
                    </a:lnTo>
                    <a:lnTo>
                      <a:pt x="30" y="118"/>
                    </a:lnTo>
                    <a:lnTo>
                      <a:pt x="28" y="118"/>
                    </a:lnTo>
                    <a:lnTo>
                      <a:pt x="28" y="118"/>
                    </a:lnTo>
                    <a:lnTo>
                      <a:pt x="22" y="117"/>
                    </a:lnTo>
                    <a:lnTo>
                      <a:pt x="22" y="113"/>
                    </a:lnTo>
                    <a:lnTo>
                      <a:pt x="28" y="113"/>
                    </a:lnTo>
                    <a:lnTo>
                      <a:pt x="30" y="111"/>
                    </a:lnTo>
                    <a:lnTo>
                      <a:pt x="28" y="109"/>
                    </a:lnTo>
                    <a:lnTo>
                      <a:pt x="28" y="109"/>
                    </a:lnTo>
                    <a:lnTo>
                      <a:pt x="24" y="111"/>
                    </a:lnTo>
                    <a:lnTo>
                      <a:pt x="22" y="109"/>
                    </a:lnTo>
                    <a:lnTo>
                      <a:pt x="22" y="107"/>
                    </a:lnTo>
                    <a:lnTo>
                      <a:pt x="19" y="103"/>
                    </a:lnTo>
                    <a:lnTo>
                      <a:pt x="15" y="103"/>
                    </a:lnTo>
                    <a:lnTo>
                      <a:pt x="15" y="100"/>
                    </a:lnTo>
                    <a:lnTo>
                      <a:pt x="15" y="98"/>
                    </a:lnTo>
                    <a:lnTo>
                      <a:pt x="15" y="98"/>
                    </a:lnTo>
                    <a:lnTo>
                      <a:pt x="15" y="96"/>
                    </a:lnTo>
                    <a:lnTo>
                      <a:pt x="11" y="94"/>
                    </a:lnTo>
                    <a:lnTo>
                      <a:pt x="9" y="92"/>
                    </a:lnTo>
                    <a:lnTo>
                      <a:pt x="9" y="88"/>
                    </a:lnTo>
                    <a:lnTo>
                      <a:pt x="11" y="88"/>
                    </a:lnTo>
                    <a:lnTo>
                      <a:pt x="15" y="92"/>
                    </a:lnTo>
                    <a:lnTo>
                      <a:pt x="15" y="94"/>
                    </a:lnTo>
                    <a:lnTo>
                      <a:pt x="15" y="94"/>
                    </a:lnTo>
                    <a:lnTo>
                      <a:pt x="19" y="94"/>
                    </a:lnTo>
                    <a:lnTo>
                      <a:pt x="19" y="92"/>
                    </a:lnTo>
                    <a:lnTo>
                      <a:pt x="19" y="88"/>
                    </a:lnTo>
                    <a:lnTo>
                      <a:pt x="19" y="88"/>
                    </a:lnTo>
                    <a:lnTo>
                      <a:pt x="19" y="88"/>
                    </a:lnTo>
                    <a:lnTo>
                      <a:pt x="15" y="88"/>
                    </a:lnTo>
                    <a:lnTo>
                      <a:pt x="15" y="88"/>
                    </a:lnTo>
                    <a:lnTo>
                      <a:pt x="13" y="83"/>
                    </a:lnTo>
                    <a:lnTo>
                      <a:pt x="13" y="83"/>
                    </a:lnTo>
                    <a:lnTo>
                      <a:pt x="13" y="83"/>
                    </a:lnTo>
                    <a:lnTo>
                      <a:pt x="15" y="77"/>
                    </a:lnTo>
                    <a:lnTo>
                      <a:pt x="15" y="73"/>
                    </a:lnTo>
                    <a:lnTo>
                      <a:pt x="15" y="73"/>
                    </a:lnTo>
                    <a:lnTo>
                      <a:pt x="13" y="73"/>
                    </a:lnTo>
                    <a:lnTo>
                      <a:pt x="11" y="71"/>
                    </a:lnTo>
                    <a:lnTo>
                      <a:pt x="9" y="71"/>
                    </a:lnTo>
                    <a:lnTo>
                      <a:pt x="9" y="77"/>
                    </a:lnTo>
                    <a:lnTo>
                      <a:pt x="9" y="79"/>
                    </a:lnTo>
                    <a:lnTo>
                      <a:pt x="7" y="83"/>
                    </a:lnTo>
                    <a:lnTo>
                      <a:pt x="5" y="83"/>
                    </a:lnTo>
                    <a:lnTo>
                      <a:pt x="5" y="79"/>
                    </a:lnTo>
                    <a:lnTo>
                      <a:pt x="0" y="75"/>
                    </a:lnTo>
                    <a:lnTo>
                      <a:pt x="0" y="69"/>
                    </a:lnTo>
                    <a:lnTo>
                      <a:pt x="0" y="66"/>
                    </a:lnTo>
                    <a:lnTo>
                      <a:pt x="0" y="62"/>
                    </a:lnTo>
                    <a:lnTo>
                      <a:pt x="2" y="62"/>
                    </a:lnTo>
                    <a:lnTo>
                      <a:pt x="3" y="58"/>
                    </a:lnTo>
                    <a:lnTo>
                      <a:pt x="5" y="58"/>
                    </a:lnTo>
                    <a:lnTo>
                      <a:pt x="5" y="54"/>
                    </a:lnTo>
                    <a:lnTo>
                      <a:pt x="3" y="54"/>
                    </a:lnTo>
                    <a:lnTo>
                      <a:pt x="3" y="51"/>
                    </a:lnTo>
                    <a:lnTo>
                      <a:pt x="7" y="47"/>
                    </a:lnTo>
                    <a:lnTo>
                      <a:pt x="11" y="47"/>
                    </a:lnTo>
                    <a:lnTo>
                      <a:pt x="13" y="53"/>
                    </a:lnTo>
                    <a:lnTo>
                      <a:pt x="15" y="54"/>
                    </a:lnTo>
                    <a:lnTo>
                      <a:pt x="15" y="54"/>
                    </a:lnTo>
                    <a:lnTo>
                      <a:pt x="19" y="54"/>
                    </a:lnTo>
                    <a:lnTo>
                      <a:pt x="15" y="49"/>
                    </a:lnTo>
                    <a:lnTo>
                      <a:pt x="15" y="45"/>
                    </a:lnTo>
                    <a:lnTo>
                      <a:pt x="15" y="45"/>
                    </a:lnTo>
                    <a:lnTo>
                      <a:pt x="19" y="45"/>
                    </a:lnTo>
                    <a:lnTo>
                      <a:pt x="19" y="49"/>
                    </a:lnTo>
                    <a:lnTo>
                      <a:pt x="19" y="49"/>
                    </a:lnTo>
                    <a:lnTo>
                      <a:pt x="22" y="49"/>
                    </a:lnTo>
                    <a:lnTo>
                      <a:pt x="28" y="41"/>
                    </a:lnTo>
                    <a:lnTo>
                      <a:pt x="34" y="41"/>
                    </a:lnTo>
                    <a:lnTo>
                      <a:pt x="35" y="43"/>
                    </a:lnTo>
                    <a:lnTo>
                      <a:pt x="37" y="47"/>
                    </a:lnTo>
                    <a:lnTo>
                      <a:pt x="37" y="51"/>
                    </a:lnTo>
                    <a:lnTo>
                      <a:pt x="34" y="53"/>
                    </a:lnTo>
                    <a:lnTo>
                      <a:pt x="32" y="53"/>
                    </a:lnTo>
                    <a:lnTo>
                      <a:pt x="32" y="51"/>
                    </a:lnTo>
                    <a:lnTo>
                      <a:pt x="30" y="51"/>
                    </a:lnTo>
                    <a:lnTo>
                      <a:pt x="24" y="54"/>
                    </a:lnTo>
                    <a:lnTo>
                      <a:pt x="24" y="54"/>
                    </a:lnTo>
                    <a:lnTo>
                      <a:pt x="22" y="54"/>
                    </a:lnTo>
                    <a:lnTo>
                      <a:pt x="22" y="58"/>
                    </a:lnTo>
                    <a:lnTo>
                      <a:pt x="24" y="58"/>
                    </a:lnTo>
                    <a:lnTo>
                      <a:pt x="28" y="58"/>
                    </a:lnTo>
                    <a:lnTo>
                      <a:pt x="32" y="54"/>
                    </a:lnTo>
                    <a:lnTo>
                      <a:pt x="34" y="58"/>
                    </a:lnTo>
                    <a:lnTo>
                      <a:pt x="34" y="58"/>
                    </a:lnTo>
                    <a:lnTo>
                      <a:pt x="30" y="60"/>
                    </a:lnTo>
                    <a:lnTo>
                      <a:pt x="30" y="62"/>
                    </a:lnTo>
                    <a:lnTo>
                      <a:pt x="32" y="64"/>
                    </a:lnTo>
                    <a:lnTo>
                      <a:pt x="32" y="62"/>
                    </a:lnTo>
                    <a:lnTo>
                      <a:pt x="34" y="62"/>
                    </a:lnTo>
                    <a:lnTo>
                      <a:pt x="35" y="64"/>
                    </a:lnTo>
                    <a:lnTo>
                      <a:pt x="37" y="66"/>
                    </a:lnTo>
                    <a:lnTo>
                      <a:pt x="37" y="68"/>
                    </a:lnTo>
                    <a:lnTo>
                      <a:pt x="37" y="73"/>
                    </a:lnTo>
                    <a:lnTo>
                      <a:pt x="39" y="75"/>
                    </a:lnTo>
                    <a:lnTo>
                      <a:pt x="41" y="75"/>
                    </a:lnTo>
                    <a:lnTo>
                      <a:pt x="41" y="69"/>
                    </a:lnTo>
                    <a:lnTo>
                      <a:pt x="37" y="66"/>
                    </a:lnTo>
                    <a:lnTo>
                      <a:pt x="37" y="62"/>
                    </a:lnTo>
                    <a:lnTo>
                      <a:pt x="39" y="58"/>
                    </a:lnTo>
                    <a:lnTo>
                      <a:pt x="43" y="53"/>
                    </a:lnTo>
                    <a:lnTo>
                      <a:pt x="43" y="49"/>
                    </a:lnTo>
                    <a:lnTo>
                      <a:pt x="43" y="47"/>
                    </a:lnTo>
                    <a:lnTo>
                      <a:pt x="47" y="47"/>
                    </a:lnTo>
                    <a:lnTo>
                      <a:pt x="49" y="53"/>
                    </a:lnTo>
                    <a:lnTo>
                      <a:pt x="52" y="54"/>
                    </a:lnTo>
                    <a:lnTo>
                      <a:pt x="52" y="54"/>
                    </a:lnTo>
                    <a:lnTo>
                      <a:pt x="52" y="62"/>
                    </a:lnTo>
                    <a:lnTo>
                      <a:pt x="56" y="71"/>
                    </a:lnTo>
                    <a:lnTo>
                      <a:pt x="56" y="73"/>
                    </a:lnTo>
                    <a:lnTo>
                      <a:pt x="56" y="77"/>
                    </a:lnTo>
                    <a:lnTo>
                      <a:pt x="52" y="79"/>
                    </a:lnTo>
                    <a:lnTo>
                      <a:pt x="52" y="79"/>
                    </a:lnTo>
                    <a:lnTo>
                      <a:pt x="54" y="79"/>
                    </a:lnTo>
                    <a:lnTo>
                      <a:pt x="56" y="79"/>
                    </a:lnTo>
                    <a:lnTo>
                      <a:pt x="60" y="79"/>
                    </a:lnTo>
                    <a:lnTo>
                      <a:pt x="62" y="83"/>
                    </a:lnTo>
                    <a:lnTo>
                      <a:pt x="64" y="88"/>
                    </a:lnTo>
                    <a:lnTo>
                      <a:pt x="66" y="92"/>
                    </a:lnTo>
                    <a:lnTo>
                      <a:pt x="67" y="92"/>
                    </a:lnTo>
                    <a:lnTo>
                      <a:pt x="69" y="88"/>
                    </a:lnTo>
                    <a:lnTo>
                      <a:pt x="66" y="83"/>
                    </a:lnTo>
                    <a:lnTo>
                      <a:pt x="66" y="79"/>
                    </a:lnTo>
                    <a:lnTo>
                      <a:pt x="62" y="75"/>
                    </a:lnTo>
                    <a:lnTo>
                      <a:pt x="60" y="69"/>
                    </a:lnTo>
                    <a:lnTo>
                      <a:pt x="60" y="64"/>
                    </a:lnTo>
                    <a:lnTo>
                      <a:pt x="60" y="54"/>
                    </a:lnTo>
                    <a:lnTo>
                      <a:pt x="58" y="53"/>
                    </a:lnTo>
                    <a:lnTo>
                      <a:pt x="58" y="51"/>
                    </a:lnTo>
                    <a:lnTo>
                      <a:pt x="58" y="47"/>
                    </a:lnTo>
                    <a:lnTo>
                      <a:pt x="58" y="43"/>
                    </a:lnTo>
                    <a:lnTo>
                      <a:pt x="60" y="39"/>
                    </a:lnTo>
                    <a:lnTo>
                      <a:pt x="60" y="34"/>
                    </a:lnTo>
                    <a:lnTo>
                      <a:pt x="62" y="30"/>
                    </a:lnTo>
                    <a:lnTo>
                      <a:pt x="64" y="30"/>
                    </a:lnTo>
                    <a:lnTo>
                      <a:pt x="66" y="30"/>
                    </a:lnTo>
                    <a:lnTo>
                      <a:pt x="69" y="36"/>
                    </a:lnTo>
                    <a:lnTo>
                      <a:pt x="69" y="39"/>
                    </a:lnTo>
                    <a:lnTo>
                      <a:pt x="71" y="41"/>
                    </a:lnTo>
                    <a:lnTo>
                      <a:pt x="73" y="37"/>
                    </a:lnTo>
                    <a:lnTo>
                      <a:pt x="77" y="36"/>
                    </a:lnTo>
                    <a:lnTo>
                      <a:pt x="77" y="37"/>
                    </a:lnTo>
                    <a:lnTo>
                      <a:pt x="83" y="43"/>
                    </a:lnTo>
                    <a:lnTo>
                      <a:pt x="83" y="49"/>
                    </a:lnTo>
                    <a:lnTo>
                      <a:pt x="83" y="53"/>
                    </a:lnTo>
                    <a:lnTo>
                      <a:pt x="83" y="54"/>
                    </a:lnTo>
                    <a:lnTo>
                      <a:pt x="83" y="60"/>
                    </a:lnTo>
                    <a:lnTo>
                      <a:pt x="83" y="66"/>
                    </a:lnTo>
                    <a:lnTo>
                      <a:pt x="83" y="68"/>
                    </a:lnTo>
                    <a:lnTo>
                      <a:pt x="83" y="69"/>
                    </a:lnTo>
                    <a:lnTo>
                      <a:pt x="84" y="66"/>
                    </a:lnTo>
                    <a:lnTo>
                      <a:pt x="84" y="62"/>
                    </a:lnTo>
                    <a:lnTo>
                      <a:pt x="84" y="54"/>
                    </a:lnTo>
                    <a:lnTo>
                      <a:pt x="84" y="53"/>
                    </a:lnTo>
                    <a:lnTo>
                      <a:pt x="88" y="51"/>
                    </a:lnTo>
                    <a:lnTo>
                      <a:pt x="92" y="54"/>
                    </a:lnTo>
                    <a:lnTo>
                      <a:pt x="96" y="60"/>
                    </a:lnTo>
                    <a:lnTo>
                      <a:pt x="98" y="69"/>
                    </a:lnTo>
                    <a:lnTo>
                      <a:pt x="98" y="71"/>
                    </a:lnTo>
                    <a:lnTo>
                      <a:pt x="99" y="75"/>
                    </a:lnTo>
                    <a:lnTo>
                      <a:pt x="103" y="75"/>
                    </a:lnTo>
                    <a:lnTo>
                      <a:pt x="107" y="75"/>
                    </a:lnTo>
                    <a:lnTo>
                      <a:pt x="109" y="79"/>
                    </a:lnTo>
                    <a:lnTo>
                      <a:pt x="111" y="83"/>
                    </a:lnTo>
                    <a:lnTo>
                      <a:pt x="116" y="88"/>
                    </a:lnTo>
                    <a:lnTo>
                      <a:pt x="120" y="88"/>
                    </a:lnTo>
                    <a:lnTo>
                      <a:pt x="128" y="92"/>
                    </a:lnTo>
                    <a:lnTo>
                      <a:pt x="131" y="92"/>
                    </a:lnTo>
                    <a:lnTo>
                      <a:pt x="131" y="96"/>
                    </a:lnTo>
                    <a:lnTo>
                      <a:pt x="131" y="98"/>
                    </a:lnTo>
                    <a:lnTo>
                      <a:pt x="128" y="102"/>
                    </a:lnTo>
                    <a:lnTo>
                      <a:pt x="128" y="102"/>
                    </a:lnTo>
                    <a:lnTo>
                      <a:pt x="126" y="98"/>
                    </a:lnTo>
                    <a:lnTo>
                      <a:pt x="122" y="100"/>
                    </a:lnTo>
                    <a:lnTo>
                      <a:pt x="120" y="100"/>
                    </a:lnTo>
                    <a:lnTo>
                      <a:pt x="115" y="103"/>
                    </a:lnTo>
                    <a:lnTo>
                      <a:pt x="111" y="103"/>
                    </a:lnTo>
                    <a:lnTo>
                      <a:pt x="111" y="103"/>
                    </a:lnTo>
                    <a:lnTo>
                      <a:pt x="111" y="107"/>
                    </a:lnTo>
                    <a:lnTo>
                      <a:pt x="111" y="109"/>
                    </a:lnTo>
                    <a:lnTo>
                      <a:pt x="107" y="113"/>
                    </a:lnTo>
                    <a:lnTo>
                      <a:pt x="107" y="113"/>
                    </a:lnTo>
                    <a:lnTo>
                      <a:pt x="107" y="118"/>
                    </a:lnTo>
                    <a:lnTo>
                      <a:pt x="107" y="126"/>
                    </a:lnTo>
                    <a:lnTo>
                      <a:pt x="107" y="128"/>
                    </a:lnTo>
                    <a:lnTo>
                      <a:pt x="107" y="134"/>
                    </a:lnTo>
                    <a:lnTo>
                      <a:pt x="107" y="134"/>
                    </a:lnTo>
                    <a:lnTo>
                      <a:pt x="107" y="137"/>
                    </a:lnTo>
                    <a:lnTo>
                      <a:pt x="103" y="135"/>
                    </a:lnTo>
                    <a:lnTo>
                      <a:pt x="103" y="137"/>
                    </a:lnTo>
                    <a:lnTo>
                      <a:pt x="103" y="141"/>
                    </a:lnTo>
                    <a:lnTo>
                      <a:pt x="103" y="147"/>
                    </a:lnTo>
                    <a:lnTo>
                      <a:pt x="103" y="149"/>
                    </a:lnTo>
                    <a:lnTo>
                      <a:pt x="103" y="152"/>
                    </a:lnTo>
                    <a:lnTo>
                      <a:pt x="103" y="158"/>
                    </a:lnTo>
                    <a:lnTo>
                      <a:pt x="103" y="162"/>
                    </a:lnTo>
                    <a:lnTo>
                      <a:pt x="103" y="162"/>
                    </a:lnTo>
                    <a:lnTo>
                      <a:pt x="98" y="162"/>
                    </a:lnTo>
                    <a:lnTo>
                      <a:pt x="96" y="162"/>
                    </a:lnTo>
                    <a:lnTo>
                      <a:pt x="98" y="166"/>
                    </a:lnTo>
                    <a:lnTo>
                      <a:pt x="98" y="167"/>
                    </a:lnTo>
                    <a:lnTo>
                      <a:pt x="96" y="167"/>
                    </a:lnTo>
                    <a:lnTo>
                      <a:pt x="96" y="171"/>
                    </a:lnTo>
                    <a:lnTo>
                      <a:pt x="96" y="173"/>
                    </a:lnTo>
                    <a:lnTo>
                      <a:pt x="94" y="186"/>
                    </a:lnTo>
                    <a:lnTo>
                      <a:pt x="94" y="190"/>
                    </a:lnTo>
                    <a:lnTo>
                      <a:pt x="92" y="192"/>
                    </a:lnTo>
                    <a:lnTo>
                      <a:pt x="92" y="196"/>
                    </a:lnTo>
                    <a:lnTo>
                      <a:pt x="94" y="199"/>
                    </a:lnTo>
                    <a:lnTo>
                      <a:pt x="94" y="201"/>
                    </a:lnTo>
                    <a:lnTo>
                      <a:pt x="92" y="205"/>
                    </a:lnTo>
                    <a:lnTo>
                      <a:pt x="92" y="207"/>
                    </a:lnTo>
                    <a:lnTo>
                      <a:pt x="90" y="211"/>
                    </a:lnTo>
                    <a:lnTo>
                      <a:pt x="86" y="211"/>
                    </a:lnTo>
                    <a:lnTo>
                      <a:pt x="86" y="211"/>
                    </a:lnTo>
                    <a:lnTo>
                      <a:pt x="86" y="211"/>
                    </a:lnTo>
                    <a:lnTo>
                      <a:pt x="86" y="21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3" name="Freeform 155"/>
              <p:cNvSpPr>
                <a:spLocks noEditPoints="1"/>
              </p:cNvSpPr>
              <p:nvPr/>
            </p:nvSpPr>
            <p:spPr bwMode="auto">
              <a:xfrm>
                <a:off x="2410" y="1617"/>
                <a:ext cx="164" cy="105"/>
              </a:xfrm>
              <a:custGeom>
                <a:avLst/>
                <a:gdLst/>
                <a:ahLst/>
                <a:cxnLst>
                  <a:cxn ang="0">
                    <a:pos x="60" y="104"/>
                  </a:cxn>
                  <a:cxn ang="0">
                    <a:pos x="49" y="88"/>
                  </a:cxn>
                  <a:cxn ang="0">
                    <a:pos x="62" y="94"/>
                  </a:cxn>
                  <a:cxn ang="0">
                    <a:pos x="89" y="100"/>
                  </a:cxn>
                  <a:cxn ang="0">
                    <a:pos x="96" y="94"/>
                  </a:cxn>
                  <a:cxn ang="0">
                    <a:pos x="104" y="90"/>
                  </a:cxn>
                  <a:cxn ang="0">
                    <a:pos x="115" y="87"/>
                  </a:cxn>
                  <a:cxn ang="0">
                    <a:pos x="137" y="73"/>
                  </a:cxn>
                  <a:cxn ang="0">
                    <a:pos x="141" y="71"/>
                  </a:cxn>
                  <a:cxn ang="0">
                    <a:pos x="149" y="62"/>
                  </a:cxn>
                  <a:cxn ang="0">
                    <a:pos x="154" y="60"/>
                  </a:cxn>
                  <a:cxn ang="0">
                    <a:pos x="154" y="45"/>
                  </a:cxn>
                  <a:cxn ang="0">
                    <a:pos x="164" y="36"/>
                  </a:cxn>
                  <a:cxn ang="0">
                    <a:pos x="154" y="26"/>
                  </a:cxn>
                  <a:cxn ang="0">
                    <a:pos x="151" y="21"/>
                  </a:cxn>
                  <a:cxn ang="0">
                    <a:pos x="143" y="11"/>
                  </a:cxn>
                  <a:cxn ang="0">
                    <a:pos x="149" y="2"/>
                  </a:cxn>
                  <a:cxn ang="0">
                    <a:pos x="134" y="9"/>
                  </a:cxn>
                  <a:cxn ang="0">
                    <a:pos x="124" y="2"/>
                  </a:cxn>
                  <a:cxn ang="0">
                    <a:pos x="119" y="11"/>
                  </a:cxn>
                  <a:cxn ang="0">
                    <a:pos x="109" y="15"/>
                  </a:cxn>
                  <a:cxn ang="0">
                    <a:pos x="94" y="11"/>
                  </a:cxn>
                  <a:cxn ang="0">
                    <a:pos x="90" y="21"/>
                  </a:cxn>
                  <a:cxn ang="0">
                    <a:pos x="79" y="15"/>
                  </a:cxn>
                  <a:cxn ang="0">
                    <a:pos x="72" y="21"/>
                  </a:cxn>
                  <a:cxn ang="0">
                    <a:pos x="62" y="21"/>
                  </a:cxn>
                  <a:cxn ang="0">
                    <a:pos x="60" y="30"/>
                  </a:cxn>
                  <a:cxn ang="0">
                    <a:pos x="49" y="38"/>
                  </a:cxn>
                  <a:cxn ang="0">
                    <a:pos x="45" y="26"/>
                  </a:cxn>
                  <a:cxn ang="0">
                    <a:pos x="51" y="17"/>
                  </a:cxn>
                  <a:cxn ang="0">
                    <a:pos x="43" y="9"/>
                  </a:cxn>
                  <a:cxn ang="0">
                    <a:pos x="30" y="0"/>
                  </a:cxn>
                  <a:cxn ang="0">
                    <a:pos x="26" y="2"/>
                  </a:cxn>
                  <a:cxn ang="0">
                    <a:pos x="30" y="6"/>
                  </a:cxn>
                  <a:cxn ang="0">
                    <a:pos x="34" y="15"/>
                  </a:cxn>
                  <a:cxn ang="0">
                    <a:pos x="25" y="15"/>
                  </a:cxn>
                  <a:cxn ang="0">
                    <a:pos x="19" y="11"/>
                  </a:cxn>
                  <a:cxn ang="0">
                    <a:pos x="15" y="15"/>
                  </a:cxn>
                  <a:cxn ang="0">
                    <a:pos x="13" y="21"/>
                  </a:cxn>
                  <a:cxn ang="0">
                    <a:pos x="15" y="24"/>
                  </a:cxn>
                  <a:cxn ang="0">
                    <a:pos x="9" y="30"/>
                  </a:cxn>
                  <a:cxn ang="0">
                    <a:pos x="4" y="30"/>
                  </a:cxn>
                  <a:cxn ang="0">
                    <a:pos x="21" y="24"/>
                  </a:cxn>
                  <a:cxn ang="0">
                    <a:pos x="25" y="30"/>
                  </a:cxn>
                  <a:cxn ang="0">
                    <a:pos x="32" y="30"/>
                  </a:cxn>
                  <a:cxn ang="0">
                    <a:pos x="40" y="30"/>
                  </a:cxn>
                  <a:cxn ang="0">
                    <a:pos x="32" y="38"/>
                  </a:cxn>
                  <a:cxn ang="0">
                    <a:pos x="38" y="39"/>
                  </a:cxn>
                  <a:cxn ang="0">
                    <a:pos x="30" y="45"/>
                  </a:cxn>
                  <a:cxn ang="0">
                    <a:pos x="21" y="43"/>
                  </a:cxn>
                  <a:cxn ang="0">
                    <a:pos x="15" y="47"/>
                  </a:cxn>
                  <a:cxn ang="0">
                    <a:pos x="6" y="51"/>
                  </a:cxn>
                  <a:cxn ang="0">
                    <a:pos x="25" y="55"/>
                  </a:cxn>
                  <a:cxn ang="0">
                    <a:pos x="30" y="62"/>
                  </a:cxn>
                  <a:cxn ang="0">
                    <a:pos x="32" y="66"/>
                  </a:cxn>
                  <a:cxn ang="0">
                    <a:pos x="43" y="71"/>
                  </a:cxn>
                  <a:cxn ang="0">
                    <a:pos x="30" y="75"/>
                  </a:cxn>
                  <a:cxn ang="0">
                    <a:pos x="21" y="73"/>
                  </a:cxn>
                  <a:cxn ang="0">
                    <a:pos x="21" y="81"/>
                  </a:cxn>
                  <a:cxn ang="0">
                    <a:pos x="34" y="88"/>
                  </a:cxn>
                  <a:cxn ang="0">
                    <a:pos x="49" y="88"/>
                  </a:cxn>
                </a:cxnLst>
                <a:rect l="0" t="0" r="r" b="b"/>
                <a:pathLst>
                  <a:path w="164" h="105">
                    <a:moveTo>
                      <a:pt x="57" y="105"/>
                    </a:moveTo>
                    <a:lnTo>
                      <a:pt x="55" y="104"/>
                    </a:lnTo>
                    <a:lnTo>
                      <a:pt x="57" y="100"/>
                    </a:lnTo>
                    <a:lnTo>
                      <a:pt x="60" y="100"/>
                    </a:lnTo>
                    <a:lnTo>
                      <a:pt x="60" y="104"/>
                    </a:lnTo>
                    <a:lnTo>
                      <a:pt x="57" y="105"/>
                    </a:lnTo>
                    <a:lnTo>
                      <a:pt x="57" y="105"/>
                    </a:lnTo>
                    <a:lnTo>
                      <a:pt x="57" y="105"/>
                    </a:lnTo>
                    <a:lnTo>
                      <a:pt x="57" y="105"/>
                    </a:lnTo>
                    <a:close/>
                    <a:moveTo>
                      <a:pt x="49" y="88"/>
                    </a:moveTo>
                    <a:lnTo>
                      <a:pt x="51" y="87"/>
                    </a:lnTo>
                    <a:lnTo>
                      <a:pt x="51" y="90"/>
                    </a:lnTo>
                    <a:lnTo>
                      <a:pt x="57" y="96"/>
                    </a:lnTo>
                    <a:lnTo>
                      <a:pt x="60" y="98"/>
                    </a:lnTo>
                    <a:lnTo>
                      <a:pt x="62" y="94"/>
                    </a:lnTo>
                    <a:lnTo>
                      <a:pt x="66" y="94"/>
                    </a:lnTo>
                    <a:lnTo>
                      <a:pt x="72" y="102"/>
                    </a:lnTo>
                    <a:lnTo>
                      <a:pt x="79" y="100"/>
                    </a:lnTo>
                    <a:lnTo>
                      <a:pt x="81" y="102"/>
                    </a:lnTo>
                    <a:lnTo>
                      <a:pt x="89" y="100"/>
                    </a:lnTo>
                    <a:lnTo>
                      <a:pt x="89" y="96"/>
                    </a:lnTo>
                    <a:lnTo>
                      <a:pt x="89" y="94"/>
                    </a:lnTo>
                    <a:lnTo>
                      <a:pt x="90" y="96"/>
                    </a:lnTo>
                    <a:lnTo>
                      <a:pt x="94" y="98"/>
                    </a:lnTo>
                    <a:lnTo>
                      <a:pt x="96" y="94"/>
                    </a:lnTo>
                    <a:lnTo>
                      <a:pt x="98" y="88"/>
                    </a:lnTo>
                    <a:lnTo>
                      <a:pt x="102" y="88"/>
                    </a:lnTo>
                    <a:lnTo>
                      <a:pt x="100" y="90"/>
                    </a:lnTo>
                    <a:lnTo>
                      <a:pt x="102" y="92"/>
                    </a:lnTo>
                    <a:lnTo>
                      <a:pt x="104" y="90"/>
                    </a:lnTo>
                    <a:lnTo>
                      <a:pt x="105" y="90"/>
                    </a:lnTo>
                    <a:lnTo>
                      <a:pt x="109" y="85"/>
                    </a:lnTo>
                    <a:lnTo>
                      <a:pt x="111" y="87"/>
                    </a:lnTo>
                    <a:lnTo>
                      <a:pt x="113" y="87"/>
                    </a:lnTo>
                    <a:lnTo>
                      <a:pt x="115" y="87"/>
                    </a:lnTo>
                    <a:lnTo>
                      <a:pt x="115" y="87"/>
                    </a:lnTo>
                    <a:lnTo>
                      <a:pt x="119" y="87"/>
                    </a:lnTo>
                    <a:lnTo>
                      <a:pt x="124" y="81"/>
                    </a:lnTo>
                    <a:lnTo>
                      <a:pt x="128" y="75"/>
                    </a:lnTo>
                    <a:lnTo>
                      <a:pt x="137" y="73"/>
                    </a:lnTo>
                    <a:lnTo>
                      <a:pt x="139" y="71"/>
                    </a:lnTo>
                    <a:lnTo>
                      <a:pt x="137" y="68"/>
                    </a:lnTo>
                    <a:lnTo>
                      <a:pt x="139" y="66"/>
                    </a:lnTo>
                    <a:lnTo>
                      <a:pt x="141" y="66"/>
                    </a:lnTo>
                    <a:lnTo>
                      <a:pt x="141" y="71"/>
                    </a:lnTo>
                    <a:lnTo>
                      <a:pt x="145" y="71"/>
                    </a:lnTo>
                    <a:lnTo>
                      <a:pt x="149" y="68"/>
                    </a:lnTo>
                    <a:lnTo>
                      <a:pt x="149" y="66"/>
                    </a:lnTo>
                    <a:lnTo>
                      <a:pt x="149" y="66"/>
                    </a:lnTo>
                    <a:lnTo>
                      <a:pt x="149" y="62"/>
                    </a:lnTo>
                    <a:lnTo>
                      <a:pt x="149" y="62"/>
                    </a:lnTo>
                    <a:lnTo>
                      <a:pt x="149" y="58"/>
                    </a:lnTo>
                    <a:lnTo>
                      <a:pt x="149" y="56"/>
                    </a:lnTo>
                    <a:lnTo>
                      <a:pt x="154" y="58"/>
                    </a:lnTo>
                    <a:lnTo>
                      <a:pt x="154" y="60"/>
                    </a:lnTo>
                    <a:lnTo>
                      <a:pt x="156" y="60"/>
                    </a:lnTo>
                    <a:lnTo>
                      <a:pt x="158" y="56"/>
                    </a:lnTo>
                    <a:lnTo>
                      <a:pt x="158" y="53"/>
                    </a:lnTo>
                    <a:lnTo>
                      <a:pt x="154" y="49"/>
                    </a:lnTo>
                    <a:lnTo>
                      <a:pt x="154" y="45"/>
                    </a:lnTo>
                    <a:lnTo>
                      <a:pt x="156" y="43"/>
                    </a:lnTo>
                    <a:lnTo>
                      <a:pt x="156" y="39"/>
                    </a:lnTo>
                    <a:lnTo>
                      <a:pt x="160" y="38"/>
                    </a:lnTo>
                    <a:lnTo>
                      <a:pt x="162" y="38"/>
                    </a:lnTo>
                    <a:lnTo>
                      <a:pt x="164" y="36"/>
                    </a:lnTo>
                    <a:lnTo>
                      <a:pt x="160" y="32"/>
                    </a:lnTo>
                    <a:lnTo>
                      <a:pt x="154" y="32"/>
                    </a:lnTo>
                    <a:lnTo>
                      <a:pt x="151" y="34"/>
                    </a:lnTo>
                    <a:lnTo>
                      <a:pt x="154" y="30"/>
                    </a:lnTo>
                    <a:lnTo>
                      <a:pt x="154" y="26"/>
                    </a:lnTo>
                    <a:lnTo>
                      <a:pt x="149" y="26"/>
                    </a:lnTo>
                    <a:lnTo>
                      <a:pt x="149" y="30"/>
                    </a:lnTo>
                    <a:lnTo>
                      <a:pt x="145" y="24"/>
                    </a:lnTo>
                    <a:lnTo>
                      <a:pt x="149" y="21"/>
                    </a:lnTo>
                    <a:lnTo>
                      <a:pt x="151" y="21"/>
                    </a:lnTo>
                    <a:lnTo>
                      <a:pt x="151" y="15"/>
                    </a:lnTo>
                    <a:lnTo>
                      <a:pt x="149" y="15"/>
                    </a:lnTo>
                    <a:lnTo>
                      <a:pt x="145" y="15"/>
                    </a:lnTo>
                    <a:lnTo>
                      <a:pt x="145" y="15"/>
                    </a:lnTo>
                    <a:lnTo>
                      <a:pt x="143" y="11"/>
                    </a:lnTo>
                    <a:lnTo>
                      <a:pt x="145" y="11"/>
                    </a:lnTo>
                    <a:lnTo>
                      <a:pt x="145" y="6"/>
                    </a:lnTo>
                    <a:lnTo>
                      <a:pt x="149" y="6"/>
                    </a:lnTo>
                    <a:lnTo>
                      <a:pt x="151" y="6"/>
                    </a:lnTo>
                    <a:lnTo>
                      <a:pt x="149" y="2"/>
                    </a:lnTo>
                    <a:lnTo>
                      <a:pt x="145" y="2"/>
                    </a:lnTo>
                    <a:lnTo>
                      <a:pt x="139" y="11"/>
                    </a:lnTo>
                    <a:lnTo>
                      <a:pt x="137" y="11"/>
                    </a:lnTo>
                    <a:lnTo>
                      <a:pt x="136" y="11"/>
                    </a:lnTo>
                    <a:lnTo>
                      <a:pt x="134" y="9"/>
                    </a:lnTo>
                    <a:lnTo>
                      <a:pt x="134" y="6"/>
                    </a:lnTo>
                    <a:lnTo>
                      <a:pt x="132" y="6"/>
                    </a:lnTo>
                    <a:lnTo>
                      <a:pt x="132" y="2"/>
                    </a:lnTo>
                    <a:lnTo>
                      <a:pt x="128" y="2"/>
                    </a:lnTo>
                    <a:lnTo>
                      <a:pt x="124" y="2"/>
                    </a:lnTo>
                    <a:lnTo>
                      <a:pt x="124" y="2"/>
                    </a:lnTo>
                    <a:lnTo>
                      <a:pt x="121" y="6"/>
                    </a:lnTo>
                    <a:lnTo>
                      <a:pt x="124" y="9"/>
                    </a:lnTo>
                    <a:lnTo>
                      <a:pt x="121" y="11"/>
                    </a:lnTo>
                    <a:lnTo>
                      <a:pt x="119" y="11"/>
                    </a:lnTo>
                    <a:lnTo>
                      <a:pt x="115" y="15"/>
                    </a:lnTo>
                    <a:lnTo>
                      <a:pt x="115" y="11"/>
                    </a:lnTo>
                    <a:lnTo>
                      <a:pt x="113" y="9"/>
                    </a:lnTo>
                    <a:lnTo>
                      <a:pt x="111" y="11"/>
                    </a:lnTo>
                    <a:lnTo>
                      <a:pt x="109" y="15"/>
                    </a:lnTo>
                    <a:lnTo>
                      <a:pt x="105" y="15"/>
                    </a:lnTo>
                    <a:lnTo>
                      <a:pt x="102" y="11"/>
                    </a:lnTo>
                    <a:lnTo>
                      <a:pt x="98" y="11"/>
                    </a:lnTo>
                    <a:lnTo>
                      <a:pt x="98" y="11"/>
                    </a:lnTo>
                    <a:lnTo>
                      <a:pt x="94" y="11"/>
                    </a:lnTo>
                    <a:lnTo>
                      <a:pt x="94" y="15"/>
                    </a:lnTo>
                    <a:lnTo>
                      <a:pt x="96" y="23"/>
                    </a:lnTo>
                    <a:lnTo>
                      <a:pt x="94" y="32"/>
                    </a:lnTo>
                    <a:lnTo>
                      <a:pt x="94" y="24"/>
                    </a:lnTo>
                    <a:lnTo>
                      <a:pt x="90" y="21"/>
                    </a:lnTo>
                    <a:lnTo>
                      <a:pt x="90" y="15"/>
                    </a:lnTo>
                    <a:lnTo>
                      <a:pt x="90" y="15"/>
                    </a:lnTo>
                    <a:lnTo>
                      <a:pt x="90" y="11"/>
                    </a:lnTo>
                    <a:lnTo>
                      <a:pt x="85" y="9"/>
                    </a:lnTo>
                    <a:lnTo>
                      <a:pt x="79" y="15"/>
                    </a:lnTo>
                    <a:lnTo>
                      <a:pt x="77" y="17"/>
                    </a:lnTo>
                    <a:lnTo>
                      <a:pt x="79" y="21"/>
                    </a:lnTo>
                    <a:lnTo>
                      <a:pt x="75" y="24"/>
                    </a:lnTo>
                    <a:lnTo>
                      <a:pt x="73" y="24"/>
                    </a:lnTo>
                    <a:lnTo>
                      <a:pt x="72" y="21"/>
                    </a:lnTo>
                    <a:lnTo>
                      <a:pt x="70" y="21"/>
                    </a:lnTo>
                    <a:lnTo>
                      <a:pt x="70" y="11"/>
                    </a:lnTo>
                    <a:lnTo>
                      <a:pt x="66" y="9"/>
                    </a:lnTo>
                    <a:lnTo>
                      <a:pt x="62" y="11"/>
                    </a:lnTo>
                    <a:lnTo>
                      <a:pt x="62" y="21"/>
                    </a:lnTo>
                    <a:lnTo>
                      <a:pt x="64" y="24"/>
                    </a:lnTo>
                    <a:lnTo>
                      <a:pt x="64" y="30"/>
                    </a:lnTo>
                    <a:lnTo>
                      <a:pt x="62" y="34"/>
                    </a:lnTo>
                    <a:lnTo>
                      <a:pt x="60" y="34"/>
                    </a:lnTo>
                    <a:lnTo>
                      <a:pt x="60" y="30"/>
                    </a:lnTo>
                    <a:lnTo>
                      <a:pt x="55" y="30"/>
                    </a:lnTo>
                    <a:lnTo>
                      <a:pt x="55" y="36"/>
                    </a:lnTo>
                    <a:lnTo>
                      <a:pt x="51" y="38"/>
                    </a:lnTo>
                    <a:lnTo>
                      <a:pt x="51" y="43"/>
                    </a:lnTo>
                    <a:lnTo>
                      <a:pt x="49" y="38"/>
                    </a:lnTo>
                    <a:lnTo>
                      <a:pt x="47" y="36"/>
                    </a:lnTo>
                    <a:lnTo>
                      <a:pt x="47" y="34"/>
                    </a:lnTo>
                    <a:lnTo>
                      <a:pt x="49" y="30"/>
                    </a:lnTo>
                    <a:lnTo>
                      <a:pt x="49" y="26"/>
                    </a:lnTo>
                    <a:lnTo>
                      <a:pt x="45" y="26"/>
                    </a:lnTo>
                    <a:lnTo>
                      <a:pt x="47" y="24"/>
                    </a:lnTo>
                    <a:lnTo>
                      <a:pt x="45" y="21"/>
                    </a:lnTo>
                    <a:lnTo>
                      <a:pt x="47" y="23"/>
                    </a:lnTo>
                    <a:lnTo>
                      <a:pt x="51" y="21"/>
                    </a:lnTo>
                    <a:lnTo>
                      <a:pt x="51" y="17"/>
                    </a:lnTo>
                    <a:lnTo>
                      <a:pt x="47" y="15"/>
                    </a:lnTo>
                    <a:lnTo>
                      <a:pt x="49" y="11"/>
                    </a:lnTo>
                    <a:lnTo>
                      <a:pt x="47" y="11"/>
                    </a:lnTo>
                    <a:lnTo>
                      <a:pt x="45" y="11"/>
                    </a:lnTo>
                    <a:lnTo>
                      <a:pt x="43" y="9"/>
                    </a:lnTo>
                    <a:lnTo>
                      <a:pt x="38" y="6"/>
                    </a:lnTo>
                    <a:lnTo>
                      <a:pt x="38" y="2"/>
                    </a:lnTo>
                    <a:lnTo>
                      <a:pt x="36" y="0"/>
                    </a:lnTo>
                    <a:lnTo>
                      <a:pt x="32" y="0"/>
                    </a:lnTo>
                    <a:lnTo>
                      <a:pt x="30" y="0"/>
                    </a:lnTo>
                    <a:lnTo>
                      <a:pt x="25" y="0"/>
                    </a:lnTo>
                    <a:lnTo>
                      <a:pt x="21" y="2"/>
                    </a:lnTo>
                    <a:lnTo>
                      <a:pt x="25" y="2"/>
                    </a:lnTo>
                    <a:lnTo>
                      <a:pt x="26" y="2"/>
                    </a:lnTo>
                    <a:lnTo>
                      <a:pt x="26" y="2"/>
                    </a:lnTo>
                    <a:lnTo>
                      <a:pt x="30" y="2"/>
                    </a:lnTo>
                    <a:lnTo>
                      <a:pt x="32" y="2"/>
                    </a:lnTo>
                    <a:lnTo>
                      <a:pt x="34" y="2"/>
                    </a:lnTo>
                    <a:lnTo>
                      <a:pt x="32" y="6"/>
                    </a:lnTo>
                    <a:lnTo>
                      <a:pt x="30" y="6"/>
                    </a:lnTo>
                    <a:lnTo>
                      <a:pt x="26" y="6"/>
                    </a:lnTo>
                    <a:lnTo>
                      <a:pt x="26" y="6"/>
                    </a:lnTo>
                    <a:lnTo>
                      <a:pt x="32" y="9"/>
                    </a:lnTo>
                    <a:lnTo>
                      <a:pt x="36" y="15"/>
                    </a:lnTo>
                    <a:lnTo>
                      <a:pt x="34" y="15"/>
                    </a:lnTo>
                    <a:lnTo>
                      <a:pt x="32" y="15"/>
                    </a:lnTo>
                    <a:lnTo>
                      <a:pt x="32" y="15"/>
                    </a:lnTo>
                    <a:lnTo>
                      <a:pt x="30" y="11"/>
                    </a:lnTo>
                    <a:lnTo>
                      <a:pt x="26" y="15"/>
                    </a:lnTo>
                    <a:lnTo>
                      <a:pt x="25" y="15"/>
                    </a:lnTo>
                    <a:lnTo>
                      <a:pt x="25" y="11"/>
                    </a:lnTo>
                    <a:lnTo>
                      <a:pt x="21" y="6"/>
                    </a:lnTo>
                    <a:lnTo>
                      <a:pt x="19" y="6"/>
                    </a:lnTo>
                    <a:lnTo>
                      <a:pt x="17" y="6"/>
                    </a:lnTo>
                    <a:lnTo>
                      <a:pt x="19" y="11"/>
                    </a:lnTo>
                    <a:lnTo>
                      <a:pt x="19" y="11"/>
                    </a:lnTo>
                    <a:lnTo>
                      <a:pt x="17" y="9"/>
                    </a:lnTo>
                    <a:lnTo>
                      <a:pt x="13" y="9"/>
                    </a:lnTo>
                    <a:lnTo>
                      <a:pt x="11" y="11"/>
                    </a:lnTo>
                    <a:lnTo>
                      <a:pt x="15" y="15"/>
                    </a:lnTo>
                    <a:lnTo>
                      <a:pt x="17" y="15"/>
                    </a:lnTo>
                    <a:lnTo>
                      <a:pt x="19" y="15"/>
                    </a:lnTo>
                    <a:lnTo>
                      <a:pt x="15" y="15"/>
                    </a:lnTo>
                    <a:lnTo>
                      <a:pt x="11" y="15"/>
                    </a:lnTo>
                    <a:lnTo>
                      <a:pt x="13" y="21"/>
                    </a:lnTo>
                    <a:lnTo>
                      <a:pt x="19" y="21"/>
                    </a:lnTo>
                    <a:lnTo>
                      <a:pt x="15" y="21"/>
                    </a:lnTo>
                    <a:lnTo>
                      <a:pt x="15" y="23"/>
                    </a:lnTo>
                    <a:lnTo>
                      <a:pt x="15" y="24"/>
                    </a:lnTo>
                    <a:lnTo>
                      <a:pt x="15" y="24"/>
                    </a:lnTo>
                    <a:lnTo>
                      <a:pt x="9" y="21"/>
                    </a:lnTo>
                    <a:lnTo>
                      <a:pt x="8" y="21"/>
                    </a:lnTo>
                    <a:lnTo>
                      <a:pt x="6" y="21"/>
                    </a:lnTo>
                    <a:lnTo>
                      <a:pt x="8" y="24"/>
                    </a:lnTo>
                    <a:lnTo>
                      <a:pt x="9" y="30"/>
                    </a:lnTo>
                    <a:lnTo>
                      <a:pt x="8" y="30"/>
                    </a:lnTo>
                    <a:lnTo>
                      <a:pt x="4" y="24"/>
                    </a:lnTo>
                    <a:lnTo>
                      <a:pt x="2" y="23"/>
                    </a:lnTo>
                    <a:lnTo>
                      <a:pt x="0" y="26"/>
                    </a:lnTo>
                    <a:lnTo>
                      <a:pt x="4" y="30"/>
                    </a:lnTo>
                    <a:lnTo>
                      <a:pt x="6" y="32"/>
                    </a:lnTo>
                    <a:lnTo>
                      <a:pt x="11" y="34"/>
                    </a:lnTo>
                    <a:lnTo>
                      <a:pt x="13" y="30"/>
                    </a:lnTo>
                    <a:lnTo>
                      <a:pt x="19" y="30"/>
                    </a:lnTo>
                    <a:lnTo>
                      <a:pt x="21" y="24"/>
                    </a:lnTo>
                    <a:lnTo>
                      <a:pt x="21" y="26"/>
                    </a:lnTo>
                    <a:lnTo>
                      <a:pt x="21" y="30"/>
                    </a:lnTo>
                    <a:lnTo>
                      <a:pt x="21" y="30"/>
                    </a:lnTo>
                    <a:lnTo>
                      <a:pt x="25" y="26"/>
                    </a:lnTo>
                    <a:lnTo>
                      <a:pt x="25" y="30"/>
                    </a:lnTo>
                    <a:lnTo>
                      <a:pt x="26" y="30"/>
                    </a:lnTo>
                    <a:lnTo>
                      <a:pt x="30" y="30"/>
                    </a:lnTo>
                    <a:lnTo>
                      <a:pt x="30" y="26"/>
                    </a:lnTo>
                    <a:lnTo>
                      <a:pt x="30" y="30"/>
                    </a:lnTo>
                    <a:lnTo>
                      <a:pt x="32" y="30"/>
                    </a:lnTo>
                    <a:lnTo>
                      <a:pt x="36" y="26"/>
                    </a:lnTo>
                    <a:lnTo>
                      <a:pt x="36" y="30"/>
                    </a:lnTo>
                    <a:lnTo>
                      <a:pt x="34" y="32"/>
                    </a:lnTo>
                    <a:lnTo>
                      <a:pt x="36" y="34"/>
                    </a:lnTo>
                    <a:lnTo>
                      <a:pt x="40" y="30"/>
                    </a:lnTo>
                    <a:lnTo>
                      <a:pt x="43" y="34"/>
                    </a:lnTo>
                    <a:lnTo>
                      <a:pt x="41" y="34"/>
                    </a:lnTo>
                    <a:lnTo>
                      <a:pt x="38" y="34"/>
                    </a:lnTo>
                    <a:lnTo>
                      <a:pt x="36" y="36"/>
                    </a:lnTo>
                    <a:lnTo>
                      <a:pt x="32" y="38"/>
                    </a:lnTo>
                    <a:lnTo>
                      <a:pt x="26" y="39"/>
                    </a:lnTo>
                    <a:lnTo>
                      <a:pt x="26" y="39"/>
                    </a:lnTo>
                    <a:lnTo>
                      <a:pt x="34" y="41"/>
                    </a:lnTo>
                    <a:lnTo>
                      <a:pt x="38" y="41"/>
                    </a:lnTo>
                    <a:lnTo>
                      <a:pt x="38" y="39"/>
                    </a:lnTo>
                    <a:lnTo>
                      <a:pt x="41" y="38"/>
                    </a:lnTo>
                    <a:lnTo>
                      <a:pt x="41" y="41"/>
                    </a:lnTo>
                    <a:lnTo>
                      <a:pt x="38" y="45"/>
                    </a:lnTo>
                    <a:lnTo>
                      <a:pt x="32" y="45"/>
                    </a:lnTo>
                    <a:lnTo>
                      <a:pt x="30" y="45"/>
                    </a:lnTo>
                    <a:lnTo>
                      <a:pt x="26" y="47"/>
                    </a:lnTo>
                    <a:lnTo>
                      <a:pt x="25" y="45"/>
                    </a:lnTo>
                    <a:lnTo>
                      <a:pt x="25" y="45"/>
                    </a:lnTo>
                    <a:lnTo>
                      <a:pt x="25" y="43"/>
                    </a:lnTo>
                    <a:lnTo>
                      <a:pt x="21" y="43"/>
                    </a:lnTo>
                    <a:lnTo>
                      <a:pt x="21" y="43"/>
                    </a:lnTo>
                    <a:lnTo>
                      <a:pt x="21" y="45"/>
                    </a:lnTo>
                    <a:lnTo>
                      <a:pt x="21" y="47"/>
                    </a:lnTo>
                    <a:lnTo>
                      <a:pt x="19" y="45"/>
                    </a:lnTo>
                    <a:lnTo>
                      <a:pt x="15" y="47"/>
                    </a:lnTo>
                    <a:lnTo>
                      <a:pt x="11" y="47"/>
                    </a:lnTo>
                    <a:lnTo>
                      <a:pt x="8" y="47"/>
                    </a:lnTo>
                    <a:lnTo>
                      <a:pt x="4" y="47"/>
                    </a:lnTo>
                    <a:lnTo>
                      <a:pt x="2" y="47"/>
                    </a:lnTo>
                    <a:lnTo>
                      <a:pt x="6" y="51"/>
                    </a:lnTo>
                    <a:lnTo>
                      <a:pt x="8" y="55"/>
                    </a:lnTo>
                    <a:lnTo>
                      <a:pt x="11" y="55"/>
                    </a:lnTo>
                    <a:lnTo>
                      <a:pt x="11" y="55"/>
                    </a:lnTo>
                    <a:lnTo>
                      <a:pt x="19" y="56"/>
                    </a:lnTo>
                    <a:lnTo>
                      <a:pt x="25" y="55"/>
                    </a:lnTo>
                    <a:lnTo>
                      <a:pt x="30" y="55"/>
                    </a:lnTo>
                    <a:lnTo>
                      <a:pt x="30" y="56"/>
                    </a:lnTo>
                    <a:lnTo>
                      <a:pt x="25" y="58"/>
                    </a:lnTo>
                    <a:lnTo>
                      <a:pt x="25" y="60"/>
                    </a:lnTo>
                    <a:lnTo>
                      <a:pt x="30" y="62"/>
                    </a:lnTo>
                    <a:lnTo>
                      <a:pt x="30" y="66"/>
                    </a:lnTo>
                    <a:lnTo>
                      <a:pt x="32" y="66"/>
                    </a:lnTo>
                    <a:lnTo>
                      <a:pt x="38" y="62"/>
                    </a:lnTo>
                    <a:lnTo>
                      <a:pt x="36" y="62"/>
                    </a:lnTo>
                    <a:lnTo>
                      <a:pt x="32" y="66"/>
                    </a:lnTo>
                    <a:lnTo>
                      <a:pt x="30" y="68"/>
                    </a:lnTo>
                    <a:lnTo>
                      <a:pt x="34" y="71"/>
                    </a:lnTo>
                    <a:lnTo>
                      <a:pt x="40" y="66"/>
                    </a:lnTo>
                    <a:lnTo>
                      <a:pt x="43" y="68"/>
                    </a:lnTo>
                    <a:lnTo>
                      <a:pt x="43" y="71"/>
                    </a:lnTo>
                    <a:lnTo>
                      <a:pt x="41" y="68"/>
                    </a:lnTo>
                    <a:lnTo>
                      <a:pt x="38" y="71"/>
                    </a:lnTo>
                    <a:lnTo>
                      <a:pt x="36" y="71"/>
                    </a:lnTo>
                    <a:lnTo>
                      <a:pt x="32" y="71"/>
                    </a:lnTo>
                    <a:lnTo>
                      <a:pt x="30" y="75"/>
                    </a:lnTo>
                    <a:lnTo>
                      <a:pt x="30" y="77"/>
                    </a:lnTo>
                    <a:lnTo>
                      <a:pt x="26" y="77"/>
                    </a:lnTo>
                    <a:lnTo>
                      <a:pt x="25" y="77"/>
                    </a:lnTo>
                    <a:lnTo>
                      <a:pt x="25" y="75"/>
                    </a:lnTo>
                    <a:lnTo>
                      <a:pt x="21" y="73"/>
                    </a:lnTo>
                    <a:lnTo>
                      <a:pt x="21" y="75"/>
                    </a:lnTo>
                    <a:lnTo>
                      <a:pt x="21" y="75"/>
                    </a:lnTo>
                    <a:lnTo>
                      <a:pt x="21" y="81"/>
                    </a:lnTo>
                    <a:lnTo>
                      <a:pt x="21" y="81"/>
                    </a:lnTo>
                    <a:lnTo>
                      <a:pt x="21" y="81"/>
                    </a:lnTo>
                    <a:lnTo>
                      <a:pt x="21" y="88"/>
                    </a:lnTo>
                    <a:lnTo>
                      <a:pt x="25" y="88"/>
                    </a:lnTo>
                    <a:lnTo>
                      <a:pt x="25" y="87"/>
                    </a:lnTo>
                    <a:lnTo>
                      <a:pt x="30" y="88"/>
                    </a:lnTo>
                    <a:lnTo>
                      <a:pt x="34" y="88"/>
                    </a:lnTo>
                    <a:lnTo>
                      <a:pt x="40" y="85"/>
                    </a:lnTo>
                    <a:lnTo>
                      <a:pt x="43" y="87"/>
                    </a:lnTo>
                    <a:lnTo>
                      <a:pt x="47" y="85"/>
                    </a:lnTo>
                    <a:lnTo>
                      <a:pt x="47" y="88"/>
                    </a:lnTo>
                    <a:lnTo>
                      <a:pt x="49" y="88"/>
                    </a:lnTo>
                    <a:lnTo>
                      <a:pt x="49" y="88"/>
                    </a:lnTo>
                    <a:lnTo>
                      <a:pt x="49" y="8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4" name="Freeform 156"/>
              <p:cNvSpPr>
                <a:spLocks noEditPoints="1"/>
              </p:cNvSpPr>
              <p:nvPr/>
            </p:nvSpPr>
            <p:spPr bwMode="auto">
              <a:xfrm>
                <a:off x="1862" y="798"/>
                <a:ext cx="781" cy="1009"/>
              </a:xfrm>
              <a:custGeom>
                <a:avLst/>
                <a:gdLst/>
                <a:ahLst/>
                <a:cxnLst>
                  <a:cxn ang="0">
                    <a:pos x="194" y="958"/>
                  </a:cxn>
                  <a:cxn ang="0">
                    <a:pos x="147" y="924"/>
                  </a:cxn>
                  <a:cxn ang="0">
                    <a:pos x="141" y="866"/>
                  </a:cxn>
                  <a:cxn ang="0">
                    <a:pos x="126" y="832"/>
                  </a:cxn>
                  <a:cxn ang="0">
                    <a:pos x="156" y="777"/>
                  </a:cxn>
                  <a:cxn ang="0">
                    <a:pos x="117" y="755"/>
                  </a:cxn>
                  <a:cxn ang="0">
                    <a:pos x="132" y="734"/>
                  </a:cxn>
                  <a:cxn ang="0">
                    <a:pos x="175" y="706"/>
                  </a:cxn>
                  <a:cxn ang="0">
                    <a:pos x="145" y="644"/>
                  </a:cxn>
                  <a:cxn ang="0">
                    <a:pos x="173" y="615"/>
                  </a:cxn>
                  <a:cxn ang="0">
                    <a:pos x="141" y="604"/>
                  </a:cxn>
                  <a:cxn ang="0">
                    <a:pos x="155" y="514"/>
                  </a:cxn>
                  <a:cxn ang="0">
                    <a:pos x="132" y="393"/>
                  </a:cxn>
                  <a:cxn ang="0">
                    <a:pos x="27" y="344"/>
                  </a:cxn>
                  <a:cxn ang="0">
                    <a:pos x="72" y="291"/>
                  </a:cxn>
                  <a:cxn ang="0">
                    <a:pos x="49" y="231"/>
                  </a:cxn>
                  <a:cxn ang="0">
                    <a:pos x="130" y="163"/>
                  </a:cxn>
                  <a:cxn ang="0">
                    <a:pos x="224" y="94"/>
                  </a:cxn>
                  <a:cxn ang="0">
                    <a:pos x="322" y="94"/>
                  </a:cxn>
                  <a:cxn ang="0">
                    <a:pos x="396" y="88"/>
                  </a:cxn>
                  <a:cxn ang="0">
                    <a:pos x="460" y="56"/>
                  </a:cxn>
                  <a:cxn ang="0">
                    <a:pos x="490" y="33"/>
                  </a:cxn>
                  <a:cxn ang="0">
                    <a:pos x="635" y="30"/>
                  </a:cxn>
                  <a:cxn ang="0">
                    <a:pos x="554" y="47"/>
                  </a:cxn>
                  <a:cxn ang="0">
                    <a:pos x="674" y="69"/>
                  </a:cxn>
                  <a:cxn ang="0">
                    <a:pos x="571" y="118"/>
                  </a:cxn>
                  <a:cxn ang="0">
                    <a:pos x="640" y="152"/>
                  </a:cxn>
                  <a:cxn ang="0">
                    <a:pos x="669" y="182"/>
                  </a:cxn>
                  <a:cxn ang="0">
                    <a:pos x="744" y="197"/>
                  </a:cxn>
                  <a:cxn ang="0">
                    <a:pos x="674" y="248"/>
                  </a:cxn>
                  <a:cxn ang="0">
                    <a:pos x="670" y="384"/>
                  </a:cxn>
                  <a:cxn ang="0">
                    <a:pos x="633" y="418"/>
                  </a:cxn>
                  <a:cxn ang="0">
                    <a:pos x="644" y="487"/>
                  </a:cxn>
                  <a:cxn ang="0">
                    <a:pos x="644" y="525"/>
                  </a:cxn>
                  <a:cxn ang="0">
                    <a:pos x="588" y="550"/>
                  </a:cxn>
                  <a:cxn ang="0">
                    <a:pos x="539" y="568"/>
                  </a:cxn>
                  <a:cxn ang="0">
                    <a:pos x="573" y="599"/>
                  </a:cxn>
                  <a:cxn ang="0">
                    <a:pos x="601" y="678"/>
                  </a:cxn>
                  <a:cxn ang="0">
                    <a:pos x="533" y="636"/>
                  </a:cxn>
                  <a:cxn ang="0">
                    <a:pos x="524" y="691"/>
                  </a:cxn>
                  <a:cxn ang="0">
                    <a:pos x="546" y="727"/>
                  </a:cxn>
                  <a:cxn ang="0">
                    <a:pos x="441" y="734"/>
                  </a:cxn>
                  <a:cxn ang="0">
                    <a:pos x="377" y="821"/>
                  </a:cxn>
                  <a:cxn ang="0">
                    <a:pos x="311" y="845"/>
                  </a:cxn>
                  <a:cxn ang="0">
                    <a:pos x="279" y="906"/>
                  </a:cxn>
                  <a:cxn ang="0">
                    <a:pos x="252" y="949"/>
                  </a:cxn>
                  <a:cxn ang="0">
                    <a:pos x="234" y="998"/>
                  </a:cxn>
                  <a:cxn ang="0">
                    <a:pos x="262" y="923"/>
                  </a:cxn>
                  <a:cxn ang="0">
                    <a:pos x="347" y="832"/>
                  </a:cxn>
                  <a:cxn ang="0">
                    <a:pos x="599" y="597"/>
                  </a:cxn>
                  <a:cxn ang="0">
                    <a:pos x="578" y="563"/>
                  </a:cxn>
                  <a:cxn ang="0">
                    <a:pos x="682" y="497"/>
                  </a:cxn>
                  <a:cxn ang="0">
                    <a:pos x="661" y="363"/>
                  </a:cxn>
                  <a:cxn ang="0">
                    <a:pos x="719" y="146"/>
                  </a:cxn>
                  <a:cxn ang="0">
                    <a:pos x="484" y="20"/>
                  </a:cxn>
                  <a:cxn ang="0">
                    <a:pos x="401" y="107"/>
                  </a:cxn>
                  <a:cxn ang="0">
                    <a:pos x="17" y="295"/>
                  </a:cxn>
                  <a:cxn ang="0">
                    <a:pos x="155" y="521"/>
                  </a:cxn>
                  <a:cxn ang="0">
                    <a:pos x="147" y="551"/>
                  </a:cxn>
                  <a:cxn ang="0">
                    <a:pos x="187" y="973"/>
                  </a:cxn>
                  <a:cxn ang="0">
                    <a:pos x="117" y="777"/>
                  </a:cxn>
                  <a:cxn ang="0">
                    <a:pos x="179" y="634"/>
                  </a:cxn>
                  <a:cxn ang="0">
                    <a:pos x="175" y="668"/>
                  </a:cxn>
                </a:cxnLst>
                <a:rect l="0" t="0" r="r" b="b"/>
                <a:pathLst>
                  <a:path w="781" h="1009">
                    <a:moveTo>
                      <a:pt x="234" y="998"/>
                    </a:moveTo>
                    <a:lnTo>
                      <a:pt x="224" y="994"/>
                    </a:lnTo>
                    <a:lnTo>
                      <a:pt x="220" y="994"/>
                    </a:lnTo>
                    <a:lnTo>
                      <a:pt x="219" y="994"/>
                    </a:lnTo>
                    <a:lnTo>
                      <a:pt x="220" y="990"/>
                    </a:lnTo>
                    <a:lnTo>
                      <a:pt x="220" y="990"/>
                    </a:lnTo>
                    <a:lnTo>
                      <a:pt x="220" y="988"/>
                    </a:lnTo>
                    <a:lnTo>
                      <a:pt x="219" y="988"/>
                    </a:lnTo>
                    <a:lnTo>
                      <a:pt x="217" y="990"/>
                    </a:lnTo>
                    <a:lnTo>
                      <a:pt x="217" y="990"/>
                    </a:lnTo>
                    <a:lnTo>
                      <a:pt x="215" y="994"/>
                    </a:lnTo>
                    <a:lnTo>
                      <a:pt x="213" y="994"/>
                    </a:lnTo>
                    <a:lnTo>
                      <a:pt x="211" y="994"/>
                    </a:lnTo>
                    <a:lnTo>
                      <a:pt x="211" y="994"/>
                    </a:lnTo>
                    <a:lnTo>
                      <a:pt x="211" y="998"/>
                    </a:lnTo>
                    <a:lnTo>
                      <a:pt x="209" y="1000"/>
                    </a:lnTo>
                    <a:lnTo>
                      <a:pt x="207" y="998"/>
                    </a:lnTo>
                    <a:lnTo>
                      <a:pt x="209" y="994"/>
                    </a:lnTo>
                    <a:lnTo>
                      <a:pt x="209" y="994"/>
                    </a:lnTo>
                    <a:lnTo>
                      <a:pt x="209" y="990"/>
                    </a:lnTo>
                    <a:lnTo>
                      <a:pt x="213" y="987"/>
                    </a:lnTo>
                    <a:lnTo>
                      <a:pt x="213" y="985"/>
                    </a:lnTo>
                    <a:lnTo>
                      <a:pt x="211" y="987"/>
                    </a:lnTo>
                    <a:lnTo>
                      <a:pt x="207" y="994"/>
                    </a:lnTo>
                    <a:lnTo>
                      <a:pt x="204" y="994"/>
                    </a:lnTo>
                    <a:lnTo>
                      <a:pt x="204" y="994"/>
                    </a:lnTo>
                    <a:lnTo>
                      <a:pt x="204" y="994"/>
                    </a:lnTo>
                    <a:lnTo>
                      <a:pt x="207" y="990"/>
                    </a:lnTo>
                    <a:lnTo>
                      <a:pt x="207" y="987"/>
                    </a:lnTo>
                    <a:lnTo>
                      <a:pt x="209" y="983"/>
                    </a:lnTo>
                    <a:lnTo>
                      <a:pt x="207" y="983"/>
                    </a:lnTo>
                    <a:lnTo>
                      <a:pt x="205" y="983"/>
                    </a:lnTo>
                    <a:lnTo>
                      <a:pt x="204" y="987"/>
                    </a:lnTo>
                    <a:lnTo>
                      <a:pt x="204" y="987"/>
                    </a:lnTo>
                    <a:lnTo>
                      <a:pt x="204" y="987"/>
                    </a:lnTo>
                    <a:lnTo>
                      <a:pt x="204" y="983"/>
                    </a:lnTo>
                    <a:lnTo>
                      <a:pt x="205" y="981"/>
                    </a:lnTo>
                    <a:lnTo>
                      <a:pt x="204" y="979"/>
                    </a:lnTo>
                    <a:lnTo>
                      <a:pt x="204" y="981"/>
                    </a:lnTo>
                    <a:lnTo>
                      <a:pt x="200" y="983"/>
                    </a:lnTo>
                    <a:lnTo>
                      <a:pt x="200" y="983"/>
                    </a:lnTo>
                    <a:lnTo>
                      <a:pt x="200" y="987"/>
                    </a:lnTo>
                    <a:lnTo>
                      <a:pt x="198" y="983"/>
                    </a:lnTo>
                    <a:lnTo>
                      <a:pt x="198" y="981"/>
                    </a:lnTo>
                    <a:lnTo>
                      <a:pt x="196" y="981"/>
                    </a:lnTo>
                    <a:lnTo>
                      <a:pt x="194" y="983"/>
                    </a:lnTo>
                    <a:lnTo>
                      <a:pt x="192" y="983"/>
                    </a:lnTo>
                    <a:lnTo>
                      <a:pt x="194" y="981"/>
                    </a:lnTo>
                    <a:lnTo>
                      <a:pt x="200" y="977"/>
                    </a:lnTo>
                    <a:lnTo>
                      <a:pt x="200" y="975"/>
                    </a:lnTo>
                    <a:lnTo>
                      <a:pt x="200" y="973"/>
                    </a:lnTo>
                    <a:lnTo>
                      <a:pt x="204" y="973"/>
                    </a:lnTo>
                    <a:lnTo>
                      <a:pt x="204" y="970"/>
                    </a:lnTo>
                    <a:lnTo>
                      <a:pt x="200" y="973"/>
                    </a:lnTo>
                    <a:lnTo>
                      <a:pt x="198" y="973"/>
                    </a:lnTo>
                    <a:lnTo>
                      <a:pt x="196" y="973"/>
                    </a:lnTo>
                    <a:lnTo>
                      <a:pt x="198" y="973"/>
                    </a:lnTo>
                    <a:lnTo>
                      <a:pt x="200" y="973"/>
                    </a:lnTo>
                    <a:lnTo>
                      <a:pt x="204" y="970"/>
                    </a:lnTo>
                    <a:lnTo>
                      <a:pt x="205" y="970"/>
                    </a:lnTo>
                    <a:lnTo>
                      <a:pt x="207" y="968"/>
                    </a:lnTo>
                    <a:lnTo>
                      <a:pt x="207" y="964"/>
                    </a:lnTo>
                    <a:lnTo>
                      <a:pt x="207" y="960"/>
                    </a:lnTo>
                    <a:lnTo>
                      <a:pt x="205" y="960"/>
                    </a:lnTo>
                    <a:lnTo>
                      <a:pt x="204" y="968"/>
                    </a:lnTo>
                    <a:lnTo>
                      <a:pt x="198" y="970"/>
                    </a:lnTo>
                    <a:lnTo>
                      <a:pt x="194" y="970"/>
                    </a:lnTo>
                    <a:lnTo>
                      <a:pt x="192" y="970"/>
                    </a:lnTo>
                    <a:lnTo>
                      <a:pt x="194" y="970"/>
                    </a:lnTo>
                    <a:lnTo>
                      <a:pt x="196" y="970"/>
                    </a:lnTo>
                    <a:lnTo>
                      <a:pt x="200" y="964"/>
                    </a:lnTo>
                    <a:lnTo>
                      <a:pt x="200" y="960"/>
                    </a:lnTo>
                    <a:lnTo>
                      <a:pt x="198" y="958"/>
                    </a:lnTo>
                    <a:lnTo>
                      <a:pt x="196" y="958"/>
                    </a:lnTo>
                    <a:lnTo>
                      <a:pt x="194" y="958"/>
                    </a:lnTo>
                    <a:lnTo>
                      <a:pt x="194" y="960"/>
                    </a:lnTo>
                    <a:lnTo>
                      <a:pt x="196" y="960"/>
                    </a:lnTo>
                    <a:lnTo>
                      <a:pt x="196" y="964"/>
                    </a:lnTo>
                    <a:lnTo>
                      <a:pt x="194" y="964"/>
                    </a:lnTo>
                    <a:lnTo>
                      <a:pt x="192" y="964"/>
                    </a:lnTo>
                    <a:lnTo>
                      <a:pt x="188" y="964"/>
                    </a:lnTo>
                    <a:lnTo>
                      <a:pt x="187" y="964"/>
                    </a:lnTo>
                    <a:lnTo>
                      <a:pt x="185" y="968"/>
                    </a:lnTo>
                    <a:lnTo>
                      <a:pt x="183" y="970"/>
                    </a:lnTo>
                    <a:lnTo>
                      <a:pt x="181" y="970"/>
                    </a:lnTo>
                    <a:lnTo>
                      <a:pt x="179" y="970"/>
                    </a:lnTo>
                    <a:lnTo>
                      <a:pt x="179" y="970"/>
                    </a:lnTo>
                    <a:lnTo>
                      <a:pt x="175" y="970"/>
                    </a:lnTo>
                    <a:lnTo>
                      <a:pt x="173" y="970"/>
                    </a:lnTo>
                    <a:lnTo>
                      <a:pt x="172" y="970"/>
                    </a:lnTo>
                    <a:lnTo>
                      <a:pt x="170" y="970"/>
                    </a:lnTo>
                    <a:lnTo>
                      <a:pt x="170" y="973"/>
                    </a:lnTo>
                    <a:lnTo>
                      <a:pt x="170" y="973"/>
                    </a:lnTo>
                    <a:lnTo>
                      <a:pt x="170" y="973"/>
                    </a:lnTo>
                    <a:lnTo>
                      <a:pt x="164" y="973"/>
                    </a:lnTo>
                    <a:lnTo>
                      <a:pt x="162" y="970"/>
                    </a:lnTo>
                    <a:lnTo>
                      <a:pt x="164" y="970"/>
                    </a:lnTo>
                    <a:lnTo>
                      <a:pt x="168" y="970"/>
                    </a:lnTo>
                    <a:lnTo>
                      <a:pt x="170" y="968"/>
                    </a:lnTo>
                    <a:lnTo>
                      <a:pt x="170" y="964"/>
                    </a:lnTo>
                    <a:lnTo>
                      <a:pt x="166" y="964"/>
                    </a:lnTo>
                    <a:lnTo>
                      <a:pt x="166" y="960"/>
                    </a:lnTo>
                    <a:lnTo>
                      <a:pt x="162" y="958"/>
                    </a:lnTo>
                    <a:lnTo>
                      <a:pt x="162" y="956"/>
                    </a:lnTo>
                    <a:lnTo>
                      <a:pt x="160" y="958"/>
                    </a:lnTo>
                    <a:lnTo>
                      <a:pt x="155" y="960"/>
                    </a:lnTo>
                    <a:lnTo>
                      <a:pt x="155" y="960"/>
                    </a:lnTo>
                    <a:lnTo>
                      <a:pt x="151" y="958"/>
                    </a:lnTo>
                    <a:lnTo>
                      <a:pt x="155" y="955"/>
                    </a:lnTo>
                    <a:lnTo>
                      <a:pt x="155" y="953"/>
                    </a:lnTo>
                    <a:lnTo>
                      <a:pt x="151" y="953"/>
                    </a:lnTo>
                    <a:lnTo>
                      <a:pt x="151" y="953"/>
                    </a:lnTo>
                    <a:lnTo>
                      <a:pt x="155" y="951"/>
                    </a:lnTo>
                    <a:lnTo>
                      <a:pt x="158" y="951"/>
                    </a:lnTo>
                    <a:lnTo>
                      <a:pt x="158" y="949"/>
                    </a:lnTo>
                    <a:lnTo>
                      <a:pt x="158" y="947"/>
                    </a:lnTo>
                    <a:lnTo>
                      <a:pt x="156" y="947"/>
                    </a:lnTo>
                    <a:lnTo>
                      <a:pt x="155" y="947"/>
                    </a:lnTo>
                    <a:lnTo>
                      <a:pt x="151" y="949"/>
                    </a:lnTo>
                    <a:lnTo>
                      <a:pt x="147" y="951"/>
                    </a:lnTo>
                    <a:lnTo>
                      <a:pt x="141" y="949"/>
                    </a:lnTo>
                    <a:lnTo>
                      <a:pt x="145" y="947"/>
                    </a:lnTo>
                    <a:lnTo>
                      <a:pt x="147" y="947"/>
                    </a:lnTo>
                    <a:lnTo>
                      <a:pt x="149" y="945"/>
                    </a:lnTo>
                    <a:lnTo>
                      <a:pt x="149" y="943"/>
                    </a:lnTo>
                    <a:lnTo>
                      <a:pt x="151" y="939"/>
                    </a:lnTo>
                    <a:lnTo>
                      <a:pt x="155" y="939"/>
                    </a:lnTo>
                    <a:lnTo>
                      <a:pt x="155" y="939"/>
                    </a:lnTo>
                    <a:lnTo>
                      <a:pt x="151" y="936"/>
                    </a:lnTo>
                    <a:lnTo>
                      <a:pt x="149" y="939"/>
                    </a:lnTo>
                    <a:lnTo>
                      <a:pt x="145" y="939"/>
                    </a:lnTo>
                    <a:lnTo>
                      <a:pt x="141" y="939"/>
                    </a:lnTo>
                    <a:lnTo>
                      <a:pt x="145" y="936"/>
                    </a:lnTo>
                    <a:lnTo>
                      <a:pt x="147" y="934"/>
                    </a:lnTo>
                    <a:lnTo>
                      <a:pt x="151" y="936"/>
                    </a:lnTo>
                    <a:lnTo>
                      <a:pt x="151" y="934"/>
                    </a:lnTo>
                    <a:lnTo>
                      <a:pt x="155" y="934"/>
                    </a:lnTo>
                    <a:lnTo>
                      <a:pt x="155" y="930"/>
                    </a:lnTo>
                    <a:lnTo>
                      <a:pt x="155" y="930"/>
                    </a:lnTo>
                    <a:lnTo>
                      <a:pt x="155" y="928"/>
                    </a:lnTo>
                    <a:lnTo>
                      <a:pt x="149" y="930"/>
                    </a:lnTo>
                    <a:lnTo>
                      <a:pt x="149" y="930"/>
                    </a:lnTo>
                    <a:lnTo>
                      <a:pt x="147" y="934"/>
                    </a:lnTo>
                    <a:lnTo>
                      <a:pt x="141" y="934"/>
                    </a:lnTo>
                    <a:lnTo>
                      <a:pt x="145" y="930"/>
                    </a:lnTo>
                    <a:lnTo>
                      <a:pt x="147" y="930"/>
                    </a:lnTo>
                    <a:lnTo>
                      <a:pt x="147" y="928"/>
                    </a:lnTo>
                    <a:lnTo>
                      <a:pt x="145" y="926"/>
                    </a:lnTo>
                    <a:lnTo>
                      <a:pt x="147" y="924"/>
                    </a:lnTo>
                    <a:lnTo>
                      <a:pt x="147" y="924"/>
                    </a:lnTo>
                    <a:lnTo>
                      <a:pt x="145" y="923"/>
                    </a:lnTo>
                    <a:lnTo>
                      <a:pt x="141" y="923"/>
                    </a:lnTo>
                    <a:lnTo>
                      <a:pt x="141" y="923"/>
                    </a:lnTo>
                    <a:lnTo>
                      <a:pt x="145" y="921"/>
                    </a:lnTo>
                    <a:lnTo>
                      <a:pt x="141" y="917"/>
                    </a:lnTo>
                    <a:lnTo>
                      <a:pt x="141" y="917"/>
                    </a:lnTo>
                    <a:lnTo>
                      <a:pt x="140" y="919"/>
                    </a:lnTo>
                    <a:lnTo>
                      <a:pt x="138" y="919"/>
                    </a:lnTo>
                    <a:lnTo>
                      <a:pt x="138" y="917"/>
                    </a:lnTo>
                    <a:lnTo>
                      <a:pt x="140" y="915"/>
                    </a:lnTo>
                    <a:lnTo>
                      <a:pt x="141" y="911"/>
                    </a:lnTo>
                    <a:lnTo>
                      <a:pt x="141" y="911"/>
                    </a:lnTo>
                    <a:lnTo>
                      <a:pt x="145" y="909"/>
                    </a:lnTo>
                    <a:lnTo>
                      <a:pt x="141" y="906"/>
                    </a:lnTo>
                    <a:lnTo>
                      <a:pt x="145" y="906"/>
                    </a:lnTo>
                    <a:lnTo>
                      <a:pt x="145" y="904"/>
                    </a:lnTo>
                    <a:lnTo>
                      <a:pt x="145" y="900"/>
                    </a:lnTo>
                    <a:lnTo>
                      <a:pt x="141" y="904"/>
                    </a:lnTo>
                    <a:lnTo>
                      <a:pt x="141" y="904"/>
                    </a:lnTo>
                    <a:lnTo>
                      <a:pt x="141" y="900"/>
                    </a:lnTo>
                    <a:lnTo>
                      <a:pt x="138" y="900"/>
                    </a:lnTo>
                    <a:lnTo>
                      <a:pt x="138" y="904"/>
                    </a:lnTo>
                    <a:lnTo>
                      <a:pt x="136" y="904"/>
                    </a:lnTo>
                    <a:lnTo>
                      <a:pt x="134" y="900"/>
                    </a:lnTo>
                    <a:lnTo>
                      <a:pt x="136" y="898"/>
                    </a:lnTo>
                    <a:lnTo>
                      <a:pt x="140" y="896"/>
                    </a:lnTo>
                    <a:lnTo>
                      <a:pt x="140" y="894"/>
                    </a:lnTo>
                    <a:lnTo>
                      <a:pt x="138" y="892"/>
                    </a:lnTo>
                    <a:lnTo>
                      <a:pt x="134" y="892"/>
                    </a:lnTo>
                    <a:lnTo>
                      <a:pt x="132" y="894"/>
                    </a:lnTo>
                    <a:lnTo>
                      <a:pt x="130" y="894"/>
                    </a:lnTo>
                    <a:lnTo>
                      <a:pt x="130" y="892"/>
                    </a:lnTo>
                    <a:lnTo>
                      <a:pt x="130" y="890"/>
                    </a:lnTo>
                    <a:lnTo>
                      <a:pt x="132" y="890"/>
                    </a:lnTo>
                    <a:lnTo>
                      <a:pt x="136" y="890"/>
                    </a:lnTo>
                    <a:lnTo>
                      <a:pt x="140" y="890"/>
                    </a:lnTo>
                    <a:lnTo>
                      <a:pt x="141" y="889"/>
                    </a:lnTo>
                    <a:lnTo>
                      <a:pt x="140" y="889"/>
                    </a:lnTo>
                    <a:lnTo>
                      <a:pt x="138" y="887"/>
                    </a:lnTo>
                    <a:lnTo>
                      <a:pt x="134" y="887"/>
                    </a:lnTo>
                    <a:lnTo>
                      <a:pt x="132" y="889"/>
                    </a:lnTo>
                    <a:lnTo>
                      <a:pt x="130" y="889"/>
                    </a:lnTo>
                    <a:lnTo>
                      <a:pt x="130" y="887"/>
                    </a:lnTo>
                    <a:lnTo>
                      <a:pt x="132" y="883"/>
                    </a:lnTo>
                    <a:lnTo>
                      <a:pt x="136" y="883"/>
                    </a:lnTo>
                    <a:lnTo>
                      <a:pt x="138" y="883"/>
                    </a:lnTo>
                    <a:lnTo>
                      <a:pt x="136" y="881"/>
                    </a:lnTo>
                    <a:lnTo>
                      <a:pt x="134" y="881"/>
                    </a:lnTo>
                    <a:lnTo>
                      <a:pt x="132" y="879"/>
                    </a:lnTo>
                    <a:lnTo>
                      <a:pt x="134" y="879"/>
                    </a:lnTo>
                    <a:lnTo>
                      <a:pt x="136" y="879"/>
                    </a:lnTo>
                    <a:lnTo>
                      <a:pt x="138" y="881"/>
                    </a:lnTo>
                    <a:lnTo>
                      <a:pt x="141" y="879"/>
                    </a:lnTo>
                    <a:lnTo>
                      <a:pt x="141" y="879"/>
                    </a:lnTo>
                    <a:lnTo>
                      <a:pt x="141" y="875"/>
                    </a:lnTo>
                    <a:lnTo>
                      <a:pt x="141" y="879"/>
                    </a:lnTo>
                    <a:lnTo>
                      <a:pt x="138" y="879"/>
                    </a:lnTo>
                    <a:lnTo>
                      <a:pt x="136" y="879"/>
                    </a:lnTo>
                    <a:lnTo>
                      <a:pt x="134" y="879"/>
                    </a:lnTo>
                    <a:lnTo>
                      <a:pt x="132" y="879"/>
                    </a:lnTo>
                    <a:lnTo>
                      <a:pt x="130" y="879"/>
                    </a:lnTo>
                    <a:lnTo>
                      <a:pt x="130" y="881"/>
                    </a:lnTo>
                    <a:lnTo>
                      <a:pt x="126" y="879"/>
                    </a:lnTo>
                    <a:lnTo>
                      <a:pt x="126" y="875"/>
                    </a:lnTo>
                    <a:lnTo>
                      <a:pt x="126" y="875"/>
                    </a:lnTo>
                    <a:lnTo>
                      <a:pt x="130" y="875"/>
                    </a:lnTo>
                    <a:lnTo>
                      <a:pt x="134" y="874"/>
                    </a:lnTo>
                    <a:lnTo>
                      <a:pt x="134" y="870"/>
                    </a:lnTo>
                    <a:lnTo>
                      <a:pt x="130" y="874"/>
                    </a:lnTo>
                    <a:lnTo>
                      <a:pt x="126" y="870"/>
                    </a:lnTo>
                    <a:lnTo>
                      <a:pt x="126" y="870"/>
                    </a:lnTo>
                    <a:lnTo>
                      <a:pt x="126" y="866"/>
                    </a:lnTo>
                    <a:lnTo>
                      <a:pt x="130" y="866"/>
                    </a:lnTo>
                    <a:lnTo>
                      <a:pt x="138" y="866"/>
                    </a:lnTo>
                    <a:lnTo>
                      <a:pt x="141" y="866"/>
                    </a:lnTo>
                    <a:lnTo>
                      <a:pt x="147" y="866"/>
                    </a:lnTo>
                    <a:lnTo>
                      <a:pt x="149" y="862"/>
                    </a:lnTo>
                    <a:lnTo>
                      <a:pt x="149" y="862"/>
                    </a:lnTo>
                    <a:lnTo>
                      <a:pt x="147" y="862"/>
                    </a:lnTo>
                    <a:lnTo>
                      <a:pt x="141" y="860"/>
                    </a:lnTo>
                    <a:lnTo>
                      <a:pt x="140" y="862"/>
                    </a:lnTo>
                    <a:lnTo>
                      <a:pt x="134" y="864"/>
                    </a:lnTo>
                    <a:lnTo>
                      <a:pt x="132" y="866"/>
                    </a:lnTo>
                    <a:lnTo>
                      <a:pt x="130" y="866"/>
                    </a:lnTo>
                    <a:lnTo>
                      <a:pt x="126" y="864"/>
                    </a:lnTo>
                    <a:lnTo>
                      <a:pt x="130" y="862"/>
                    </a:lnTo>
                    <a:lnTo>
                      <a:pt x="134" y="864"/>
                    </a:lnTo>
                    <a:lnTo>
                      <a:pt x="136" y="862"/>
                    </a:lnTo>
                    <a:lnTo>
                      <a:pt x="140" y="857"/>
                    </a:lnTo>
                    <a:lnTo>
                      <a:pt x="141" y="857"/>
                    </a:lnTo>
                    <a:lnTo>
                      <a:pt x="145" y="857"/>
                    </a:lnTo>
                    <a:lnTo>
                      <a:pt x="147" y="860"/>
                    </a:lnTo>
                    <a:lnTo>
                      <a:pt x="149" y="860"/>
                    </a:lnTo>
                    <a:lnTo>
                      <a:pt x="151" y="858"/>
                    </a:lnTo>
                    <a:lnTo>
                      <a:pt x="149" y="858"/>
                    </a:lnTo>
                    <a:lnTo>
                      <a:pt x="145" y="855"/>
                    </a:lnTo>
                    <a:lnTo>
                      <a:pt x="141" y="855"/>
                    </a:lnTo>
                    <a:lnTo>
                      <a:pt x="141" y="853"/>
                    </a:lnTo>
                    <a:lnTo>
                      <a:pt x="141" y="851"/>
                    </a:lnTo>
                    <a:lnTo>
                      <a:pt x="145" y="851"/>
                    </a:lnTo>
                    <a:lnTo>
                      <a:pt x="147" y="849"/>
                    </a:lnTo>
                    <a:lnTo>
                      <a:pt x="147" y="849"/>
                    </a:lnTo>
                    <a:lnTo>
                      <a:pt x="149" y="853"/>
                    </a:lnTo>
                    <a:lnTo>
                      <a:pt x="151" y="857"/>
                    </a:lnTo>
                    <a:lnTo>
                      <a:pt x="155" y="858"/>
                    </a:lnTo>
                    <a:lnTo>
                      <a:pt x="155" y="857"/>
                    </a:lnTo>
                    <a:lnTo>
                      <a:pt x="155" y="855"/>
                    </a:lnTo>
                    <a:lnTo>
                      <a:pt x="151" y="853"/>
                    </a:lnTo>
                    <a:lnTo>
                      <a:pt x="151" y="849"/>
                    </a:lnTo>
                    <a:lnTo>
                      <a:pt x="155" y="845"/>
                    </a:lnTo>
                    <a:lnTo>
                      <a:pt x="155" y="845"/>
                    </a:lnTo>
                    <a:lnTo>
                      <a:pt x="151" y="845"/>
                    </a:lnTo>
                    <a:lnTo>
                      <a:pt x="151" y="845"/>
                    </a:lnTo>
                    <a:lnTo>
                      <a:pt x="149" y="845"/>
                    </a:lnTo>
                    <a:lnTo>
                      <a:pt x="147" y="845"/>
                    </a:lnTo>
                    <a:lnTo>
                      <a:pt x="145" y="845"/>
                    </a:lnTo>
                    <a:lnTo>
                      <a:pt x="141" y="849"/>
                    </a:lnTo>
                    <a:lnTo>
                      <a:pt x="140" y="849"/>
                    </a:lnTo>
                    <a:lnTo>
                      <a:pt x="138" y="849"/>
                    </a:lnTo>
                    <a:lnTo>
                      <a:pt x="138" y="849"/>
                    </a:lnTo>
                    <a:lnTo>
                      <a:pt x="140" y="845"/>
                    </a:lnTo>
                    <a:lnTo>
                      <a:pt x="140" y="845"/>
                    </a:lnTo>
                    <a:lnTo>
                      <a:pt x="138" y="845"/>
                    </a:lnTo>
                    <a:lnTo>
                      <a:pt x="136" y="849"/>
                    </a:lnTo>
                    <a:lnTo>
                      <a:pt x="134" y="849"/>
                    </a:lnTo>
                    <a:lnTo>
                      <a:pt x="130" y="853"/>
                    </a:lnTo>
                    <a:lnTo>
                      <a:pt x="130" y="855"/>
                    </a:lnTo>
                    <a:lnTo>
                      <a:pt x="126" y="858"/>
                    </a:lnTo>
                    <a:lnTo>
                      <a:pt x="124" y="858"/>
                    </a:lnTo>
                    <a:lnTo>
                      <a:pt x="124" y="855"/>
                    </a:lnTo>
                    <a:lnTo>
                      <a:pt x="124" y="851"/>
                    </a:lnTo>
                    <a:lnTo>
                      <a:pt x="126" y="849"/>
                    </a:lnTo>
                    <a:lnTo>
                      <a:pt x="123" y="849"/>
                    </a:lnTo>
                    <a:lnTo>
                      <a:pt x="124" y="845"/>
                    </a:lnTo>
                    <a:lnTo>
                      <a:pt x="124" y="842"/>
                    </a:lnTo>
                    <a:lnTo>
                      <a:pt x="126" y="842"/>
                    </a:lnTo>
                    <a:lnTo>
                      <a:pt x="130" y="842"/>
                    </a:lnTo>
                    <a:lnTo>
                      <a:pt x="134" y="842"/>
                    </a:lnTo>
                    <a:lnTo>
                      <a:pt x="136" y="836"/>
                    </a:lnTo>
                    <a:lnTo>
                      <a:pt x="138" y="836"/>
                    </a:lnTo>
                    <a:lnTo>
                      <a:pt x="136" y="836"/>
                    </a:lnTo>
                    <a:lnTo>
                      <a:pt x="134" y="836"/>
                    </a:lnTo>
                    <a:lnTo>
                      <a:pt x="132" y="836"/>
                    </a:lnTo>
                    <a:lnTo>
                      <a:pt x="130" y="836"/>
                    </a:lnTo>
                    <a:lnTo>
                      <a:pt x="130" y="840"/>
                    </a:lnTo>
                    <a:lnTo>
                      <a:pt x="126" y="842"/>
                    </a:lnTo>
                    <a:lnTo>
                      <a:pt x="126" y="842"/>
                    </a:lnTo>
                    <a:lnTo>
                      <a:pt x="124" y="836"/>
                    </a:lnTo>
                    <a:lnTo>
                      <a:pt x="124" y="832"/>
                    </a:lnTo>
                    <a:lnTo>
                      <a:pt x="126" y="832"/>
                    </a:lnTo>
                    <a:lnTo>
                      <a:pt x="126" y="828"/>
                    </a:lnTo>
                    <a:lnTo>
                      <a:pt x="124" y="825"/>
                    </a:lnTo>
                    <a:lnTo>
                      <a:pt x="124" y="825"/>
                    </a:lnTo>
                    <a:lnTo>
                      <a:pt x="123" y="828"/>
                    </a:lnTo>
                    <a:lnTo>
                      <a:pt x="121" y="826"/>
                    </a:lnTo>
                    <a:lnTo>
                      <a:pt x="117" y="825"/>
                    </a:lnTo>
                    <a:lnTo>
                      <a:pt x="123" y="823"/>
                    </a:lnTo>
                    <a:lnTo>
                      <a:pt x="126" y="823"/>
                    </a:lnTo>
                    <a:lnTo>
                      <a:pt x="126" y="821"/>
                    </a:lnTo>
                    <a:lnTo>
                      <a:pt x="132" y="819"/>
                    </a:lnTo>
                    <a:lnTo>
                      <a:pt x="134" y="817"/>
                    </a:lnTo>
                    <a:lnTo>
                      <a:pt x="136" y="817"/>
                    </a:lnTo>
                    <a:lnTo>
                      <a:pt x="136" y="815"/>
                    </a:lnTo>
                    <a:lnTo>
                      <a:pt x="138" y="811"/>
                    </a:lnTo>
                    <a:lnTo>
                      <a:pt x="140" y="815"/>
                    </a:lnTo>
                    <a:lnTo>
                      <a:pt x="140" y="811"/>
                    </a:lnTo>
                    <a:lnTo>
                      <a:pt x="147" y="811"/>
                    </a:lnTo>
                    <a:lnTo>
                      <a:pt x="149" y="815"/>
                    </a:lnTo>
                    <a:lnTo>
                      <a:pt x="151" y="815"/>
                    </a:lnTo>
                    <a:lnTo>
                      <a:pt x="151" y="811"/>
                    </a:lnTo>
                    <a:lnTo>
                      <a:pt x="147" y="811"/>
                    </a:lnTo>
                    <a:lnTo>
                      <a:pt x="145" y="809"/>
                    </a:lnTo>
                    <a:lnTo>
                      <a:pt x="141" y="809"/>
                    </a:lnTo>
                    <a:lnTo>
                      <a:pt x="136" y="811"/>
                    </a:lnTo>
                    <a:lnTo>
                      <a:pt x="134" y="811"/>
                    </a:lnTo>
                    <a:lnTo>
                      <a:pt x="132" y="811"/>
                    </a:lnTo>
                    <a:lnTo>
                      <a:pt x="132" y="815"/>
                    </a:lnTo>
                    <a:lnTo>
                      <a:pt x="130" y="817"/>
                    </a:lnTo>
                    <a:lnTo>
                      <a:pt x="126" y="817"/>
                    </a:lnTo>
                    <a:lnTo>
                      <a:pt x="126" y="821"/>
                    </a:lnTo>
                    <a:lnTo>
                      <a:pt x="124" y="821"/>
                    </a:lnTo>
                    <a:lnTo>
                      <a:pt x="123" y="819"/>
                    </a:lnTo>
                    <a:lnTo>
                      <a:pt x="124" y="817"/>
                    </a:lnTo>
                    <a:lnTo>
                      <a:pt x="121" y="815"/>
                    </a:lnTo>
                    <a:lnTo>
                      <a:pt x="123" y="815"/>
                    </a:lnTo>
                    <a:lnTo>
                      <a:pt x="124" y="811"/>
                    </a:lnTo>
                    <a:lnTo>
                      <a:pt x="121" y="811"/>
                    </a:lnTo>
                    <a:lnTo>
                      <a:pt x="117" y="811"/>
                    </a:lnTo>
                    <a:lnTo>
                      <a:pt x="117" y="809"/>
                    </a:lnTo>
                    <a:lnTo>
                      <a:pt x="117" y="806"/>
                    </a:lnTo>
                    <a:lnTo>
                      <a:pt x="121" y="806"/>
                    </a:lnTo>
                    <a:lnTo>
                      <a:pt x="124" y="804"/>
                    </a:lnTo>
                    <a:lnTo>
                      <a:pt x="126" y="804"/>
                    </a:lnTo>
                    <a:lnTo>
                      <a:pt x="126" y="806"/>
                    </a:lnTo>
                    <a:lnTo>
                      <a:pt x="130" y="806"/>
                    </a:lnTo>
                    <a:lnTo>
                      <a:pt x="132" y="804"/>
                    </a:lnTo>
                    <a:lnTo>
                      <a:pt x="134" y="802"/>
                    </a:lnTo>
                    <a:lnTo>
                      <a:pt x="138" y="802"/>
                    </a:lnTo>
                    <a:lnTo>
                      <a:pt x="138" y="800"/>
                    </a:lnTo>
                    <a:lnTo>
                      <a:pt x="138" y="800"/>
                    </a:lnTo>
                    <a:lnTo>
                      <a:pt x="134" y="798"/>
                    </a:lnTo>
                    <a:lnTo>
                      <a:pt x="130" y="802"/>
                    </a:lnTo>
                    <a:lnTo>
                      <a:pt x="130" y="804"/>
                    </a:lnTo>
                    <a:lnTo>
                      <a:pt x="126" y="802"/>
                    </a:lnTo>
                    <a:lnTo>
                      <a:pt x="126" y="800"/>
                    </a:lnTo>
                    <a:lnTo>
                      <a:pt x="124" y="800"/>
                    </a:lnTo>
                    <a:lnTo>
                      <a:pt x="123" y="802"/>
                    </a:lnTo>
                    <a:lnTo>
                      <a:pt x="117" y="804"/>
                    </a:lnTo>
                    <a:lnTo>
                      <a:pt x="117" y="802"/>
                    </a:lnTo>
                    <a:lnTo>
                      <a:pt x="117" y="802"/>
                    </a:lnTo>
                    <a:lnTo>
                      <a:pt x="115" y="802"/>
                    </a:lnTo>
                    <a:lnTo>
                      <a:pt x="113" y="802"/>
                    </a:lnTo>
                    <a:lnTo>
                      <a:pt x="113" y="800"/>
                    </a:lnTo>
                    <a:lnTo>
                      <a:pt x="115" y="800"/>
                    </a:lnTo>
                    <a:lnTo>
                      <a:pt x="121" y="798"/>
                    </a:lnTo>
                    <a:lnTo>
                      <a:pt x="126" y="794"/>
                    </a:lnTo>
                    <a:lnTo>
                      <a:pt x="130" y="794"/>
                    </a:lnTo>
                    <a:lnTo>
                      <a:pt x="134" y="793"/>
                    </a:lnTo>
                    <a:lnTo>
                      <a:pt x="136" y="789"/>
                    </a:lnTo>
                    <a:lnTo>
                      <a:pt x="141" y="785"/>
                    </a:lnTo>
                    <a:lnTo>
                      <a:pt x="149" y="781"/>
                    </a:lnTo>
                    <a:lnTo>
                      <a:pt x="151" y="779"/>
                    </a:lnTo>
                    <a:lnTo>
                      <a:pt x="155" y="779"/>
                    </a:lnTo>
                    <a:lnTo>
                      <a:pt x="156" y="777"/>
                    </a:lnTo>
                    <a:lnTo>
                      <a:pt x="156" y="777"/>
                    </a:lnTo>
                    <a:lnTo>
                      <a:pt x="155" y="776"/>
                    </a:lnTo>
                    <a:lnTo>
                      <a:pt x="151" y="777"/>
                    </a:lnTo>
                    <a:lnTo>
                      <a:pt x="140" y="781"/>
                    </a:lnTo>
                    <a:lnTo>
                      <a:pt x="136" y="785"/>
                    </a:lnTo>
                    <a:lnTo>
                      <a:pt x="134" y="789"/>
                    </a:lnTo>
                    <a:lnTo>
                      <a:pt x="130" y="791"/>
                    </a:lnTo>
                    <a:lnTo>
                      <a:pt x="124" y="793"/>
                    </a:lnTo>
                    <a:lnTo>
                      <a:pt x="123" y="794"/>
                    </a:lnTo>
                    <a:lnTo>
                      <a:pt x="115" y="796"/>
                    </a:lnTo>
                    <a:lnTo>
                      <a:pt x="111" y="796"/>
                    </a:lnTo>
                    <a:lnTo>
                      <a:pt x="111" y="794"/>
                    </a:lnTo>
                    <a:lnTo>
                      <a:pt x="113" y="794"/>
                    </a:lnTo>
                    <a:lnTo>
                      <a:pt x="113" y="787"/>
                    </a:lnTo>
                    <a:lnTo>
                      <a:pt x="115" y="785"/>
                    </a:lnTo>
                    <a:lnTo>
                      <a:pt x="117" y="785"/>
                    </a:lnTo>
                    <a:lnTo>
                      <a:pt x="117" y="787"/>
                    </a:lnTo>
                    <a:lnTo>
                      <a:pt x="123" y="785"/>
                    </a:lnTo>
                    <a:lnTo>
                      <a:pt x="126" y="785"/>
                    </a:lnTo>
                    <a:lnTo>
                      <a:pt x="130" y="785"/>
                    </a:lnTo>
                    <a:lnTo>
                      <a:pt x="126" y="785"/>
                    </a:lnTo>
                    <a:lnTo>
                      <a:pt x="126" y="785"/>
                    </a:lnTo>
                    <a:lnTo>
                      <a:pt x="123" y="785"/>
                    </a:lnTo>
                    <a:lnTo>
                      <a:pt x="121" y="785"/>
                    </a:lnTo>
                    <a:lnTo>
                      <a:pt x="117" y="785"/>
                    </a:lnTo>
                    <a:lnTo>
                      <a:pt x="117" y="781"/>
                    </a:lnTo>
                    <a:lnTo>
                      <a:pt x="117" y="781"/>
                    </a:lnTo>
                    <a:lnTo>
                      <a:pt x="121" y="779"/>
                    </a:lnTo>
                    <a:lnTo>
                      <a:pt x="124" y="781"/>
                    </a:lnTo>
                    <a:lnTo>
                      <a:pt x="126" y="781"/>
                    </a:lnTo>
                    <a:lnTo>
                      <a:pt x="130" y="781"/>
                    </a:lnTo>
                    <a:lnTo>
                      <a:pt x="130" y="779"/>
                    </a:lnTo>
                    <a:lnTo>
                      <a:pt x="126" y="779"/>
                    </a:lnTo>
                    <a:lnTo>
                      <a:pt x="126" y="779"/>
                    </a:lnTo>
                    <a:lnTo>
                      <a:pt x="126" y="777"/>
                    </a:lnTo>
                    <a:lnTo>
                      <a:pt x="126" y="776"/>
                    </a:lnTo>
                    <a:lnTo>
                      <a:pt x="130" y="776"/>
                    </a:lnTo>
                    <a:lnTo>
                      <a:pt x="130" y="776"/>
                    </a:lnTo>
                    <a:lnTo>
                      <a:pt x="130" y="776"/>
                    </a:lnTo>
                    <a:lnTo>
                      <a:pt x="132" y="776"/>
                    </a:lnTo>
                    <a:lnTo>
                      <a:pt x="134" y="776"/>
                    </a:lnTo>
                    <a:lnTo>
                      <a:pt x="134" y="772"/>
                    </a:lnTo>
                    <a:lnTo>
                      <a:pt x="134" y="770"/>
                    </a:lnTo>
                    <a:lnTo>
                      <a:pt x="134" y="770"/>
                    </a:lnTo>
                    <a:lnTo>
                      <a:pt x="130" y="770"/>
                    </a:lnTo>
                    <a:lnTo>
                      <a:pt x="130" y="772"/>
                    </a:lnTo>
                    <a:lnTo>
                      <a:pt x="126" y="772"/>
                    </a:lnTo>
                    <a:lnTo>
                      <a:pt x="117" y="768"/>
                    </a:lnTo>
                    <a:lnTo>
                      <a:pt x="117" y="768"/>
                    </a:lnTo>
                    <a:lnTo>
                      <a:pt x="113" y="766"/>
                    </a:lnTo>
                    <a:lnTo>
                      <a:pt x="115" y="766"/>
                    </a:lnTo>
                    <a:lnTo>
                      <a:pt x="117" y="766"/>
                    </a:lnTo>
                    <a:lnTo>
                      <a:pt x="121" y="766"/>
                    </a:lnTo>
                    <a:lnTo>
                      <a:pt x="123" y="766"/>
                    </a:lnTo>
                    <a:lnTo>
                      <a:pt x="121" y="764"/>
                    </a:lnTo>
                    <a:lnTo>
                      <a:pt x="117" y="764"/>
                    </a:lnTo>
                    <a:lnTo>
                      <a:pt x="117" y="762"/>
                    </a:lnTo>
                    <a:lnTo>
                      <a:pt x="117" y="761"/>
                    </a:lnTo>
                    <a:lnTo>
                      <a:pt x="123" y="761"/>
                    </a:lnTo>
                    <a:lnTo>
                      <a:pt x="123" y="761"/>
                    </a:lnTo>
                    <a:lnTo>
                      <a:pt x="126" y="761"/>
                    </a:lnTo>
                    <a:lnTo>
                      <a:pt x="138" y="761"/>
                    </a:lnTo>
                    <a:lnTo>
                      <a:pt x="141" y="761"/>
                    </a:lnTo>
                    <a:lnTo>
                      <a:pt x="145" y="761"/>
                    </a:lnTo>
                    <a:lnTo>
                      <a:pt x="147" y="761"/>
                    </a:lnTo>
                    <a:lnTo>
                      <a:pt x="147" y="761"/>
                    </a:lnTo>
                    <a:lnTo>
                      <a:pt x="141" y="757"/>
                    </a:lnTo>
                    <a:lnTo>
                      <a:pt x="136" y="757"/>
                    </a:lnTo>
                    <a:lnTo>
                      <a:pt x="130" y="757"/>
                    </a:lnTo>
                    <a:lnTo>
                      <a:pt x="126" y="761"/>
                    </a:lnTo>
                    <a:lnTo>
                      <a:pt x="126" y="757"/>
                    </a:lnTo>
                    <a:lnTo>
                      <a:pt x="124" y="757"/>
                    </a:lnTo>
                    <a:lnTo>
                      <a:pt x="121" y="757"/>
                    </a:lnTo>
                    <a:lnTo>
                      <a:pt x="117" y="761"/>
                    </a:lnTo>
                    <a:lnTo>
                      <a:pt x="117" y="761"/>
                    </a:lnTo>
                    <a:lnTo>
                      <a:pt x="117" y="755"/>
                    </a:lnTo>
                    <a:lnTo>
                      <a:pt x="121" y="755"/>
                    </a:lnTo>
                    <a:lnTo>
                      <a:pt x="123" y="751"/>
                    </a:lnTo>
                    <a:lnTo>
                      <a:pt x="126" y="751"/>
                    </a:lnTo>
                    <a:lnTo>
                      <a:pt x="130" y="747"/>
                    </a:lnTo>
                    <a:lnTo>
                      <a:pt x="130" y="745"/>
                    </a:lnTo>
                    <a:lnTo>
                      <a:pt x="132" y="742"/>
                    </a:lnTo>
                    <a:lnTo>
                      <a:pt x="134" y="742"/>
                    </a:lnTo>
                    <a:lnTo>
                      <a:pt x="136" y="745"/>
                    </a:lnTo>
                    <a:lnTo>
                      <a:pt x="140" y="742"/>
                    </a:lnTo>
                    <a:lnTo>
                      <a:pt x="141" y="742"/>
                    </a:lnTo>
                    <a:lnTo>
                      <a:pt x="141" y="742"/>
                    </a:lnTo>
                    <a:lnTo>
                      <a:pt x="145" y="745"/>
                    </a:lnTo>
                    <a:lnTo>
                      <a:pt x="149" y="745"/>
                    </a:lnTo>
                    <a:lnTo>
                      <a:pt x="151" y="747"/>
                    </a:lnTo>
                    <a:lnTo>
                      <a:pt x="155" y="747"/>
                    </a:lnTo>
                    <a:lnTo>
                      <a:pt x="158" y="751"/>
                    </a:lnTo>
                    <a:lnTo>
                      <a:pt x="162" y="755"/>
                    </a:lnTo>
                    <a:lnTo>
                      <a:pt x="166" y="755"/>
                    </a:lnTo>
                    <a:lnTo>
                      <a:pt x="172" y="757"/>
                    </a:lnTo>
                    <a:lnTo>
                      <a:pt x="173" y="755"/>
                    </a:lnTo>
                    <a:lnTo>
                      <a:pt x="175" y="755"/>
                    </a:lnTo>
                    <a:lnTo>
                      <a:pt x="175" y="755"/>
                    </a:lnTo>
                    <a:lnTo>
                      <a:pt x="175" y="755"/>
                    </a:lnTo>
                    <a:lnTo>
                      <a:pt x="172" y="755"/>
                    </a:lnTo>
                    <a:lnTo>
                      <a:pt x="172" y="755"/>
                    </a:lnTo>
                    <a:lnTo>
                      <a:pt x="168" y="755"/>
                    </a:lnTo>
                    <a:lnTo>
                      <a:pt x="164" y="751"/>
                    </a:lnTo>
                    <a:lnTo>
                      <a:pt x="160" y="747"/>
                    </a:lnTo>
                    <a:lnTo>
                      <a:pt x="160" y="747"/>
                    </a:lnTo>
                    <a:lnTo>
                      <a:pt x="162" y="747"/>
                    </a:lnTo>
                    <a:lnTo>
                      <a:pt x="168" y="747"/>
                    </a:lnTo>
                    <a:lnTo>
                      <a:pt x="173" y="745"/>
                    </a:lnTo>
                    <a:lnTo>
                      <a:pt x="175" y="742"/>
                    </a:lnTo>
                    <a:lnTo>
                      <a:pt x="173" y="742"/>
                    </a:lnTo>
                    <a:lnTo>
                      <a:pt x="170" y="740"/>
                    </a:lnTo>
                    <a:lnTo>
                      <a:pt x="168" y="740"/>
                    </a:lnTo>
                    <a:lnTo>
                      <a:pt x="168" y="742"/>
                    </a:lnTo>
                    <a:lnTo>
                      <a:pt x="168" y="742"/>
                    </a:lnTo>
                    <a:lnTo>
                      <a:pt x="168" y="742"/>
                    </a:lnTo>
                    <a:lnTo>
                      <a:pt x="162" y="742"/>
                    </a:lnTo>
                    <a:lnTo>
                      <a:pt x="160" y="742"/>
                    </a:lnTo>
                    <a:lnTo>
                      <a:pt x="160" y="740"/>
                    </a:lnTo>
                    <a:lnTo>
                      <a:pt x="162" y="740"/>
                    </a:lnTo>
                    <a:lnTo>
                      <a:pt x="164" y="740"/>
                    </a:lnTo>
                    <a:lnTo>
                      <a:pt x="164" y="738"/>
                    </a:lnTo>
                    <a:lnTo>
                      <a:pt x="162" y="736"/>
                    </a:lnTo>
                    <a:lnTo>
                      <a:pt x="160" y="736"/>
                    </a:lnTo>
                    <a:lnTo>
                      <a:pt x="160" y="736"/>
                    </a:lnTo>
                    <a:lnTo>
                      <a:pt x="158" y="736"/>
                    </a:lnTo>
                    <a:lnTo>
                      <a:pt x="156" y="736"/>
                    </a:lnTo>
                    <a:lnTo>
                      <a:pt x="156" y="738"/>
                    </a:lnTo>
                    <a:lnTo>
                      <a:pt x="156" y="740"/>
                    </a:lnTo>
                    <a:lnTo>
                      <a:pt x="156" y="742"/>
                    </a:lnTo>
                    <a:lnTo>
                      <a:pt x="155" y="745"/>
                    </a:lnTo>
                    <a:lnTo>
                      <a:pt x="151" y="747"/>
                    </a:lnTo>
                    <a:lnTo>
                      <a:pt x="151" y="745"/>
                    </a:lnTo>
                    <a:lnTo>
                      <a:pt x="147" y="742"/>
                    </a:lnTo>
                    <a:lnTo>
                      <a:pt x="145" y="742"/>
                    </a:lnTo>
                    <a:lnTo>
                      <a:pt x="141" y="740"/>
                    </a:lnTo>
                    <a:lnTo>
                      <a:pt x="141" y="738"/>
                    </a:lnTo>
                    <a:lnTo>
                      <a:pt x="141" y="738"/>
                    </a:lnTo>
                    <a:lnTo>
                      <a:pt x="140" y="740"/>
                    </a:lnTo>
                    <a:lnTo>
                      <a:pt x="136" y="742"/>
                    </a:lnTo>
                    <a:lnTo>
                      <a:pt x="132" y="742"/>
                    </a:lnTo>
                    <a:lnTo>
                      <a:pt x="130" y="742"/>
                    </a:lnTo>
                    <a:lnTo>
                      <a:pt x="126" y="747"/>
                    </a:lnTo>
                    <a:lnTo>
                      <a:pt x="124" y="747"/>
                    </a:lnTo>
                    <a:lnTo>
                      <a:pt x="123" y="747"/>
                    </a:lnTo>
                    <a:lnTo>
                      <a:pt x="123" y="745"/>
                    </a:lnTo>
                    <a:lnTo>
                      <a:pt x="126" y="740"/>
                    </a:lnTo>
                    <a:lnTo>
                      <a:pt x="130" y="740"/>
                    </a:lnTo>
                    <a:lnTo>
                      <a:pt x="130" y="738"/>
                    </a:lnTo>
                    <a:lnTo>
                      <a:pt x="130" y="736"/>
                    </a:lnTo>
                    <a:lnTo>
                      <a:pt x="130" y="736"/>
                    </a:lnTo>
                    <a:lnTo>
                      <a:pt x="132" y="734"/>
                    </a:lnTo>
                    <a:lnTo>
                      <a:pt x="132" y="732"/>
                    </a:lnTo>
                    <a:lnTo>
                      <a:pt x="134" y="730"/>
                    </a:lnTo>
                    <a:lnTo>
                      <a:pt x="136" y="730"/>
                    </a:lnTo>
                    <a:lnTo>
                      <a:pt x="138" y="732"/>
                    </a:lnTo>
                    <a:lnTo>
                      <a:pt x="141" y="734"/>
                    </a:lnTo>
                    <a:lnTo>
                      <a:pt x="147" y="734"/>
                    </a:lnTo>
                    <a:lnTo>
                      <a:pt x="147" y="734"/>
                    </a:lnTo>
                    <a:lnTo>
                      <a:pt x="145" y="732"/>
                    </a:lnTo>
                    <a:lnTo>
                      <a:pt x="141" y="732"/>
                    </a:lnTo>
                    <a:lnTo>
                      <a:pt x="140" y="730"/>
                    </a:lnTo>
                    <a:lnTo>
                      <a:pt x="136" y="727"/>
                    </a:lnTo>
                    <a:lnTo>
                      <a:pt x="134" y="725"/>
                    </a:lnTo>
                    <a:lnTo>
                      <a:pt x="132" y="723"/>
                    </a:lnTo>
                    <a:lnTo>
                      <a:pt x="132" y="721"/>
                    </a:lnTo>
                    <a:lnTo>
                      <a:pt x="134" y="721"/>
                    </a:lnTo>
                    <a:lnTo>
                      <a:pt x="138" y="721"/>
                    </a:lnTo>
                    <a:lnTo>
                      <a:pt x="141" y="727"/>
                    </a:lnTo>
                    <a:lnTo>
                      <a:pt x="145" y="730"/>
                    </a:lnTo>
                    <a:lnTo>
                      <a:pt x="145" y="728"/>
                    </a:lnTo>
                    <a:lnTo>
                      <a:pt x="145" y="727"/>
                    </a:lnTo>
                    <a:lnTo>
                      <a:pt x="141" y="723"/>
                    </a:lnTo>
                    <a:lnTo>
                      <a:pt x="145" y="723"/>
                    </a:lnTo>
                    <a:lnTo>
                      <a:pt x="147" y="727"/>
                    </a:lnTo>
                    <a:lnTo>
                      <a:pt x="147" y="728"/>
                    </a:lnTo>
                    <a:lnTo>
                      <a:pt x="155" y="732"/>
                    </a:lnTo>
                    <a:lnTo>
                      <a:pt x="155" y="732"/>
                    </a:lnTo>
                    <a:lnTo>
                      <a:pt x="156" y="730"/>
                    </a:lnTo>
                    <a:lnTo>
                      <a:pt x="160" y="730"/>
                    </a:lnTo>
                    <a:lnTo>
                      <a:pt x="162" y="732"/>
                    </a:lnTo>
                    <a:lnTo>
                      <a:pt x="166" y="736"/>
                    </a:lnTo>
                    <a:lnTo>
                      <a:pt x="170" y="736"/>
                    </a:lnTo>
                    <a:lnTo>
                      <a:pt x="170" y="738"/>
                    </a:lnTo>
                    <a:lnTo>
                      <a:pt x="173" y="738"/>
                    </a:lnTo>
                    <a:lnTo>
                      <a:pt x="173" y="736"/>
                    </a:lnTo>
                    <a:lnTo>
                      <a:pt x="170" y="734"/>
                    </a:lnTo>
                    <a:lnTo>
                      <a:pt x="162" y="727"/>
                    </a:lnTo>
                    <a:lnTo>
                      <a:pt x="160" y="725"/>
                    </a:lnTo>
                    <a:lnTo>
                      <a:pt x="162" y="723"/>
                    </a:lnTo>
                    <a:lnTo>
                      <a:pt x="166" y="723"/>
                    </a:lnTo>
                    <a:lnTo>
                      <a:pt x="166" y="721"/>
                    </a:lnTo>
                    <a:lnTo>
                      <a:pt x="168" y="717"/>
                    </a:lnTo>
                    <a:lnTo>
                      <a:pt x="170" y="717"/>
                    </a:lnTo>
                    <a:lnTo>
                      <a:pt x="170" y="717"/>
                    </a:lnTo>
                    <a:lnTo>
                      <a:pt x="166" y="717"/>
                    </a:lnTo>
                    <a:lnTo>
                      <a:pt x="164" y="717"/>
                    </a:lnTo>
                    <a:lnTo>
                      <a:pt x="158" y="717"/>
                    </a:lnTo>
                    <a:lnTo>
                      <a:pt x="156" y="717"/>
                    </a:lnTo>
                    <a:lnTo>
                      <a:pt x="158" y="721"/>
                    </a:lnTo>
                    <a:lnTo>
                      <a:pt x="160" y="721"/>
                    </a:lnTo>
                    <a:lnTo>
                      <a:pt x="160" y="723"/>
                    </a:lnTo>
                    <a:lnTo>
                      <a:pt x="155" y="723"/>
                    </a:lnTo>
                    <a:lnTo>
                      <a:pt x="155" y="723"/>
                    </a:lnTo>
                    <a:lnTo>
                      <a:pt x="151" y="723"/>
                    </a:lnTo>
                    <a:lnTo>
                      <a:pt x="149" y="723"/>
                    </a:lnTo>
                    <a:lnTo>
                      <a:pt x="147" y="721"/>
                    </a:lnTo>
                    <a:lnTo>
                      <a:pt x="145" y="721"/>
                    </a:lnTo>
                    <a:lnTo>
                      <a:pt x="141" y="717"/>
                    </a:lnTo>
                    <a:lnTo>
                      <a:pt x="145" y="717"/>
                    </a:lnTo>
                    <a:lnTo>
                      <a:pt x="147" y="717"/>
                    </a:lnTo>
                    <a:lnTo>
                      <a:pt x="145" y="717"/>
                    </a:lnTo>
                    <a:lnTo>
                      <a:pt x="141" y="717"/>
                    </a:lnTo>
                    <a:lnTo>
                      <a:pt x="141" y="717"/>
                    </a:lnTo>
                    <a:lnTo>
                      <a:pt x="145" y="715"/>
                    </a:lnTo>
                    <a:lnTo>
                      <a:pt x="151" y="713"/>
                    </a:lnTo>
                    <a:lnTo>
                      <a:pt x="151" y="712"/>
                    </a:lnTo>
                    <a:lnTo>
                      <a:pt x="155" y="712"/>
                    </a:lnTo>
                    <a:lnTo>
                      <a:pt x="156" y="713"/>
                    </a:lnTo>
                    <a:lnTo>
                      <a:pt x="160" y="713"/>
                    </a:lnTo>
                    <a:lnTo>
                      <a:pt x="164" y="713"/>
                    </a:lnTo>
                    <a:lnTo>
                      <a:pt x="168" y="713"/>
                    </a:lnTo>
                    <a:lnTo>
                      <a:pt x="168" y="712"/>
                    </a:lnTo>
                    <a:lnTo>
                      <a:pt x="170" y="710"/>
                    </a:lnTo>
                    <a:lnTo>
                      <a:pt x="172" y="710"/>
                    </a:lnTo>
                    <a:lnTo>
                      <a:pt x="173" y="708"/>
                    </a:lnTo>
                    <a:lnTo>
                      <a:pt x="175" y="706"/>
                    </a:lnTo>
                    <a:lnTo>
                      <a:pt x="173" y="704"/>
                    </a:lnTo>
                    <a:lnTo>
                      <a:pt x="172" y="708"/>
                    </a:lnTo>
                    <a:lnTo>
                      <a:pt x="170" y="708"/>
                    </a:lnTo>
                    <a:lnTo>
                      <a:pt x="168" y="706"/>
                    </a:lnTo>
                    <a:lnTo>
                      <a:pt x="170" y="702"/>
                    </a:lnTo>
                    <a:lnTo>
                      <a:pt x="172" y="696"/>
                    </a:lnTo>
                    <a:lnTo>
                      <a:pt x="172" y="691"/>
                    </a:lnTo>
                    <a:lnTo>
                      <a:pt x="173" y="691"/>
                    </a:lnTo>
                    <a:lnTo>
                      <a:pt x="175" y="691"/>
                    </a:lnTo>
                    <a:lnTo>
                      <a:pt x="175" y="696"/>
                    </a:lnTo>
                    <a:lnTo>
                      <a:pt x="175" y="696"/>
                    </a:lnTo>
                    <a:lnTo>
                      <a:pt x="175" y="698"/>
                    </a:lnTo>
                    <a:lnTo>
                      <a:pt x="179" y="698"/>
                    </a:lnTo>
                    <a:lnTo>
                      <a:pt x="179" y="698"/>
                    </a:lnTo>
                    <a:lnTo>
                      <a:pt x="181" y="700"/>
                    </a:lnTo>
                    <a:lnTo>
                      <a:pt x="183" y="700"/>
                    </a:lnTo>
                    <a:lnTo>
                      <a:pt x="185" y="698"/>
                    </a:lnTo>
                    <a:lnTo>
                      <a:pt x="187" y="700"/>
                    </a:lnTo>
                    <a:lnTo>
                      <a:pt x="187" y="700"/>
                    </a:lnTo>
                    <a:lnTo>
                      <a:pt x="187" y="698"/>
                    </a:lnTo>
                    <a:lnTo>
                      <a:pt x="185" y="696"/>
                    </a:lnTo>
                    <a:lnTo>
                      <a:pt x="181" y="696"/>
                    </a:lnTo>
                    <a:lnTo>
                      <a:pt x="181" y="696"/>
                    </a:lnTo>
                    <a:lnTo>
                      <a:pt x="183" y="696"/>
                    </a:lnTo>
                    <a:lnTo>
                      <a:pt x="187" y="693"/>
                    </a:lnTo>
                    <a:lnTo>
                      <a:pt x="187" y="693"/>
                    </a:lnTo>
                    <a:lnTo>
                      <a:pt x="185" y="691"/>
                    </a:lnTo>
                    <a:lnTo>
                      <a:pt x="183" y="691"/>
                    </a:lnTo>
                    <a:lnTo>
                      <a:pt x="183" y="691"/>
                    </a:lnTo>
                    <a:lnTo>
                      <a:pt x="181" y="691"/>
                    </a:lnTo>
                    <a:lnTo>
                      <a:pt x="179" y="691"/>
                    </a:lnTo>
                    <a:lnTo>
                      <a:pt x="179" y="691"/>
                    </a:lnTo>
                    <a:lnTo>
                      <a:pt x="175" y="691"/>
                    </a:lnTo>
                    <a:lnTo>
                      <a:pt x="175" y="687"/>
                    </a:lnTo>
                    <a:lnTo>
                      <a:pt x="175" y="687"/>
                    </a:lnTo>
                    <a:lnTo>
                      <a:pt x="179" y="687"/>
                    </a:lnTo>
                    <a:lnTo>
                      <a:pt x="181" y="683"/>
                    </a:lnTo>
                    <a:lnTo>
                      <a:pt x="183" y="681"/>
                    </a:lnTo>
                    <a:lnTo>
                      <a:pt x="185" y="681"/>
                    </a:lnTo>
                    <a:lnTo>
                      <a:pt x="187" y="681"/>
                    </a:lnTo>
                    <a:lnTo>
                      <a:pt x="188" y="681"/>
                    </a:lnTo>
                    <a:lnTo>
                      <a:pt x="188" y="678"/>
                    </a:lnTo>
                    <a:lnTo>
                      <a:pt x="185" y="678"/>
                    </a:lnTo>
                    <a:lnTo>
                      <a:pt x="183" y="678"/>
                    </a:lnTo>
                    <a:lnTo>
                      <a:pt x="181" y="678"/>
                    </a:lnTo>
                    <a:lnTo>
                      <a:pt x="183" y="676"/>
                    </a:lnTo>
                    <a:lnTo>
                      <a:pt x="187" y="674"/>
                    </a:lnTo>
                    <a:lnTo>
                      <a:pt x="188" y="672"/>
                    </a:lnTo>
                    <a:lnTo>
                      <a:pt x="190" y="672"/>
                    </a:lnTo>
                    <a:lnTo>
                      <a:pt x="190" y="670"/>
                    </a:lnTo>
                    <a:lnTo>
                      <a:pt x="194" y="668"/>
                    </a:lnTo>
                    <a:lnTo>
                      <a:pt x="192" y="666"/>
                    </a:lnTo>
                    <a:lnTo>
                      <a:pt x="188" y="666"/>
                    </a:lnTo>
                    <a:lnTo>
                      <a:pt x="188" y="666"/>
                    </a:lnTo>
                    <a:lnTo>
                      <a:pt x="192" y="663"/>
                    </a:lnTo>
                    <a:lnTo>
                      <a:pt x="194" y="666"/>
                    </a:lnTo>
                    <a:lnTo>
                      <a:pt x="194" y="661"/>
                    </a:lnTo>
                    <a:lnTo>
                      <a:pt x="192" y="661"/>
                    </a:lnTo>
                    <a:lnTo>
                      <a:pt x="188" y="661"/>
                    </a:lnTo>
                    <a:lnTo>
                      <a:pt x="185" y="663"/>
                    </a:lnTo>
                    <a:lnTo>
                      <a:pt x="183" y="663"/>
                    </a:lnTo>
                    <a:lnTo>
                      <a:pt x="179" y="661"/>
                    </a:lnTo>
                    <a:lnTo>
                      <a:pt x="179" y="663"/>
                    </a:lnTo>
                    <a:lnTo>
                      <a:pt x="175" y="661"/>
                    </a:lnTo>
                    <a:lnTo>
                      <a:pt x="175" y="661"/>
                    </a:lnTo>
                    <a:lnTo>
                      <a:pt x="173" y="661"/>
                    </a:lnTo>
                    <a:lnTo>
                      <a:pt x="170" y="661"/>
                    </a:lnTo>
                    <a:lnTo>
                      <a:pt x="168" y="657"/>
                    </a:lnTo>
                    <a:lnTo>
                      <a:pt x="164" y="657"/>
                    </a:lnTo>
                    <a:lnTo>
                      <a:pt x="162" y="657"/>
                    </a:lnTo>
                    <a:lnTo>
                      <a:pt x="162" y="653"/>
                    </a:lnTo>
                    <a:lnTo>
                      <a:pt x="160" y="651"/>
                    </a:lnTo>
                    <a:lnTo>
                      <a:pt x="156" y="649"/>
                    </a:lnTo>
                    <a:lnTo>
                      <a:pt x="151" y="646"/>
                    </a:lnTo>
                    <a:lnTo>
                      <a:pt x="145" y="644"/>
                    </a:lnTo>
                    <a:lnTo>
                      <a:pt x="141" y="640"/>
                    </a:lnTo>
                    <a:lnTo>
                      <a:pt x="141" y="638"/>
                    </a:lnTo>
                    <a:lnTo>
                      <a:pt x="141" y="634"/>
                    </a:lnTo>
                    <a:lnTo>
                      <a:pt x="138" y="632"/>
                    </a:lnTo>
                    <a:lnTo>
                      <a:pt x="136" y="629"/>
                    </a:lnTo>
                    <a:lnTo>
                      <a:pt x="136" y="627"/>
                    </a:lnTo>
                    <a:lnTo>
                      <a:pt x="141" y="623"/>
                    </a:lnTo>
                    <a:lnTo>
                      <a:pt x="145" y="623"/>
                    </a:lnTo>
                    <a:lnTo>
                      <a:pt x="147" y="623"/>
                    </a:lnTo>
                    <a:lnTo>
                      <a:pt x="149" y="623"/>
                    </a:lnTo>
                    <a:lnTo>
                      <a:pt x="151" y="623"/>
                    </a:lnTo>
                    <a:lnTo>
                      <a:pt x="155" y="627"/>
                    </a:lnTo>
                    <a:lnTo>
                      <a:pt x="158" y="627"/>
                    </a:lnTo>
                    <a:lnTo>
                      <a:pt x="160" y="629"/>
                    </a:lnTo>
                    <a:lnTo>
                      <a:pt x="162" y="629"/>
                    </a:lnTo>
                    <a:lnTo>
                      <a:pt x="166" y="629"/>
                    </a:lnTo>
                    <a:lnTo>
                      <a:pt x="168" y="632"/>
                    </a:lnTo>
                    <a:lnTo>
                      <a:pt x="172" y="632"/>
                    </a:lnTo>
                    <a:lnTo>
                      <a:pt x="173" y="632"/>
                    </a:lnTo>
                    <a:lnTo>
                      <a:pt x="175" y="634"/>
                    </a:lnTo>
                    <a:lnTo>
                      <a:pt x="175" y="642"/>
                    </a:lnTo>
                    <a:lnTo>
                      <a:pt x="179" y="646"/>
                    </a:lnTo>
                    <a:lnTo>
                      <a:pt x="181" y="648"/>
                    </a:lnTo>
                    <a:lnTo>
                      <a:pt x="185" y="651"/>
                    </a:lnTo>
                    <a:lnTo>
                      <a:pt x="188" y="651"/>
                    </a:lnTo>
                    <a:lnTo>
                      <a:pt x="190" y="651"/>
                    </a:lnTo>
                    <a:lnTo>
                      <a:pt x="192" y="648"/>
                    </a:lnTo>
                    <a:lnTo>
                      <a:pt x="192" y="648"/>
                    </a:lnTo>
                    <a:lnTo>
                      <a:pt x="188" y="648"/>
                    </a:lnTo>
                    <a:lnTo>
                      <a:pt x="188" y="649"/>
                    </a:lnTo>
                    <a:lnTo>
                      <a:pt x="185" y="648"/>
                    </a:lnTo>
                    <a:lnTo>
                      <a:pt x="181" y="642"/>
                    </a:lnTo>
                    <a:lnTo>
                      <a:pt x="181" y="640"/>
                    </a:lnTo>
                    <a:lnTo>
                      <a:pt x="183" y="640"/>
                    </a:lnTo>
                    <a:lnTo>
                      <a:pt x="187" y="644"/>
                    </a:lnTo>
                    <a:lnTo>
                      <a:pt x="188" y="644"/>
                    </a:lnTo>
                    <a:lnTo>
                      <a:pt x="188" y="642"/>
                    </a:lnTo>
                    <a:lnTo>
                      <a:pt x="190" y="642"/>
                    </a:lnTo>
                    <a:lnTo>
                      <a:pt x="190" y="640"/>
                    </a:lnTo>
                    <a:lnTo>
                      <a:pt x="187" y="638"/>
                    </a:lnTo>
                    <a:lnTo>
                      <a:pt x="181" y="634"/>
                    </a:lnTo>
                    <a:lnTo>
                      <a:pt x="181" y="632"/>
                    </a:lnTo>
                    <a:lnTo>
                      <a:pt x="181" y="632"/>
                    </a:lnTo>
                    <a:lnTo>
                      <a:pt x="183" y="632"/>
                    </a:lnTo>
                    <a:lnTo>
                      <a:pt x="185" y="634"/>
                    </a:lnTo>
                    <a:lnTo>
                      <a:pt x="187" y="634"/>
                    </a:lnTo>
                    <a:lnTo>
                      <a:pt x="185" y="632"/>
                    </a:lnTo>
                    <a:lnTo>
                      <a:pt x="181" y="627"/>
                    </a:lnTo>
                    <a:lnTo>
                      <a:pt x="179" y="623"/>
                    </a:lnTo>
                    <a:lnTo>
                      <a:pt x="179" y="623"/>
                    </a:lnTo>
                    <a:lnTo>
                      <a:pt x="179" y="621"/>
                    </a:lnTo>
                    <a:lnTo>
                      <a:pt x="181" y="623"/>
                    </a:lnTo>
                    <a:lnTo>
                      <a:pt x="188" y="623"/>
                    </a:lnTo>
                    <a:lnTo>
                      <a:pt x="192" y="623"/>
                    </a:lnTo>
                    <a:lnTo>
                      <a:pt x="192" y="623"/>
                    </a:lnTo>
                    <a:lnTo>
                      <a:pt x="188" y="619"/>
                    </a:lnTo>
                    <a:lnTo>
                      <a:pt x="187" y="619"/>
                    </a:lnTo>
                    <a:lnTo>
                      <a:pt x="185" y="619"/>
                    </a:lnTo>
                    <a:lnTo>
                      <a:pt x="183" y="621"/>
                    </a:lnTo>
                    <a:lnTo>
                      <a:pt x="179" y="619"/>
                    </a:lnTo>
                    <a:lnTo>
                      <a:pt x="179" y="617"/>
                    </a:lnTo>
                    <a:lnTo>
                      <a:pt x="179" y="617"/>
                    </a:lnTo>
                    <a:lnTo>
                      <a:pt x="183" y="614"/>
                    </a:lnTo>
                    <a:lnTo>
                      <a:pt x="185" y="615"/>
                    </a:lnTo>
                    <a:lnTo>
                      <a:pt x="187" y="617"/>
                    </a:lnTo>
                    <a:lnTo>
                      <a:pt x="188" y="615"/>
                    </a:lnTo>
                    <a:lnTo>
                      <a:pt x="188" y="614"/>
                    </a:lnTo>
                    <a:lnTo>
                      <a:pt x="185" y="610"/>
                    </a:lnTo>
                    <a:lnTo>
                      <a:pt x="185" y="610"/>
                    </a:lnTo>
                    <a:lnTo>
                      <a:pt x="183" y="612"/>
                    </a:lnTo>
                    <a:lnTo>
                      <a:pt x="181" y="612"/>
                    </a:lnTo>
                    <a:lnTo>
                      <a:pt x="179" y="614"/>
                    </a:lnTo>
                    <a:lnTo>
                      <a:pt x="175" y="617"/>
                    </a:lnTo>
                    <a:lnTo>
                      <a:pt x="173" y="617"/>
                    </a:lnTo>
                    <a:lnTo>
                      <a:pt x="173" y="615"/>
                    </a:lnTo>
                    <a:lnTo>
                      <a:pt x="175" y="614"/>
                    </a:lnTo>
                    <a:lnTo>
                      <a:pt x="175" y="612"/>
                    </a:lnTo>
                    <a:lnTo>
                      <a:pt x="179" y="608"/>
                    </a:lnTo>
                    <a:lnTo>
                      <a:pt x="179" y="608"/>
                    </a:lnTo>
                    <a:lnTo>
                      <a:pt x="181" y="608"/>
                    </a:lnTo>
                    <a:lnTo>
                      <a:pt x="183" y="606"/>
                    </a:lnTo>
                    <a:lnTo>
                      <a:pt x="187" y="606"/>
                    </a:lnTo>
                    <a:lnTo>
                      <a:pt x="188" y="604"/>
                    </a:lnTo>
                    <a:lnTo>
                      <a:pt x="187" y="604"/>
                    </a:lnTo>
                    <a:lnTo>
                      <a:pt x="183" y="602"/>
                    </a:lnTo>
                    <a:lnTo>
                      <a:pt x="179" y="606"/>
                    </a:lnTo>
                    <a:lnTo>
                      <a:pt x="179" y="606"/>
                    </a:lnTo>
                    <a:lnTo>
                      <a:pt x="175" y="604"/>
                    </a:lnTo>
                    <a:lnTo>
                      <a:pt x="173" y="606"/>
                    </a:lnTo>
                    <a:lnTo>
                      <a:pt x="172" y="604"/>
                    </a:lnTo>
                    <a:lnTo>
                      <a:pt x="172" y="602"/>
                    </a:lnTo>
                    <a:lnTo>
                      <a:pt x="173" y="602"/>
                    </a:lnTo>
                    <a:lnTo>
                      <a:pt x="175" y="599"/>
                    </a:lnTo>
                    <a:lnTo>
                      <a:pt x="179" y="599"/>
                    </a:lnTo>
                    <a:lnTo>
                      <a:pt x="185" y="597"/>
                    </a:lnTo>
                    <a:lnTo>
                      <a:pt x="190" y="597"/>
                    </a:lnTo>
                    <a:lnTo>
                      <a:pt x="190" y="593"/>
                    </a:lnTo>
                    <a:lnTo>
                      <a:pt x="188" y="593"/>
                    </a:lnTo>
                    <a:lnTo>
                      <a:pt x="187" y="593"/>
                    </a:lnTo>
                    <a:lnTo>
                      <a:pt x="185" y="597"/>
                    </a:lnTo>
                    <a:lnTo>
                      <a:pt x="181" y="597"/>
                    </a:lnTo>
                    <a:lnTo>
                      <a:pt x="179" y="597"/>
                    </a:lnTo>
                    <a:lnTo>
                      <a:pt x="179" y="593"/>
                    </a:lnTo>
                    <a:lnTo>
                      <a:pt x="175" y="593"/>
                    </a:lnTo>
                    <a:lnTo>
                      <a:pt x="173" y="593"/>
                    </a:lnTo>
                    <a:lnTo>
                      <a:pt x="173" y="593"/>
                    </a:lnTo>
                    <a:lnTo>
                      <a:pt x="173" y="591"/>
                    </a:lnTo>
                    <a:lnTo>
                      <a:pt x="175" y="589"/>
                    </a:lnTo>
                    <a:lnTo>
                      <a:pt x="175" y="583"/>
                    </a:lnTo>
                    <a:lnTo>
                      <a:pt x="179" y="583"/>
                    </a:lnTo>
                    <a:lnTo>
                      <a:pt x="179" y="582"/>
                    </a:lnTo>
                    <a:lnTo>
                      <a:pt x="179" y="580"/>
                    </a:lnTo>
                    <a:lnTo>
                      <a:pt x="179" y="580"/>
                    </a:lnTo>
                    <a:lnTo>
                      <a:pt x="175" y="582"/>
                    </a:lnTo>
                    <a:lnTo>
                      <a:pt x="173" y="585"/>
                    </a:lnTo>
                    <a:lnTo>
                      <a:pt x="173" y="587"/>
                    </a:lnTo>
                    <a:lnTo>
                      <a:pt x="170" y="589"/>
                    </a:lnTo>
                    <a:lnTo>
                      <a:pt x="170" y="591"/>
                    </a:lnTo>
                    <a:lnTo>
                      <a:pt x="168" y="591"/>
                    </a:lnTo>
                    <a:lnTo>
                      <a:pt x="168" y="587"/>
                    </a:lnTo>
                    <a:lnTo>
                      <a:pt x="170" y="583"/>
                    </a:lnTo>
                    <a:lnTo>
                      <a:pt x="170" y="578"/>
                    </a:lnTo>
                    <a:lnTo>
                      <a:pt x="168" y="574"/>
                    </a:lnTo>
                    <a:lnTo>
                      <a:pt x="168" y="572"/>
                    </a:lnTo>
                    <a:lnTo>
                      <a:pt x="168" y="568"/>
                    </a:lnTo>
                    <a:lnTo>
                      <a:pt x="168" y="567"/>
                    </a:lnTo>
                    <a:lnTo>
                      <a:pt x="168" y="567"/>
                    </a:lnTo>
                    <a:lnTo>
                      <a:pt x="166" y="568"/>
                    </a:lnTo>
                    <a:lnTo>
                      <a:pt x="166" y="574"/>
                    </a:lnTo>
                    <a:lnTo>
                      <a:pt x="166" y="576"/>
                    </a:lnTo>
                    <a:lnTo>
                      <a:pt x="168" y="580"/>
                    </a:lnTo>
                    <a:lnTo>
                      <a:pt x="168" y="583"/>
                    </a:lnTo>
                    <a:lnTo>
                      <a:pt x="168" y="589"/>
                    </a:lnTo>
                    <a:lnTo>
                      <a:pt x="166" y="591"/>
                    </a:lnTo>
                    <a:lnTo>
                      <a:pt x="164" y="591"/>
                    </a:lnTo>
                    <a:lnTo>
                      <a:pt x="162" y="589"/>
                    </a:lnTo>
                    <a:lnTo>
                      <a:pt x="160" y="587"/>
                    </a:lnTo>
                    <a:lnTo>
                      <a:pt x="160" y="593"/>
                    </a:lnTo>
                    <a:lnTo>
                      <a:pt x="158" y="593"/>
                    </a:lnTo>
                    <a:lnTo>
                      <a:pt x="156" y="593"/>
                    </a:lnTo>
                    <a:lnTo>
                      <a:pt x="155" y="593"/>
                    </a:lnTo>
                    <a:lnTo>
                      <a:pt x="156" y="593"/>
                    </a:lnTo>
                    <a:lnTo>
                      <a:pt x="158" y="597"/>
                    </a:lnTo>
                    <a:lnTo>
                      <a:pt x="156" y="599"/>
                    </a:lnTo>
                    <a:lnTo>
                      <a:pt x="155" y="602"/>
                    </a:lnTo>
                    <a:lnTo>
                      <a:pt x="155" y="602"/>
                    </a:lnTo>
                    <a:lnTo>
                      <a:pt x="151" y="602"/>
                    </a:lnTo>
                    <a:lnTo>
                      <a:pt x="151" y="602"/>
                    </a:lnTo>
                    <a:lnTo>
                      <a:pt x="149" y="604"/>
                    </a:lnTo>
                    <a:lnTo>
                      <a:pt x="141" y="604"/>
                    </a:lnTo>
                    <a:lnTo>
                      <a:pt x="141" y="602"/>
                    </a:lnTo>
                    <a:lnTo>
                      <a:pt x="141" y="602"/>
                    </a:lnTo>
                    <a:lnTo>
                      <a:pt x="141" y="597"/>
                    </a:lnTo>
                    <a:lnTo>
                      <a:pt x="140" y="597"/>
                    </a:lnTo>
                    <a:lnTo>
                      <a:pt x="138" y="597"/>
                    </a:lnTo>
                    <a:lnTo>
                      <a:pt x="138" y="599"/>
                    </a:lnTo>
                    <a:lnTo>
                      <a:pt x="136" y="599"/>
                    </a:lnTo>
                    <a:lnTo>
                      <a:pt x="136" y="597"/>
                    </a:lnTo>
                    <a:lnTo>
                      <a:pt x="136" y="593"/>
                    </a:lnTo>
                    <a:lnTo>
                      <a:pt x="136" y="591"/>
                    </a:lnTo>
                    <a:lnTo>
                      <a:pt x="134" y="589"/>
                    </a:lnTo>
                    <a:lnTo>
                      <a:pt x="134" y="587"/>
                    </a:lnTo>
                    <a:lnTo>
                      <a:pt x="138" y="585"/>
                    </a:lnTo>
                    <a:lnTo>
                      <a:pt x="141" y="585"/>
                    </a:lnTo>
                    <a:lnTo>
                      <a:pt x="141" y="585"/>
                    </a:lnTo>
                    <a:lnTo>
                      <a:pt x="141" y="583"/>
                    </a:lnTo>
                    <a:lnTo>
                      <a:pt x="145" y="582"/>
                    </a:lnTo>
                    <a:lnTo>
                      <a:pt x="151" y="582"/>
                    </a:lnTo>
                    <a:lnTo>
                      <a:pt x="151" y="582"/>
                    </a:lnTo>
                    <a:lnTo>
                      <a:pt x="155" y="578"/>
                    </a:lnTo>
                    <a:lnTo>
                      <a:pt x="158" y="572"/>
                    </a:lnTo>
                    <a:lnTo>
                      <a:pt x="158" y="572"/>
                    </a:lnTo>
                    <a:lnTo>
                      <a:pt x="158" y="572"/>
                    </a:lnTo>
                    <a:lnTo>
                      <a:pt x="156" y="572"/>
                    </a:lnTo>
                    <a:lnTo>
                      <a:pt x="155" y="574"/>
                    </a:lnTo>
                    <a:lnTo>
                      <a:pt x="151" y="578"/>
                    </a:lnTo>
                    <a:lnTo>
                      <a:pt x="149" y="580"/>
                    </a:lnTo>
                    <a:lnTo>
                      <a:pt x="141" y="578"/>
                    </a:lnTo>
                    <a:lnTo>
                      <a:pt x="141" y="576"/>
                    </a:lnTo>
                    <a:lnTo>
                      <a:pt x="141" y="574"/>
                    </a:lnTo>
                    <a:lnTo>
                      <a:pt x="145" y="572"/>
                    </a:lnTo>
                    <a:lnTo>
                      <a:pt x="149" y="568"/>
                    </a:lnTo>
                    <a:lnTo>
                      <a:pt x="151" y="568"/>
                    </a:lnTo>
                    <a:lnTo>
                      <a:pt x="151" y="568"/>
                    </a:lnTo>
                    <a:lnTo>
                      <a:pt x="151" y="567"/>
                    </a:lnTo>
                    <a:lnTo>
                      <a:pt x="151" y="563"/>
                    </a:lnTo>
                    <a:lnTo>
                      <a:pt x="155" y="563"/>
                    </a:lnTo>
                    <a:lnTo>
                      <a:pt x="155" y="563"/>
                    </a:lnTo>
                    <a:lnTo>
                      <a:pt x="155" y="563"/>
                    </a:lnTo>
                    <a:lnTo>
                      <a:pt x="155" y="559"/>
                    </a:lnTo>
                    <a:lnTo>
                      <a:pt x="155" y="559"/>
                    </a:lnTo>
                    <a:lnTo>
                      <a:pt x="151" y="559"/>
                    </a:lnTo>
                    <a:lnTo>
                      <a:pt x="151" y="559"/>
                    </a:lnTo>
                    <a:lnTo>
                      <a:pt x="145" y="559"/>
                    </a:lnTo>
                    <a:lnTo>
                      <a:pt x="145" y="559"/>
                    </a:lnTo>
                    <a:lnTo>
                      <a:pt x="141" y="559"/>
                    </a:lnTo>
                    <a:lnTo>
                      <a:pt x="145" y="557"/>
                    </a:lnTo>
                    <a:lnTo>
                      <a:pt x="149" y="555"/>
                    </a:lnTo>
                    <a:lnTo>
                      <a:pt x="151" y="555"/>
                    </a:lnTo>
                    <a:lnTo>
                      <a:pt x="151" y="557"/>
                    </a:lnTo>
                    <a:lnTo>
                      <a:pt x="155" y="557"/>
                    </a:lnTo>
                    <a:lnTo>
                      <a:pt x="156" y="555"/>
                    </a:lnTo>
                    <a:lnTo>
                      <a:pt x="160" y="550"/>
                    </a:lnTo>
                    <a:lnTo>
                      <a:pt x="158" y="548"/>
                    </a:lnTo>
                    <a:lnTo>
                      <a:pt x="158" y="546"/>
                    </a:lnTo>
                    <a:lnTo>
                      <a:pt x="162" y="542"/>
                    </a:lnTo>
                    <a:lnTo>
                      <a:pt x="162" y="538"/>
                    </a:lnTo>
                    <a:lnTo>
                      <a:pt x="162" y="534"/>
                    </a:lnTo>
                    <a:lnTo>
                      <a:pt x="160" y="533"/>
                    </a:lnTo>
                    <a:lnTo>
                      <a:pt x="158" y="533"/>
                    </a:lnTo>
                    <a:lnTo>
                      <a:pt x="156" y="533"/>
                    </a:lnTo>
                    <a:lnTo>
                      <a:pt x="155" y="529"/>
                    </a:lnTo>
                    <a:lnTo>
                      <a:pt x="155" y="529"/>
                    </a:lnTo>
                    <a:lnTo>
                      <a:pt x="151" y="529"/>
                    </a:lnTo>
                    <a:lnTo>
                      <a:pt x="151" y="529"/>
                    </a:lnTo>
                    <a:lnTo>
                      <a:pt x="151" y="527"/>
                    </a:lnTo>
                    <a:lnTo>
                      <a:pt x="155" y="529"/>
                    </a:lnTo>
                    <a:lnTo>
                      <a:pt x="156" y="527"/>
                    </a:lnTo>
                    <a:lnTo>
                      <a:pt x="158" y="525"/>
                    </a:lnTo>
                    <a:lnTo>
                      <a:pt x="158" y="521"/>
                    </a:lnTo>
                    <a:lnTo>
                      <a:pt x="160" y="519"/>
                    </a:lnTo>
                    <a:lnTo>
                      <a:pt x="160" y="518"/>
                    </a:lnTo>
                    <a:lnTo>
                      <a:pt x="158" y="516"/>
                    </a:lnTo>
                    <a:lnTo>
                      <a:pt x="156" y="516"/>
                    </a:lnTo>
                    <a:lnTo>
                      <a:pt x="155" y="514"/>
                    </a:lnTo>
                    <a:lnTo>
                      <a:pt x="155" y="512"/>
                    </a:lnTo>
                    <a:lnTo>
                      <a:pt x="156" y="510"/>
                    </a:lnTo>
                    <a:lnTo>
                      <a:pt x="158" y="510"/>
                    </a:lnTo>
                    <a:lnTo>
                      <a:pt x="158" y="508"/>
                    </a:lnTo>
                    <a:lnTo>
                      <a:pt x="155" y="504"/>
                    </a:lnTo>
                    <a:lnTo>
                      <a:pt x="155" y="502"/>
                    </a:lnTo>
                    <a:lnTo>
                      <a:pt x="156" y="502"/>
                    </a:lnTo>
                    <a:lnTo>
                      <a:pt x="158" y="504"/>
                    </a:lnTo>
                    <a:lnTo>
                      <a:pt x="158" y="502"/>
                    </a:lnTo>
                    <a:lnTo>
                      <a:pt x="156" y="499"/>
                    </a:lnTo>
                    <a:lnTo>
                      <a:pt x="156" y="499"/>
                    </a:lnTo>
                    <a:lnTo>
                      <a:pt x="158" y="495"/>
                    </a:lnTo>
                    <a:lnTo>
                      <a:pt x="158" y="491"/>
                    </a:lnTo>
                    <a:lnTo>
                      <a:pt x="156" y="489"/>
                    </a:lnTo>
                    <a:lnTo>
                      <a:pt x="156" y="486"/>
                    </a:lnTo>
                    <a:lnTo>
                      <a:pt x="155" y="484"/>
                    </a:lnTo>
                    <a:lnTo>
                      <a:pt x="156" y="482"/>
                    </a:lnTo>
                    <a:lnTo>
                      <a:pt x="158" y="478"/>
                    </a:lnTo>
                    <a:lnTo>
                      <a:pt x="156" y="478"/>
                    </a:lnTo>
                    <a:lnTo>
                      <a:pt x="155" y="478"/>
                    </a:lnTo>
                    <a:lnTo>
                      <a:pt x="151" y="482"/>
                    </a:lnTo>
                    <a:lnTo>
                      <a:pt x="151" y="482"/>
                    </a:lnTo>
                    <a:lnTo>
                      <a:pt x="149" y="482"/>
                    </a:lnTo>
                    <a:lnTo>
                      <a:pt x="147" y="484"/>
                    </a:lnTo>
                    <a:lnTo>
                      <a:pt x="145" y="482"/>
                    </a:lnTo>
                    <a:lnTo>
                      <a:pt x="147" y="482"/>
                    </a:lnTo>
                    <a:lnTo>
                      <a:pt x="151" y="478"/>
                    </a:lnTo>
                    <a:lnTo>
                      <a:pt x="151" y="478"/>
                    </a:lnTo>
                    <a:lnTo>
                      <a:pt x="155" y="478"/>
                    </a:lnTo>
                    <a:lnTo>
                      <a:pt x="155" y="474"/>
                    </a:lnTo>
                    <a:lnTo>
                      <a:pt x="156" y="470"/>
                    </a:lnTo>
                    <a:lnTo>
                      <a:pt x="160" y="469"/>
                    </a:lnTo>
                    <a:lnTo>
                      <a:pt x="160" y="469"/>
                    </a:lnTo>
                    <a:lnTo>
                      <a:pt x="160" y="465"/>
                    </a:lnTo>
                    <a:lnTo>
                      <a:pt x="158" y="463"/>
                    </a:lnTo>
                    <a:lnTo>
                      <a:pt x="156" y="461"/>
                    </a:lnTo>
                    <a:lnTo>
                      <a:pt x="155" y="457"/>
                    </a:lnTo>
                    <a:lnTo>
                      <a:pt x="155" y="455"/>
                    </a:lnTo>
                    <a:lnTo>
                      <a:pt x="155" y="455"/>
                    </a:lnTo>
                    <a:lnTo>
                      <a:pt x="151" y="453"/>
                    </a:lnTo>
                    <a:lnTo>
                      <a:pt x="151" y="452"/>
                    </a:lnTo>
                    <a:lnTo>
                      <a:pt x="155" y="450"/>
                    </a:lnTo>
                    <a:lnTo>
                      <a:pt x="151" y="448"/>
                    </a:lnTo>
                    <a:lnTo>
                      <a:pt x="151" y="444"/>
                    </a:lnTo>
                    <a:lnTo>
                      <a:pt x="151" y="440"/>
                    </a:lnTo>
                    <a:lnTo>
                      <a:pt x="145" y="435"/>
                    </a:lnTo>
                    <a:lnTo>
                      <a:pt x="145" y="435"/>
                    </a:lnTo>
                    <a:lnTo>
                      <a:pt x="141" y="433"/>
                    </a:lnTo>
                    <a:lnTo>
                      <a:pt x="141" y="433"/>
                    </a:lnTo>
                    <a:lnTo>
                      <a:pt x="141" y="431"/>
                    </a:lnTo>
                    <a:lnTo>
                      <a:pt x="141" y="429"/>
                    </a:lnTo>
                    <a:lnTo>
                      <a:pt x="147" y="427"/>
                    </a:lnTo>
                    <a:lnTo>
                      <a:pt x="149" y="425"/>
                    </a:lnTo>
                    <a:lnTo>
                      <a:pt x="151" y="423"/>
                    </a:lnTo>
                    <a:lnTo>
                      <a:pt x="149" y="421"/>
                    </a:lnTo>
                    <a:lnTo>
                      <a:pt x="147" y="421"/>
                    </a:lnTo>
                    <a:lnTo>
                      <a:pt x="147" y="421"/>
                    </a:lnTo>
                    <a:lnTo>
                      <a:pt x="149" y="420"/>
                    </a:lnTo>
                    <a:lnTo>
                      <a:pt x="151" y="416"/>
                    </a:lnTo>
                    <a:lnTo>
                      <a:pt x="151" y="414"/>
                    </a:lnTo>
                    <a:lnTo>
                      <a:pt x="151" y="414"/>
                    </a:lnTo>
                    <a:lnTo>
                      <a:pt x="151" y="410"/>
                    </a:lnTo>
                    <a:lnTo>
                      <a:pt x="151" y="410"/>
                    </a:lnTo>
                    <a:lnTo>
                      <a:pt x="151" y="408"/>
                    </a:lnTo>
                    <a:lnTo>
                      <a:pt x="149" y="406"/>
                    </a:lnTo>
                    <a:lnTo>
                      <a:pt x="145" y="403"/>
                    </a:lnTo>
                    <a:lnTo>
                      <a:pt x="141" y="401"/>
                    </a:lnTo>
                    <a:lnTo>
                      <a:pt x="141" y="397"/>
                    </a:lnTo>
                    <a:lnTo>
                      <a:pt x="140" y="395"/>
                    </a:lnTo>
                    <a:lnTo>
                      <a:pt x="138" y="397"/>
                    </a:lnTo>
                    <a:lnTo>
                      <a:pt x="138" y="399"/>
                    </a:lnTo>
                    <a:lnTo>
                      <a:pt x="136" y="399"/>
                    </a:lnTo>
                    <a:lnTo>
                      <a:pt x="134" y="397"/>
                    </a:lnTo>
                    <a:lnTo>
                      <a:pt x="134" y="395"/>
                    </a:lnTo>
                    <a:lnTo>
                      <a:pt x="132" y="393"/>
                    </a:lnTo>
                    <a:lnTo>
                      <a:pt x="130" y="391"/>
                    </a:lnTo>
                    <a:lnTo>
                      <a:pt x="126" y="389"/>
                    </a:lnTo>
                    <a:lnTo>
                      <a:pt x="126" y="388"/>
                    </a:lnTo>
                    <a:lnTo>
                      <a:pt x="126" y="389"/>
                    </a:lnTo>
                    <a:lnTo>
                      <a:pt x="124" y="389"/>
                    </a:lnTo>
                    <a:lnTo>
                      <a:pt x="124" y="388"/>
                    </a:lnTo>
                    <a:lnTo>
                      <a:pt x="124" y="384"/>
                    </a:lnTo>
                    <a:lnTo>
                      <a:pt x="121" y="380"/>
                    </a:lnTo>
                    <a:lnTo>
                      <a:pt x="117" y="380"/>
                    </a:lnTo>
                    <a:lnTo>
                      <a:pt x="115" y="380"/>
                    </a:lnTo>
                    <a:lnTo>
                      <a:pt x="113" y="380"/>
                    </a:lnTo>
                    <a:lnTo>
                      <a:pt x="111" y="380"/>
                    </a:lnTo>
                    <a:lnTo>
                      <a:pt x="106" y="376"/>
                    </a:lnTo>
                    <a:lnTo>
                      <a:pt x="102" y="374"/>
                    </a:lnTo>
                    <a:lnTo>
                      <a:pt x="98" y="371"/>
                    </a:lnTo>
                    <a:lnTo>
                      <a:pt x="96" y="371"/>
                    </a:lnTo>
                    <a:lnTo>
                      <a:pt x="92" y="371"/>
                    </a:lnTo>
                    <a:lnTo>
                      <a:pt x="91" y="371"/>
                    </a:lnTo>
                    <a:lnTo>
                      <a:pt x="87" y="376"/>
                    </a:lnTo>
                    <a:lnTo>
                      <a:pt x="85" y="380"/>
                    </a:lnTo>
                    <a:lnTo>
                      <a:pt x="83" y="380"/>
                    </a:lnTo>
                    <a:lnTo>
                      <a:pt x="83" y="376"/>
                    </a:lnTo>
                    <a:lnTo>
                      <a:pt x="85" y="374"/>
                    </a:lnTo>
                    <a:lnTo>
                      <a:pt x="83" y="371"/>
                    </a:lnTo>
                    <a:lnTo>
                      <a:pt x="83" y="371"/>
                    </a:lnTo>
                    <a:lnTo>
                      <a:pt x="81" y="369"/>
                    </a:lnTo>
                    <a:lnTo>
                      <a:pt x="77" y="371"/>
                    </a:lnTo>
                    <a:lnTo>
                      <a:pt x="77" y="374"/>
                    </a:lnTo>
                    <a:lnTo>
                      <a:pt x="74" y="376"/>
                    </a:lnTo>
                    <a:lnTo>
                      <a:pt x="72" y="374"/>
                    </a:lnTo>
                    <a:lnTo>
                      <a:pt x="72" y="371"/>
                    </a:lnTo>
                    <a:lnTo>
                      <a:pt x="68" y="369"/>
                    </a:lnTo>
                    <a:lnTo>
                      <a:pt x="68" y="371"/>
                    </a:lnTo>
                    <a:lnTo>
                      <a:pt x="68" y="376"/>
                    </a:lnTo>
                    <a:lnTo>
                      <a:pt x="66" y="380"/>
                    </a:lnTo>
                    <a:lnTo>
                      <a:pt x="62" y="376"/>
                    </a:lnTo>
                    <a:lnTo>
                      <a:pt x="62" y="374"/>
                    </a:lnTo>
                    <a:lnTo>
                      <a:pt x="64" y="371"/>
                    </a:lnTo>
                    <a:lnTo>
                      <a:pt x="68" y="369"/>
                    </a:lnTo>
                    <a:lnTo>
                      <a:pt x="66" y="367"/>
                    </a:lnTo>
                    <a:lnTo>
                      <a:pt x="64" y="367"/>
                    </a:lnTo>
                    <a:lnTo>
                      <a:pt x="62" y="367"/>
                    </a:lnTo>
                    <a:lnTo>
                      <a:pt x="59" y="369"/>
                    </a:lnTo>
                    <a:lnTo>
                      <a:pt x="57" y="369"/>
                    </a:lnTo>
                    <a:lnTo>
                      <a:pt x="57" y="371"/>
                    </a:lnTo>
                    <a:lnTo>
                      <a:pt x="57" y="371"/>
                    </a:lnTo>
                    <a:lnTo>
                      <a:pt x="53" y="371"/>
                    </a:lnTo>
                    <a:lnTo>
                      <a:pt x="53" y="367"/>
                    </a:lnTo>
                    <a:lnTo>
                      <a:pt x="53" y="365"/>
                    </a:lnTo>
                    <a:lnTo>
                      <a:pt x="51" y="361"/>
                    </a:lnTo>
                    <a:lnTo>
                      <a:pt x="51" y="361"/>
                    </a:lnTo>
                    <a:lnTo>
                      <a:pt x="49" y="361"/>
                    </a:lnTo>
                    <a:lnTo>
                      <a:pt x="47" y="363"/>
                    </a:lnTo>
                    <a:lnTo>
                      <a:pt x="47" y="369"/>
                    </a:lnTo>
                    <a:lnTo>
                      <a:pt x="47" y="369"/>
                    </a:lnTo>
                    <a:lnTo>
                      <a:pt x="47" y="371"/>
                    </a:lnTo>
                    <a:lnTo>
                      <a:pt x="47" y="376"/>
                    </a:lnTo>
                    <a:lnTo>
                      <a:pt x="47" y="380"/>
                    </a:lnTo>
                    <a:lnTo>
                      <a:pt x="47" y="380"/>
                    </a:lnTo>
                    <a:lnTo>
                      <a:pt x="44" y="380"/>
                    </a:lnTo>
                    <a:lnTo>
                      <a:pt x="40" y="376"/>
                    </a:lnTo>
                    <a:lnTo>
                      <a:pt x="36" y="374"/>
                    </a:lnTo>
                    <a:lnTo>
                      <a:pt x="32" y="371"/>
                    </a:lnTo>
                    <a:lnTo>
                      <a:pt x="30" y="369"/>
                    </a:lnTo>
                    <a:lnTo>
                      <a:pt x="27" y="367"/>
                    </a:lnTo>
                    <a:lnTo>
                      <a:pt x="27" y="365"/>
                    </a:lnTo>
                    <a:lnTo>
                      <a:pt x="28" y="365"/>
                    </a:lnTo>
                    <a:lnTo>
                      <a:pt x="25" y="363"/>
                    </a:lnTo>
                    <a:lnTo>
                      <a:pt x="23" y="359"/>
                    </a:lnTo>
                    <a:lnTo>
                      <a:pt x="23" y="356"/>
                    </a:lnTo>
                    <a:lnTo>
                      <a:pt x="19" y="352"/>
                    </a:lnTo>
                    <a:lnTo>
                      <a:pt x="19" y="346"/>
                    </a:lnTo>
                    <a:lnTo>
                      <a:pt x="19" y="346"/>
                    </a:lnTo>
                    <a:lnTo>
                      <a:pt x="25" y="346"/>
                    </a:lnTo>
                    <a:lnTo>
                      <a:pt x="27" y="344"/>
                    </a:lnTo>
                    <a:lnTo>
                      <a:pt x="28" y="342"/>
                    </a:lnTo>
                    <a:lnTo>
                      <a:pt x="34" y="342"/>
                    </a:lnTo>
                    <a:lnTo>
                      <a:pt x="36" y="344"/>
                    </a:lnTo>
                    <a:lnTo>
                      <a:pt x="38" y="342"/>
                    </a:lnTo>
                    <a:lnTo>
                      <a:pt x="40" y="340"/>
                    </a:lnTo>
                    <a:lnTo>
                      <a:pt x="40" y="339"/>
                    </a:lnTo>
                    <a:lnTo>
                      <a:pt x="36" y="339"/>
                    </a:lnTo>
                    <a:lnTo>
                      <a:pt x="30" y="337"/>
                    </a:lnTo>
                    <a:lnTo>
                      <a:pt x="28" y="337"/>
                    </a:lnTo>
                    <a:lnTo>
                      <a:pt x="27" y="339"/>
                    </a:lnTo>
                    <a:lnTo>
                      <a:pt x="23" y="333"/>
                    </a:lnTo>
                    <a:lnTo>
                      <a:pt x="23" y="327"/>
                    </a:lnTo>
                    <a:lnTo>
                      <a:pt x="23" y="325"/>
                    </a:lnTo>
                    <a:lnTo>
                      <a:pt x="27" y="324"/>
                    </a:lnTo>
                    <a:lnTo>
                      <a:pt x="28" y="320"/>
                    </a:lnTo>
                    <a:lnTo>
                      <a:pt x="28" y="320"/>
                    </a:lnTo>
                    <a:lnTo>
                      <a:pt x="27" y="320"/>
                    </a:lnTo>
                    <a:lnTo>
                      <a:pt x="25" y="320"/>
                    </a:lnTo>
                    <a:lnTo>
                      <a:pt x="23" y="324"/>
                    </a:lnTo>
                    <a:lnTo>
                      <a:pt x="23" y="324"/>
                    </a:lnTo>
                    <a:lnTo>
                      <a:pt x="19" y="324"/>
                    </a:lnTo>
                    <a:lnTo>
                      <a:pt x="19" y="327"/>
                    </a:lnTo>
                    <a:lnTo>
                      <a:pt x="13" y="325"/>
                    </a:lnTo>
                    <a:lnTo>
                      <a:pt x="13" y="322"/>
                    </a:lnTo>
                    <a:lnTo>
                      <a:pt x="13" y="320"/>
                    </a:lnTo>
                    <a:lnTo>
                      <a:pt x="17" y="320"/>
                    </a:lnTo>
                    <a:lnTo>
                      <a:pt x="15" y="316"/>
                    </a:lnTo>
                    <a:lnTo>
                      <a:pt x="13" y="316"/>
                    </a:lnTo>
                    <a:lnTo>
                      <a:pt x="12" y="316"/>
                    </a:lnTo>
                    <a:lnTo>
                      <a:pt x="12" y="316"/>
                    </a:lnTo>
                    <a:lnTo>
                      <a:pt x="12" y="312"/>
                    </a:lnTo>
                    <a:lnTo>
                      <a:pt x="13" y="310"/>
                    </a:lnTo>
                    <a:lnTo>
                      <a:pt x="15" y="310"/>
                    </a:lnTo>
                    <a:lnTo>
                      <a:pt x="17" y="308"/>
                    </a:lnTo>
                    <a:lnTo>
                      <a:pt x="19" y="308"/>
                    </a:lnTo>
                    <a:lnTo>
                      <a:pt x="19" y="310"/>
                    </a:lnTo>
                    <a:lnTo>
                      <a:pt x="19" y="307"/>
                    </a:lnTo>
                    <a:lnTo>
                      <a:pt x="25" y="305"/>
                    </a:lnTo>
                    <a:lnTo>
                      <a:pt x="32" y="305"/>
                    </a:lnTo>
                    <a:lnTo>
                      <a:pt x="36" y="308"/>
                    </a:lnTo>
                    <a:lnTo>
                      <a:pt x="44" y="308"/>
                    </a:lnTo>
                    <a:lnTo>
                      <a:pt x="47" y="312"/>
                    </a:lnTo>
                    <a:lnTo>
                      <a:pt x="53" y="312"/>
                    </a:lnTo>
                    <a:lnTo>
                      <a:pt x="57" y="314"/>
                    </a:lnTo>
                    <a:lnTo>
                      <a:pt x="64" y="316"/>
                    </a:lnTo>
                    <a:lnTo>
                      <a:pt x="66" y="316"/>
                    </a:lnTo>
                    <a:lnTo>
                      <a:pt x="68" y="316"/>
                    </a:lnTo>
                    <a:lnTo>
                      <a:pt x="72" y="316"/>
                    </a:lnTo>
                    <a:lnTo>
                      <a:pt x="68" y="316"/>
                    </a:lnTo>
                    <a:lnTo>
                      <a:pt x="66" y="316"/>
                    </a:lnTo>
                    <a:lnTo>
                      <a:pt x="60" y="314"/>
                    </a:lnTo>
                    <a:lnTo>
                      <a:pt x="57" y="308"/>
                    </a:lnTo>
                    <a:lnTo>
                      <a:pt x="51" y="308"/>
                    </a:lnTo>
                    <a:lnTo>
                      <a:pt x="47" y="308"/>
                    </a:lnTo>
                    <a:lnTo>
                      <a:pt x="44" y="305"/>
                    </a:lnTo>
                    <a:lnTo>
                      <a:pt x="44" y="303"/>
                    </a:lnTo>
                    <a:lnTo>
                      <a:pt x="49" y="301"/>
                    </a:lnTo>
                    <a:lnTo>
                      <a:pt x="57" y="303"/>
                    </a:lnTo>
                    <a:lnTo>
                      <a:pt x="62" y="303"/>
                    </a:lnTo>
                    <a:lnTo>
                      <a:pt x="68" y="305"/>
                    </a:lnTo>
                    <a:lnTo>
                      <a:pt x="72" y="308"/>
                    </a:lnTo>
                    <a:lnTo>
                      <a:pt x="72" y="308"/>
                    </a:lnTo>
                    <a:lnTo>
                      <a:pt x="74" y="310"/>
                    </a:lnTo>
                    <a:lnTo>
                      <a:pt x="76" y="312"/>
                    </a:lnTo>
                    <a:lnTo>
                      <a:pt x="76" y="310"/>
                    </a:lnTo>
                    <a:lnTo>
                      <a:pt x="76" y="308"/>
                    </a:lnTo>
                    <a:lnTo>
                      <a:pt x="76" y="305"/>
                    </a:lnTo>
                    <a:lnTo>
                      <a:pt x="81" y="303"/>
                    </a:lnTo>
                    <a:lnTo>
                      <a:pt x="81" y="303"/>
                    </a:lnTo>
                    <a:lnTo>
                      <a:pt x="81" y="297"/>
                    </a:lnTo>
                    <a:lnTo>
                      <a:pt x="77" y="295"/>
                    </a:lnTo>
                    <a:lnTo>
                      <a:pt x="76" y="295"/>
                    </a:lnTo>
                    <a:lnTo>
                      <a:pt x="74" y="295"/>
                    </a:lnTo>
                    <a:lnTo>
                      <a:pt x="76" y="291"/>
                    </a:lnTo>
                    <a:lnTo>
                      <a:pt x="72" y="291"/>
                    </a:lnTo>
                    <a:lnTo>
                      <a:pt x="72" y="291"/>
                    </a:lnTo>
                    <a:lnTo>
                      <a:pt x="68" y="295"/>
                    </a:lnTo>
                    <a:lnTo>
                      <a:pt x="64" y="295"/>
                    </a:lnTo>
                    <a:lnTo>
                      <a:pt x="59" y="295"/>
                    </a:lnTo>
                    <a:lnTo>
                      <a:pt x="57" y="291"/>
                    </a:lnTo>
                    <a:lnTo>
                      <a:pt x="57" y="290"/>
                    </a:lnTo>
                    <a:lnTo>
                      <a:pt x="57" y="290"/>
                    </a:lnTo>
                    <a:lnTo>
                      <a:pt x="51" y="286"/>
                    </a:lnTo>
                    <a:lnTo>
                      <a:pt x="49" y="286"/>
                    </a:lnTo>
                    <a:lnTo>
                      <a:pt x="49" y="286"/>
                    </a:lnTo>
                    <a:lnTo>
                      <a:pt x="49" y="290"/>
                    </a:lnTo>
                    <a:lnTo>
                      <a:pt x="51" y="290"/>
                    </a:lnTo>
                    <a:lnTo>
                      <a:pt x="51" y="295"/>
                    </a:lnTo>
                    <a:lnTo>
                      <a:pt x="49" y="295"/>
                    </a:lnTo>
                    <a:lnTo>
                      <a:pt x="44" y="295"/>
                    </a:lnTo>
                    <a:lnTo>
                      <a:pt x="40" y="295"/>
                    </a:lnTo>
                    <a:lnTo>
                      <a:pt x="34" y="290"/>
                    </a:lnTo>
                    <a:lnTo>
                      <a:pt x="36" y="286"/>
                    </a:lnTo>
                    <a:lnTo>
                      <a:pt x="40" y="286"/>
                    </a:lnTo>
                    <a:lnTo>
                      <a:pt x="44" y="282"/>
                    </a:lnTo>
                    <a:lnTo>
                      <a:pt x="44" y="282"/>
                    </a:lnTo>
                    <a:lnTo>
                      <a:pt x="44" y="282"/>
                    </a:lnTo>
                    <a:lnTo>
                      <a:pt x="40" y="282"/>
                    </a:lnTo>
                    <a:lnTo>
                      <a:pt x="36" y="286"/>
                    </a:lnTo>
                    <a:lnTo>
                      <a:pt x="32" y="282"/>
                    </a:lnTo>
                    <a:lnTo>
                      <a:pt x="32" y="282"/>
                    </a:lnTo>
                    <a:lnTo>
                      <a:pt x="34" y="280"/>
                    </a:lnTo>
                    <a:lnTo>
                      <a:pt x="38" y="278"/>
                    </a:lnTo>
                    <a:lnTo>
                      <a:pt x="40" y="276"/>
                    </a:lnTo>
                    <a:lnTo>
                      <a:pt x="44" y="273"/>
                    </a:lnTo>
                    <a:lnTo>
                      <a:pt x="42" y="271"/>
                    </a:lnTo>
                    <a:lnTo>
                      <a:pt x="40" y="269"/>
                    </a:lnTo>
                    <a:lnTo>
                      <a:pt x="40" y="271"/>
                    </a:lnTo>
                    <a:lnTo>
                      <a:pt x="38" y="273"/>
                    </a:lnTo>
                    <a:lnTo>
                      <a:pt x="34" y="275"/>
                    </a:lnTo>
                    <a:lnTo>
                      <a:pt x="28" y="276"/>
                    </a:lnTo>
                    <a:lnTo>
                      <a:pt x="27" y="276"/>
                    </a:lnTo>
                    <a:lnTo>
                      <a:pt x="25" y="273"/>
                    </a:lnTo>
                    <a:lnTo>
                      <a:pt x="25" y="271"/>
                    </a:lnTo>
                    <a:lnTo>
                      <a:pt x="27" y="269"/>
                    </a:lnTo>
                    <a:lnTo>
                      <a:pt x="28" y="267"/>
                    </a:lnTo>
                    <a:lnTo>
                      <a:pt x="28" y="265"/>
                    </a:lnTo>
                    <a:lnTo>
                      <a:pt x="27" y="265"/>
                    </a:lnTo>
                    <a:lnTo>
                      <a:pt x="23" y="265"/>
                    </a:lnTo>
                    <a:lnTo>
                      <a:pt x="23" y="265"/>
                    </a:lnTo>
                    <a:lnTo>
                      <a:pt x="19" y="256"/>
                    </a:lnTo>
                    <a:lnTo>
                      <a:pt x="17" y="256"/>
                    </a:lnTo>
                    <a:lnTo>
                      <a:pt x="13" y="252"/>
                    </a:lnTo>
                    <a:lnTo>
                      <a:pt x="13" y="252"/>
                    </a:lnTo>
                    <a:lnTo>
                      <a:pt x="15" y="250"/>
                    </a:lnTo>
                    <a:lnTo>
                      <a:pt x="19" y="248"/>
                    </a:lnTo>
                    <a:lnTo>
                      <a:pt x="19" y="246"/>
                    </a:lnTo>
                    <a:lnTo>
                      <a:pt x="19" y="244"/>
                    </a:lnTo>
                    <a:lnTo>
                      <a:pt x="23" y="244"/>
                    </a:lnTo>
                    <a:lnTo>
                      <a:pt x="23" y="246"/>
                    </a:lnTo>
                    <a:lnTo>
                      <a:pt x="23" y="244"/>
                    </a:lnTo>
                    <a:lnTo>
                      <a:pt x="23" y="243"/>
                    </a:lnTo>
                    <a:lnTo>
                      <a:pt x="19" y="243"/>
                    </a:lnTo>
                    <a:lnTo>
                      <a:pt x="17" y="241"/>
                    </a:lnTo>
                    <a:lnTo>
                      <a:pt x="19" y="239"/>
                    </a:lnTo>
                    <a:lnTo>
                      <a:pt x="23" y="239"/>
                    </a:lnTo>
                    <a:lnTo>
                      <a:pt x="27" y="237"/>
                    </a:lnTo>
                    <a:lnTo>
                      <a:pt x="27" y="235"/>
                    </a:lnTo>
                    <a:lnTo>
                      <a:pt x="27" y="231"/>
                    </a:lnTo>
                    <a:lnTo>
                      <a:pt x="30" y="231"/>
                    </a:lnTo>
                    <a:lnTo>
                      <a:pt x="32" y="231"/>
                    </a:lnTo>
                    <a:lnTo>
                      <a:pt x="34" y="231"/>
                    </a:lnTo>
                    <a:lnTo>
                      <a:pt x="36" y="231"/>
                    </a:lnTo>
                    <a:lnTo>
                      <a:pt x="40" y="231"/>
                    </a:lnTo>
                    <a:lnTo>
                      <a:pt x="42" y="227"/>
                    </a:lnTo>
                    <a:lnTo>
                      <a:pt x="44" y="227"/>
                    </a:lnTo>
                    <a:lnTo>
                      <a:pt x="47" y="231"/>
                    </a:lnTo>
                    <a:lnTo>
                      <a:pt x="47" y="231"/>
                    </a:lnTo>
                    <a:lnTo>
                      <a:pt x="47" y="231"/>
                    </a:lnTo>
                    <a:lnTo>
                      <a:pt x="49" y="231"/>
                    </a:lnTo>
                    <a:lnTo>
                      <a:pt x="49" y="227"/>
                    </a:lnTo>
                    <a:lnTo>
                      <a:pt x="53" y="226"/>
                    </a:lnTo>
                    <a:lnTo>
                      <a:pt x="57" y="227"/>
                    </a:lnTo>
                    <a:lnTo>
                      <a:pt x="57" y="227"/>
                    </a:lnTo>
                    <a:lnTo>
                      <a:pt x="59" y="226"/>
                    </a:lnTo>
                    <a:lnTo>
                      <a:pt x="59" y="226"/>
                    </a:lnTo>
                    <a:lnTo>
                      <a:pt x="62" y="226"/>
                    </a:lnTo>
                    <a:lnTo>
                      <a:pt x="76" y="222"/>
                    </a:lnTo>
                    <a:lnTo>
                      <a:pt x="77" y="222"/>
                    </a:lnTo>
                    <a:lnTo>
                      <a:pt x="81" y="226"/>
                    </a:lnTo>
                    <a:lnTo>
                      <a:pt x="81" y="222"/>
                    </a:lnTo>
                    <a:lnTo>
                      <a:pt x="81" y="222"/>
                    </a:lnTo>
                    <a:lnTo>
                      <a:pt x="81" y="220"/>
                    </a:lnTo>
                    <a:lnTo>
                      <a:pt x="85" y="216"/>
                    </a:lnTo>
                    <a:lnTo>
                      <a:pt x="91" y="216"/>
                    </a:lnTo>
                    <a:lnTo>
                      <a:pt x="92" y="216"/>
                    </a:lnTo>
                    <a:lnTo>
                      <a:pt x="96" y="218"/>
                    </a:lnTo>
                    <a:lnTo>
                      <a:pt x="98" y="218"/>
                    </a:lnTo>
                    <a:lnTo>
                      <a:pt x="102" y="216"/>
                    </a:lnTo>
                    <a:lnTo>
                      <a:pt x="106" y="214"/>
                    </a:lnTo>
                    <a:lnTo>
                      <a:pt x="111" y="216"/>
                    </a:lnTo>
                    <a:lnTo>
                      <a:pt x="113" y="218"/>
                    </a:lnTo>
                    <a:lnTo>
                      <a:pt x="117" y="218"/>
                    </a:lnTo>
                    <a:lnTo>
                      <a:pt x="117" y="220"/>
                    </a:lnTo>
                    <a:lnTo>
                      <a:pt x="123" y="222"/>
                    </a:lnTo>
                    <a:lnTo>
                      <a:pt x="124" y="222"/>
                    </a:lnTo>
                    <a:lnTo>
                      <a:pt x="126" y="222"/>
                    </a:lnTo>
                    <a:lnTo>
                      <a:pt x="126" y="220"/>
                    </a:lnTo>
                    <a:lnTo>
                      <a:pt x="130" y="216"/>
                    </a:lnTo>
                    <a:lnTo>
                      <a:pt x="132" y="212"/>
                    </a:lnTo>
                    <a:lnTo>
                      <a:pt x="134" y="209"/>
                    </a:lnTo>
                    <a:lnTo>
                      <a:pt x="140" y="207"/>
                    </a:lnTo>
                    <a:lnTo>
                      <a:pt x="140" y="205"/>
                    </a:lnTo>
                    <a:lnTo>
                      <a:pt x="141" y="201"/>
                    </a:lnTo>
                    <a:lnTo>
                      <a:pt x="147" y="197"/>
                    </a:lnTo>
                    <a:lnTo>
                      <a:pt x="149" y="195"/>
                    </a:lnTo>
                    <a:lnTo>
                      <a:pt x="145" y="195"/>
                    </a:lnTo>
                    <a:lnTo>
                      <a:pt x="145" y="192"/>
                    </a:lnTo>
                    <a:lnTo>
                      <a:pt x="149" y="188"/>
                    </a:lnTo>
                    <a:lnTo>
                      <a:pt x="151" y="188"/>
                    </a:lnTo>
                    <a:lnTo>
                      <a:pt x="155" y="188"/>
                    </a:lnTo>
                    <a:lnTo>
                      <a:pt x="158" y="184"/>
                    </a:lnTo>
                    <a:lnTo>
                      <a:pt x="160" y="182"/>
                    </a:lnTo>
                    <a:lnTo>
                      <a:pt x="158" y="180"/>
                    </a:lnTo>
                    <a:lnTo>
                      <a:pt x="155" y="180"/>
                    </a:lnTo>
                    <a:lnTo>
                      <a:pt x="151" y="178"/>
                    </a:lnTo>
                    <a:lnTo>
                      <a:pt x="151" y="177"/>
                    </a:lnTo>
                    <a:lnTo>
                      <a:pt x="151" y="175"/>
                    </a:lnTo>
                    <a:lnTo>
                      <a:pt x="155" y="173"/>
                    </a:lnTo>
                    <a:lnTo>
                      <a:pt x="160" y="175"/>
                    </a:lnTo>
                    <a:lnTo>
                      <a:pt x="164" y="173"/>
                    </a:lnTo>
                    <a:lnTo>
                      <a:pt x="168" y="171"/>
                    </a:lnTo>
                    <a:lnTo>
                      <a:pt x="170" y="167"/>
                    </a:lnTo>
                    <a:lnTo>
                      <a:pt x="168" y="167"/>
                    </a:lnTo>
                    <a:lnTo>
                      <a:pt x="168" y="163"/>
                    </a:lnTo>
                    <a:lnTo>
                      <a:pt x="168" y="163"/>
                    </a:lnTo>
                    <a:lnTo>
                      <a:pt x="164" y="167"/>
                    </a:lnTo>
                    <a:lnTo>
                      <a:pt x="164" y="171"/>
                    </a:lnTo>
                    <a:lnTo>
                      <a:pt x="162" y="171"/>
                    </a:lnTo>
                    <a:lnTo>
                      <a:pt x="156" y="171"/>
                    </a:lnTo>
                    <a:lnTo>
                      <a:pt x="155" y="171"/>
                    </a:lnTo>
                    <a:lnTo>
                      <a:pt x="151" y="171"/>
                    </a:lnTo>
                    <a:lnTo>
                      <a:pt x="149" y="173"/>
                    </a:lnTo>
                    <a:lnTo>
                      <a:pt x="147" y="173"/>
                    </a:lnTo>
                    <a:lnTo>
                      <a:pt x="145" y="171"/>
                    </a:lnTo>
                    <a:lnTo>
                      <a:pt x="141" y="167"/>
                    </a:lnTo>
                    <a:lnTo>
                      <a:pt x="140" y="171"/>
                    </a:lnTo>
                    <a:lnTo>
                      <a:pt x="138" y="171"/>
                    </a:lnTo>
                    <a:lnTo>
                      <a:pt x="136" y="171"/>
                    </a:lnTo>
                    <a:lnTo>
                      <a:pt x="134" y="171"/>
                    </a:lnTo>
                    <a:lnTo>
                      <a:pt x="132" y="171"/>
                    </a:lnTo>
                    <a:lnTo>
                      <a:pt x="130" y="171"/>
                    </a:lnTo>
                    <a:lnTo>
                      <a:pt x="130" y="167"/>
                    </a:lnTo>
                    <a:lnTo>
                      <a:pt x="130" y="163"/>
                    </a:lnTo>
                    <a:lnTo>
                      <a:pt x="130" y="163"/>
                    </a:lnTo>
                    <a:lnTo>
                      <a:pt x="130" y="162"/>
                    </a:lnTo>
                    <a:lnTo>
                      <a:pt x="130" y="158"/>
                    </a:lnTo>
                    <a:lnTo>
                      <a:pt x="132" y="158"/>
                    </a:lnTo>
                    <a:lnTo>
                      <a:pt x="134" y="156"/>
                    </a:lnTo>
                    <a:lnTo>
                      <a:pt x="136" y="154"/>
                    </a:lnTo>
                    <a:lnTo>
                      <a:pt x="138" y="154"/>
                    </a:lnTo>
                    <a:lnTo>
                      <a:pt x="138" y="152"/>
                    </a:lnTo>
                    <a:lnTo>
                      <a:pt x="136" y="150"/>
                    </a:lnTo>
                    <a:lnTo>
                      <a:pt x="136" y="148"/>
                    </a:lnTo>
                    <a:lnTo>
                      <a:pt x="138" y="146"/>
                    </a:lnTo>
                    <a:lnTo>
                      <a:pt x="140" y="146"/>
                    </a:lnTo>
                    <a:lnTo>
                      <a:pt x="141" y="145"/>
                    </a:lnTo>
                    <a:lnTo>
                      <a:pt x="145" y="143"/>
                    </a:lnTo>
                    <a:lnTo>
                      <a:pt x="147" y="141"/>
                    </a:lnTo>
                    <a:lnTo>
                      <a:pt x="151" y="139"/>
                    </a:lnTo>
                    <a:lnTo>
                      <a:pt x="155" y="137"/>
                    </a:lnTo>
                    <a:lnTo>
                      <a:pt x="155" y="133"/>
                    </a:lnTo>
                    <a:lnTo>
                      <a:pt x="160" y="137"/>
                    </a:lnTo>
                    <a:lnTo>
                      <a:pt x="162" y="133"/>
                    </a:lnTo>
                    <a:lnTo>
                      <a:pt x="162" y="133"/>
                    </a:lnTo>
                    <a:lnTo>
                      <a:pt x="160" y="133"/>
                    </a:lnTo>
                    <a:lnTo>
                      <a:pt x="160" y="131"/>
                    </a:lnTo>
                    <a:lnTo>
                      <a:pt x="162" y="131"/>
                    </a:lnTo>
                    <a:lnTo>
                      <a:pt x="166" y="131"/>
                    </a:lnTo>
                    <a:lnTo>
                      <a:pt x="166" y="133"/>
                    </a:lnTo>
                    <a:lnTo>
                      <a:pt x="168" y="131"/>
                    </a:lnTo>
                    <a:lnTo>
                      <a:pt x="173" y="128"/>
                    </a:lnTo>
                    <a:lnTo>
                      <a:pt x="172" y="124"/>
                    </a:lnTo>
                    <a:lnTo>
                      <a:pt x="173" y="122"/>
                    </a:lnTo>
                    <a:lnTo>
                      <a:pt x="175" y="118"/>
                    </a:lnTo>
                    <a:lnTo>
                      <a:pt x="179" y="118"/>
                    </a:lnTo>
                    <a:lnTo>
                      <a:pt x="181" y="114"/>
                    </a:lnTo>
                    <a:lnTo>
                      <a:pt x="185" y="114"/>
                    </a:lnTo>
                    <a:lnTo>
                      <a:pt x="187" y="114"/>
                    </a:lnTo>
                    <a:lnTo>
                      <a:pt x="187" y="114"/>
                    </a:lnTo>
                    <a:lnTo>
                      <a:pt x="188" y="118"/>
                    </a:lnTo>
                    <a:lnTo>
                      <a:pt x="188" y="126"/>
                    </a:lnTo>
                    <a:lnTo>
                      <a:pt x="188" y="128"/>
                    </a:lnTo>
                    <a:lnTo>
                      <a:pt x="188" y="133"/>
                    </a:lnTo>
                    <a:lnTo>
                      <a:pt x="188" y="139"/>
                    </a:lnTo>
                    <a:lnTo>
                      <a:pt x="190" y="139"/>
                    </a:lnTo>
                    <a:lnTo>
                      <a:pt x="190" y="137"/>
                    </a:lnTo>
                    <a:lnTo>
                      <a:pt x="192" y="133"/>
                    </a:lnTo>
                    <a:lnTo>
                      <a:pt x="190" y="128"/>
                    </a:lnTo>
                    <a:lnTo>
                      <a:pt x="190" y="124"/>
                    </a:lnTo>
                    <a:lnTo>
                      <a:pt x="190" y="120"/>
                    </a:lnTo>
                    <a:lnTo>
                      <a:pt x="190" y="116"/>
                    </a:lnTo>
                    <a:lnTo>
                      <a:pt x="192" y="114"/>
                    </a:lnTo>
                    <a:lnTo>
                      <a:pt x="194" y="114"/>
                    </a:lnTo>
                    <a:lnTo>
                      <a:pt x="196" y="113"/>
                    </a:lnTo>
                    <a:lnTo>
                      <a:pt x="198" y="111"/>
                    </a:lnTo>
                    <a:lnTo>
                      <a:pt x="200" y="111"/>
                    </a:lnTo>
                    <a:lnTo>
                      <a:pt x="200" y="113"/>
                    </a:lnTo>
                    <a:lnTo>
                      <a:pt x="200" y="114"/>
                    </a:lnTo>
                    <a:lnTo>
                      <a:pt x="200" y="114"/>
                    </a:lnTo>
                    <a:lnTo>
                      <a:pt x="204" y="116"/>
                    </a:lnTo>
                    <a:lnTo>
                      <a:pt x="204" y="118"/>
                    </a:lnTo>
                    <a:lnTo>
                      <a:pt x="204" y="120"/>
                    </a:lnTo>
                    <a:lnTo>
                      <a:pt x="205" y="122"/>
                    </a:lnTo>
                    <a:lnTo>
                      <a:pt x="211" y="122"/>
                    </a:lnTo>
                    <a:lnTo>
                      <a:pt x="213" y="122"/>
                    </a:lnTo>
                    <a:lnTo>
                      <a:pt x="215" y="122"/>
                    </a:lnTo>
                    <a:lnTo>
                      <a:pt x="217" y="120"/>
                    </a:lnTo>
                    <a:lnTo>
                      <a:pt x="215" y="116"/>
                    </a:lnTo>
                    <a:lnTo>
                      <a:pt x="217" y="114"/>
                    </a:lnTo>
                    <a:lnTo>
                      <a:pt x="219" y="113"/>
                    </a:lnTo>
                    <a:lnTo>
                      <a:pt x="219" y="109"/>
                    </a:lnTo>
                    <a:lnTo>
                      <a:pt x="220" y="109"/>
                    </a:lnTo>
                    <a:lnTo>
                      <a:pt x="222" y="107"/>
                    </a:lnTo>
                    <a:lnTo>
                      <a:pt x="228" y="107"/>
                    </a:lnTo>
                    <a:lnTo>
                      <a:pt x="228" y="103"/>
                    </a:lnTo>
                    <a:lnTo>
                      <a:pt x="228" y="97"/>
                    </a:lnTo>
                    <a:lnTo>
                      <a:pt x="228" y="97"/>
                    </a:lnTo>
                    <a:lnTo>
                      <a:pt x="224" y="97"/>
                    </a:lnTo>
                    <a:lnTo>
                      <a:pt x="224" y="94"/>
                    </a:lnTo>
                    <a:lnTo>
                      <a:pt x="224" y="94"/>
                    </a:lnTo>
                    <a:lnTo>
                      <a:pt x="228" y="90"/>
                    </a:lnTo>
                    <a:lnTo>
                      <a:pt x="228" y="86"/>
                    </a:lnTo>
                    <a:lnTo>
                      <a:pt x="228" y="84"/>
                    </a:lnTo>
                    <a:lnTo>
                      <a:pt x="230" y="79"/>
                    </a:lnTo>
                    <a:lnTo>
                      <a:pt x="234" y="77"/>
                    </a:lnTo>
                    <a:lnTo>
                      <a:pt x="237" y="77"/>
                    </a:lnTo>
                    <a:lnTo>
                      <a:pt x="241" y="73"/>
                    </a:lnTo>
                    <a:lnTo>
                      <a:pt x="247" y="73"/>
                    </a:lnTo>
                    <a:lnTo>
                      <a:pt x="247" y="73"/>
                    </a:lnTo>
                    <a:lnTo>
                      <a:pt x="249" y="77"/>
                    </a:lnTo>
                    <a:lnTo>
                      <a:pt x="249" y="79"/>
                    </a:lnTo>
                    <a:lnTo>
                      <a:pt x="252" y="82"/>
                    </a:lnTo>
                    <a:lnTo>
                      <a:pt x="252" y="86"/>
                    </a:lnTo>
                    <a:lnTo>
                      <a:pt x="249" y="94"/>
                    </a:lnTo>
                    <a:lnTo>
                      <a:pt x="249" y="101"/>
                    </a:lnTo>
                    <a:lnTo>
                      <a:pt x="252" y="103"/>
                    </a:lnTo>
                    <a:lnTo>
                      <a:pt x="258" y="107"/>
                    </a:lnTo>
                    <a:lnTo>
                      <a:pt x="258" y="109"/>
                    </a:lnTo>
                    <a:lnTo>
                      <a:pt x="260" y="111"/>
                    </a:lnTo>
                    <a:lnTo>
                      <a:pt x="260" y="109"/>
                    </a:lnTo>
                    <a:lnTo>
                      <a:pt x="260" y="103"/>
                    </a:lnTo>
                    <a:lnTo>
                      <a:pt x="260" y="101"/>
                    </a:lnTo>
                    <a:lnTo>
                      <a:pt x="254" y="94"/>
                    </a:lnTo>
                    <a:lnTo>
                      <a:pt x="254" y="88"/>
                    </a:lnTo>
                    <a:lnTo>
                      <a:pt x="258" y="84"/>
                    </a:lnTo>
                    <a:lnTo>
                      <a:pt x="258" y="81"/>
                    </a:lnTo>
                    <a:lnTo>
                      <a:pt x="258" y="79"/>
                    </a:lnTo>
                    <a:lnTo>
                      <a:pt x="254" y="77"/>
                    </a:lnTo>
                    <a:lnTo>
                      <a:pt x="254" y="73"/>
                    </a:lnTo>
                    <a:lnTo>
                      <a:pt x="254" y="69"/>
                    </a:lnTo>
                    <a:lnTo>
                      <a:pt x="254" y="69"/>
                    </a:lnTo>
                    <a:lnTo>
                      <a:pt x="258" y="64"/>
                    </a:lnTo>
                    <a:lnTo>
                      <a:pt x="262" y="64"/>
                    </a:lnTo>
                    <a:lnTo>
                      <a:pt x="264" y="67"/>
                    </a:lnTo>
                    <a:lnTo>
                      <a:pt x="266" y="64"/>
                    </a:lnTo>
                    <a:lnTo>
                      <a:pt x="269" y="64"/>
                    </a:lnTo>
                    <a:lnTo>
                      <a:pt x="273" y="67"/>
                    </a:lnTo>
                    <a:lnTo>
                      <a:pt x="283" y="67"/>
                    </a:lnTo>
                    <a:lnTo>
                      <a:pt x="288" y="64"/>
                    </a:lnTo>
                    <a:lnTo>
                      <a:pt x="296" y="64"/>
                    </a:lnTo>
                    <a:lnTo>
                      <a:pt x="298" y="64"/>
                    </a:lnTo>
                    <a:lnTo>
                      <a:pt x="298" y="69"/>
                    </a:lnTo>
                    <a:lnTo>
                      <a:pt x="298" y="73"/>
                    </a:lnTo>
                    <a:lnTo>
                      <a:pt x="298" y="73"/>
                    </a:lnTo>
                    <a:lnTo>
                      <a:pt x="301" y="73"/>
                    </a:lnTo>
                    <a:lnTo>
                      <a:pt x="303" y="69"/>
                    </a:lnTo>
                    <a:lnTo>
                      <a:pt x="301" y="67"/>
                    </a:lnTo>
                    <a:lnTo>
                      <a:pt x="301" y="64"/>
                    </a:lnTo>
                    <a:lnTo>
                      <a:pt x="307" y="60"/>
                    </a:lnTo>
                    <a:lnTo>
                      <a:pt x="311" y="62"/>
                    </a:lnTo>
                    <a:lnTo>
                      <a:pt x="311" y="64"/>
                    </a:lnTo>
                    <a:lnTo>
                      <a:pt x="311" y="69"/>
                    </a:lnTo>
                    <a:lnTo>
                      <a:pt x="313" y="69"/>
                    </a:lnTo>
                    <a:lnTo>
                      <a:pt x="315" y="67"/>
                    </a:lnTo>
                    <a:lnTo>
                      <a:pt x="315" y="62"/>
                    </a:lnTo>
                    <a:lnTo>
                      <a:pt x="311" y="60"/>
                    </a:lnTo>
                    <a:lnTo>
                      <a:pt x="311" y="58"/>
                    </a:lnTo>
                    <a:lnTo>
                      <a:pt x="311" y="56"/>
                    </a:lnTo>
                    <a:lnTo>
                      <a:pt x="315" y="56"/>
                    </a:lnTo>
                    <a:lnTo>
                      <a:pt x="318" y="58"/>
                    </a:lnTo>
                    <a:lnTo>
                      <a:pt x="322" y="56"/>
                    </a:lnTo>
                    <a:lnTo>
                      <a:pt x="326" y="54"/>
                    </a:lnTo>
                    <a:lnTo>
                      <a:pt x="332" y="56"/>
                    </a:lnTo>
                    <a:lnTo>
                      <a:pt x="332" y="58"/>
                    </a:lnTo>
                    <a:lnTo>
                      <a:pt x="332" y="67"/>
                    </a:lnTo>
                    <a:lnTo>
                      <a:pt x="328" y="73"/>
                    </a:lnTo>
                    <a:lnTo>
                      <a:pt x="328" y="77"/>
                    </a:lnTo>
                    <a:lnTo>
                      <a:pt x="326" y="81"/>
                    </a:lnTo>
                    <a:lnTo>
                      <a:pt x="326" y="84"/>
                    </a:lnTo>
                    <a:lnTo>
                      <a:pt x="326" y="86"/>
                    </a:lnTo>
                    <a:lnTo>
                      <a:pt x="324" y="90"/>
                    </a:lnTo>
                    <a:lnTo>
                      <a:pt x="322" y="90"/>
                    </a:lnTo>
                    <a:lnTo>
                      <a:pt x="320" y="92"/>
                    </a:lnTo>
                    <a:lnTo>
                      <a:pt x="322" y="94"/>
                    </a:lnTo>
                    <a:lnTo>
                      <a:pt x="322" y="94"/>
                    </a:lnTo>
                    <a:lnTo>
                      <a:pt x="322" y="97"/>
                    </a:lnTo>
                    <a:lnTo>
                      <a:pt x="318" y="101"/>
                    </a:lnTo>
                    <a:lnTo>
                      <a:pt x="316" y="107"/>
                    </a:lnTo>
                    <a:lnTo>
                      <a:pt x="313" y="107"/>
                    </a:lnTo>
                    <a:lnTo>
                      <a:pt x="311" y="109"/>
                    </a:lnTo>
                    <a:lnTo>
                      <a:pt x="311" y="113"/>
                    </a:lnTo>
                    <a:lnTo>
                      <a:pt x="311" y="116"/>
                    </a:lnTo>
                    <a:lnTo>
                      <a:pt x="307" y="120"/>
                    </a:lnTo>
                    <a:lnTo>
                      <a:pt x="311" y="122"/>
                    </a:lnTo>
                    <a:lnTo>
                      <a:pt x="311" y="122"/>
                    </a:lnTo>
                    <a:lnTo>
                      <a:pt x="313" y="116"/>
                    </a:lnTo>
                    <a:lnTo>
                      <a:pt x="316" y="114"/>
                    </a:lnTo>
                    <a:lnTo>
                      <a:pt x="316" y="113"/>
                    </a:lnTo>
                    <a:lnTo>
                      <a:pt x="318" y="111"/>
                    </a:lnTo>
                    <a:lnTo>
                      <a:pt x="322" y="107"/>
                    </a:lnTo>
                    <a:lnTo>
                      <a:pt x="324" y="103"/>
                    </a:lnTo>
                    <a:lnTo>
                      <a:pt x="326" y="101"/>
                    </a:lnTo>
                    <a:lnTo>
                      <a:pt x="328" y="101"/>
                    </a:lnTo>
                    <a:lnTo>
                      <a:pt x="328" y="97"/>
                    </a:lnTo>
                    <a:lnTo>
                      <a:pt x="328" y="94"/>
                    </a:lnTo>
                    <a:lnTo>
                      <a:pt x="332" y="94"/>
                    </a:lnTo>
                    <a:lnTo>
                      <a:pt x="332" y="90"/>
                    </a:lnTo>
                    <a:lnTo>
                      <a:pt x="335" y="88"/>
                    </a:lnTo>
                    <a:lnTo>
                      <a:pt x="335" y="90"/>
                    </a:lnTo>
                    <a:lnTo>
                      <a:pt x="335" y="94"/>
                    </a:lnTo>
                    <a:lnTo>
                      <a:pt x="337" y="94"/>
                    </a:lnTo>
                    <a:lnTo>
                      <a:pt x="337" y="97"/>
                    </a:lnTo>
                    <a:lnTo>
                      <a:pt x="341" y="103"/>
                    </a:lnTo>
                    <a:lnTo>
                      <a:pt x="341" y="107"/>
                    </a:lnTo>
                    <a:lnTo>
                      <a:pt x="343" y="111"/>
                    </a:lnTo>
                    <a:lnTo>
                      <a:pt x="345" y="113"/>
                    </a:lnTo>
                    <a:lnTo>
                      <a:pt x="347" y="113"/>
                    </a:lnTo>
                    <a:lnTo>
                      <a:pt x="348" y="114"/>
                    </a:lnTo>
                    <a:lnTo>
                      <a:pt x="350" y="114"/>
                    </a:lnTo>
                    <a:lnTo>
                      <a:pt x="350" y="113"/>
                    </a:lnTo>
                    <a:lnTo>
                      <a:pt x="350" y="111"/>
                    </a:lnTo>
                    <a:lnTo>
                      <a:pt x="350" y="109"/>
                    </a:lnTo>
                    <a:lnTo>
                      <a:pt x="348" y="107"/>
                    </a:lnTo>
                    <a:lnTo>
                      <a:pt x="347" y="103"/>
                    </a:lnTo>
                    <a:lnTo>
                      <a:pt x="348" y="103"/>
                    </a:lnTo>
                    <a:lnTo>
                      <a:pt x="350" y="103"/>
                    </a:lnTo>
                    <a:lnTo>
                      <a:pt x="352" y="107"/>
                    </a:lnTo>
                    <a:lnTo>
                      <a:pt x="356" y="107"/>
                    </a:lnTo>
                    <a:lnTo>
                      <a:pt x="360" y="107"/>
                    </a:lnTo>
                    <a:lnTo>
                      <a:pt x="360" y="109"/>
                    </a:lnTo>
                    <a:lnTo>
                      <a:pt x="360" y="109"/>
                    </a:lnTo>
                    <a:lnTo>
                      <a:pt x="362" y="107"/>
                    </a:lnTo>
                    <a:lnTo>
                      <a:pt x="365" y="107"/>
                    </a:lnTo>
                    <a:lnTo>
                      <a:pt x="365" y="109"/>
                    </a:lnTo>
                    <a:lnTo>
                      <a:pt x="367" y="109"/>
                    </a:lnTo>
                    <a:lnTo>
                      <a:pt x="365" y="103"/>
                    </a:lnTo>
                    <a:lnTo>
                      <a:pt x="365" y="97"/>
                    </a:lnTo>
                    <a:lnTo>
                      <a:pt x="367" y="94"/>
                    </a:lnTo>
                    <a:lnTo>
                      <a:pt x="367" y="90"/>
                    </a:lnTo>
                    <a:lnTo>
                      <a:pt x="365" y="86"/>
                    </a:lnTo>
                    <a:lnTo>
                      <a:pt x="365" y="82"/>
                    </a:lnTo>
                    <a:lnTo>
                      <a:pt x="365" y="77"/>
                    </a:lnTo>
                    <a:lnTo>
                      <a:pt x="367" y="73"/>
                    </a:lnTo>
                    <a:lnTo>
                      <a:pt x="369" y="69"/>
                    </a:lnTo>
                    <a:lnTo>
                      <a:pt x="367" y="67"/>
                    </a:lnTo>
                    <a:lnTo>
                      <a:pt x="369" y="64"/>
                    </a:lnTo>
                    <a:lnTo>
                      <a:pt x="369" y="60"/>
                    </a:lnTo>
                    <a:lnTo>
                      <a:pt x="371" y="58"/>
                    </a:lnTo>
                    <a:lnTo>
                      <a:pt x="373" y="58"/>
                    </a:lnTo>
                    <a:lnTo>
                      <a:pt x="377" y="60"/>
                    </a:lnTo>
                    <a:lnTo>
                      <a:pt x="379" y="60"/>
                    </a:lnTo>
                    <a:lnTo>
                      <a:pt x="381" y="62"/>
                    </a:lnTo>
                    <a:lnTo>
                      <a:pt x="381" y="64"/>
                    </a:lnTo>
                    <a:lnTo>
                      <a:pt x="386" y="64"/>
                    </a:lnTo>
                    <a:lnTo>
                      <a:pt x="386" y="69"/>
                    </a:lnTo>
                    <a:lnTo>
                      <a:pt x="390" y="77"/>
                    </a:lnTo>
                    <a:lnTo>
                      <a:pt x="390" y="79"/>
                    </a:lnTo>
                    <a:lnTo>
                      <a:pt x="392" y="84"/>
                    </a:lnTo>
                    <a:lnTo>
                      <a:pt x="396" y="88"/>
                    </a:lnTo>
                    <a:lnTo>
                      <a:pt x="396" y="97"/>
                    </a:lnTo>
                    <a:lnTo>
                      <a:pt x="396" y="97"/>
                    </a:lnTo>
                    <a:lnTo>
                      <a:pt x="394" y="101"/>
                    </a:lnTo>
                    <a:lnTo>
                      <a:pt x="394" y="103"/>
                    </a:lnTo>
                    <a:lnTo>
                      <a:pt x="394" y="107"/>
                    </a:lnTo>
                    <a:lnTo>
                      <a:pt x="396" y="109"/>
                    </a:lnTo>
                    <a:lnTo>
                      <a:pt x="397" y="114"/>
                    </a:lnTo>
                    <a:lnTo>
                      <a:pt x="397" y="120"/>
                    </a:lnTo>
                    <a:lnTo>
                      <a:pt x="397" y="124"/>
                    </a:lnTo>
                    <a:lnTo>
                      <a:pt x="399" y="126"/>
                    </a:lnTo>
                    <a:lnTo>
                      <a:pt x="403" y="126"/>
                    </a:lnTo>
                    <a:lnTo>
                      <a:pt x="407" y="128"/>
                    </a:lnTo>
                    <a:lnTo>
                      <a:pt x="411" y="128"/>
                    </a:lnTo>
                    <a:lnTo>
                      <a:pt x="414" y="128"/>
                    </a:lnTo>
                    <a:lnTo>
                      <a:pt x="414" y="122"/>
                    </a:lnTo>
                    <a:lnTo>
                      <a:pt x="416" y="120"/>
                    </a:lnTo>
                    <a:lnTo>
                      <a:pt x="418" y="122"/>
                    </a:lnTo>
                    <a:lnTo>
                      <a:pt x="418" y="124"/>
                    </a:lnTo>
                    <a:lnTo>
                      <a:pt x="418" y="128"/>
                    </a:lnTo>
                    <a:lnTo>
                      <a:pt x="420" y="126"/>
                    </a:lnTo>
                    <a:lnTo>
                      <a:pt x="422" y="126"/>
                    </a:lnTo>
                    <a:lnTo>
                      <a:pt x="424" y="128"/>
                    </a:lnTo>
                    <a:lnTo>
                      <a:pt x="426" y="128"/>
                    </a:lnTo>
                    <a:lnTo>
                      <a:pt x="426" y="131"/>
                    </a:lnTo>
                    <a:lnTo>
                      <a:pt x="428" y="133"/>
                    </a:lnTo>
                    <a:lnTo>
                      <a:pt x="429" y="133"/>
                    </a:lnTo>
                    <a:lnTo>
                      <a:pt x="431" y="133"/>
                    </a:lnTo>
                    <a:lnTo>
                      <a:pt x="435" y="133"/>
                    </a:lnTo>
                    <a:lnTo>
                      <a:pt x="435" y="133"/>
                    </a:lnTo>
                    <a:lnTo>
                      <a:pt x="435" y="133"/>
                    </a:lnTo>
                    <a:lnTo>
                      <a:pt x="431" y="128"/>
                    </a:lnTo>
                    <a:lnTo>
                      <a:pt x="431" y="128"/>
                    </a:lnTo>
                    <a:lnTo>
                      <a:pt x="431" y="126"/>
                    </a:lnTo>
                    <a:lnTo>
                      <a:pt x="428" y="126"/>
                    </a:lnTo>
                    <a:lnTo>
                      <a:pt x="426" y="124"/>
                    </a:lnTo>
                    <a:lnTo>
                      <a:pt x="428" y="120"/>
                    </a:lnTo>
                    <a:lnTo>
                      <a:pt x="426" y="116"/>
                    </a:lnTo>
                    <a:lnTo>
                      <a:pt x="420" y="114"/>
                    </a:lnTo>
                    <a:lnTo>
                      <a:pt x="420" y="111"/>
                    </a:lnTo>
                    <a:lnTo>
                      <a:pt x="420" y="107"/>
                    </a:lnTo>
                    <a:lnTo>
                      <a:pt x="418" y="103"/>
                    </a:lnTo>
                    <a:lnTo>
                      <a:pt x="418" y="103"/>
                    </a:lnTo>
                    <a:lnTo>
                      <a:pt x="418" y="97"/>
                    </a:lnTo>
                    <a:lnTo>
                      <a:pt x="418" y="94"/>
                    </a:lnTo>
                    <a:lnTo>
                      <a:pt x="414" y="90"/>
                    </a:lnTo>
                    <a:lnTo>
                      <a:pt x="414" y="86"/>
                    </a:lnTo>
                    <a:lnTo>
                      <a:pt x="416" y="84"/>
                    </a:lnTo>
                    <a:lnTo>
                      <a:pt x="414" y="79"/>
                    </a:lnTo>
                    <a:lnTo>
                      <a:pt x="414" y="77"/>
                    </a:lnTo>
                    <a:lnTo>
                      <a:pt x="414" y="73"/>
                    </a:lnTo>
                    <a:lnTo>
                      <a:pt x="414" y="69"/>
                    </a:lnTo>
                    <a:lnTo>
                      <a:pt x="411" y="64"/>
                    </a:lnTo>
                    <a:lnTo>
                      <a:pt x="411" y="64"/>
                    </a:lnTo>
                    <a:lnTo>
                      <a:pt x="411" y="60"/>
                    </a:lnTo>
                    <a:lnTo>
                      <a:pt x="411" y="54"/>
                    </a:lnTo>
                    <a:lnTo>
                      <a:pt x="411" y="52"/>
                    </a:lnTo>
                    <a:lnTo>
                      <a:pt x="416" y="54"/>
                    </a:lnTo>
                    <a:lnTo>
                      <a:pt x="418" y="56"/>
                    </a:lnTo>
                    <a:lnTo>
                      <a:pt x="420" y="56"/>
                    </a:lnTo>
                    <a:lnTo>
                      <a:pt x="422" y="54"/>
                    </a:lnTo>
                    <a:lnTo>
                      <a:pt x="424" y="54"/>
                    </a:lnTo>
                    <a:lnTo>
                      <a:pt x="429" y="62"/>
                    </a:lnTo>
                    <a:lnTo>
                      <a:pt x="435" y="64"/>
                    </a:lnTo>
                    <a:lnTo>
                      <a:pt x="435" y="64"/>
                    </a:lnTo>
                    <a:lnTo>
                      <a:pt x="435" y="60"/>
                    </a:lnTo>
                    <a:lnTo>
                      <a:pt x="435" y="58"/>
                    </a:lnTo>
                    <a:lnTo>
                      <a:pt x="435" y="52"/>
                    </a:lnTo>
                    <a:lnTo>
                      <a:pt x="439" y="52"/>
                    </a:lnTo>
                    <a:lnTo>
                      <a:pt x="441" y="52"/>
                    </a:lnTo>
                    <a:lnTo>
                      <a:pt x="445" y="52"/>
                    </a:lnTo>
                    <a:lnTo>
                      <a:pt x="448" y="50"/>
                    </a:lnTo>
                    <a:lnTo>
                      <a:pt x="452" y="50"/>
                    </a:lnTo>
                    <a:lnTo>
                      <a:pt x="456" y="52"/>
                    </a:lnTo>
                    <a:lnTo>
                      <a:pt x="458" y="54"/>
                    </a:lnTo>
                    <a:lnTo>
                      <a:pt x="460" y="56"/>
                    </a:lnTo>
                    <a:lnTo>
                      <a:pt x="460" y="62"/>
                    </a:lnTo>
                    <a:lnTo>
                      <a:pt x="460" y="64"/>
                    </a:lnTo>
                    <a:lnTo>
                      <a:pt x="463" y="67"/>
                    </a:lnTo>
                    <a:lnTo>
                      <a:pt x="463" y="69"/>
                    </a:lnTo>
                    <a:lnTo>
                      <a:pt x="463" y="73"/>
                    </a:lnTo>
                    <a:lnTo>
                      <a:pt x="465" y="79"/>
                    </a:lnTo>
                    <a:lnTo>
                      <a:pt x="465" y="84"/>
                    </a:lnTo>
                    <a:lnTo>
                      <a:pt x="465" y="86"/>
                    </a:lnTo>
                    <a:lnTo>
                      <a:pt x="469" y="88"/>
                    </a:lnTo>
                    <a:lnTo>
                      <a:pt x="473" y="88"/>
                    </a:lnTo>
                    <a:lnTo>
                      <a:pt x="478" y="92"/>
                    </a:lnTo>
                    <a:lnTo>
                      <a:pt x="484" y="94"/>
                    </a:lnTo>
                    <a:lnTo>
                      <a:pt x="482" y="92"/>
                    </a:lnTo>
                    <a:lnTo>
                      <a:pt x="482" y="90"/>
                    </a:lnTo>
                    <a:lnTo>
                      <a:pt x="478" y="88"/>
                    </a:lnTo>
                    <a:lnTo>
                      <a:pt x="477" y="84"/>
                    </a:lnTo>
                    <a:lnTo>
                      <a:pt x="473" y="84"/>
                    </a:lnTo>
                    <a:lnTo>
                      <a:pt x="469" y="82"/>
                    </a:lnTo>
                    <a:lnTo>
                      <a:pt x="469" y="81"/>
                    </a:lnTo>
                    <a:lnTo>
                      <a:pt x="469" y="77"/>
                    </a:lnTo>
                    <a:lnTo>
                      <a:pt x="465" y="73"/>
                    </a:lnTo>
                    <a:lnTo>
                      <a:pt x="465" y="69"/>
                    </a:lnTo>
                    <a:lnTo>
                      <a:pt x="467" y="64"/>
                    </a:lnTo>
                    <a:lnTo>
                      <a:pt x="467" y="62"/>
                    </a:lnTo>
                    <a:lnTo>
                      <a:pt x="467" y="58"/>
                    </a:lnTo>
                    <a:lnTo>
                      <a:pt x="469" y="58"/>
                    </a:lnTo>
                    <a:lnTo>
                      <a:pt x="467" y="54"/>
                    </a:lnTo>
                    <a:lnTo>
                      <a:pt x="463" y="52"/>
                    </a:lnTo>
                    <a:lnTo>
                      <a:pt x="460" y="47"/>
                    </a:lnTo>
                    <a:lnTo>
                      <a:pt x="458" y="47"/>
                    </a:lnTo>
                    <a:lnTo>
                      <a:pt x="454" y="47"/>
                    </a:lnTo>
                    <a:lnTo>
                      <a:pt x="452" y="49"/>
                    </a:lnTo>
                    <a:lnTo>
                      <a:pt x="450" y="49"/>
                    </a:lnTo>
                    <a:lnTo>
                      <a:pt x="445" y="47"/>
                    </a:lnTo>
                    <a:lnTo>
                      <a:pt x="445" y="43"/>
                    </a:lnTo>
                    <a:lnTo>
                      <a:pt x="446" y="39"/>
                    </a:lnTo>
                    <a:lnTo>
                      <a:pt x="450" y="39"/>
                    </a:lnTo>
                    <a:lnTo>
                      <a:pt x="450" y="37"/>
                    </a:lnTo>
                    <a:lnTo>
                      <a:pt x="445" y="33"/>
                    </a:lnTo>
                    <a:lnTo>
                      <a:pt x="445" y="30"/>
                    </a:lnTo>
                    <a:lnTo>
                      <a:pt x="445" y="26"/>
                    </a:lnTo>
                    <a:lnTo>
                      <a:pt x="446" y="22"/>
                    </a:lnTo>
                    <a:lnTo>
                      <a:pt x="448" y="22"/>
                    </a:lnTo>
                    <a:lnTo>
                      <a:pt x="450" y="26"/>
                    </a:lnTo>
                    <a:lnTo>
                      <a:pt x="452" y="30"/>
                    </a:lnTo>
                    <a:lnTo>
                      <a:pt x="454" y="30"/>
                    </a:lnTo>
                    <a:lnTo>
                      <a:pt x="458" y="24"/>
                    </a:lnTo>
                    <a:lnTo>
                      <a:pt x="460" y="22"/>
                    </a:lnTo>
                    <a:lnTo>
                      <a:pt x="463" y="20"/>
                    </a:lnTo>
                    <a:lnTo>
                      <a:pt x="463" y="18"/>
                    </a:lnTo>
                    <a:lnTo>
                      <a:pt x="467" y="15"/>
                    </a:lnTo>
                    <a:lnTo>
                      <a:pt x="473" y="15"/>
                    </a:lnTo>
                    <a:lnTo>
                      <a:pt x="467" y="16"/>
                    </a:lnTo>
                    <a:lnTo>
                      <a:pt x="467" y="18"/>
                    </a:lnTo>
                    <a:lnTo>
                      <a:pt x="467" y="20"/>
                    </a:lnTo>
                    <a:lnTo>
                      <a:pt x="473" y="18"/>
                    </a:lnTo>
                    <a:lnTo>
                      <a:pt x="473" y="18"/>
                    </a:lnTo>
                    <a:lnTo>
                      <a:pt x="475" y="20"/>
                    </a:lnTo>
                    <a:lnTo>
                      <a:pt x="475" y="24"/>
                    </a:lnTo>
                    <a:lnTo>
                      <a:pt x="478" y="26"/>
                    </a:lnTo>
                    <a:lnTo>
                      <a:pt x="478" y="28"/>
                    </a:lnTo>
                    <a:lnTo>
                      <a:pt x="477" y="30"/>
                    </a:lnTo>
                    <a:lnTo>
                      <a:pt x="477" y="32"/>
                    </a:lnTo>
                    <a:lnTo>
                      <a:pt x="478" y="30"/>
                    </a:lnTo>
                    <a:lnTo>
                      <a:pt x="482" y="26"/>
                    </a:lnTo>
                    <a:lnTo>
                      <a:pt x="484" y="28"/>
                    </a:lnTo>
                    <a:lnTo>
                      <a:pt x="488" y="30"/>
                    </a:lnTo>
                    <a:lnTo>
                      <a:pt x="488" y="33"/>
                    </a:lnTo>
                    <a:lnTo>
                      <a:pt x="490" y="39"/>
                    </a:lnTo>
                    <a:lnTo>
                      <a:pt x="490" y="43"/>
                    </a:lnTo>
                    <a:lnTo>
                      <a:pt x="490" y="47"/>
                    </a:lnTo>
                    <a:lnTo>
                      <a:pt x="493" y="45"/>
                    </a:lnTo>
                    <a:lnTo>
                      <a:pt x="493" y="39"/>
                    </a:lnTo>
                    <a:lnTo>
                      <a:pt x="492" y="37"/>
                    </a:lnTo>
                    <a:lnTo>
                      <a:pt x="490" y="33"/>
                    </a:lnTo>
                    <a:lnTo>
                      <a:pt x="490" y="32"/>
                    </a:lnTo>
                    <a:lnTo>
                      <a:pt x="490" y="30"/>
                    </a:lnTo>
                    <a:lnTo>
                      <a:pt x="490" y="30"/>
                    </a:lnTo>
                    <a:lnTo>
                      <a:pt x="493" y="32"/>
                    </a:lnTo>
                    <a:lnTo>
                      <a:pt x="499" y="33"/>
                    </a:lnTo>
                    <a:lnTo>
                      <a:pt x="503" y="39"/>
                    </a:lnTo>
                    <a:lnTo>
                      <a:pt x="507" y="43"/>
                    </a:lnTo>
                    <a:lnTo>
                      <a:pt x="512" y="43"/>
                    </a:lnTo>
                    <a:lnTo>
                      <a:pt x="512" y="43"/>
                    </a:lnTo>
                    <a:lnTo>
                      <a:pt x="509" y="39"/>
                    </a:lnTo>
                    <a:lnTo>
                      <a:pt x="505" y="39"/>
                    </a:lnTo>
                    <a:lnTo>
                      <a:pt x="501" y="33"/>
                    </a:lnTo>
                    <a:lnTo>
                      <a:pt x="501" y="30"/>
                    </a:lnTo>
                    <a:lnTo>
                      <a:pt x="503" y="24"/>
                    </a:lnTo>
                    <a:lnTo>
                      <a:pt x="507" y="24"/>
                    </a:lnTo>
                    <a:lnTo>
                      <a:pt x="509" y="24"/>
                    </a:lnTo>
                    <a:lnTo>
                      <a:pt x="512" y="26"/>
                    </a:lnTo>
                    <a:lnTo>
                      <a:pt x="518" y="26"/>
                    </a:lnTo>
                    <a:lnTo>
                      <a:pt x="518" y="24"/>
                    </a:lnTo>
                    <a:lnTo>
                      <a:pt x="518" y="22"/>
                    </a:lnTo>
                    <a:lnTo>
                      <a:pt x="514" y="22"/>
                    </a:lnTo>
                    <a:lnTo>
                      <a:pt x="514" y="20"/>
                    </a:lnTo>
                    <a:lnTo>
                      <a:pt x="518" y="16"/>
                    </a:lnTo>
                    <a:lnTo>
                      <a:pt x="522" y="13"/>
                    </a:lnTo>
                    <a:lnTo>
                      <a:pt x="522" y="13"/>
                    </a:lnTo>
                    <a:lnTo>
                      <a:pt x="518" y="9"/>
                    </a:lnTo>
                    <a:lnTo>
                      <a:pt x="518" y="7"/>
                    </a:lnTo>
                    <a:lnTo>
                      <a:pt x="522" y="7"/>
                    </a:lnTo>
                    <a:lnTo>
                      <a:pt x="524" y="7"/>
                    </a:lnTo>
                    <a:lnTo>
                      <a:pt x="525" y="5"/>
                    </a:lnTo>
                    <a:lnTo>
                      <a:pt x="525" y="0"/>
                    </a:lnTo>
                    <a:lnTo>
                      <a:pt x="527" y="0"/>
                    </a:lnTo>
                    <a:lnTo>
                      <a:pt x="529" y="0"/>
                    </a:lnTo>
                    <a:lnTo>
                      <a:pt x="531" y="0"/>
                    </a:lnTo>
                    <a:lnTo>
                      <a:pt x="533" y="3"/>
                    </a:lnTo>
                    <a:lnTo>
                      <a:pt x="533" y="5"/>
                    </a:lnTo>
                    <a:lnTo>
                      <a:pt x="533" y="9"/>
                    </a:lnTo>
                    <a:lnTo>
                      <a:pt x="537" y="9"/>
                    </a:lnTo>
                    <a:lnTo>
                      <a:pt x="539" y="9"/>
                    </a:lnTo>
                    <a:lnTo>
                      <a:pt x="539" y="7"/>
                    </a:lnTo>
                    <a:lnTo>
                      <a:pt x="539" y="3"/>
                    </a:lnTo>
                    <a:lnTo>
                      <a:pt x="539" y="0"/>
                    </a:lnTo>
                    <a:lnTo>
                      <a:pt x="539" y="0"/>
                    </a:lnTo>
                    <a:lnTo>
                      <a:pt x="542" y="0"/>
                    </a:lnTo>
                    <a:lnTo>
                      <a:pt x="546" y="0"/>
                    </a:lnTo>
                    <a:lnTo>
                      <a:pt x="552" y="0"/>
                    </a:lnTo>
                    <a:lnTo>
                      <a:pt x="554" y="0"/>
                    </a:lnTo>
                    <a:lnTo>
                      <a:pt x="556" y="3"/>
                    </a:lnTo>
                    <a:lnTo>
                      <a:pt x="556" y="0"/>
                    </a:lnTo>
                    <a:lnTo>
                      <a:pt x="557" y="0"/>
                    </a:lnTo>
                    <a:lnTo>
                      <a:pt x="563" y="0"/>
                    </a:lnTo>
                    <a:lnTo>
                      <a:pt x="567" y="0"/>
                    </a:lnTo>
                    <a:lnTo>
                      <a:pt x="571" y="3"/>
                    </a:lnTo>
                    <a:lnTo>
                      <a:pt x="573" y="3"/>
                    </a:lnTo>
                    <a:lnTo>
                      <a:pt x="574" y="3"/>
                    </a:lnTo>
                    <a:lnTo>
                      <a:pt x="576" y="5"/>
                    </a:lnTo>
                    <a:lnTo>
                      <a:pt x="578" y="7"/>
                    </a:lnTo>
                    <a:lnTo>
                      <a:pt x="584" y="9"/>
                    </a:lnTo>
                    <a:lnTo>
                      <a:pt x="586" y="9"/>
                    </a:lnTo>
                    <a:lnTo>
                      <a:pt x="586" y="9"/>
                    </a:lnTo>
                    <a:lnTo>
                      <a:pt x="588" y="7"/>
                    </a:lnTo>
                    <a:lnTo>
                      <a:pt x="591" y="9"/>
                    </a:lnTo>
                    <a:lnTo>
                      <a:pt x="595" y="9"/>
                    </a:lnTo>
                    <a:lnTo>
                      <a:pt x="599" y="15"/>
                    </a:lnTo>
                    <a:lnTo>
                      <a:pt x="606" y="15"/>
                    </a:lnTo>
                    <a:lnTo>
                      <a:pt x="608" y="16"/>
                    </a:lnTo>
                    <a:lnTo>
                      <a:pt x="612" y="15"/>
                    </a:lnTo>
                    <a:lnTo>
                      <a:pt x="614" y="16"/>
                    </a:lnTo>
                    <a:lnTo>
                      <a:pt x="616" y="18"/>
                    </a:lnTo>
                    <a:lnTo>
                      <a:pt x="620" y="16"/>
                    </a:lnTo>
                    <a:lnTo>
                      <a:pt x="620" y="18"/>
                    </a:lnTo>
                    <a:lnTo>
                      <a:pt x="623" y="20"/>
                    </a:lnTo>
                    <a:lnTo>
                      <a:pt x="629" y="22"/>
                    </a:lnTo>
                    <a:lnTo>
                      <a:pt x="633" y="26"/>
                    </a:lnTo>
                    <a:lnTo>
                      <a:pt x="635" y="30"/>
                    </a:lnTo>
                    <a:lnTo>
                      <a:pt x="638" y="30"/>
                    </a:lnTo>
                    <a:lnTo>
                      <a:pt x="644" y="33"/>
                    </a:lnTo>
                    <a:lnTo>
                      <a:pt x="644" y="33"/>
                    </a:lnTo>
                    <a:lnTo>
                      <a:pt x="640" y="39"/>
                    </a:lnTo>
                    <a:lnTo>
                      <a:pt x="638" y="39"/>
                    </a:lnTo>
                    <a:lnTo>
                      <a:pt x="635" y="39"/>
                    </a:lnTo>
                    <a:lnTo>
                      <a:pt x="633" y="39"/>
                    </a:lnTo>
                    <a:lnTo>
                      <a:pt x="631" y="43"/>
                    </a:lnTo>
                    <a:lnTo>
                      <a:pt x="627" y="43"/>
                    </a:lnTo>
                    <a:lnTo>
                      <a:pt x="625" y="39"/>
                    </a:lnTo>
                    <a:lnTo>
                      <a:pt x="621" y="43"/>
                    </a:lnTo>
                    <a:lnTo>
                      <a:pt x="620" y="43"/>
                    </a:lnTo>
                    <a:lnTo>
                      <a:pt x="612" y="39"/>
                    </a:lnTo>
                    <a:lnTo>
                      <a:pt x="608" y="37"/>
                    </a:lnTo>
                    <a:lnTo>
                      <a:pt x="606" y="37"/>
                    </a:lnTo>
                    <a:lnTo>
                      <a:pt x="603" y="37"/>
                    </a:lnTo>
                    <a:lnTo>
                      <a:pt x="599" y="37"/>
                    </a:lnTo>
                    <a:lnTo>
                      <a:pt x="597" y="37"/>
                    </a:lnTo>
                    <a:lnTo>
                      <a:pt x="595" y="39"/>
                    </a:lnTo>
                    <a:lnTo>
                      <a:pt x="595" y="37"/>
                    </a:lnTo>
                    <a:lnTo>
                      <a:pt x="591" y="37"/>
                    </a:lnTo>
                    <a:lnTo>
                      <a:pt x="584" y="39"/>
                    </a:lnTo>
                    <a:lnTo>
                      <a:pt x="582" y="39"/>
                    </a:lnTo>
                    <a:lnTo>
                      <a:pt x="578" y="39"/>
                    </a:lnTo>
                    <a:lnTo>
                      <a:pt x="576" y="39"/>
                    </a:lnTo>
                    <a:lnTo>
                      <a:pt x="571" y="39"/>
                    </a:lnTo>
                    <a:lnTo>
                      <a:pt x="567" y="39"/>
                    </a:lnTo>
                    <a:lnTo>
                      <a:pt x="565" y="39"/>
                    </a:lnTo>
                    <a:lnTo>
                      <a:pt x="565" y="33"/>
                    </a:lnTo>
                    <a:lnTo>
                      <a:pt x="567" y="33"/>
                    </a:lnTo>
                    <a:lnTo>
                      <a:pt x="567" y="33"/>
                    </a:lnTo>
                    <a:lnTo>
                      <a:pt x="567" y="32"/>
                    </a:lnTo>
                    <a:lnTo>
                      <a:pt x="567" y="30"/>
                    </a:lnTo>
                    <a:lnTo>
                      <a:pt x="565" y="30"/>
                    </a:lnTo>
                    <a:lnTo>
                      <a:pt x="563" y="30"/>
                    </a:lnTo>
                    <a:lnTo>
                      <a:pt x="557" y="33"/>
                    </a:lnTo>
                    <a:lnTo>
                      <a:pt x="557" y="37"/>
                    </a:lnTo>
                    <a:lnTo>
                      <a:pt x="561" y="39"/>
                    </a:lnTo>
                    <a:lnTo>
                      <a:pt x="565" y="39"/>
                    </a:lnTo>
                    <a:lnTo>
                      <a:pt x="563" y="43"/>
                    </a:lnTo>
                    <a:lnTo>
                      <a:pt x="561" y="43"/>
                    </a:lnTo>
                    <a:lnTo>
                      <a:pt x="557" y="43"/>
                    </a:lnTo>
                    <a:lnTo>
                      <a:pt x="556" y="43"/>
                    </a:lnTo>
                    <a:lnTo>
                      <a:pt x="552" y="43"/>
                    </a:lnTo>
                    <a:lnTo>
                      <a:pt x="550" y="43"/>
                    </a:lnTo>
                    <a:lnTo>
                      <a:pt x="546" y="43"/>
                    </a:lnTo>
                    <a:lnTo>
                      <a:pt x="542" y="43"/>
                    </a:lnTo>
                    <a:lnTo>
                      <a:pt x="539" y="43"/>
                    </a:lnTo>
                    <a:lnTo>
                      <a:pt x="533" y="45"/>
                    </a:lnTo>
                    <a:lnTo>
                      <a:pt x="527" y="49"/>
                    </a:lnTo>
                    <a:lnTo>
                      <a:pt x="525" y="52"/>
                    </a:lnTo>
                    <a:lnTo>
                      <a:pt x="525" y="58"/>
                    </a:lnTo>
                    <a:lnTo>
                      <a:pt x="525" y="60"/>
                    </a:lnTo>
                    <a:lnTo>
                      <a:pt x="524" y="62"/>
                    </a:lnTo>
                    <a:lnTo>
                      <a:pt x="525" y="64"/>
                    </a:lnTo>
                    <a:lnTo>
                      <a:pt x="529" y="64"/>
                    </a:lnTo>
                    <a:lnTo>
                      <a:pt x="529" y="60"/>
                    </a:lnTo>
                    <a:lnTo>
                      <a:pt x="529" y="56"/>
                    </a:lnTo>
                    <a:lnTo>
                      <a:pt x="529" y="56"/>
                    </a:lnTo>
                    <a:lnTo>
                      <a:pt x="531" y="54"/>
                    </a:lnTo>
                    <a:lnTo>
                      <a:pt x="533" y="54"/>
                    </a:lnTo>
                    <a:lnTo>
                      <a:pt x="539" y="52"/>
                    </a:lnTo>
                    <a:lnTo>
                      <a:pt x="539" y="54"/>
                    </a:lnTo>
                    <a:lnTo>
                      <a:pt x="539" y="56"/>
                    </a:lnTo>
                    <a:lnTo>
                      <a:pt x="537" y="60"/>
                    </a:lnTo>
                    <a:lnTo>
                      <a:pt x="537" y="62"/>
                    </a:lnTo>
                    <a:lnTo>
                      <a:pt x="539" y="62"/>
                    </a:lnTo>
                    <a:lnTo>
                      <a:pt x="539" y="60"/>
                    </a:lnTo>
                    <a:lnTo>
                      <a:pt x="539" y="54"/>
                    </a:lnTo>
                    <a:lnTo>
                      <a:pt x="539" y="54"/>
                    </a:lnTo>
                    <a:lnTo>
                      <a:pt x="542" y="50"/>
                    </a:lnTo>
                    <a:lnTo>
                      <a:pt x="542" y="50"/>
                    </a:lnTo>
                    <a:lnTo>
                      <a:pt x="546" y="49"/>
                    </a:lnTo>
                    <a:lnTo>
                      <a:pt x="548" y="49"/>
                    </a:lnTo>
                    <a:lnTo>
                      <a:pt x="554" y="47"/>
                    </a:lnTo>
                    <a:lnTo>
                      <a:pt x="557" y="47"/>
                    </a:lnTo>
                    <a:lnTo>
                      <a:pt x="557" y="47"/>
                    </a:lnTo>
                    <a:lnTo>
                      <a:pt x="561" y="47"/>
                    </a:lnTo>
                    <a:lnTo>
                      <a:pt x="561" y="49"/>
                    </a:lnTo>
                    <a:lnTo>
                      <a:pt x="565" y="54"/>
                    </a:lnTo>
                    <a:lnTo>
                      <a:pt x="567" y="56"/>
                    </a:lnTo>
                    <a:lnTo>
                      <a:pt x="567" y="56"/>
                    </a:lnTo>
                    <a:lnTo>
                      <a:pt x="567" y="52"/>
                    </a:lnTo>
                    <a:lnTo>
                      <a:pt x="567" y="49"/>
                    </a:lnTo>
                    <a:lnTo>
                      <a:pt x="567" y="47"/>
                    </a:lnTo>
                    <a:lnTo>
                      <a:pt x="571" y="47"/>
                    </a:lnTo>
                    <a:lnTo>
                      <a:pt x="573" y="47"/>
                    </a:lnTo>
                    <a:lnTo>
                      <a:pt x="578" y="47"/>
                    </a:lnTo>
                    <a:lnTo>
                      <a:pt x="582" y="47"/>
                    </a:lnTo>
                    <a:lnTo>
                      <a:pt x="588" y="43"/>
                    </a:lnTo>
                    <a:lnTo>
                      <a:pt x="591" y="43"/>
                    </a:lnTo>
                    <a:lnTo>
                      <a:pt x="597" y="43"/>
                    </a:lnTo>
                    <a:lnTo>
                      <a:pt x="603" y="43"/>
                    </a:lnTo>
                    <a:lnTo>
                      <a:pt x="606" y="45"/>
                    </a:lnTo>
                    <a:lnTo>
                      <a:pt x="610" y="47"/>
                    </a:lnTo>
                    <a:lnTo>
                      <a:pt x="612" y="47"/>
                    </a:lnTo>
                    <a:lnTo>
                      <a:pt x="616" y="49"/>
                    </a:lnTo>
                    <a:lnTo>
                      <a:pt x="620" y="50"/>
                    </a:lnTo>
                    <a:lnTo>
                      <a:pt x="620" y="52"/>
                    </a:lnTo>
                    <a:lnTo>
                      <a:pt x="621" y="50"/>
                    </a:lnTo>
                    <a:lnTo>
                      <a:pt x="625" y="50"/>
                    </a:lnTo>
                    <a:lnTo>
                      <a:pt x="627" y="50"/>
                    </a:lnTo>
                    <a:lnTo>
                      <a:pt x="627" y="52"/>
                    </a:lnTo>
                    <a:lnTo>
                      <a:pt x="629" y="52"/>
                    </a:lnTo>
                    <a:lnTo>
                      <a:pt x="633" y="50"/>
                    </a:lnTo>
                    <a:lnTo>
                      <a:pt x="635" y="50"/>
                    </a:lnTo>
                    <a:lnTo>
                      <a:pt x="638" y="50"/>
                    </a:lnTo>
                    <a:lnTo>
                      <a:pt x="644" y="47"/>
                    </a:lnTo>
                    <a:lnTo>
                      <a:pt x="646" y="45"/>
                    </a:lnTo>
                    <a:lnTo>
                      <a:pt x="650" y="43"/>
                    </a:lnTo>
                    <a:lnTo>
                      <a:pt x="650" y="45"/>
                    </a:lnTo>
                    <a:lnTo>
                      <a:pt x="652" y="49"/>
                    </a:lnTo>
                    <a:lnTo>
                      <a:pt x="655" y="50"/>
                    </a:lnTo>
                    <a:lnTo>
                      <a:pt x="655" y="50"/>
                    </a:lnTo>
                    <a:lnTo>
                      <a:pt x="653" y="54"/>
                    </a:lnTo>
                    <a:lnTo>
                      <a:pt x="653" y="54"/>
                    </a:lnTo>
                    <a:lnTo>
                      <a:pt x="655" y="56"/>
                    </a:lnTo>
                    <a:lnTo>
                      <a:pt x="655" y="58"/>
                    </a:lnTo>
                    <a:lnTo>
                      <a:pt x="655" y="60"/>
                    </a:lnTo>
                    <a:lnTo>
                      <a:pt x="650" y="64"/>
                    </a:lnTo>
                    <a:lnTo>
                      <a:pt x="644" y="67"/>
                    </a:lnTo>
                    <a:lnTo>
                      <a:pt x="644" y="64"/>
                    </a:lnTo>
                    <a:lnTo>
                      <a:pt x="640" y="64"/>
                    </a:lnTo>
                    <a:lnTo>
                      <a:pt x="638" y="62"/>
                    </a:lnTo>
                    <a:lnTo>
                      <a:pt x="637" y="64"/>
                    </a:lnTo>
                    <a:lnTo>
                      <a:pt x="637" y="64"/>
                    </a:lnTo>
                    <a:lnTo>
                      <a:pt x="640" y="67"/>
                    </a:lnTo>
                    <a:lnTo>
                      <a:pt x="640" y="69"/>
                    </a:lnTo>
                    <a:lnTo>
                      <a:pt x="640" y="69"/>
                    </a:lnTo>
                    <a:lnTo>
                      <a:pt x="637" y="69"/>
                    </a:lnTo>
                    <a:lnTo>
                      <a:pt x="635" y="67"/>
                    </a:lnTo>
                    <a:lnTo>
                      <a:pt x="633" y="67"/>
                    </a:lnTo>
                    <a:lnTo>
                      <a:pt x="633" y="69"/>
                    </a:lnTo>
                    <a:lnTo>
                      <a:pt x="633" y="69"/>
                    </a:lnTo>
                    <a:lnTo>
                      <a:pt x="637" y="73"/>
                    </a:lnTo>
                    <a:lnTo>
                      <a:pt x="640" y="73"/>
                    </a:lnTo>
                    <a:lnTo>
                      <a:pt x="644" y="73"/>
                    </a:lnTo>
                    <a:lnTo>
                      <a:pt x="646" y="73"/>
                    </a:lnTo>
                    <a:lnTo>
                      <a:pt x="652" y="69"/>
                    </a:lnTo>
                    <a:lnTo>
                      <a:pt x="653" y="69"/>
                    </a:lnTo>
                    <a:lnTo>
                      <a:pt x="655" y="73"/>
                    </a:lnTo>
                    <a:lnTo>
                      <a:pt x="655" y="69"/>
                    </a:lnTo>
                    <a:lnTo>
                      <a:pt x="655" y="69"/>
                    </a:lnTo>
                    <a:lnTo>
                      <a:pt x="659" y="69"/>
                    </a:lnTo>
                    <a:lnTo>
                      <a:pt x="665" y="69"/>
                    </a:lnTo>
                    <a:lnTo>
                      <a:pt x="669" y="69"/>
                    </a:lnTo>
                    <a:lnTo>
                      <a:pt x="669" y="73"/>
                    </a:lnTo>
                    <a:lnTo>
                      <a:pt x="670" y="73"/>
                    </a:lnTo>
                    <a:lnTo>
                      <a:pt x="670" y="73"/>
                    </a:lnTo>
                    <a:lnTo>
                      <a:pt x="674" y="69"/>
                    </a:lnTo>
                    <a:lnTo>
                      <a:pt x="674" y="73"/>
                    </a:lnTo>
                    <a:lnTo>
                      <a:pt x="674" y="73"/>
                    </a:lnTo>
                    <a:lnTo>
                      <a:pt x="678" y="77"/>
                    </a:lnTo>
                    <a:lnTo>
                      <a:pt x="682" y="77"/>
                    </a:lnTo>
                    <a:lnTo>
                      <a:pt x="685" y="79"/>
                    </a:lnTo>
                    <a:lnTo>
                      <a:pt x="685" y="81"/>
                    </a:lnTo>
                    <a:lnTo>
                      <a:pt x="689" y="84"/>
                    </a:lnTo>
                    <a:lnTo>
                      <a:pt x="693" y="86"/>
                    </a:lnTo>
                    <a:lnTo>
                      <a:pt x="695" y="88"/>
                    </a:lnTo>
                    <a:lnTo>
                      <a:pt x="699" y="90"/>
                    </a:lnTo>
                    <a:lnTo>
                      <a:pt x="699" y="94"/>
                    </a:lnTo>
                    <a:lnTo>
                      <a:pt x="695" y="94"/>
                    </a:lnTo>
                    <a:lnTo>
                      <a:pt x="695" y="97"/>
                    </a:lnTo>
                    <a:lnTo>
                      <a:pt x="695" y="97"/>
                    </a:lnTo>
                    <a:lnTo>
                      <a:pt x="693" y="101"/>
                    </a:lnTo>
                    <a:lnTo>
                      <a:pt x="689" y="103"/>
                    </a:lnTo>
                    <a:lnTo>
                      <a:pt x="687" y="103"/>
                    </a:lnTo>
                    <a:lnTo>
                      <a:pt x="685" y="103"/>
                    </a:lnTo>
                    <a:lnTo>
                      <a:pt x="684" y="103"/>
                    </a:lnTo>
                    <a:lnTo>
                      <a:pt x="684" y="107"/>
                    </a:lnTo>
                    <a:lnTo>
                      <a:pt x="684" y="107"/>
                    </a:lnTo>
                    <a:lnTo>
                      <a:pt x="680" y="109"/>
                    </a:lnTo>
                    <a:lnTo>
                      <a:pt x="674" y="111"/>
                    </a:lnTo>
                    <a:lnTo>
                      <a:pt x="670" y="113"/>
                    </a:lnTo>
                    <a:lnTo>
                      <a:pt x="669" y="113"/>
                    </a:lnTo>
                    <a:lnTo>
                      <a:pt x="665" y="113"/>
                    </a:lnTo>
                    <a:lnTo>
                      <a:pt x="663" y="111"/>
                    </a:lnTo>
                    <a:lnTo>
                      <a:pt x="661" y="109"/>
                    </a:lnTo>
                    <a:lnTo>
                      <a:pt x="661" y="109"/>
                    </a:lnTo>
                    <a:lnTo>
                      <a:pt x="661" y="111"/>
                    </a:lnTo>
                    <a:lnTo>
                      <a:pt x="663" y="113"/>
                    </a:lnTo>
                    <a:lnTo>
                      <a:pt x="663" y="114"/>
                    </a:lnTo>
                    <a:lnTo>
                      <a:pt x="659" y="114"/>
                    </a:lnTo>
                    <a:lnTo>
                      <a:pt x="655" y="113"/>
                    </a:lnTo>
                    <a:lnTo>
                      <a:pt x="652" y="114"/>
                    </a:lnTo>
                    <a:lnTo>
                      <a:pt x="650" y="114"/>
                    </a:lnTo>
                    <a:lnTo>
                      <a:pt x="650" y="113"/>
                    </a:lnTo>
                    <a:lnTo>
                      <a:pt x="644" y="113"/>
                    </a:lnTo>
                    <a:lnTo>
                      <a:pt x="644" y="114"/>
                    </a:lnTo>
                    <a:lnTo>
                      <a:pt x="638" y="116"/>
                    </a:lnTo>
                    <a:lnTo>
                      <a:pt x="635" y="116"/>
                    </a:lnTo>
                    <a:lnTo>
                      <a:pt x="633" y="116"/>
                    </a:lnTo>
                    <a:lnTo>
                      <a:pt x="631" y="116"/>
                    </a:lnTo>
                    <a:lnTo>
                      <a:pt x="627" y="114"/>
                    </a:lnTo>
                    <a:lnTo>
                      <a:pt x="625" y="114"/>
                    </a:lnTo>
                    <a:lnTo>
                      <a:pt x="623" y="116"/>
                    </a:lnTo>
                    <a:lnTo>
                      <a:pt x="620" y="116"/>
                    </a:lnTo>
                    <a:lnTo>
                      <a:pt x="616" y="116"/>
                    </a:lnTo>
                    <a:lnTo>
                      <a:pt x="614" y="113"/>
                    </a:lnTo>
                    <a:lnTo>
                      <a:pt x="612" y="113"/>
                    </a:lnTo>
                    <a:lnTo>
                      <a:pt x="610" y="111"/>
                    </a:lnTo>
                    <a:lnTo>
                      <a:pt x="606" y="111"/>
                    </a:lnTo>
                    <a:lnTo>
                      <a:pt x="603" y="111"/>
                    </a:lnTo>
                    <a:lnTo>
                      <a:pt x="601" y="109"/>
                    </a:lnTo>
                    <a:lnTo>
                      <a:pt x="597" y="111"/>
                    </a:lnTo>
                    <a:lnTo>
                      <a:pt x="595" y="111"/>
                    </a:lnTo>
                    <a:lnTo>
                      <a:pt x="591" y="109"/>
                    </a:lnTo>
                    <a:lnTo>
                      <a:pt x="589" y="109"/>
                    </a:lnTo>
                    <a:lnTo>
                      <a:pt x="588" y="113"/>
                    </a:lnTo>
                    <a:lnTo>
                      <a:pt x="584" y="113"/>
                    </a:lnTo>
                    <a:lnTo>
                      <a:pt x="580" y="113"/>
                    </a:lnTo>
                    <a:lnTo>
                      <a:pt x="576" y="114"/>
                    </a:lnTo>
                    <a:lnTo>
                      <a:pt x="576" y="114"/>
                    </a:lnTo>
                    <a:lnTo>
                      <a:pt x="574" y="114"/>
                    </a:lnTo>
                    <a:lnTo>
                      <a:pt x="574" y="111"/>
                    </a:lnTo>
                    <a:lnTo>
                      <a:pt x="573" y="111"/>
                    </a:lnTo>
                    <a:lnTo>
                      <a:pt x="571" y="111"/>
                    </a:lnTo>
                    <a:lnTo>
                      <a:pt x="567" y="111"/>
                    </a:lnTo>
                    <a:lnTo>
                      <a:pt x="567" y="111"/>
                    </a:lnTo>
                    <a:lnTo>
                      <a:pt x="567" y="111"/>
                    </a:lnTo>
                    <a:lnTo>
                      <a:pt x="567" y="113"/>
                    </a:lnTo>
                    <a:lnTo>
                      <a:pt x="571" y="113"/>
                    </a:lnTo>
                    <a:lnTo>
                      <a:pt x="571" y="113"/>
                    </a:lnTo>
                    <a:lnTo>
                      <a:pt x="573" y="114"/>
                    </a:lnTo>
                    <a:lnTo>
                      <a:pt x="571" y="118"/>
                    </a:lnTo>
                    <a:lnTo>
                      <a:pt x="571" y="118"/>
                    </a:lnTo>
                    <a:lnTo>
                      <a:pt x="567" y="118"/>
                    </a:lnTo>
                    <a:lnTo>
                      <a:pt x="565" y="118"/>
                    </a:lnTo>
                    <a:lnTo>
                      <a:pt x="563" y="120"/>
                    </a:lnTo>
                    <a:lnTo>
                      <a:pt x="557" y="122"/>
                    </a:lnTo>
                    <a:lnTo>
                      <a:pt x="554" y="122"/>
                    </a:lnTo>
                    <a:lnTo>
                      <a:pt x="552" y="124"/>
                    </a:lnTo>
                    <a:lnTo>
                      <a:pt x="550" y="126"/>
                    </a:lnTo>
                    <a:lnTo>
                      <a:pt x="546" y="128"/>
                    </a:lnTo>
                    <a:lnTo>
                      <a:pt x="542" y="128"/>
                    </a:lnTo>
                    <a:lnTo>
                      <a:pt x="539" y="128"/>
                    </a:lnTo>
                    <a:lnTo>
                      <a:pt x="539" y="128"/>
                    </a:lnTo>
                    <a:lnTo>
                      <a:pt x="537" y="131"/>
                    </a:lnTo>
                    <a:lnTo>
                      <a:pt x="537" y="133"/>
                    </a:lnTo>
                    <a:lnTo>
                      <a:pt x="539" y="137"/>
                    </a:lnTo>
                    <a:lnTo>
                      <a:pt x="539" y="137"/>
                    </a:lnTo>
                    <a:lnTo>
                      <a:pt x="539" y="141"/>
                    </a:lnTo>
                    <a:lnTo>
                      <a:pt x="539" y="143"/>
                    </a:lnTo>
                    <a:lnTo>
                      <a:pt x="542" y="143"/>
                    </a:lnTo>
                    <a:lnTo>
                      <a:pt x="542" y="141"/>
                    </a:lnTo>
                    <a:lnTo>
                      <a:pt x="542" y="137"/>
                    </a:lnTo>
                    <a:lnTo>
                      <a:pt x="546" y="137"/>
                    </a:lnTo>
                    <a:lnTo>
                      <a:pt x="548" y="137"/>
                    </a:lnTo>
                    <a:lnTo>
                      <a:pt x="552" y="133"/>
                    </a:lnTo>
                    <a:lnTo>
                      <a:pt x="554" y="133"/>
                    </a:lnTo>
                    <a:lnTo>
                      <a:pt x="557" y="133"/>
                    </a:lnTo>
                    <a:lnTo>
                      <a:pt x="557" y="133"/>
                    </a:lnTo>
                    <a:lnTo>
                      <a:pt x="561" y="128"/>
                    </a:lnTo>
                    <a:lnTo>
                      <a:pt x="567" y="128"/>
                    </a:lnTo>
                    <a:lnTo>
                      <a:pt x="573" y="126"/>
                    </a:lnTo>
                    <a:lnTo>
                      <a:pt x="576" y="126"/>
                    </a:lnTo>
                    <a:lnTo>
                      <a:pt x="576" y="128"/>
                    </a:lnTo>
                    <a:lnTo>
                      <a:pt x="574" y="128"/>
                    </a:lnTo>
                    <a:lnTo>
                      <a:pt x="576" y="128"/>
                    </a:lnTo>
                    <a:lnTo>
                      <a:pt x="578" y="128"/>
                    </a:lnTo>
                    <a:lnTo>
                      <a:pt x="578" y="126"/>
                    </a:lnTo>
                    <a:lnTo>
                      <a:pt x="582" y="122"/>
                    </a:lnTo>
                    <a:lnTo>
                      <a:pt x="584" y="120"/>
                    </a:lnTo>
                    <a:lnTo>
                      <a:pt x="588" y="122"/>
                    </a:lnTo>
                    <a:lnTo>
                      <a:pt x="589" y="122"/>
                    </a:lnTo>
                    <a:lnTo>
                      <a:pt x="591" y="122"/>
                    </a:lnTo>
                    <a:lnTo>
                      <a:pt x="597" y="122"/>
                    </a:lnTo>
                    <a:lnTo>
                      <a:pt x="601" y="124"/>
                    </a:lnTo>
                    <a:lnTo>
                      <a:pt x="605" y="124"/>
                    </a:lnTo>
                    <a:lnTo>
                      <a:pt x="614" y="124"/>
                    </a:lnTo>
                    <a:lnTo>
                      <a:pt x="616" y="124"/>
                    </a:lnTo>
                    <a:lnTo>
                      <a:pt x="620" y="126"/>
                    </a:lnTo>
                    <a:lnTo>
                      <a:pt x="625" y="128"/>
                    </a:lnTo>
                    <a:lnTo>
                      <a:pt x="631" y="128"/>
                    </a:lnTo>
                    <a:lnTo>
                      <a:pt x="635" y="128"/>
                    </a:lnTo>
                    <a:lnTo>
                      <a:pt x="635" y="128"/>
                    </a:lnTo>
                    <a:lnTo>
                      <a:pt x="637" y="131"/>
                    </a:lnTo>
                    <a:lnTo>
                      <a:pt x="637" y="133"/>
                    </a:lnTo>
                    <a:lnTo>
                      <a:pt x="633" y="133"/>
                    </a:lnTo>
                    <a:lnTo>
                      <a:pt x="633" y="137"/>
                    </a:lnTo>
                    <a:lnTo>
                      <a:pt x="631" y="139"/>
                    </a:lnTo>
                    <a:lnTo>
                      <a:pt x="629" y="141"/>
                    </a:lnTo>
                    <a:lnTo>
                      <a:pt x="620" y="141"/>
                    </a:lnTo>
                    <a:lnTo>
                      <a:pt x="616" y="143"/>
                    </a:lnTo>
                    <a:lnTo>
                      <a:pt x="616" y="145"/>
                    </a:lnTo>
                    <a:lnTo>
                      <a:pt x="614" y="143"/>
                    </a:lnTo>
                    <a:lnTo>
                      <a:pt x="612" y="143"/>
                    </a:lnTo>
                    <a:lnTo>
                      <a:pt x="612" y="146"/>
                    </a:lnTo>
                    <a:lnTo>
                      <a:pt x="612" y="148"/>
                    </a:lnTo>
                    <a:lnTo>
                      <a:pt x="610" y="152"/>
                    </a:lnTo>
                    <a:lnTo>
                      <a:pt x="612" y="154"/>
                    </a:lnTo>
                    <a:lnTo>
                      <a:pt x="612" y="154"/>
                    </a:lnTo>
                    <a:lnTo>
                      <a:pt x="616" y="152"/>
                    </a:lnTo>
                    <a:lnTo>
                      <a:pt x="620" y="152"/>
                    </a:lnTo>
                    <a:lnTo>
                      <a:pt x="623" y="150"/>
                    </a:lnTo>
                    <a:lnTo>
                      <a:pt x="623" y="150"/>
                    </a:lnTo>
                    <a:lnTo>
                      <a:pt x="631" y="150"/>
                    </a:lnTo>
                    <a:lnTo>
                      <a:pt x="631" y="150"/>
                    </a:lnTo>
                    <a:lnTo>
                      <a:pt x="638" y="152"/>
                    </a:lnTo>
                    <a:lnTo>
                      <a:pt x="640" y="152"/>
                    </a:lnTo>
                    <a:lnTo>
                      <a:pt x="640" y="154"/>
                    </a:lnTo>
                    <a:lnTo>
                      <a:pt x="644" y="152"/>
                    </a:lnTo>
                    <a:lnTo>
                      <a:pt x="644" y="150"/>
                    </a:lnTo>
                    <a:lnTo>
                      <a:pt x="644" y="150"/>
                    </a:lnTo>
                    <a:lnTo>
                      <a:pt x="650" y="150"/>
                    </a:lnTo>
                    <a:lnTo>
                      <a:pt x="650" y="152"/>
                    </a:lnTo>
                    <a:lnTo>
                      <a:pt x="653" y="148"/>
                    </a:lnTo>
                    <a:lnTo>
                      <a:pt x="653" y="143"/>
                    </a:lnTo>
                    <a:lnTo>
                      <a:pt x="653" y="137"/>
                    </a:lnTo>
                    <a:lnTo>
                      <a:pt x="655" y="137"/>
                    </a:lnTo>
                    <a:lnTo>
                      <a:pt x="655" y="133"/>
                    </a:lnTo>
                    <a:lnTo>
                      <a:pt x="655" y="133"/>
                    </a:lnTo>
                    <a:lnTo>
                      <a:pt x="657" y="131"/>
                    </a:lnTo>
                    <a:lnTo>
                      <a:pt x="663" y="131"/>
                    </a:lnTo>
                    <a:lnTo>
                      <a:pt x="665" y="131"/>
                    </a:lnTo>
                    <a:lnTo>
                      <a:pt x="670" y="131"/>
                    </a:lnTo>
                    <a:lnTo>
                      <a:pt x="674" y="131"/>
                    </a:lnTo>
                    <a:lnTo>
                      <a:pt x="676" y="131"/>
                    </a:lnTo>
                    <a:lnTo>
                      <a:pt x="678" y="133"/>
                    </a:lnTo>
                    <a:lnTo>
                      <a:pt x="678" y="141"/>
                    </a:lnTo>
                    <a:lnTo>
                      <a:pt x="678" y="145"/>
                    </a:lnTo>
                    <a:lnTo>
                      <a:pt x="674" y="148"/>
                    </a:lnTo>
                    <a:lnTo>
                      <a:pt x="670" y="156"/>
                    </a:lnTo>
                    <a:lnTo>
                      <a:pt x="670" y="158"/>
                    </a:lnTo>
                    <a:lnTo>
                      <a:pt x="670" y="162"/>
                    </a:lnTo>
                    <a:lnTo>
                      <a:pt x="659" y="171"/>
                    </a:lnTo>
                    <a:lnTo>
                      <a:pt x="657" y="171"/>
                    </a:lnTo>
                    <a:lnTo>
                      <a:pt x="655" y="171"/>
                    </a:lnTo>
                    <a:lnTo>
                      <a:pt x="653" y="173"/>
                    </a:lnTo>
                    <a:lnTo>
                      <a:pt x="652" y="175"/>
                    </a:lnTo>
                    <a:lnTo>
                      <a:pt x="650" y="173"/>
                    </a:lnTo>
                    <a:lnTo>
                      <a:pt x="646" y="175"/>
                    </a:lnTo>
                    <a:lnTo>
                      <a:pt x="644" y="178"/>
                    </a:lnTo>
                    <a:lnTo>
                      <a:pt x="644" y="180"/>
                    </a:lnTo>
                    <a:lnTo>
                      <a:pt x="640" y="182"/>
                    </a:lnTo>
                    <a:lnTo>
                      <a:pt x="640" y="186"/>
                    </a:lnTo>
                    <a:lnTo>
                      <a:pt x="638" y="184"/>
                    </a:lnTo>
                    <a:lnTo>
                      <a:pt x="637" y="184"/>
                    </a:lnTo>
                    <a:lnTo>
                      <a:pt x="637" y="186"/>
                    </a:lnTo>
                    <a:lnTo>
                      <a:pt x="637" y="188"/>
                    </a:lnTo>
                    <a:lnTo>
                      <a:pt x="635" y="188"/>
                    </a:lnTo>
                    <a:lnTo>
                      <a:pt x="631" y="195"/>
                    </a:lnTo>
                    <a:lnTo>
                      <a:pt x="629" y="197"/>
                    </a:lnTo>
                    <a:lnTo>
                      <a:pt x="627" y="201"/>
                    </a:lnTo>
                    <a:lnTo>
                      <a:pt x="621" y="203"/>
                    </a:lnTo>
                    <a:lnTo>
                      <a:pt x="620" y="207"/>
                    </a:lnTo>
                    <a:lnTo>
                      <a:pt x="616" y="207"/>
                    </a:lnTo>
                    <a:lnTo>
                      <a:pt x="612" y="210"/>
                    </a:lnTo>
                    <a:lnTo>
                      <a:pt x="612" y="212"/>
                    </a:lnTo>
                    <a:lnTo>
                      <a:pt x="608" y="212"/>
                    </a:lnTo>
                    <a:lnTo>
                      <a:pt x="608" y="216"/>
                    </a:lnTo>
                    <a:lnTo>
                      <a:pt x="608" y="220"/>
                    </a:lnTo>
                    <a:lnTo>
                      <a:pt x="606" y="222"/>
                    </a:lnTo>
                    <a:lnTo>
                      <a:pt x="608" y="226"/>
                    </a:lnTo>
                    <a:lnTo>
                      <a:pt x="608" y="222"/>
                    </a:lnTo>
                    <a:lnTo>
                      <a:pt x="610" y="220"/>
                    </a:lnTo>
                    <a:lnTo>
                      <a:pt x="614" y="216"/>
                    </a:lnTo>
                    <a:lnTo>
                      <a:pt x="616" y="212"/>
                    </a:lnTo>
                    <a:lnTo>
                      <a:pt x="620" y="210"/>
                    </a:lnTo>
                    <a:lnTo>
                      <a:pt x="620" y="210"/>
                    </a:lnTo>
                    <a:lnTo>
                      <a:pt x="620" y="210"/>
                    </a:lnTo>
                    <a:lnTo>
                      <a:pt x="623" y="207"/>
                    </a:lnTo>
                    <a:lnTo>
                      <a:pt x="631" y="203"/>
                    </a:lnTo>
                    <a:lnTo>
                      <a:pt x="633" y="201"/>
                    </a:lnTo>
                    <a:lnTo>
                      <a:pt x="633" y="201"/>
                    </a:lnTo>
                    <a:lnTo>
                      <a:pt x="638" y="195"/>
                    </a:lnTo>
                    <a:lnTo>
                      <a:pt x="644" y="188"/>
                    </a:lnTo>
                    <a:lnTo>
                      <a:pt x="644" y="188"/>
                    </a:lnTo>
                    <a:lnTo>
                      <a:pt x="650" y="188"/>
                    </a:lnTo>
                    <a:lnTo>
                      <a:pt x="650" y="188"/>
                    </a:lnTo>
                    <a:lnTo>
                      <a:pt x="653" y="188"/>
                    </a:lnTo>
                    <a:lnTo>
                      <a:pt x="653" y="186"/>
                    </a:lnTo>
                    <a:lnTo>
                      <a:pt x="657" y="186"/>
                    </a:lnTo>
                    <a:lnTo>
                      <a:pt x="663" y="186"/>
                    </a:lnTo>
                    <a:lnTo>
                      <a:pt x="669" y="182"/>
                    </a:lnTo>
                    <a:lnTo>
                      <a:pt x="670" y="178"/>
                    </a:lnTo>
                    <a:lnTo>
                      <a:pt x="674" y="178"/>
                    </a:lnTo>
                    <a:lnTo>
                      <a:pt x="676" y="177"/>
                    </a:lnTo>
                    <a:lnTo>
                      <a:pt x="678" y="175"/>
                    </a:lnTo>
                    <a:lnTo>
                      <a:pt x="682" y="175"/>
                    </a:lnTo>
                    <a:lnTo>
                      <a:pt x="684" y="171"/>
                    </a:lnTo>
                    <a:lnTo>
                      <a:pt x="689" y="167"/>
                    </a:lnTo>
                    <a:lnTo>
                      <a:pt x="689" y="162"/>
                    </a:lnTo>
                    <a:lnTo>
                      <a:pt x="689" y="162"/>
                    </a:lnTo>
                    <a:lnTo>
                      <a:pt x="693" y="158"/>
                    </a:lnTo>
                    <a:lnTo>
                      <a:pt x="693" y="158"/>
                    </a:lnTo>
                    <a:lnTo>
                      <a:pt x="695" y="156"/>
                    </a:lnTo>
                    <a:lnTo>
                      <a:pt x="695" y="158"/>
                    </a:lnTo>
                    <a:lnTo>
                      <a:pt x="695" y="162"/>
                    </a:lnTo>
                    <a:lnTo>
                      <a:pt x="695" y="162"/>
                    </a:lnTo>
                    <a:lnTo>
                      <a:pt x="695" y="167"/>
                    </a:lnTo>
                    <a:lnTo>
                      <a:pt x="699" y="167"/>
                    </a:lnTo>
                    <a:lnTo>
                      <a:pt x="699" y="171"/>
                    </a:lnTo>
                    <a:lnTo>
                      <a:pt x="695" y="173"/>
                    </a:lnTo>
                    <a:lnTo>
                      <a:pt x="699" y="175"/>
                    </a:lnTo>
                    <a:lnTo>
                      <a:pt x="699" y="173"/>
                    </a:lnTo>
                    <a:lnTo>
                      <a:pt x="699" y="171"/>
                    </a:lnTo>
                    <a:lnTo>
                      <a:pt x="701" y="167"/>
                    </a:lnTo>
                    <a:lnTo>
                      <a:pt x="699" y="167"/>
                    </a:lnTo>
                    <a:lnTo>
                      <a:pt x="699" y="163"/>
                    </a:lnTo>
                    <a:lnTo>
                      <a:pt x="701" y="162"/>
                    </a:lnTo>
                    <a:lnTo>
                      <a:pt x="702" y="162"/>
                    </a:lnTo>
                    <a:lnTo>
                      <a:pt x="702" y="167"/>
                    </a:lnTo>
                    <a:lnTo>
                      <a:pt x="704" y="167"/>
                    </a:lnTo>
                    <a:lnTo>
                      <a:pt x="708" y="167"/>
                    </a:lnTo>
                    <a:lnTo>
                      <a:pt x="712" y="167"/>
                    </a:lnTo>
                    <a:lnTo>
                      <a:pt x="712" y="163"/>
                    </a:lnTo>
                    <a:lnTo>
                      <a:pt x="712" y="162"/>
                    </a:lnTo>
                    <a:lnTo>
                      <a:pt x="712" y="162"/>
                    </a:lnTo>
                    <a:lnTo>
                      <a:pt x="714" y="162"/>
                    </a:lnTo>
                    <a:lnTo>
                      <a:pt x="716" y="158"/>
                    </a:lnTo>
                    <a:lnTo>
                      <a:pt x="716" y="154"/>
                    </a:lnTo>
                    <a:lnTo>
                      <a:pt x="716" y="152"/>
                    </a:lnTo>
                    <a:lnTo>
                      <a:pt x="716" y="150"/>
                    </a:lnTo>
                    <a:lnTo>
                      <a:pt x="717" y="148"/>
                    </a:lnTo>
                    <a:lnTo>
                      <a:pt x="719" y="150"/>
                    </a:lnTo>
                    <a:lnTo>
                      <a:pt x="723" y="152"/>
                    </a:lnTo>
                    <a:lnTo>
                      <a:pt x="727" y="150"/>
                    </a:lnTo>
                    <a:lnTo>
                      <a:pt x="727" y="148"/>
                    </a:lnTo>
                    <a:lnTo>
                      <a:pt x="733" y="146"/>
                    </a:lnTo>
                    <a:lnTo>
                      <a:pt x="736" y="146"/>
                    </a:lnTo>
                    <a:lnTo>
                      <a:pt x="738" y="146"/>
                    </a:lnTo>
                    <a:lnTo>
                      <a:pt x="744" y="146"/>
                    </a:lnTo>
                    <a:lnTo>
                      <a:pt x="748" y="150"/>
                    </a:lnTo>
                    <a:lnTo>
                      <a:pt x="751" y="152"/>
                    </a:lnTo>
                    <a:lnTo>
                      <a:pt x="757" y="152"/>
                    </a:lnTo>
                    <a:lnTo>
                      <a:pt x="759" y="154"/>
                    </a:lnTo>
                    <a:lnTo>
                      <a:pt x="761" y="156"/>
                    </a:lnTo>
                    <a:lnTo>
                      <a:pt x="765" y="156"/>
                    </a:lnTo>
                    <a:lnTo>
                      <a:pt x="768" y="158"/>
                    </a:lnTo>
                    <a:lnTo>
                      <a:pt x="768" y="162"/>
                    </a:lnTo>
                    <a:lnTo>
                      <a:pt x="768" y="162"/>
                    </a:lnTo>
                    <a:lnTo>
                      <a:pt x="776" y="167"/>
                    </a:lnTo>
                    <a:lnTo>
                      <a:pt x="776" y="171"/>
                    </a:lnTo>
                    <a:lnTo>
                      <a:pt x="778" y="171"/>
                    </a:lnTo>
                    <a:lnTo>
                      <a:pt x="781" y="177"/>
                    </a:lnTo>
                    <a:lnTo>
                      <a:pt x="778" y="180"/>
                    </a:lnTo>
                    <a:lnTo>
                      <a:pt x="776" y="184"/>
                    </a:lnTo>
                    <a:lnTo>
                      <a:pt x="772" y="184"/>
                    </a:lnTo>
                    <a:lnTo>
                      <a:pt x="772" y="188"/>
                    </a:lnTo>
                    <a:lnTo>
                      <a:pt x="768" y="188"/>
                    </a:lnTo>
                    <a:lnTo>
                      <a:pt x="768" y="188"/>
                    </a:lnTo>
                    <a:lnTo>
                      <a:pt x="765" y="192"/>
                    </a:lnTo>
                    <a:lnTo>
                      <a:pt x="761" y="197"/>
                    </a:lnTo>
                    <a:lnTo>
                      <a:pt x="759" y="201"/>
                    </a:lnTo>
                    <a:lnTo>
                      <a:pt x="757" y="201"/>
                    </a:lnTo>
                    <a:lnTo>
                      <a:pt x="757" y="201"/>
                    </a:lnTo>
                    <a:lnTo>
                      <a:pt x="751" y="197"/>
                    </a:lnTo>
                    <a:lnTo>
                      <a:pt x="748" y="197"/>
                    </a:lnTo>
                    <a:lnTo>
                      <a:pt x="744" y="197"/>
                    </a:lnTo>
                    <a:lnTo>
                      <a:pt x="744" y="201"/>
                    </a:lnTo>
                    <a:lnTo>
                      <a:pt x="744" y="203"/>
                    </a:lnTo>
                    <a:lnTo>
                      <a:pt x="744" y="203"/>
                    </a:lnTo>
                    <a:lnTo>
                      <a:pt x="744" y="205"/>
                    </a:lnTo>
                    <a:lnTo>
                      <a:pt x="748" y="209"/>
                    </a:lnTo>
                    <a:lnTo>
                      <a:pt x="748" y="209"/>
                    </a:lnTo>
                    <a:lnTo>
                      <a:pt x="748" y="212"/>
                    </a:lnTo>
                    <a:lnTo>
                      <a:pt x="748" y="214"/>
                    </a:lnTo>
                    <a:lnTo>
                      <a:pt x="744" y="214"/>
                    </a:lnTo>
                    <a:lnTo>
                      <a:pt x="742" y="214"/>
                    </a:lnTo>
                    <a:lnTo>
                      <a:pt x="736" y="218"/>
                    </a:lnTo>
                    <a:lnTo>
                      <a:pt x="733" y="220"/>
                    </a:lnTo>
                    <a:lnTo>
                      <a:pt x="731" y="220"/>
                    </a:lnTo>
                    <a:lnTo>
                      <a:pt x="727" y="220"/>
                    </a:lnTo>
                    <a:lnTo>
                      <a:pt x="727" y="218"/>
                    </a:lnTo>
                    <a:lnTo>
                      <a:pt x="723" y="218"/>
                    </a:lnTo>
                    <a:lnTo>
                      <a:pt x="719" y="218"/>
                    </a:lnTo>
                    <a:lnTo>
                      <a:pt x="719" y="216"/>
                    </a:lnTo>
                    <a:lnTo>
                      <a:pt x="717" y="216"/>
                    </a:lnTo>
                    <a:lnTo>
                      <a:pt x="716" y="214"/>
                    </a:lnTo>
                    <a:lnTo>
                      <a:pt x="714" y="214"/>
                    </a:lnTo>
                    <a:lnTo>
                      <a:pt x="714" y="214"/>
                    </a:lnTo>
                    <a:lnTo>
                      <a:pt x="712" y="216"/>
                    </a:lnTo>
                    <a:lnTo>
                      <a:pt x="712" y="216"/>
                    </a:lnTo>
                    <a:lnTo>
                      <a:pt x="708" y="216"/>
                    </a:lnTo>
                    <a:lnTo>
                      <a:pt x="708" y="218"/>
                    </a:lnTo>
                    <a:lnTo>
                      <a:pt x="706" y="220"/>
                    </a:lnTo>
                    <a:lnTo>
                      <a:pt x="704" y="220"/>
                    </a:lnTo>
                    <a:lnTo>
                      <a:pt x="702" y="218"/>
                    </a:lnTo>
                    <a:lnTo>
                      <a:pt x="701" y="220"/>
                    </a:lnTo>
                    <a:lnTo>
                      <a:pt x="699" y="222"/>
                    </a:lnTo>
                    <a:lnTo>
                      <a:pt x="695" y="220"/>
                    </a:lnTo>
                    <a:lnTo>
                      <a:pt x="693" y="220"/>
                    </a:lnTo>
                    <a:lnTo>
                      <a:pt x="689" y="220"/>
                    </a:lnTo>
                    <a:lnTo>
                      <a:pt x="685" y="222"/>
                    </a:lnTo>
                    <a:lnTo>
                      <a:pt x="682" y="222"/>
                    </a:lnTo>
                    <a:lnTo>
                      <a:pt x="680" y="222"/>
                    </a:lnTo>
                    <a:lnTo>
                      <a:pt x="682" y="222"/>
                    </a:lnTo>
                    <a:lnTo>
                      <a:pt x="685" y="222"/>
                    </a:lnTo>
                    <a:lnTo>
                      <a:pt x="693" y="222"/>
                    </a:lnTo>
                    <a:lnTo>
                      <a:pt x="695" y="222"/>
                    </a:lnTo>
                    <a:lnTo>
                      <a:pt x="699" y="222"/>
                    </a:lnTo>
                    <a:lnTo>
                      <a:pt x="701" y="222"/>
                    </a:lnTo>
                    <a:lnTo>
                      <a:pt x="704" y="222"/>
                    </a:lnTo>
                    <a:lnTo>
                      <a:pt x="712" y="222"/>
                    </a:lnTo>
                    <a:lnTo>
                      <a:pt x="716" y="226"/>
                    </a:lnTo>
                    <a:lnTo>
                      <a:pt x="716" y="226"/>
                    </a:lnTo>
                    <a:lnTo>
                      <a:pt x="719" y="222"/>
                    </a:lnTo>
                    <a:lnTo>
                      <a:pt x="719" y="222"/>
                    </a:lnTo>
                    <a:lnTo>
                      <a:pt x="723" y="226"/>
                    </a:lnTo>
                    <a:lnTo>
                      <a:pt x="723" y="226"/>
                    </a:lnTo>
                    <a:lnTo>
                      <a:pt x="727" y="226"/>
                    </a:lnTo>
                    <a:lnTo>
                      <a:pt x="729" y="231"/>
                    </a:lnTo>
                    <a:lnTo>
                      <a:pt x="729" y="231"/>
                    </a:lnTo>
                    <a:lnTo>
                      <a:pt x="727" y="235"/>
                    </a:lnTo>
                    <a:lnTo>
                      <a:pt x="723" y="235"/>
                    </a:lnTo>
                    <a:lnTo>
                      <a:pt x="723" y="235"/>
                    </a:lnTo>
                    <a:lnTo>
                      <a:pt x="723" y="237"/>
                    </a:lnTo>
                    <a:lnTo>
                      <a:pt x="723" y="239"/>
                    </a:lnTo>
                    <a:lnTo>
                      <a:pt x="719" y="241"/>
                    </a:lnTo>
                    <a:lnTo>
                      <a:pt x="714" y="243"/>
                    </a:lnTo>
                    <a:lnTo>
                      <a:pt x="710" y="243"/>
                    </a:lnTo>
                    <a:lnTo>
                      <a:pt x="706" y="244"/>
                    </a:lnTo>
                    <a:lnTo>
                      <a:pt x="699" y="243"/>
                    </a:lnTo>
                    <a:lnTo>
                      <a:pt x="699" y="241"/>
                    </a:lnTo>
                    <a:lnTo>
                      <a:pt x="691" y="235"/>
                    </a:lnTo>
                    <a:lnTo>
                      <a:pt x="685" y="235"/>
                    </a:lnTo>
                    <a:lnTo>
                      <a:pt x="684" y="235"/>
                    </a:lnTo>
                    <a:lnTo>
                      <a:pt x="680" y="237"/>
                    </a:lnTo>
                    <a:lnTo>
                      <a:pt x="678" y="243"/>
                    </a:lnTo>
                    <a:lnTo>
                      <a:pt x="674" y="244"/>
                    </a:lnTo>
                    <a:lnTo>
                      <a:pt x="674" y="246"/>
                    </a:lnTo>
                    <a:lnTo>
                      <a:pt x="670" y="246"/>
                    </a:lnTo>
                    <a:lnTo>
                      <a:pt x="674" y="248"/>
                    </a:lnTo>
                    <a:lnTo>
                      <a:pt x="674" y="248"/>
                    </a:lnTo>
                    <a:lnTo>
                      <a:pt x="674" y="250"/>
                    </a:lnTo>
                    <a:lnTo>
                      <a:pt x="674" y="252"/>
                    </a:lnTo>
                    <a:lnTo>
                      <a:pt x="674" y="252"/>
                    </a:lnTo>
                    <a:lnTo>
                      <a:pt x="670" y="252"/>
                    </a:lnTo>
                    <a:lnTo>
                      <a:pt x="670" y="256"/>
                    </a:lnTo>
                    <a:lnTo>
                      <a:pt x="674" y="258"/>
                    </a:lnTo>
                    <a:lnTo>
                      <a:pt x="676" y="258"/>
                    </a:lnTo>
                    <a:lnTo>
                      <a:pt x="678" y="258"/>
                    </a:lnTo>
                    <a:lnTo>
                      <a:pt x="680" y="256"/>
                    </a:lnTo>
                    <a:lnTo>
                      <a:pt x="684" y="256"/>
                    </a:lnTo>
                    <a:lnTo>
                      <a:pt x="685" y="252"/>
                    </a:lnTo>
                    <a:lnTo>
                      <a:pt x="689" y="250"/>
                    </a:lnTo>
                    <a:lnTo>
                      <a:pt x="695" y="248"/>
                    </a:lnTo>
                    <a:lnTo>
                      <a:pt x="699" y="246"/>
                    </a:lnTo>
                    <a:lnTo>
                      <a:pt x="702" y="246"/>
                    </a:lnTo>
                    <a:lnTo>
                      <a:pt x="704" y="248"/>
                    </a:lnTo>
                    <a:lnTo>
                      <a:pt x="706" y="250"/>
                    </a:lnTo>
                    <a:lnTo>
                      <a:pt x="708" y="250"/>
                    </a:lnTo>
                    <a:lnTo>
                      <a:pt x="712" y="252"/>
                    </a:lnTo>
                    <a:lnTo>
                      <a:pt x="712" y="252"/>
                    </a:lnTo>
                    <a:lnTo>
                      <a:pt x="710" y="256"/>
                    </a:lnTo>
                    <a:lnTo>
                      <a:pt x="706" y="258"/>
                    </a:lnTo>
                    <a:lnTo>
                      <a:pt x="704" y="261"/>
                    </a:lnTo>
                    <a:lnTo>
                      <a:pt x="701" y="265"/>
                    </a:lnTo>
                    <a:lnTo>
                      <a:pt x="701" y="267"/>
                    </a:lnTo>
                    <a:lnTo>
                      <a:pt x="695" y="273"/>
                    </a:lnTo>
                    <a:lnTo>
                      <a:pt x="693" y="276"/>
                    </a:lnTo>
                    <a:lnTo>
                      <a:pt x="687" y="286"/>
                    </a:lnTo>
                    <a:lnTo>
                      <a:pt x="685" y="290"/>
                    </a:lnTo>
                    <a:lnTo>
                      <a:pt x="682" y="291"/>
                    </a:lnTo>
                    <a:lnTo>
                      <a:pt x="682" y="295"/>
                    </a:lnTo>
                    <a:lnTo>
                      <a:pt x="680" y="301"/>
                    </a:lnTo>
                    <a:lnTo>
                      <a:pt x="680" y="303"/>
                    </a:lnTo>
                    <a:lnTo>
                      <a:pt x="678" y="305"/>
                    </a:lnTo>
                    <a:lnTo>
                      <a:pt x="678" y="310"/>
                    </a:lnTo>
                    <a:lnTo>
                      <a:pt x="676" y="316"/>
                    </a:lnTo>
                    <a:lnTo>
                      <a:pt x="674" y="322"/>
                    </a:lnTo>
                    <a:lnTo>
                      <a:pt x="676" y="324"/>
                    </a:lnTo>
                    <a:lnTo>
                      <a:pt x="676" y="327"/>
                    </a:lnTo>
                    <a:lnTo>
                      <a:pt x="676" y="333"/>
                    </a:lnTo>
                    <a:lnTo>
                      <a:pt x="674" y="335"/>
                    </a:lnTo>
                    <a:lnTo>
                      <a:pt x="670" y="337"/>
                    </a:lnTo>
                    <a:lnTo>
                      <a:pt x="670" y="342"/>
                    </a:lnTo>
                    <a:lnTo>
                      <a:pt x="670" y="344"/>
                    </a:lnTo>
                    <a:lnTo>
                      <a:pt x="670" y="346"/>
                    </a:lnTo>
                    <a:lnTo>
                      <a:pt x="670" y="350"/>
                    </a:lnTo>
                    <a:lnTo>
                      <a:pt x="669" y="354"/>
                    </a:lnTo>
                    <a:lnTo>
                      <a:pt x="665" y="359"/>
                    </a:lnTo>
                    <a:lnTo>
                      <a:pt x="663" y="356"/>
                    </a:lnTo>
                    <a:lnTo>
                      <a:pt x="661" y="354"/>
                    </a:lnTo>
                    <a:lnTo>
                      <a:pt x="661" y="352"/>
                    </a:lnTo>
                    <a:lnTo>
                      <a:pt x="659" y="350"/>
                    </a:lnTo>
                    <a:lnTo>
                      <a:pt x="657" y="350"/>
                    </a:lnTo>
                    <a:lnTo>
                      <a:pt x="661" y="350"/>
                    </a:lnTo>
                    <a:lnTo>
                      <a:pt x="659" y="346"/>
                    </a:lnTo>
                    <a:lnTo>
                      <a:pt x="657" y="346"/>
                    </a:lnTo>
                    <a:lnTo>
                      <a:pt x="655" y="346"/>
                    </a:lnTo>
                    <a:lnTo>
                      <a:pt x="653" y="346"/>
                    </a:lnTo>
                    <a:lnTo>
                      <a:pt x="652" y="350"/>
                    </a:lnTo>
                    <a:lnTo>
                      <a:pt x="652" y="350"/>
                    </a:lnTo>
                    <a:lnTo>
                      <a:pt x="653" y="350"/>
                    </a:lnTo>
                    <a:lnTo>
                      <a:pt x="653" y="352"/>
                    </a:lnTo>
                    <a:lnTo>
                      <a:pt x="652" y="354"/>
                    </a:lnTo>
                    <a:lnTo>
                      <a:pt x="652" y="356"/>
                    </a:lnTo>
                    <a:lnTo>
                      <a:pt x="653" y="359"/>
                    </a:lnTo>
                    <a:lnTo>
                      <a:pt x="655" y="359"/>
                    </a:lnTo>
                    <a:lnTo>
                      <a:pt x="657" y="363"/>
                    </a:lnTo>
                    <a:lnTo>
                      <a:pt x="659" y="365"/>
                    </a:lnTo>
                    <a:lnTo>
                      <a:pt x="661" y="369"/>
                    </a:lnTo>
                    <a:lnTo>
                      <a:pt x="665" y="371"/>
                    </a:lnTo>
                    <a:lnTo>
                      <a:pt x="669" y="371"/>
                    </a:lnTo>
                    <a:lnTo>
                      <a:pt x="670" y="376"/>
                    </a:lnTo>
                    <a:lnTo>
                      <a:pt x="674" y="380"/>
                    </a:lnTo>
                    <a:lnTo>
                      <a:pt x="670" y="380"/>
                    </a:lnTo>
                    <a:lnTo>
                      <a:pt x="670" y="384"/>
                    </a:lnTo>
                    <a:lnTo>
                      <a:pt x="665" y="380"/>
                    </a:lnTo>
                    <a:lnTo>
                      <a:pt x="663" y="376"/>
                    </a:lnTo>
                    <a:lnTo>
                      <a:pt x="663" y="374"/>
                    </a:lnTo>
                    <a:lnTo>
                      <a:pt x="659" y="374"/>
                    </a:lnTo>
                    <a:lnTo>
                      <a:pt x="659" y="371"/>
                    </a:lnTo>
                    <a:lnTo>
                      <a:pt x="657" y="374"/>
                    </a:lnTo>
                    <a:lnTo>
                      <a:pt x="657" y="376"/>
                    </a:lnTo>
                    <a:lnTo>
                      <a:pt x="657" y="376"/>
                    </a:lnTo>
                    <a:lnTo>
                      <a:pt x="659" y="380"/>
                    </a:lnTo>
                    <a:lnTo>
                      <a:pt x="659" y="380"/>
                    </a:lnTo>
                    <a:lnTo>
                      <a:pt x="657" y="380"/>
                    </a:lnTo>
                    <a:lnTo>
                      <a:pt x="655" y="380"/>
                    </a:lnTo>
                    <a:lnTo>
                      <a:pt x="655" y="380"/>
                    </a:lnTo>
                    <a:lnTo>
                      <a:pt x="655" y="384"/>
                    </a:lnTo>
                    <a:lnTo>
                      <a:pt x="659" y="384"/>
                    </a:lnTo>
                    <a:lnTo>
                      <a:pt x="657" y="386"/>
                    </a:lnTo>
                    <a:lnTo>
                      <a:pt x="657" y="386"/>
                    </a:lnTo>
                    <a:lnTo>
                      <a:pt x="657" y="388"/>
                    </a:lnTo>
                    <a:lnTo>
                      <a:pt x="661" y="388"/>
                    </a:lnTo>
                    <a:lnTo>
                      <a:pt x="665" y="388"/>
                    </a:lnTo>
                    <a:lnTo>
                      <a:pt x="665" y="389"/>
                    </a:lnTo>
                    <a:lnTo>
                      <a:pt x="665" y="393"/>
                    </a:lnTo>
                    <a:lnTo>
                      <a:pt x="665" y="393"/>
                    </a:lnTo>
                    <a:lnTo>
                      <a:pt x="665" y="395"/>
                    </a:lnTo>
                    <a:lnTo>
                      <a:pt x="669" y="395"/>
                    </a:lnTo>
                    <a:lnTo>
                      <a:pt x="670" y="391"/>
                    </a:lnTo>
                    <a:lnTo>
                      <a:pt x="674" y="388"/>
                    </a:lnTo>
                    <a:lnTo>
                      <a:pt x="674" y="388"/>
                    </a:lnTo>
                    <a:lnTo>
                      <a:pt x="674" y="389"/>
                    </a:lnTo>
                    <a:lnTo>
                      <a:pt x="674" y="391"/>
                    </a:lnTo>
                    <a:lnTo>
                      <a:pt x="676" y="391"/>
                    </a:lnTo>
                    <a:lnTo>
                      <a:pt x="678" y="393"/>
                    </a:lnTo>
                    <a:lnTo>
                      <a:pt x="682" y="393"/>
                    </a:lnTo>
                    <a:lnTo>
                      <a:pt x="682" y="397"/>
                    </a:lnTo>
                    <a:lnTo>
                      <a:pt x="682" y="399"/>
                    </a:lnTo>
                    <a:lnTo>
                      <a:pt x="680" y="401"/>
                    </a:lnTo>
                    <a:lnTo>
                      <a:pt x="680" y="406"/>
                    </a:lnTo>
                    <a:lnTo>
                      <a:pt x="680" y="410"/>
                    </a:lnTo>
                    <a:lnTo>
                      <a:pt x="680" y="410"/>
                    </a:lnTo>
                    <a:lnTo>
                      <a:pt x="678" y="416"/>
                    </a:lnTo>
                    <a:lnTo>
                      <a:pt x="676" y="418"/>
                    </a:lnTo>
                    <a:lnTo>
                      <a:pt x="676" y="421"/>
                    </a:lnTo>
                    <a:lnTo>
                      <a:pt x="674" y="423"/>
                    </a:lnTo>
                    <a:lnTo>
                      <a:pt x="674" y="423"/>
                    </a:lnTo>
                    <a:lnTo>
                      <a:pt x="674" y="420"/>
                    </a:lnTo>
                    <a:lnTo>
                      <a:pt x="670" y="418"/>
                    </a:lnTo>
                    <a:lnTo>
                      <a:pt x="669" y="416"/>
                    </a:lnTo>
                    <a:lnTo>
                      <a:pt x="665" y="416"/>
                    </a:lnTo>
                    <a:lnTo>
                      <a:pt x="665" y="416"/>
                    </a:lnTo>
                    <a:lnTo>
                      <a:pt x="661" y="416"/>
                    </a:lnTo>
                    <a:lnTo>
                      <a:pt x="661" y="414"/>
                    </a:lnTo>
                    <a:lnTo>
                      <a:pt x="661" y="410"/>
                    </a:lnTo>
                    <a:lnTo>
                      <a:pt x="659" y="410"/>
                    </a:lnTo>
                    <a:lnTo>
                      <a:pt x="657" y="410"/>
                    </a:lnTo>
                    <a:lnTo>
                      <a:pt x="657" y="410"/>
                    </a:lnTo>
                    <a:lnTo>
                      <a:pt x="655" y="410"/>
                    </a:lnTo>
                    <a:lnTo>
                      <a:pt x="652" y="406"/>
                    </a:lnTo>
                    <a:lnTo>
                      <a:pt x="650" y="406"/>
                    </a:lnTo>
                    <a:lnTo>
                      <a:pt x="646" y="408"/>
                    </a:lnTo>
                    <a:lnTo>
                      <a:pt x="646" y="410"/>
                    </a:lnTo>
                    <a:lnTo>
                      <a:pt x="650" y="410"/>
                    </a:lnTo>
                    <a:lnTo>
                      <a:pt x="644" y="410"/>
                    </a:lnTo>
                    <a:lnTo>
                      <a:pt x="644" y="410"/>
                    </a:lnTo>
                    <a:lnTo>
                      <a:pt x="640" y="410"/>
                    </a:lnTo>
                    <a:lnTo>
                      <a:pt x="638" y="410"/>
                    </a:lnTo>
                    <a:lnTo>
                      <a:pt x="640" y="410"/>
                    </a:lnTo>
                    <a:lnTo>
                      <a:pt x="640" y="410"/>
                    </a:lnTo>
                    <a:lnTo>
                      <a:pt x="644" y="414"/>
                    </a:lnTo>
                    <a:lnTo>
                      <a:pt x="646" y="414"/>
                    </a:lnTo>
                    <a:lnTo>
                      <a:pt x="644" y="414"/>
                    </a:lnTo>
                    <a:lnTo>
                      <a:pt x="644" y="414"/>
                    </a:lnTo>
                    <a:lnTo>
                      <a:pt x="640" y="418"/>
                    </a:lnTo>
                    <a:lnTo>
                      <a:pt x="637" y="421"/>
                    </a:lnTo>
                    <a:lnTo>
                      <a:pt x="635" y="420"/>
                    </a:lnTo>
                    <a:lnTo>
                      <a:pt x="633" y="418"/>
                    </a:lnTo>
                    <a:lnTo>
                      <a:pt x="633" y="416"/>
                    </a:lnTo>
                    <a:lnTo>
                      <a:pt x="633" y="414"/>
                    </a:lnTo>
                    <a:lnTo>
                      <a:pt x="631" y="416"/>
                    </a:lnTo>
                    <a:lnTo>
                      <a:pt x="631" y="418"/>
                    </a:lnTo>
                    <a:lnTo>
                      <a:pt x="631" y="421"/>
                    </a:lnTo>
                    <a:lnTo>
                      <a:pt x="631" y="423"/>
                    </a:lnTo>
                    <a:lnTo>
                      <a:pt x="631" y="423"/>
                    </a:lnTo>
                    <a:lnTo>
                      <a:pt x="631" y="427"/>
                    </a:lnTo>
                    <a:lnTo>
                      <a:pt x="631" y="429"/>
                    </a:lnTo>
                    <a:lnTo>
                      <a:pt x="631" y="429"/>
                    </a:lnTo>
                    <a:lnTo>
                      <a:pt x="631" y="431"/>
                    </a:lnTo>
                    <a:lnTo>
                      <a:pt x="631" y="433"/>
                    </a:lnTo>
                    <a:lnTo>
                      <a:pt x="627" y="431"/>
                    </a:lnTo>
                    <a:lnTo>
                      <a:pt x="623" y="431"/>
                    </a:lnTo>
                    <a:lnTo>
                      <a:pt x="623" y="433"/>
                    </a:lnTo>
                    <a:lnTo>
                      <a:pt x="625" y="435"/>
                    </a:lnTo>
                    <a:lnTo>
                      <a:pt x="627" y="435"/>
                    </a:lnTo>
                    <a:lnTo>
                      <a:pt x="633" y="435"/>
                    </a:lnTo>
                    <a:lnTo>
                      <a:pt x="633" y="435"/>
                    </a:lnTo>
                    <a:lnTo>
                      <a:pt x="633" y="438"/>
                    </a:lnTo>
                    <a:lnTo>
                      <a:pt x="633" y="440"/>
                    </a:lnTo>
                    <a:lnTo>
                      <a:pt x="635" y="440"/>
                    </a:lnTo>
                    <a:lnTo>
                      <a:pt x="635" y="440"/>
                    </a:lnTo>
                    <a:lnTo>
                      <a:pt x="638" y="440"/>
                    </a:lnTo>
                    <a:lnTo>
                      <a:pt x="640" y="440"/>
                    </a:lnTo>
                    <a:lnTo>
                      <a:pt x="644" y="440"/>
                    </a:lnTo>
                    <a:lnTo>
                      <a:pt x="646" y="440"/>
                    </a:lnTo>
                    <a:lnTo>
                      <a:pt x="650" y="440"/>
                    </a:lnTo>
                    <a:lnTo>
                      <a:pt x="652" y="440"/>
                    </a:lnTo>
                    <a:lnTo>
                      <a:pt x="653" y="440"/>
                    </a:lnTo>
                    <a:lnTo>
                      <a:pt x="655" y="440"/>
                    </a:lnTo>
                    <a:lnTo>
                      <a:pt x="655" y="444"/>
                    </a:lnTo>
                    <a:lnTo>
                      <a:pt x="655" y="446"/>
                    </a:lnTo>
                    <a:lnTo>
                      <a:pt x="655" y="448"/>
                    </a:lnTo>
                    <a:lnTo>
                      <a:pt x="655" y="450"/>
                    </a:lnTo>
                    <a:lnTo>
                      <a:pt x="653" y="450"/>
                    </a:lnTo>
                    <a:lnTo>
                      <a:pt x="652" y="450"/>
                    </a:lnTo>
                    <a:lnTo>
                      <a:pt x="650" y="448"/>
                    </a:lnTo>
                    <a:lnTo>
                      <a:pt x="646" y="450"/>
                    </a:lnTo>
                    <a:lnTo>
                      <a:pt x="644" y="450"/>
                    </a:lnTo>
                    <a:lnTo>
                      <a:pt x="644" y="448"/>
                    </a:lnTo>
                    <a:lnTo>
                      <a:pt x="638" y="450"/>
                    </a:lnTo>
                    <a:lnTo>
                      <a:pt x="635" y="450"/>
                    </a:lnTo>
                    <a:lnTo>
                      <a:pt x="633" y="450"/>
                    </a:lnTo>
                    <a:lnTo>
                      <a:pt x="631" y="448"/>
                    </a:lnTo>
                    <a:lnTo>
                      <a:pt x="631" y="450"/>
                    </a:lnTo>
                    <a:lnTo>
                      <a:pt x="631" y="452"/>
                    </a:lnTo>
                    <a:lnTo>
                      <a:pt x="633" y="452"/>
                    </a:lnTo>
                    <a:lnTo>
                      <a:pt x="635" y="452"/>
                    </a:lnTo>
                    <a:lnTo>
                      <a:pt x="638" y="452"/>
                    </a:lnTo>
                    <a:lnTo>
                      <a:pt x="644" y="452"/>
                    </a:lnTo>
                    <a:lnTo>
                      <a:pt x="644" y="453"/>
                    </a:lnTo>
                    <a:lnTo>
                      <a:pt x="646" y="455"/>
                    </a:lnTo>
                    <a:lnTo>
                      <a:pt x="650" y="455"/>
                    </a:lnTo>
                    <a:lnTo>
                      <a:pt x="652" y="457"/>
                    </a:lnTo>
                    <a:lnTo>
                      <a:pt x="653" y="459"/>
                    </a:lnTo>
                    <a:lnTo>
                      <a:pt x="655" y="461"/>
                    </a:lnTo>
                    <a:lnTo>
                      <a:pt x="659" y="465"/>
                    </a:lnTo>
                    <a:lnTo>
                      <a:pt x="659" y="465"/>
                    </a:lnTo>
                    <a:lnTo>
                      <a:pt x="659" y="465"/>
                    </a:lnTo>
                    <a:lnTo>
                      <a:pt x="655" y="465"/>
                    </a:lnTo>
                    <a:lnTo>
                      <a:pt x="655" y="465"/>
                    </a:lnTo>
                    <a:lnTo>
                      <a:pt x="655" y="465"/>
                    </a:lnTo>
                    <a:lnTo>
                      <a:pt x="653" y="469"/>
                    </a:lnTo>
                    <a:lnTo>
                      <a:pt x="655" y="470"/>
                    </a:lnTo>
                    <a:lnTo>
                      <a:pt x="655" y="474"/>
                    </a:lnTo>
                    <a:lnTo>
                      <a:pt x="655" y="478"/>
                    </a:lnTo>
                    <a:lnTo>
                      <a:pt x="655" y="480"/>
                    </a:lnTo>
                    <a:lnTo>
                      <a:pt x="655" y="482"/>
                    </a:lnTo>
                    <a:lnTo>
                      <a:pt x="655" y="484"/>
                    </a:lnTo>
                    <a:lnTo>
                      <a:pt x="652" y="489"/>
                    </a:lnTo>
                    <a:lnTo>
                      <a:pt x="650" y="493"/>
                    </a:lnTo>
                    <a:lnTo>
                      <a:pt x="650" y="493"/>
                    </a:lnTo>
                    <a:lnTo>
                      <a:pt x="646" y="491"/>
                    </a:lnTo>
                    <a:lnTo>
                      <a:pt x="644" y="487"/>
                    </a:lnTo>
                    <a:lnTo>
                      <a:pt x="650" y="486"/>
                    </a:lnTo>
                    <a:lnTo>
                      <a:pt x="646" y="484"/>
                    </a:lnTo>
                    <a:lnTo>
                      <a:pt x="644" y="484"/>
                    </a:lnTo>
                    <a:lnTo>
                      <a:pt x="644" y="484"/>
                    </a:lnTo>
                    <a:lnTo>
                      <a:pt x="640" y="484"/>
                    </a:lnTo>
                    <a:lnTo>
                      <a:pt x="638" y="478"/>
                    </a:lnTo>
                    <a:lnTo>
                      <a:pt x="635" y="478"/>
                    </a:lnTo>
                    <a:lnTo>
                      <a:pt x="631" y="474"/>
                    </a:lnTo>
                    <a:lnTo>
                      <a:pt x="631" y="470"/>
                    </a:lnTo>
                    <a:lnTo>
                      <a:pt x="629" y="469"/>
                    </a:lnTo>
                    <a:lnTo>
                      <a:pt x="625" y="465"/>
                    </a:lnTo>
                    <a:lnTo>
                      <a:pt x="623" y="463"/>
                    </a:lnTo>
                    <a:lnTo>
                      <a:pt x="621" y="463"/>
                    </a:lnTo>
                    <a:lnTo>
                      <a:pt x="621" y="465"/>
                    </a:lnTo>
                    <a:lnTo>
                      <a:pt x="623" y="465"/>
                    </a:lnTo>
                    <a:lnTo>
                      <a:pt x="627" y="469"/>
                    </a:lnTo>
                    <a:lnTo>
                      <a:pt x="627" y="470"/>
                    </a:lnTo>
                    <a:lnTo>
                      <a:pt x="625" y="470"/>
                    </a:lnTo>
                    <a:lnTo>
                      <a:pt x="621" y="470"/>
                    </a:lnTo>
                    <a:lnTo>
                      <a:pt x="620" y="469"/>
                    </a:lnTo>
                    <a:lnTo>
                      <a:pt x="616" y="465"/>
                    </a:lnTo>
                    <a:lnTo>
                      <a:pt x="616" y="465"/>
                    </a:lnTo>
                    <a:lnTo>
                      <a:pt x="616" y="465"/>
                    </a:lnTo>
                    <a:lnTo>
                      <a:pt x="616" y="469"/>
                    </a:lnTo>
                    <a:lnTo>
                      <a:pt x="620" y="474"/>
                    </a:lnTo>
                    <a:lnTo>
                      <a:pt x="623" y="474"/>
                    </a:lnTo>
                    <a:lnTo>
                      <a:pt x="629" y="474"/>
                    </a:lnTo>
                    <a:lnTo>
                      <a:pt x="635" y="478"/>
                    </a:lnTo>
                    <a:lnTo>
                      <a:pt x="640" y="486"/>
                    </a:lnTo>
                    <a:lnTo>
                      <a:pt x="640" y="487"/>
                    </a:lnTo>
                    <a:lnTo>
                      <a:pt x="640" y="489"/>
                    </a:lnTo>
                    <a:lnTo>
                      <a:pt x="640" y="489"/>
                    </a:lnTo>
                    <a:lnTo>
                      <a:pt x="637" y="487"/>
                    </a:lnTo>
                    <a:lnTo>
                      <a:pt x="635" y="487"/>
                    </a:lnTo>
                    <a:lnTo>
                      <a:pt x="631" y="489"/>
                    </a:lnTo>
                    <a:lnTo>
                      <a:pt x="627" y="493"/>
                    </a:lnTo>
                    <a:lnTo>
                      <a:pt x="625" y="493"/>
                    </a:lnTo>
                    <a:lnTo>
                      <a:pt x="623" y="491"/>
                    </a:lnTo>
                    <a:lnTo>
                      <a:pt x="621" y="489"/>
                    </a:lnTo>
                    <a:lnTo>
                      <a:pt x="621" y="487"/>
                    </a:lnTo>
                    <a:lnTo>
                      <a:pt x="621" y="486"/>
                    </a:lnTo>
                    <a:lnTo>
                      <a:pt x="620" y="484"/>
                    </a:lnTo>
                    <a:lnTo>
                      <a:pt x="620" y="487"/>
                    </a:lnTo>
                    <a:lnTo>
                      <a:pt x="620" y="489"/>
                    </a:lnTo>
                    <a:lnTo>
                      <a:pt x="621" y="493"/>
                    </a:lnTo>
                    <a:lnTo>
                      <a:pt x="621" y="495"/>
                    </a:lnTo>
                    <a:lnTo>
                      <a:pt x="625" y="495"/>
                    </a:lnTo>
                    <a:lnTo>
                      <a:pt x="629" y="495"/>
                    </a:lnTo>
                    <a:lnTo>
                      <a:pt x="633" y="491"/>
                    </a:lnTo>
                    <a:lnTo>
                      <a:pt x="635" y="491"/>
                    </a:lnTo>
                    <a:lnTo>
                      <a:pt x="638" y="493"/>
                    </a:lnTo>
                    <a:lnTo>
                      <a:pt x="638" y="495"/>
                    </a:lnTo>
                    <a:lnTo>
                      <a:pt x="638" y="497"/>
                    </a:lnTo>
                    <a:lnTo>
                      <a:pt x="637" y="502"/>
                    </a:lnTo>
                    <a:lnTo>
                      <a:pt x="637" y="504"/>
                    </a:lnTo>
                    <a:lnTo>
                      <a:pt x="635" y="504"/>
                    </a:lnTo>
                    <a:lnTo>
                      <a:pt x="635" y="504"/>
                    </a:lnTo>
                    <a:lnTo>
                      <a:pt x="637" y="508"/>
                    </a:lnTo>
                    <a:lnTo>
                      <a:pt x="638" y="508"/>
                    </a:lnTo>
                    <a:lnTo>
                      <a:pt x="640" y="508"/>
                    </a:lnTo>
                    <a:lnTo>
                      <a:pt x="644" y="510"/>
                    </a:lnTo>
                    <a:lnTo>
                      <a:pt x="650" y="512"/>
                    </a:lnTo>
                    <a:lnTo>
                      <a:pt x="650" y="510"/>
                    </a:lnTo>
                    <a:lnTo>
                      <a:pt x="652" y="510"/>
                    </a:lnTo>
                    <a:lnTo>
                      <a:pt x="655" y="510"/>
                    </a:lnTo>
                    <a:lnTo>
                      <a:pt x="655" y="512"/>
                    </a:lnTo>
                    <a:lnTo>
                      <a:pt x="653" y="514"/>
                    </a:lnTo>
                    <a:lnTo>
                      <a:pt x="653" y="516"/>
                    </a:lnTo>
                    <a:lnTo>
                      <a:pt x="655" y="519"/>
                    </a:lnTo>
                    <a:lnTo>
                      <a:pt x="655" y="521"/>
                    </a:lnTo>
                    <a:lnTo>
                      <a:pt x="652" y="527"/>
                    </a:lnTo>
                    <a:lnTo>
                      <a:pt x="646" y="529"/>
                    </a:lnTo>
                    <a:lnTo>
                      <a:pt x="644" y="529"/>
                    </a:lnTo>
                    <a:lnTo>
                      <a:pt x="644" y="527"/>
                    </a:lnTo>
                    <a:lnTo>
                      <a:pt x="644" y="525"/>
                    </a:lnTo>
                    <a:lnTo>
                      <a:pt x="640" y="523"/>
                    </a:lnTo>
                    <a:lnTo>
                      <a:pt x="640" y="519"/>
                    </a:lnTo>
                    <a:lnTo>
                      <a:pt x="638" y="516"/>
                    </a:lnTo>
                    <a:lnTo>
                      <a:pt x="635" y="516"/>
                    </a:lnTo>
                    <a:lnTo>
                      <a:pt x="633" y="514"/>
                    </a:lnTo>
                    <a:lnTo>
                      <a:pt x="629" y="512"/>
                    </a:lnTo>
                    <a:lnTo>
                      <a:pt x="627" y="514"/>
                    </a:lnTo>
                    <a:lnTo>
                      <a:pt x="625" y="514"/>
                    </a:lnTo>
                    <a:lnTo>
                      <a:pt x="623" y="514"/>
                    </a:lnTo>
                    <a:lnTo>
                      <a:pt x="621" y="510"/>
                    </a:lnTo>
                    <a:lnTo>
                      <a:pt x="620" y="508"/>
                    </a:lnTo>
                    <a:lnTo>
                      <a:pt x="620" y="508"/>
                    </a:lnTo>
                    <a:lnTo>
                      <a:pt x="620" y="510"/>
                    </a:lnTo>
                    <a:lnTo>
                      <a:pt x="620" y="512"/>
                    </a:lnTo>
                    <a:lnTo>
                      <a:pt x="620" y="516"/>
                    </a:lnTo>
                    <a:lnTo>
                      <a:pt x="620" y="519"/>
                    </a:lnTo>
                    <a:lnTo>
                      <a:pt x="616" y="521"/>
                    </a:lnTo>
                    <a:lnTo>
                      <a:pt x="616" y="521"/>
                    </a:lnTo>
                    <a:lnTo>
                      <a:pt x="614" y="521"/>
                    </a:lnTo>
                    <a:lnTo>
                      <a:pt x="616" y="521"/>
                    </a:lnTo>
                    <a:lnTo>
                      <a:pt x="616" y="523"/>
                    </a:lnTo>
                    <a:lnTo>
                      <a:pt x="616" y="525"/>
                    </a:lnTo>
                    <a:lnTo>
                      <a:pt x="614" y="529"/>
                    </a:lnTo>
                    <a:lnTo>
                      <a:pt x="612" y="529"/>
                    </a:lnTo>
                    <a:lnTo>
                      <a:pt x="612" y="533"/>
                    </a:lnTo>
                    <a:lnTo>
                      <a:pt x="612" y="533"/>
                    </a:lnTo>
                    <a:lnTo>
                      <a:pt x="614" y="533"/>
                    </a:lnTo>
                    <a:lnTo>
                      <a:pt x="616" y="538"/>
                    </a:lnTo>
                    <a:lnTo>
                      <a:pt x="616" y="538"/>
                    </a:lnTo>
                    <a:lnTo>
                      <a:pt x="620" y="542"/>
                    </a:lnTo>
                    <a:lnTo>
                      <a:pt x="616" y="546"/>
                    </a:lnTo>
                    <a:lnTo>
                      <a:pt x="616" y="548"/>
                    </a:lnTo>
                    <a:lnTo>
                      <a:pt x="620" y="546"/>
                    </a:lnTo>
                    <a:lnTo>
                      <a:pt x="620" y="542"/>
                    </a:lnTo>
                    <a:lnTo>
                      <a:pt x="620" y="540"/>
                    </a:lnTo>
                    <a:lnTo>
                      <a:pt x="620" y="538"/>
                    </a:lnTo>
                    <a:lnTo>
                      <a:pt x="620" y="534"/>
                    </a:lnTo>
                    <a:lnTo>
                      <a:pt x="620" y="533"/>
                    </a:lnTo>
                    <a:lnTo>
                      <a:pt x="620" y="533"/>
                    </a:lnTo>
                    <a:lnTo>
                      <a:pt x="621" y="534"/>
                    </a:lnTo>
                    <a:lnTo>
                      <a:pt x="623" y="538"/>
                    </a:lnTo>
                    <a:lnTo>
                      <a:pt x="625" y="538"/>
                    </a:lnTo>
                    <a:lnTo>
                      <a:pt x="627" y="542"/>
                    </a:lnTo>
                    <a:lnTo>
                      <a:pt x="629" y="540"/>
                    </a:lnTo>
                    <a:lnTo>
                      <a:pt x="629" y="540"/>
                    </a:lnTo>
                    <a:lnTo>
                      <a:pt x="631" y="542"/>
                    </a:lnTo>
                    <a:lnTo>
                      <a:pt x="633" y="540"/>
                    </a:lnTo>
                    <a:lnTo>
                      <a:pt x="635" y="538"/>
                    </a:lnTo>
                    <a:lnTo>
                      <a:pt x="638" y="540"/>
                    </a:lnTo>
                    <a:lnTo>
                      <a:pt x="638" y="542"/>
                    </a:lnTo>
                    <a:lnTo>
                      <a:pt x="638" y="544"/>
                    </a:lnTo>
                    <a:lnTo>
                      <a:pt x="637" y="548"/>
                    </a:lnTo>
                    <a:lnTo>
                      <a:pt x="635" y="551"/>
                    </a:lnTo>
                    <a:lnTo>
                      <a:pt x="635" y="555"/>
                    </a:lnTo>
                    <a:lnTo>
                      <a:pt x="635" y="559"/>
                    </a:lnTo>
                    <a:lnTo>
                      <a:pt x="633" y="559"/>
                    </a:lnTo>
                    <a:lnTo>
                      <a:pt x="629" y="559"/>
                    </a:lnTo>
                    <a:lnTo>
                      <a:pt x="625" y="559"/>
                    </a:lnTo>
                    <a:lnTo>
                      <a:pt x="623" y="559"/>
                    </a:lnTo>
                    <a:lnTo>
                      <a:pt x="621" y="559"/>
                    </a:lnTo>
                    <a:lnTo>
                      <a:pt x="620" y="559"/>
                    </a:lnTo>
                    <a:lnTo>
                      <a:pt x="616" y="559"/>
                    </a:lnTo>
                    <a:lnTo>
                      <a:pt x="616" y="563"/>
                    </a:lnTo>
                    <a:lnTo>
                      <a:pt x="616" y="563"/>
                    </a:lnTo>
                    <a:lnTo>
                      <a:pt x="614" y="563"/>
                    </a:lnTo>
                    <a:lnTo>
                      <a:pt x="612" y="563"/>
                    </a:lnTo>
                    <a:lnTo>
                      <a:pt x="610" y="568"/>
                    </a:lnTo>
                    <a:lnTo>
                      <a:pt x="610" y="568"/>
                    </a:lnTo>
                    <a:lnTo>
                      <a:pt x="608" y="568"/>
                    </a:lnTo>
                    <a:lnTo>
                      <a:pt x="606" y="568"/>
                    </a:lnTo>
                    <a:lnTo>
                      <a:pt x="603" y="567"/>
                    </a:lnTo>
                    <a:lnTo>
                      <a:pt x="597" y="563"/>
                    </a:lnTo>
                    <a:lnTo>
                      <a:pt x="595" y="559"/>
                    </a:lnTo>
                    <a:lnTo>
                      <a:pt x="588" y="553"/>
                    </a:lnTo>
                    <a:lnTo>
                      <a:pt x="588" y="550"/>
                    </a:lnTo>
                    <a:lnTo>
                      <a:pt x="588" y="548"/>
                    </a:lnTo>
                    <a:lnTo>
                      <a:pt x="588" y="548"/>
                    </a:lnTo>
                    <a:lnTo>
                      <a:pt x="589" y="548"/>
                    </a:lnTo>
                    <a:lnTo>
                      <a:pt x="591" y="548"/>
                    </a:lnTo>
                    <a:lnTo>
                      <a:pt x="591" y="550"/>
                    </a:lnTo>
                    <a:lnTo>
                      <a:pt x="597" y="551"/>
                    </a:lnTo>
                    <a:lnTo>
                      <a:pt x="601" y="555"/>
                    </a:lnTo>
                    <a:lnTo>
                      <a:pt x="603" y="555"/>
                    </a:lnTo>
                    <a:lnTo>
                      <a:pt x="608" y="553"/>
                    </a:lnTo>
                    <a:lnTo>
                      <a:pt x="608" y="551"/>
                    </a:lnTo>
                    <a:lnTo>
                      <a:pt x="606" y="551"/>
                    </a:lnTo>
                    <a:lnTo>
                      <a:pt x="605" y="551"/>
                    </a:lnTo>
                    <a:lnTo>
                      <a:pt x="603" y="551"/>
                    </a:lnTo>
                    <a:lnTo>
                      <a:pt x="601" y="551"/>
                    </a:lnTo>
                    <a:lnTo>
                      <a:pt x="595" y="548"/>
                    </a:lnTo>
                    <a:lnTo>
                      <a:pt x="589" y="544"/>
                    </a:lnTo>
                    <a:lnTo>
                      <a:pt x="588" y="544"/>
                    </a:lnTo>
                    <a:lnTo>
                      <a:pt x="588" y="542"/>
                    </a:lnTo>
                    <a:lnTo>
                      <a:pt x="588" y="540"/>
                    </a:lnTo>
                    <a:lnTo>
                      <a:pt x="586" y="540"/>
                    </a:lnTo>
                    <a:lnTo>
                      <a:pt x="584" y="540"/>
                    </a:lnTo>
                    <a:lnTo>
                      <a:pt x="582" y="542"/>
                    </a:lnTo>
                    <a:lnTo>
                      <a:pt x="582" y="546"/>
                    </a:lnTo>
                    <a:lnTo>
                      <a:pt x="582" y="551"/>
                    </a:lnTo>
                    <a:lnTo>
                      <a:pt x="582" y="553"/>
                    </a:lnTo>
                    <a:lnTo>
                      <a:pt x="580" y="555"/>
                    </a:lnTo>
                    <a:lnTo>
                      <a:pt x="580" y="555"/>
                    </a:lnTo>
                    <a:lnTo>
                      <a:pt x="573" y="548"/>
                    </a:lnTo>
                    <a:lnTo>
                      <a:pt x="571" y="540"/>
                    </a:lnTo>
                    <a:lnTo>
                      <a:pt x="571" y="538"/>
                    </a:lnTo>
                    <a:lnTo>
                      <a:pt x="567" y="538"/>
                    </a:lnTo>
                    <a:lnTo>
                      <a:pt x="567" y="534"/>
                    </a:lnTo>
                    <a:lnTo>
                      <a:pt x="567" y="534"/>
                    </a:lnTo>
                    <a:lnTo>
                      <a:pt x="567" y="538"/>
                    </a:lnTo>
                    <a:lnTo>
                      <a:pt x="567" y="538"/>
                    </a:lnTo>
                    <a:lnTo>
                      <a:pt x="567" y="540"/>
                    </a:lnTo>
                    <a:lnTo>
                      <a:pt x="571" y="548"/>
                    </a:lnTo>
                    <a:lnTo>
                      <a:pt x="573" y="550"/>
                    </a:lnTo>
                    <a:lnTo>
                      <a:pt x="574" y="551"/>
                    </a:lnTo>
                    <a:lnTo>
                      <a:pt x="574" y="553"/>
                    </a:lnTo>
                    <a:lnTo>
                      <a:pt x="574" y="555"/>
                    </a:lnTo>
                    <a:lnTo>
                      <a:pt x="573" y="555"/>
                    </a:lnTo>
                    <a:lnTo>
                      <a:pt x="571" y="557"/>
                    </a:lnTo>
                    <a:lnTo>
                      <a:pt x="567" y="559"/>
                    </a:lnTo>
                    <a:lnTo>
                      <a:pt x="567" y="559"/>
                    </a:lnTo>
                    <a:lnTo>
                      <a:pt x="565" y="559"/>
                    </a:lnTo>
                    <a:lnTo>
                      <a:pt x="563" y="563"/>
                    </a:lnTo>
                    <a:lnTo>
                      <a:pt x="557" y="563"/>
                    </a:lnTo>
                    <a:lnTo>
                      <a:pt x="556" y="563"/>
                    </a:lnTo>
                    <a:lnTo>
                      <a:pt x="554" y="559"/>
                    </a:lnTo>
                    <a:lnTo>
                      <a:pt x="552" y="559"/>
                    </a:lnTo>
                    <a:lnTo>
                      <a:pt x="550" y="559"/>
                    </a:lnTo>
                    <a:lnTo>
                      <a:pt x="550" y="559"/>
                    </a:lnTo>
                    <a:lnTo>
                      <a:pt x="546" y="555"/>
                    </a:lnTo>
                    <a:lnTo>
                      <a:pt x="542" y="553"/>
                    </a:lnTo>
                    <a:lnTo>
                      <a:pt x="542" y="551"/>
                    </a:lnTo>
                    <a:lnTo>
                      <a:pt x="542" y="550"/>
                    </a:lnTo>
                    <a:lnTo>
                      <a:pt x="542" y="550"/>
                    </a:lnTo>
                    <a:lnTo>
                      <a:pt x="542" y="550"/>
                    </a:lnTo>
                    <a:lnTo>
                      <a:pt x="542" y="553"/>
                    </a:lnTo>
                    <a:lnTo>
                      <a:pt x="542" y="555"/>
                    </a:lnTo>
                    <a:lnTo>
                      <a:pt x="546" y="557"/>
                    </a:lnTo>
                    <a:lnTo>
                      <a:pt x="548" y="559"/>
                    </a:lnTo>
                    <a:lnTo>
                      <a:pt x="550" y="563"/>
                    </a:lnTo>
                    <a:lnTo>
                      <a:pt x="550" y="563"/>
                    </a:lnTo>
                    <a:lnTo>
                      <a:pt x="548" y="567"/>
                    </a:lnTo>
                    <a:lnTo>
                      <a:pt x="542" y="567"/>
                    </a:lnTo>
                    <a:lnTo>
                      <a:pt x="539" y="563"/>
                    </a:lnTo>
                    <a:lnTo>
                      <a:pt x="537" y="567"/>
                    </a:lnTo>
                    <a:lnTo>
                      <a:pt x="533" y="568"/>
                    </a:lnTo>
                    <a:lnTo>
                      <a:pt x="533" y="568"/>
                    </a:lnTo>
                    <a:lnTo>
                      <a:pt x="537" y="568"/>
                    </a:lnTo>
                    <a:lnTo>
                      <a:pt x="539" y="572"/>
                    </a:lnTo>
                    <a:lnTo>
                      <a:pt x="539" y="572"/>
                    </a:lnTo>
                    <a:lnTo>
                      <a:pt x="539" y="568"/>
                    </a:lnTo>
                    <a:lnTo>
                      <a:pt x="539" y="568"/>
                    </a:lnTo>
                    <a:lnTo>
                      <a:pt x="542" y="568"/>
                    </a:lnTo>
                    <a:lnTo>
                      <a:pt x="542" y="568"/>
                    </a:lnTo>
                    <a:lnTo>
                      <a:pt x="546" y="568"/>
                    </a:lnTo>
                    <a:lnTo>
                      <a:pt x="546" y="568"/>
                    </a:lnTo>
                    <a:lnTo>
                      <a:pt x="548" y="568"/>
                    </a:lnTo>
                    <a:lnTo>
                      <a:pt x="550" y="568"/>
                    </a:lnTo>
                    <a:lnTo>
                      <a:pt x="552" y="567"/>
                    </a:lnTo>
                    <a:lnTo>
                      <a:pt x="554" y="567"/>
                    </a:lnTo>
                    <a:lnTo>
                      <a:pt x="557" y="567"/>
                    </a:lnTo>
                    <a:lnTo>
                      <a:pt x="561" y="567"/>
                    </a:lnTo>
                    <a:lnTo>
                      <a:pt x="563" y="568"/>
                    </a:lnTo>
                    <a:lnTo>
                      <a:pt x="565" y="568"/>
                    </a:lnTo>
                    <a:lnTo>
                      <a:pt x="567" y="568"/>
                    </a:lnTo>
                    <a:lnTo>
                      <a:pt x="571" y="572"/>
                    </a:lnTo>
                    <a:lnTo>
                      <a:pt x="571" y="572"/>
                    </a:lnTo>
                    <a:lnTo>
                      <a:pt x="571" y="574"/>
                    </a:lnTo>
                    <a:lnTo>
                      <a:pt x="571" y="576"/>
                    </a:lnTo>
                    <a:lnTo>
                      <a:pt x="567" y="578"/>
                    </a:lnTo>
                    <a:lnTo>
                      <a:pt x="565" y="578"/>
                    </a:lnTo>
                    <a:lnTo>
                      <a:pt x="561" y="578"/>
                    </a:lnTo>
                    <a:lnTo>
                      <a:pt x="557" y="582"/>
                    </a:lnTo>
                    <a:lnTo>
                      <a:pt x="556" y="582"/>
                    </a:lnTo>
                    <a:lnTo>
                      <a:pt x="554" y="582"/>
                    </a:lnTo>
                    <a:lnTo>
                      <a:pt x="550" y="578"/>
                    </a:lnTo>
                    <a:lnTo>
                      <a:pt x="548" y="576"/>
                    </a:lnTo>
                    <a:lnTo>
                      <a:pt x="546" y="578"/>
                    </a:lnTo>
                    <a:lnTo>
                      <a:pt x="546" y="578"/>
                    </a:lnTo>
                    <a:lnTo>
                      <a:pt x="542" y="580"/>
                    </a:lnTo>
                    <a:lnTo>
                      <a:pt x="542" y="578"/>
                    </a:lnTo>
                    <a:lnTo>
                      <a:pt x="539" y="578"/>
                    </a:lnTo>
                    <a:lnTo>
                      <a:pt x="539" y="580"/>
                    </a:lnTo>
                    <a:lnTo>
                      <a:pt x="542" y="580"/>
                    </a:lnTo>
                    <a:lnTo>
                      <a:pt x="546" y="580"/>
                    </a:lnTo>
                    <a:lnTo>
                      <a:pt x="546" y="580"/>
                    </a:lnTo>
                    <a:lnTo>
                      <a:pt x="548" y="580"/>
                    </a:lnTo>
                    <a:lnTo>
                      <a:pt x="550" y="582"/>
                    </a:lnTo>
                    <a:lnTo>
                      <a:pt x="548" y="583"/>
                    </a:lnTo>
                    <a:lnTo>
                      <a:pt x="546" y="583"/>
                    </a:lnTo>
                    <a:lnTo>
                      <a:pt x="542" y="585"/>
                    </a:lnTo>
                    <a:lnTo>
                      <a:pt x="542" y="587"/>
                    </a:lnTo>
                    <a:lnTo>
                      <a:pt x="542" y="587"/>
                    </a:lnTo>
                    <a:lnTo>
                      <a:pt x="546" y="585"/>
                    </a:lnTo>
                    <a:lnTo>
                      <a:pt x="548" y="585"/>
                    </a:lnTo>
                    <a:lnTo>
                      <a:pt x="550" y="585"/>
                    </a:lnTo>
                    <a:lnTo>
                      <a:pt x="552" y="585"/>
                    </a:lnTo>
                    <a:lnTo>
                      <a:pt x="552" y="589"/>
                    </a:lnTo>
                    <a:lnTo>
                      <a:pt x="552" y="589"/>
                    </a:lnTo>
                    <a:lnTo>
                      <a:pt x="554" y="585"/>
                    </a:lnTo>
                    <a:lnTo>
                      <a:pt x="557" y="585"/>
                    </a:lnTo>
                    <a:lnTo>
                      <a:pt x="557" y="585"/>
                    </a:lnTo>
                    <a:lnTo>
                      <a:pt x="561" y="582"/>
                    </a:lnTo>
                    <a:lnTo>
                      <a:pt x="563" y="582"/>
                    </a:lnTo>
                    <a:lnTo>
                      <a:pt x="565" y="583"/>
                    </a:lnTo>
                    <a:lnTo>
                      <a:pt x="571" y="587"/>
                    </a:lnTo>
                    <a:lnTo>
                      <a:pt x="571" y="587"/>
                    </a:lnTo>
                    <a:lnTo>
                      <a:pt x="571" y="587"/>
                    </a:lnTo>
                    <a:lnTo>
                      <a:pt x="571" y="589"/>
                    </a:lnTo>
                    <a:lnTo>
                      <a:pt x="571" y="597"/>
                    </a:lnTo>
                    <a:lnTo>
                      <a:pt x="571" y="597"/>
                    </a:lnTo>
                    <a:lnTo>
                      <a:pt x="567" y="597"/>
                    </a:lnTo>
                    <a:lnTo>
                      <a:pt x="563" y="597"/>
                    </a:lnTo>
                    <a:lnTo>
                      <a:pt x="561" y="597"/>
                    </a:lnTo>
                    <a:lnTo>
                      <a:pt x="554" y="597"/>
                    </a:lnTo>
                    <a:lnTo>
                      <a:pt x="552" y="597"/>
                    </a:lnTo>
                    <a:lnTo>
                      <a:pt x="550" y="597"/>
                    </a:lnTo>
                    <a:lnTo>
                      <a:pt x="552" y="599"/>
                    </a:lnTo>
                    <a:lnTo>
                      <a:pt x="554" y="597"/>
                    </a:lnTo>
                    <a:lnTo>
                      <a:pt x="557" y="597"/>
                    </a:lnTo>
                    <a:lnTo>
                      <a:pt x="563" y="599"/>
                    </a:lnTo>
                    <a:lnTo>
                      <a:pt x="565" y="602"/>
                    </a:lnTo>
                    <a:lnTo>
                      <a:pt x="565" y="602"/>
                    </a:lnTo>
                    <a:lnTo>
                      <a:pt x="567" y="602"/>
                    </a:lnTo>
                    <a:lnTo>
                      <a:pt x="571" y="599"/>
                    </a:lnTo>
                    <a:lnTo>
                      <a:pt x="573" y="599"/>
                    </a:lnTo>
                    <a:lnTo>
                      <a:pt x="576" y="602"/>
                    </a:lnTo>
                    <a:lnTo>
                      <a:pt x="576" y="602"/>
                    </a:lnTo>
                    <a:lnTo>
                      <a:pt x="584" y="606"/>
                    </a:lnTo>
                    <a:lnTo>
                      <a:pt x="584" y="608"/>
                    </a:lnTo>
                    <a:lnTo>
                      <a:pt x="584" y="610"/>
                    </a:lnTo>
                    <a:lnTo>
                      <a:pt x="586" y="610"/>
                    </a:lnTo>
                    <a:lnTo>
                      <a:pt x="588" y="612"/>
                    </a:lnTo>
                    <a:lnTo>
                      <a:pt x="589" y="612"/>
                    </a:lnTo>
                    <a:lnTo>
                      <a:pt x="591" y="614"/>
                    </a:lnTo>
                    <a:lnTo>
                      <a:pt x="591" y="615"/>
                    </a:lnTo>
                    <a:lnTo>
                      <a:pt x="595" y="617"/>
                    </a:lnTo>
                    <a:lnTo>
                      <a:pt x="595" y="619"/>
                    </a:lnTo>
                    <a:lnTo>
                      <a:pt x="595" y="619"/>
                    </a:lnTo>
                    <a:lnTo>
                      <a:pt x="597" y="621"/>
                    </a:lnTo>
                    <a:lnTo>
                      <a:pt x="599" y="623"/>
                    </a:lnTo>
                    <a:lnTo>
                      <a:pt x="599" y="623"/>
                    </a:lnTo>
                    <a:lnTo>
                      <a:pt x="597" y="627"/>
                    </a:lnTo>
                    <a:lnTo>
                      <a:pt x="595" y="627"/>
                    </a:lnTo>
                    <a:lnTo>
                      <a:pt x="595" y="629"/>
                    </a:lnTo>
                    <a:lnTo>
                      <a:pt x="595" y="632"/>
                    </a:lnTo>
                    <a:lnTo>
                      <a:pt x="595" y="632"/>
                    </a:lnTo>
                    <a:lnTo>
                      <a:pt x="595" y="632"/>
                    </a:lnTo>
                    <a:lnTo>
                      <a:pt x="599" y="627"/>
                    </a:lnTo>
                    <a:lnTo>
                      <a:pt x="601" y="627"/>
                    </a:lnTo>
                    <a:lnTo>
                      <a:pt x="601" y="627"/>
                    </a:lnTo>
                    <a:lnTo>
                      <a:pt x="601" y="629"/>
                    </a:lnTo>
                    <a:lnTo>
                      <a:pt x="599" y="632"/>
                    </a:lnTo>
                    <a:lnTo>
                      <a:pt x="601" y="632"/>
                    </a:lnTo>
                    <a:lnTo>
                      <a:pt x="601" y="629"/>
                    </a:lnTo>
                    <a:lnTo>
                      <a:pt x="603" y="629"/>
                    </a:lnTo>
                    <a:lnTo>
                      <a:pt x="605" y="629"/>
                    </a:lnTo>
                    <a:lnTo>
                      <a:pt x="606" y="632"/>
                    </a:lnTo>
                    <a:lnTo>
                      <a:pt x="606" y="632"/>
                    </a:lnTo>
                    <a:lnTo>
                      <a:pt x="603" y="634"/>
                    </a:lnTo>
                    <a:lnTo>
                      <a:pt x="599" y="636"/>
                    </a:lnTo>
                    <a:lnTo>
                      <a:pt x="599" y="640"/>
                    </a:lnTo>
                    <a:lnTo>
                      <a:pt x="599" y="642"/>
                    </a:lnTo>
                    <a:lnTo>
                      <a:pt x="601" y="644"/>
                    </a:lnTo>
                    <a:lnTo>
                      <a:pt x="599" y="646"/>
                    </a:lnTo>
                    <a:lnTo>
                      <a:pt x="599" y="649"/>
                    </a:lnTo>
                    <a:lnTo>
                      <a:pt x="599" y="651"/>
                    </a:lnTo>
                    <a:lnTo>
                      <a:pt x="601" y="649"/>
                    </a:lnTo>
                    <a:lnTo>
                      <a:pt x="601" y="646"/>
                    </a:lnTo>
                    <a:lnTo>
                      <a:pt x="605" y="640"/>
                    </a:lnTo>
                    <a:lnTo>
                      <a:pt x="606" y="640"/>
                    </a:lnTo>
                    <a:lnTo>
                      <a:pt x="608" y="640"/>
                    </a:lnTo>
                    <a:lnTo>
                      <a:pt x="608" y="640"/>
                    </a:lnTo>
                    <a:lnTo>
                      <a:pt x="606" y="644"/>
                    </a:lnTo>
                    <a:lnTo>
                      <a:pt x="605" y="648"/>
                    </a:lnTo>
                    <a:lnTo>
                      <a:pt x="606" y="649"/>
                    </a:lnTo>
                    <a:lnTo>
                      <a:pt x="608" y="648"/>
                    </a:lnTo>
                    <a:lnTo>
                      <a:pt x="608" y="649"/>
                    </a:lnTo>
                    <a:lnTo>
                      <a:pt x="608" y="653"/>
                    </a:lnTo>
                    <a:lnTo>
                      <a:pt x="606" y="653"/>
                    </a:lnTo>
                    <a:lnTo>
                      <a:pt x="603" y="653"/>
                    </a:lnTo>
                    <a:lnTo>
                      <a:pt x="603" y="657"/>
                    </a:lnTo>
                    <a:lnTo>
                      <a:pt x="603" y="657"/>
                    </a:lnTo>
                    <a:lnTo>
                      <a:pt x="606" y="657"/>
                    </a:lnTo>
                    <a:lnTo>
                      <a:pt x="608" y="657"/>
                    </a:lnTo>
                    <a:lnTo>
                      <a:pt x="606" y="661"/>
                    </a:lnTo>
                    <a:lnTo>
                      <a:pt x="606" y="661"/>
                    </a:lnTo>
                    <a:lnTo>
                      <a:pt x="608" y="661"/>
                    </a:lnTo>
                    <a:lnTo>
                      <a:pt x="608" y="663"/>
                    </a:lnTo>
                    <a:lnTo>
                      <a:pt x="608" y="666"/>
                    </a:lnTo>
                    <a:lnTo>
                      <a:pt x="608" y="668"/>
                    </a:lnTo>
                    <a:lnTo>
                      <a:pt x="606" y="670"/>
                    </a:lnTo>
                    <a:lnTo>
                      <a:pt x="606" y="676"/>
                    </a:lnTo>
                    <a:lnTo>
                      <a:pt x="606" y="678"/>
                    </a:lnTo>
                    <a:lnTo>
                      <a:pt x="606" y="681"/>
                    </a:lnTo>
                    <a:lnTo>
                      <a:pt x="605" y="683"/>
                    </a:lnTo>
                    <a:lnTo>
                      <a:pt x="603" y="683"/>
                    </a:lnTo>
                    <a:lnTo>
                      <a:pt x="603" y="683"/>
                    </a:lnTo>
                    <a:lnTo>
                      <a:pt x="601" y="681"/>
                    </a:lnTo>
                    <a:lnTo>
                      <a:pt x="603" y="678"/>
                    </a:lnTo>
                    <a:lnTo>
                      <a:pt x="601" y="678"/>
                    </a:lnTo>
                    <a:lnTo>
                      <a:pt x="599" y="678"/>
                    </a:lnTo>
                    <a:lnTo>
                      <a:pt x="597" y="678"/>
                    </a:lnTo>
                    <a:lnTo>
                      <a:pt x="595" y="678"/>
                    </a:lnTo>
                    <a:lnTo>
                      <a:pt x="595" y="678"/>
                    </a:lnTo>
                    <a:lnTo>
                      <a:pt x="595" y="676"/>
                    </a:lnTo>
                    <a:lnTo>
                      <a:pt x="595" y="672"/>
                    </a:lnTo>
                    <a:lnTo>
                      <a:pt x="595" y="670"/>
                    </a:lnTo>
                    <a:lnTo>
                      <a:pt x="595" y="666"/>
                    </a:lnTo>
                    <a:lnTo>
                      <a:pt x="595" y="663"/>
                    </a:lnTo>
                    <a:lnTo>
                      <a:pt x="595" y="663"/>
                    </a:lnTo>
                    <a:lnTo>
                      <a:pt x="595" y="663"/>
                    </a:lnTo>
                    <a:lnTo>
                      <a:pt x="591" y="666"/>
                    </a:lnTo>
                    <a:lnTo>
                      <a:pt x="591" y="668"/>
                    </a:lnTo>
                    <a:lnTo>
                      <a:pt x="591" y="672"/>
                    </a:lnTo>
                    <a:lnTo>
                      <a:pt x="591" y="678"/>
                    </a:lnTo>
                    <a:lnTo>
                      <a:pt x="591" y="678"/>
                    </a:lnTo>
                    <a:lnTo>
                      <a:pt x="591" y="678"/>
                    </a:lnTo>
                    <a:lnTo>
                      <a:pt x="589" y="678"/>
                    </a:lnTo>
                    <a:lnTo>
                      <a:pt x="588" y="681"/>
                    </a:lnTo>
                    <a:lnTo>
                      <a:pt x="584" y="681"/>
                    </a:lnTo>
                    <a:lnTo>
                      <a:pt x="582" y="678"/>
                    </a:lnTo>
                    <a:lnTo>
                      <a:pt x="578" y="676"/>
                    </a:lnTo>
                    <a:lnTo>
                      <a:pt x="574" y="670"/>
                    </a:lnTo>
                    <a:lnTo>
                      <a:pt x="573" y="666"/>
                    </a:lnTo>
                    <a:lnTo>
                      <a:pt x="571" y="666"/>
                    </a:lnTo>
                    <a:lnTo>
                      <a:pt x="571" y="661"/>
                    </a:lnTo>
                    <a:lnTo>
                      <a:pt x="567" y="657"/>
                    </a:lnTo>
                    <a:lnTo>
                      <a:pt x="567" y="653"/>
                    </a:lnTo>
                    <a:lnTo>
                      <a:pt x="567" y="651"/>
                    </a:lnTo>
                    <a:lnTo>
                      <a:pt x="567" y="648"/>
                    </a:lnTo>
                    <a:lnTo>
                      <a:pt x="567" y="644"/>
                    </a:lnTo>
                    <a:lnTo>
                      <a:pt x="567" y="642"/>
                    </a:lnTo>
                    <a:lnTo>
                      <a:pt x="567" y="642"/>
                    </a:lnTo>
                    <a:lnTo>
                      <a:pt x="563" y="644"/>
                    </a:lnTo>
                    <a:lnTo>
                      <a:pt x="561" y="646"/>
                    </a:lnTo>
                    <a:lnTo>
                      <a:pt x="557" y="644"/>
                    </a:lnTo>
                    <a:lnTo>
                      <a:pt x="552" y="634"/>
                    </a:lnTo>
                    <a:lnTo>
                      <a:pt x="552" y="632"/>
                    </a:lnTo>
                    <a:lnTo>
                      <a:pt x="550" y="632"/>
                    </a:lnTo>
                    <a:lnTo>
                      <a:pt x="548" y="632"/>
                    </a:lnTo>
                    <a:lnTo>
                      <a:pt x="546" y="632"/>
                    </a:lnTo>
                    <a:lnTo>
                      <a:pt x="542" y="632"/>
                    </a:lnTo>
                    <a:lnTo>
                      <a:pt x="542" y="632"/>
                    </a:lnTo>
                    <a:lnTo>
                      <a:pt x="539" y="632"/>
                    </a:lnTo>
                    <a:lnTo>
                      <a:pt x="537" y="632"/>
                    </a:lnTo>
                    <a:lnTo>
                      <a:pt x="533" y="629"/>
                    </a:lnTo>
                    <a:lnTo>
                      <a:pt x="533" y="627"/>
                    </a:lnTo>
                    <a:lnTo>
                      <a:pt x="531" y="623"/>
                    </a:lnTo>
                    <a:lnTo>
                      <a:pt x="531" y="623"/>
                    </a:lnTo>
                    <a:lnTo>
                      <a:pt x="529" y="619"/>
                    </a:lnTo>
                    <a:lnTo>
                      <a:pt x="527" y="615"/>
                    </a:lnTo>
                    <a:lnTo>
                      <a:pt x="525" y="614"/>
                    </a:lnTo>
                    <a:lnTo>
                      <a:pt x="524" y="615"/>
                    </a:lnTo>
                    <a:lnTo>
                      <a:pt x="525" y="619"/>
                    </a:lnTo>
                    <a:lnTo>
                      <a:pt x="525" y="621"/>
                    </a:lnTo>
                    <a:lnTo>
                      <a:pt x="522" y="623"/>
                    </a:lnTo>
                    <a:lnTo>
                      <a:pt x="522" y="623"/>
                    </a:lnTo>
                    <a:lnTo>
                      <a:pt x="524" y="623"/>
                    </a:lnTo>
                    <a:lnTo>
                      <a:pt x="525" y="623"/>
                    </a:lnTo>
                    <a:lnTo>
                      <a:pt x="527" y="627"/>
                    </a:lnTo>
                    <a:lnTo>
                      <a:pt x="529" y="629"/>
                    </a:lnTo>
                    <a:lnTo>
                      <a:pt x="529" y="632"/>
                    </a:lnTo>
                    <a:lnTo>
                      <a:pt x="524" y="632"/>
                    </a:lnTo>
                    <a:lnTo>
                      <a:pt x="524" y="632"/>
                    </a:lnTo>
                    <a:lnTo>
                      <a:pt x="522" y="634"/>
                    </a:lnTo>
                    <a:lnTo>
                      <a:pt x="518" y="632"/>
                    </a:lnTo>
                    <a:lnTo>
                      <a:pt x="518" y="634"/>
                    </a:lnTo>
                    <a:lnTo>
                      <a:pt x="522" y="636"/>
                    </a:lnTo>
                    <a:lnTo>
                      <a:pt x="524" y="636"/>
                    </a:lnTo>
                    <a:lnTo>
                      <a:pt x="527" y="632"/>
                    </a:lnTo>
                    <a:lnTo>
                      <a:pt x="529" y="632"/>
                    </a:lnTo>
                    <a:lnTo>
                      <a:pt x="533" y="632"/>
                    </a:lnTo>
                    <a:lnTo>
                      <a:pt x="533" y="632"/>
                    </a:lnTo>
                    <a:lnTo>
                      <a:pt x="533" y="634"/>
                    </a:lnTo>
                    <a:lnTo>
                      <a:pt x="533" y="636"/>
                    </a:lnTo>
                    <a:lnTo>
                      <a:pt x="539" y="634"/>
                    </a:lnTo>
                    <a:lnTo>
                      <a:pt x="539" y="634"/>
                    </a:lnTo>
                    <a:lnTo>
                      <a:pt x="548" y="638"/>
                    </a:lnTo>
                    <a:lnTo>
                      <a:pt x="552" y="640"/>
                    </a:lnTo>
                    <a:lnTo>
                      <a:pt x="554" y="640"/>
                    </a:lnTo>
                    <a:lnTo>
                      <a:pt x="554" y="642"/>
                    </a:lnTo>
                    <a:lnTo>
                      <a:pt x="556" y="646"/>
                    </a:lnTo>
                    <a:lnTo>
                      <a:pt x="554" y="649"/>
                    </a:lnTo>
                    <a:lnTo>
                      <a:pt x="552" y="651"/>
                    </a:lnTo>
                    <a:lnTo>
                      <a:pt x="550" y="653"/>
                    </a:lnTo>
                    <a:lnTo>
                      <a:pt x="548" y="653"/>
                    </a:lnTo>
                    <a:lnTo>
                      <a:pt x="546" y="653"/>
                    </a:lnTo>
                    <a:lnTo>
                      <a:pt x="537" y="657"/>
                    </a:lnTo>
                    <a:lnTo>
                      <a:pt x="531" y="657"/>
                    </a:lnTo>
                    <a:lnTo>
                      <a:pt x="529" y="661"/>
                    </a:lnTo>
                    <a:lnTo>
                      <a:pt x="525" y="657"/>
                    </a:lnTo>
                    <a:lnTo>
                      <a:pt x="524" y="653"/>
                    </a:lnTo>
                    <a:lnTo>
                      <a:pt x="524" y="653"/>
                    </a:lnTo>
                    <a:lnTo>
                      <a:pt x="524" y="651"/>
                    </a:lnTo>
                    <a:lnTo>
                      <a:pt x="522" y="649"/>
                    </a:lnTo>
                    <a:lnTo>
                      <a:pt x="522" y="653"/>
                    </a:lnTo>
                    <a:lnTo>
                      <a:pt x="522" y="653"/>
                    </a:lnTo>
                    <a:lnTo>
                      <a:pt x="522" y="657"/>
                    </a:lnTo>
                    <a:lnTo>
                      <a:pt x="522" y="657"/>
                    </a:lnTo>
                    <a:lnTo>
                      <a:pt x="518" y="657"/>
                    </a:lnTo>
                    <a:lnTo>
                      <a:pt x="518" y="657"/>
                    </a:lnTo>
                    <a:lnTo>
                      <a:pt x="518" y="657"/>
                    </a:lnTo>
                    <a:lnTo>
                      <a:pt x="514" y="657"/>
                    </a:lnTo>
                    <a:lnTo>
                      <a:pt x="514" y="657"/>
                    </a:lnTo>
                    <a:lnTo>
                      <a:pt x="518" y="661"/>
                    </a:lnTo>
                    <a:lnTo>
                      <a:pt x="522" y="661"/>
                    </a:lnTo>
                    <a:lnTo>
                      <a:pt x="522" y="663"/>
                    </a:lnTo>
                    <a:lnTo>
                      <a:pt x="518" y="666"/>
                    </a:lnTo>
                    <a:lnTo>
                      <a:pt x="518" y="666"/>
                    </a:lnTo>
                    <a:lnTo>
                      <a:pt x="514" y="666"/>
                    </a:lnTo>
                    <a:lnTo>
                      <a:pt x="512" y="666"/>
                    </a:lnTo>
                    <a:lnTo>
                      <a:pt x="512" y="670"/>
                    </a:lnTo>
                    <a:lnTo>
                      <a:pt x="512" y="672"/>
                    </a:lnTo>
                    <a:lnTo>
                      <a:pt x="507" y="674"/>
                    </a:lnTo>
                    <a:lnTo>
                      <a:pt x="503" y="674"/>
                    </a:lnTo>
                    <a:lnTo>
                      <a:pt x="501" y="674"/>
                    </a:lnTo>
                    <a:lnTo>
                      <a:pt x="497" y="676"/>
                    </a:lnTo>
                    <a:lnTo>
                      <a:pt x="497" y="678"/>
                    </a:lnTo>
                    <a:lnTo>
                      <a:pt x="497" y="678"/>
                    </a:lnTo>
                    <a:lnTo>
                      <a:pt x="503" y="678"/>
                    </a:lnTo>
                    <a:lnTo>
                      <a:pt x="507" y="678"/>
                    </a:lnTo>
                    <a:lnTo>
                      <a:pt x="509" y="676"/>
                    </a:lnTo>
                    <a:lnTo>
                      <a:pt x="512" y="676"/>
                    </a:lnTo>
                    <a:lnTo>
                      <a:pt x="512" y="678"/>
                    </a:lnTo>
                    <a:lnTo>
                      <a:pt x="518" y="678"/>
                    </a:lnTo>
                    <a:lnTo>
                      <a:pt x="522" y="678"/>
                    </a:lnTo>
                    <a:lnTo>
                      <a:pt x="524" y="678"/>
                    </a:lnTo>
                    <a:lnTo>
                      <a:pt x="529" y="678"/>
                    </a:lnTo>
                    <a:lnTo>
                      <a:pt x="531" y="678"/>
                    </a:lnTo>
                    <a:lnTo>
                      <a:pt x="533" y="678"/>
                    </a:lnTo>
                    <a:lnTo>
                      <a:pt x="537" y="678"/>
                    </a:lnTo>
                    <a:lnTo>
                      <a:pt x="539" y="678"/>
                    </a:lnTo>
                    <a:lnTo>
                      <a:pt x="539" y="678"/>
                    </a:lnTo>
                    <a:lnTo>
                      <a:pt x="539" y="681"/>
                    </a:lnTo>
                    <a:lnTo>
                      <a:pt x="539" y="683"/>
                    </a:lnTo>
                    <a:lnTo>
                      <a:pt x="537" y="685"/>
                    </a:lnTo>
                    <a:lnTo>
                      <a:pt x="533" y="683"/>
                    </a:lnTo>
                    <a:lnTo>
                      <a:pt x="529" y="683"/>
                    </a:lnTo>
                    <a:lnTo>
                      <a:pt x="527" y="687"/>
                    </a:lnTo>
                    <a:lnTo>
                      <a:pt x="522" y="687"/>
                    </a:lnTo>
                    <a:lnTo>
                      <a:pt x="518" y="687"/>
                    </a:lnTo>
                    <a:lnTo>
                      <a:pt x="518" y="687"/>
                    </a:lnTo>
                    <a:lnTo>
                      <a:pt x="514" y="687"/>
                    </a:lnTo>
                    <a:lnTo>
                      <a:pt x="512" y="687"/>
                    </a:lnTo>
                    <a:lnTo>
                      <a:pt x="509" y="687"/>
                    </a:lnTo>
                    <a:lnTo>
                      <a:pt x="512" y="691"/>
                    </a:lnTo>
                    <a:lnTo>
                      <a:pt x="512" y="687"/>
                    </a:lnTo>
                    <a:lnTo>
                      <a:pt x="514" y="691"/>
                    </a:lnTo>
                    <a:lnTo>
                      <a:pt x="522" y="691"/>
                    </a:lnTo>
                    <a:lnTo>
                      <a:pt x="524" y="691"/>
                    </a:lnTo>
                    <a:lnTo>
                      <a:pt x="524" y="693"/>
                    </a:lnTo>
                    <a:lnTo>
                      <a:pt x="525" y="691"/>
                    </a:lnTo>
                    <a:lnTo>
                      <a:pt x="531" y="687"/>
                    </a:lnTo>
                    <a:lnTo>
                      <a:pt x="531" y="687"/>
                    </a:lnTo>
                    <a:lnTo>
                      <a:pt x="533" y="687"/>
                    </a:lnTo>
                    <a:lnTo>
                      <a:pt x="533" y="687"/>
                    </a:lnTo>
                    <a:lnTo>
                      <a:pt x="537" y="687"/>
                    </a:lnTo>
                    <a:lnTo>
                      <a:pt x="539" y="687"/>
                    </a:lnTo>
                    <a:lnTo>
                      <a:pt x="539" y="687"/>
                    </a:lnTo>
                    <a:lnTo>
                      <a:pt x="542" y="687"/>
                    </a:lnTo>
                    <a:lnTo>
                      <a:pt x="546" y="687"/>
                    </a:lnTo>
                    <a:lnTo>
                      <a:pt x="548" y="687"/>
                    </a:lnTo>
                    <a:lnTo>
                      <a:pt x="554" y="681"/>
                    </a:lnTo>
                    <a:lnTo>
                      <a:pt x="556" y="678"/>
                    </a:lnTo>
                    <a:lnTo>
                      <a:pt x="556" y="681"/>
                    </a:lnTo>
                    <a:lnTo>
                      <a:pt x="556" y="683"/>
                    </a:lnTo>
                    <a:lnTo>
                      <a:pt x="556" y="683"/>
                    </a:lnTo>
                    <a:lnTo>
                      <a:pt x="557" y="681"/>
                    </a:lnTo>
                    <a:lnTo>
                      <a:pt x="557" y="681"/>
                    </a:lnTo>
                    <a:lnTo>
                      <a:pt x="561" y="683"/>
                    </a:lnTo>
                    <a:lnTo>
                      <a:pt x="567" y="687"/>
                    </a:lnTo>
                    <a:lnTo>
                      <a:pt x="571" y="687"/>
                    </a:lnTo>
                    <a:lnTo>
                      <a:pt x="574" y="691"/>
                    </a:lnTo>
                    <a:lnTo>
                      <a:pt x="578" y="691"/>
                    </a:lnTo>
                    <a:lnTo>
                      <a:pt x="582" y="691"/>
                    </a:lnTo>
                    <a:lnTo>
                      <a:pt x="588" y="691"/>
                    </a:lnTo>
                    <a:lnTo>
                      <a:pt x="589" y="691"/>
                    </a:lnTo>
                    <a:lnTo>
                      <a:pt x="591" y="691"/>
                    </a:lnTo>
                    <a:lnTo>
                      <a:pt x="597" y="691"/>
                    </a:lnTo>
                    <a:lnTo>
                      <a:pt x="597" y="691"/>
                    </a:lnTo>
                    <a:lnTo>
                      <a:pt x="595" y="696"/>
                    </a:lnTo>
                    <a:lnTo>
                      <a:pt x="591" y="696"/>
                    </a:lnTo>
                    <a:lnTo>
                      <a:pt x="588" y="696"/>
                    </a:lnTo>
                    <a:lnTo>
                      <a:pt x="588" y="696"/>
                    </a:lnTo>
                    <a:lnTo>
                      <a:pt x="584" y="698"/>
                    </a:lnTo>
                    <a:lnTo>
                      <a:pt x="584" y="700"/>
                    </a:lnTo>
                    <a:lnTo>
                      <a:pt x="586" y="702"/>
                    </a:lnTo>
                    <a:lnTo>
                      <a:pt x="586" y="704"/>
                    </a:lnTo>
                    <a:lnTo>
                      <a:pt x="586" y="704"/>
                    </a:lnTo>
                    <a:lnTo>
                      <a:pt x="584" y="704"/>
                    </a:lnTo>
                    <a:lnTo>
                      <a:pt x="582" y="702"/>
                    </a:lnTo>
                    <a:lnTo>
                      <a:pt x="580" y="702"/>
                    </a:lnTo>
                    <a:lnTo>
                      <a:pt x="578" y="704"/>
                    </a:lnTo>
                    <a:lnTo>
                      <a:pt x="578" y="706"/>
                    </a:lnTo>
                    <a:lnTo>
                      <a:pt x="576" y="704"/>
                    </a:lnTo>
                    <a:lnTo>
                      <a:pt x="573" y="704"/>
                    </a:lnTo>
                    <a:lnTo>
                      <a:pt x="573" y="706"/>
                    </a:lnTo>
                    <a:lnTo>
                      <a:pt x="573" y="708"/>
                    </a:lnTo>
                    <a:lnTo>
                      <a:pt x="574" y="708"/>
                    </a:lnTo>
                    <a:lnTo>
                      <a:pt x="574" y="710"/>
                    </a:lnTo>
                    <a:lnTo>
                      <a:pt x="573" y="712"/>
                    </a:lnTo>
                    <a:lnTo>
                      <a:pt x="571" y="713"/>
                    </a:lnTo>
                    <a:lnTo>
                      <a:pt x="571" y="712"/>
                    </a:lnTo>
                    <a:lnTo>
                      <a:pt x="567" y="710"/>
                    </a:lnTo>
                    <a:lnTo>
                      <a:pt x="567" y="712"/>
                    </a:lnTo>
                    <a:lnTo>
                      <a:pt x="567" y="713"/>
                    </a:lnTo>
                    <a:lnTo>
                      <a:pt x="567" y="715"/>
                    </a:lnTo>
                    <a:lnTo>
                      <a:pt x="565" y="715"/>
                    </a:lnTo>
                    <a:lnTo>
                      <a:pt x="565" y="717"/>
                    </a:lnTo>
                    <a:lnTo>
                      <a:pt x="563" y="717"/>
                    </a:lnTo>
                    <a:lnTo>
                      <a:pt x="557" y="717"/>
                    </a:lnTo>
                    <a:lnTo>
                      <a:pt x="557" y="715"/>
                    </a:lnTo>
                    <a:lnTo>
                      <a:pt x="557" y="715"/>
                    </a:lnTo>
                    <a:lnTo>
                      <a:pt x="557" y="717"/>
                    </a:lnTo>
                    <a:lnTo>
                      <a:pt x="557" y="721"/>
                    </a:lnTo>
                    <a:lnTo>
                      <a:pt x="557" y="723"/>
                    </a:lnTo>
                    <a:lnTo>
                      <a:pt x="554" y="721"/>
                    </a:lnTo>
                    <a:lnTo>
                      <a:pt x="554" y="721"/>
                    </a:lnTo>
                    <a:lnTo>
                      <a:pt x="552" y="721"/>
                    </a:lnTo>
                    <a:lnTo>
                      <a:pt x="550" y="721"/>
                    </a:lnTo>
                    <a:lnTo>
                      <a:pt x="552" y="723"/>
                    </a:lnTo>
                    <a:lnTo>
                      <a:pt x="552" y="725"/>
                    </a:lnTo>
                    <a:lnTo>
                      <a:pt x="548" y="728"/>
                    </a:lnTo>
                    <a:lnTo>
                      <a:pt x="546" y="728"/>
                    </a:lnTo>
                    <a:lnTo>
                      <a:pt x="546" y="727"/>
                    </a:lnTo>
                    <a:lnTo>
                      <a:pt x="546" y="725"/>
                    </a:lnTo>
                    <a:lnTo>
                      <a:pt x="542" y="725"/>
                    </a:lnTo>
                    <a:lnTo>
                      <a:pt x="542" y="727"/>
                    </a:lnTo>
                    <a:lnTo>
                      <a:pt x="542" y="728"/>
                    </a:lnTo>
                    <a:lnTo>
                      <a:pt x="542" y="730"/>
                    </a:lnTo>
                    <a:lnTo>
                      <a:pt x="542" y="732"/>
                    </a:lnTo>
                    <a:lnTo>
                      <a:pt x="539" y="734"/>
                    </a:lnTo>
                    <a:lnTo>
                      <a:pt x="539" y="734"/>
                    </a:lnTo>
                    <a:lnTo>
                      <a:pt x="533" y="736"/>
                    </a:lnTo>
                    <a:lnTo>
                      <a:pt x="533" y="738"/>
                    </a:lnTo>
                    <a:lnTo>
                      <a:pt x="531" y="740"/>
                    </a:lnTo>
                    <a:lnTo>
                      <a:pt x="529" y="740"/>
                    </a:lnTo>
                    <a:lnTo>
                      <a:pt x="529" y="738"/>
                    </a:lnTo>
                    <a:lnTo>
                      <a:pt x="527" y="738"/>
                    </a:lnTo>
                    <a:lnTo>
                      <a:pt x="524" y="740"/>
                    </a:lnTo>
                    <a:lnTo>
                      <a:pt x="522" y="740"/>
                    </a:lnTo>
                    <a:lnTo>
                      <a:pt x="518" y="740"/>
                    </a:lnTo>
                    <a:lnTo>
                      <a:pt x="518" y="742"/>
                    </a:lnTo>
                    <a:lnTo>
                      <a:pt x="518" y="742"/>
                    </a:lnTo>
                    <a:lnTo>
                      <a:pt x="514" y="742"/>
                    </a:lnTo>
                    <a:lnTo>
                      <a:pt x="512" y="742"/>
                    </a:lnTo>
                    <a:lnTo>
                      <a:pt x="512" y="742"/>
                    </a:lnTo>
                    <a:lnTo>
                      <a:pt x="509" y="745"/>
                    </a:lnTo>
                    <a:lnTo>
                      <a:pt x="509" y="742"/>
                    </a:lnTo>
                    <a:lnTo>
                      <a:pt x="509" y="742"/>
                    </a:lnTo>
                    <a:lnTo>
                      <a:pt x="507" y="742"/>
                    </a:lnTo>
                    <a:lnTo>
                      <a:pt x="507" y="742"/>
                    </a:lnTo>
                    <a:lnTo>
                      <a:pt x="505" y="745"/>
                    </a:lnTo>
                    <a:lnTo>
                      <a:pt x="503" y="745"/>
                    </a:lnTo>
                    <a:lnTo>
                      <a:pt x="501" y="742"/>
                    </a:lnTo>
                    <a:lnTo>
                      <a:pt x="501" y="742"/>
                    </a:lnTo>
                    <a:lnTo>
                      <a:pt x="501" y="745"/>
                    </a:lnTo>
                    <a:lnTo>
                      <a:pt x="499" y="745"/>
                    </a:lnTo>
                    <a:lnTo>
                      <a:pt x="497" y="745"/>
                    </a:lnTo>
                    <a:lnTo>
                      <a:pt x="493" y="745"/>
                    </a:lnTo>
                    <a:lnTo>
                      <a:pt x="497" y="747"/>
                    </a:lnTo>
                    <a:lnTo>
                      <a:pt x="493" y="747"/>
                    </a:lnTo>
                    <a:lnTo>
                      <a:pt x="492" y="747"/>
                    </a:lnTo>
                    <a:lnTo>
                      <a:pt x="490" y="747"/>
                    </a:lnTo>
                    <a:lnTo>
                      <a:pt x="490" y="747"/>
                    </a:lnTo>
                    <a:lnTo>
                      <a:pt x="488" y="751"/>
                    </a:lnTo>
                    <a:lnTo>
                      <a:pt x="488" y="751"/>
                    </a:lnTo>
                    <a:lnTo>
                      <a:pt x="488" y="747"/>
                    </a:lnTo>
                    <a:lnTo>
                      <a:pt x="488" y="747"/>
                    </a:lnTo>
                    <a:lnTo>
                      <a:pt x="484" y="751"/>
                    </a:lnTo>
                    <a:lnTo>
                      <a:pt x="484" y="755"/>
                    </a:lnTo>
                    <a:lnTo>
                      <a:pt x="484" y="755"/>
                    </a:lnTo>
                    <a:lnTo>
                      <a:pt x="482" y="755"/>
                    </a:lnTo>
                    <a:lnTo>
                      <a:pt x="480" y="751"/>
                    </a:lnTo>
                    <a:lnTo>
                      <a:pt x="477" y="747"/>
                    </a:lnTo>
                    <a:lnTo>
                      <a:pt x="475" y="747"/>
                    </a:lnTo>
                    <a:lnTo>
                      <a:pt x="473" y="747"/>
                    </a:lnTo>
                    <a:lnTo>
                      <a:pt x="473" y="751"/>
                    </a:lnTo>
                    <a:lnTo>
                      <a:pt x="473" y="751"/>
                    </a:lnTo>
                    <a:lnTo>
                      <a:pt x="473" y="751"/>
                    </a:lnTo>
                    <a:lnTo>
                      <a:pt x="467" y="755"/>
                    </a:lnTo>
                    <a:lnTo>
                      <a:pt x="465" y="755"/>
                    </a:lnTo>
                    <a:lnTo>
                      <a:pt x="465" y="755"/>
                    </a:lnTo>
                    <a:lnTo>
                      <a:pt x="463" y="755"/>
                    </a:lnTo>
                    <a:lnTo>
                      <a:pt x="460" y="755"/>
                    </a:lnTo>
                    <a:lnTo>
                      <a:pt x="460" y="755"/>
                    </a:lnTo>
                    <a:lnTo>
                      <a:pt x="458" y="755"/>
                    </a:lnTo>
                    <a:lnTo>
                      <a:pt x="456" y="755"/>
                    </a:lnTo>
                    <a:lnTo>
                      <a:pt x="454" y="755"/>
                    </a:lnTo>
                    <a:lnTo>
                      <a:pt x="454" y="755"/>
                    </a:lnTo>
                    <a:lnTo>
                      <a:pt x="452" y="755"/>
                    </a:lnTo>
                    <a:lnTo>
                      <a:pt x="450" y="755"/>
                    </a:lnTo>
                    <a:lnTo>
                      <a:pt x="448" y="751"/>
                    </a:lnTo>
                    <a:lnTo>
                      <a:pt x="448" y="747"/>
                    </a:lnTo>
                    <a:lnTo>
                      <a:pt x="446" y="747"/>
                    </a:lnTo>
                    <a:lnTo>
                      <a:pt x="445" y="747"/>
                    </a:lnTo>
                    <a:lnTo>
                      <a:pt x="443" y="742"/>
                    </a:lnTo>
                    <a:lnTo>
                      <a:pt x="443" y="742"/>
                    </a:lnTo>
                    <a:lnTo>
                      <a:pt x="443" y="738"/>
                    </a:lnTo>
                    <a:lnTo>
                      <a:pt x="441" y="734"/>
                    </a:lnTo>
                    <a:lnTo>
                      <a:pt x="439" y="734"/>
                    </a:lnTo>
                    <a:lnTo>
                      <a:pt x="439" y="734"/>
                    </a:lnTo>
                    <a:lnTo>
                      <a:pt x="439" y="738"/>
                    </a:lnTo>
                    <a:lnTo>
                      <a:pt x="439" y="738"/>
                    </a:lnTo>
                    <a:lnTo>
                      <a:pt x="439" y="742"/>
                    </a:lnTo>
                    <a:lnTo>
                      <a:pt x="441" y="742"/>
                    </a:lnTo>
                    <a:lnTo>
                      <a:pt x="443" y="745"/>
                    </a:lnTo>
                    <a:lnTo>
                      <a:pt x="443" y="747"/>
                    </a:lnTo>
                    <a:lnTo>
                      <a:pt x="441" y="751"/>
                    </a:lnTo>
                    <a:lnTo>
                      <a:pt x="443" y="751"/>
                    </a:lnTo>
                    <a:lnTo>
                      <a:pt x="445" y="751"/>
                    </a:lnTo>
                    <a:lnTo>
                      <a:pt x="445" y="755"/>
                    </a:lnTo>
                    <a:lnTo>
                      <a:pt x="445" y="761"/>
                    </a:lnTo>
                    <a:lnTo>
                      <a:pt x="443" y="762"/>
                    </a:lnTo>
                    <a:lnTo>
                      <a:pt x="439" y="764"/>
                    </a:lnTo>
                    <a:lnTo>
                      <a:pt x="439" y="762"/>
                    </a:lnTo>
                    <a:lnTo>
                      <a:pt x="439" y="762"/>
                    </a:lnTo>
                    <a:lnTo>
                      <a:pt x="435" y="764"/>
                    </a:lnTo>
                    <a:lnTo>
                      <a:pt x="433" y="768"/>
                    </a:lnTo>
                    <a:lnTo>
                      <a:pt x="431" y="768"/>
                    </a:lnTo>
                    <a:lnTo>
                      <a:pt x="429" y="768"/>
                    </a:lnTo>
                    <a:lnTo>
                      <a:pt x="428" y="770"/>
                    </a:lnTo>
                    <a:lnTo>
                      <a:pt x="429" y="770"/>
                    </a:lnTo>
                    <a:lnTo>
                      <a:pt x="428" y="772"/>
                    </a:lnTo>
                    <a:lnTo>
                      <a:pt x="426" y="772"/>
                    </a:lnTo>
                    <a:lnTo>
                      <a:pt x="424" y="772"/>
                    </a:lnTo>
                    <a:lnTo>
                      <a:pt x="424" y="777"/>
                    </a:lnTo>
                    <a:lnTo>
                      <a:pt x="424" y="779"/>
                    </a:lnTo>
                    <a:lnTo>
                      <a:pt x="422" y="781"/>
                    </a:lnTo>
                    <a:lnTo>
                      <a:pt x="420" y="779"/>
                    </a:lnTo>
                    <a:lnTo>
                      <a:pt x="418" y="777"/>
                    </a:lnTo>
                    <a:lnTo>
                      <a:pt x="420" y="779"/>
                    </a:lnTo>
                    <a:lnTo>
                      <a:pt x="420" y="781"/>
                    </a:lnTo>
                    <a:lnTo>
                      <a:pt x="420" y="785"/>
                    </a:lnTo>
                    <a:lnTo>
                      <a:pt x="418" y="785"/>
                    </a:lnTo>
                    <a:lnTo>
                      <a:pt x="418" y="781"/>
                    </a:lnTo>
                    <a:lnTo>
                      <a:pt x="416" y="781"/>
                    </a:lnTo>
                    <a:lnTo>
                      <a:pt x="414" y="781"/>
                    </a:lnTo>
                    <a:lnTo>
                      <a:pt x="416" y="785"/>
                    </a:lnTo>
                    <a:lnTo>
                      <a:pt x="416" y="785"/>
                    </a:lnTo>
                    <a:lnTo>
                      <a:pt x="414" y="787"/>
                    </a:lnTo>
                    <a:lnTo>
                      <a:pt x="411" y="789"/>
                    </a:lnTo>
                    <a:lnTo>
                      <a:pt x="409" y="793"/>
                    </a:lnTo>
                    <a:lnTo>
                      <a:pt x="409" y="794"/>
                    </a:lnTo>
                    <a:lnTo>
                      <a:pt x="409" y="798"/>
                    </a:lnTo>
                    <a:lnTo>
                      <a:pt x="409" y="800"/>
                    </a:lnTo>
                    <a:lnTo>
                      <a:pt x="405" y="804"/>
                    </a:lnTo>
                    <a:lnTo>
                      <a:pt x="403" y="806"/>
                    </a:lnTo>
                    <a:lnTo>
                      <a:pt x="403" y="804"/>
                    </a:lnTo>
                    <a:lnTo>
                      <a:pt x="401" y="804"/>
                    </a:lnTo>
                    <a:lnTo>
                      <a:pt x="403" y="802"/>
                    </a:lnTo>
                    <a:lnTo>
                      <a:pt x="401" y="802"/>
                    </a:lnTo>
                    <a:lnTo>
                      <a:pt x="399" y="804"/>
                    </a:lnTo>
                    <a:lnTo>
                      <a:pt x="399" y="806"/>
                    </a:lnTo>
                    <a:lnTo>
                      <a:pt x="399" y="806"/>
                    </a:lnTo>
                    <a:lnTo>
                      <a:pt x="399" y="809"/>
                    </a:lnTo>
                    <a:lnTo>
                      <a:pt x="394" y="811"/>
                    </a:lnTo>
                    <a:lnTo>
                      <a:pt x="392" y="815"/>
                    </a:lnTo>
                    <a:lnTo>
                      <a:pt x="390" y="811"/>
                    </a:lnTo>
                    <a:lnTo>
                      <a:pt x="390" y="811"/>
                    </a:lnTo>
                    <a:lnTo>
                      <a:pt x="390" y="809"/>
                    </a:lnTo>
                    <a:lnTo>
                      <a:pt x="390" y="809"/>
                    </a:lnTo>
                    <a:lnTo>
                      <a:pt x="390" y="811"/>
                    </a:lnTo>
                    <a:lnTo>
                      <a:pt x="386" y="811"/>
                    </a:lnTo>
                    <a:lnTo>
                      <a:pt x="384" y="811"/>
                    </a:lnTo>
                    <a:lnTo>
                      <a:pt x="381" y="809"/>
                    </a:lnTo>
                    <a:lnTo>
                      <a:pt x="381" y="806"/>
                    </a:lnTo>
                    <a:lnTo>
                      <a:pt x="381" y="809"/>
                    </a:lnTo>
                    <a:lnTo>
                      <a:pt x="381" y="811"/>
                    </a:lnTo>
                    <a:lnTo>
                      <a:pt x="384" y="811"/>
                    </a:lnTo>
                    <a:lnTo>
                      <a:pt x="384" y="815"/>
                    </a:lnTo>
                    <a:lnTo>
                      <a:pt x="384" y="815"/>
                    </a:lnTo>
                    <a:lnTo>
                      <a:pt x="381" y="817"/>
                    </a:lnTo>
                    <a:lnTo>
                      <a:pt x="381" y="817"/>
                    </a:lnTo>
                    <a:lnTo>
                      <a:pt x="377" y="821"/>
                    </a:lnTo>
                    <a:lnTo>
                      <a:pt x="373" y="823"/>
                    </a:lnTo>
                    <a:lnTo>
                      <a:pt x="371" y="823"/>
                    </a:lnTo>
                    <a:lnTo>
                      <a:pt x="369" y="823"/>
                    </a:lnTo>
                    <a:lnTo>
                      <a:pt x="369" y="821"/>
                    </a:lnTo>
                    <a:lnTo>
                      <a:pt x="369" y="819"/>
                    </a:lnTo>
                    <a:lnTo>
                      <a:pt x="369" y="817"/>
                    </a:lnTo>
                    <a:lnTo>
                      <a:pt x="367" y="817"/>
                    </a:lnTo>
                    <a:lnTo>
                      <a:pt x="367" y="821"/>
                    </a:lnTo>
                    <a:lnTo>
                      <a:pt x="367" y="821"/>
                    </a:lnTo>
                    <a:lnTo>
                      <a:pt x="365" y="825"/>
                    </a:lnTo>
                    <a:lnTo>
                      <a:pt x="365" y="825"/>
                    </a:lnTo>
                    <a:lnTo>
                      <a:pt x="362" y="825"/>
                    </a:lnTo>
                    <a:lnTo>
                      <a:pt x="360" y="825"/>
                    </a:lnTo>
                    <a:lnTo>
                      <a:pt x="356" y="821"/>
                    </a:lnTo>
                    <a:lnTo>
                      <a:pt x="356" y="819"/>
                    </a:lnTo>
                    <a:lnTo>
                      <a:pt x="360" y="815"/>
                    </a:lnTo>
                    <a:lnTo>
                      <a:pt x="356" y="815"/>
                    </a:lnTo>
                    <a:lnTo>
                      <a:pt x="356" y="815"/>
                    </a:lnTo>
                    <a:lnTo>
                      <a:pt x="356" y="817"/>
                    </a:lnTo>
                    <a:lnTo>
                      <a:pt x="356" y="821"/>
                    </a:lnTo>
                    <a:lnTo>
                      <a:pt x="356" y="823"/>
                    </a:lnTo>
                    <a:lnTo>
                      <a:pt x="356" y="825"/>
                    </a:lnTo>
                    <a:lnTo>
                      <a:pt x="352" y="825"/>
                    </a:lnTo>
                    <a:lnTo>
                      <a:pt x="350" y="819"/>
                    </a:lnTo>
                    <a:lnTo>
                      <a:pt x="350" y="817"/>
                    </a:lnTo>
                    <a:lnTo>
                      <a:pt x="350" y="815"/>
                    </a:lnTo>
                    <a:lnTo>
                      <a:pt x="352" y="811"/>
                    </a:lnTo>
                    <a:lnTo>
                      <a:pt x="356" y="811"/>
                    </a:lnTo>
                    <a:lnTo>
                      <a:pt x="352" y="809"/>
                    </a:lnTo>
                    <a:lnTo>
                      <a:pt x="350" y="809"/>
                    </a:lnTo>
                    <a:lnTo>
                      <a:pt x="348" y="806"/>
                    </a:lnTo>
                    <a:lnTo>
                      <a:pt x="348" y="806"/>
                    </a:lnTo>
                    <a:lnTo>
                      <a:pt x="348" y="804"/>
                    </a:lnTo>
                    <a:lnTo>
                      <a:pt x="347" y="806"/>
                    </a:lnTo>
                    <a:lnTo>
                      <a:pt x="345" y="806"/>
                    </a:lnTo>
                    <a:lnTo>
                      <a:pt x="345" y="809"/>
                    </a:lnTo>
                    <a:lnTo>
                      <a:pt x="348" y="811"/>
                    </a:lnTo>
                    <a:lnTo>
                      <a:pt x="347" y="811"/>
                    </a:lnTo>
                    <a:lnTo>
                      <a:pt x="345" y="815"/>
                    </a:lnTo>
                    <a:lnTo>
                      <a:pt x="345" y="817"/>
                    </a:lnTo>
                    <a:lnTo>
                      <a:pt x="343" y="819"/>
                    </a:lnTo>
                    <a:lnTo>
                      <a:pt x="341" y="821"/>
                    </a:lnTo>
                    <a:lnTo>
                      <a:pt x="341" y="817"/>
                    </a:lnTo>
                    <a:lnTo>
                      <a:pt x="341" y="815"/>
                    </a:lnTo>
                    <a:lnTo>
                      <a:pt x="337" y="817"/>
                    </a:lnTo>
                    <a:lnTo>
                      <a:pt x="337" y="821"/>
                    </a:lnTo>
                    <a:lnTo>
                      <a:pt x="341" y="825"/>
                    </a:lnTo>
                    <a:lnTo>
                      <a:pt x="341" y="826"/>
                    </a:lnTo>
                    <a:lnTo>
                      <a:pt x="341" y="828"/>
                    </a:lnTo>
                    <a:lnTo>
                      <a:pt x="341" y="828"/>
                    </a:lnTo>
                    <a:lnTo>
                      <a:pt x="341" y="832"/>
                    </a:lnTo>
                    <a:lnTo>
                      <a:pt x="335" y="832"/>
                    </a:lnTo>
                    <a:lnTo>
                      <a:pt x="335" y="832"/>
                    </a:lnTo>
                    <a:lnTo>
                      <a:pt x="332" y="830"/>
                    </a:lnTo>
                    <a:lnTo>
                      <a:pt x="332" y="832"/>
                    </a:lnTo>
                    <a:lnTo>
                      <a:pt x="332" y="834"/>
                    </a:lnTo>
                    <a:lnTo>
                      <a:pt x="328" y="836"/>
                    </a:lnTo>
                    <a:lnTo>
                      <a:pt x="326" y="834"/>
                    </a:lnTo>
                    <a:lnTo>
                      <a:pt x="326" y="830"/>
                    </a:lnTo>
                    <a:lnTo>
                      <a:pt x="324" y="828"/>
                    </a:lnTo>
                    <a:lnTo>
                      <a:pt x="322" y="828"/>
                    </a:lnTo>
                    <a:lnTo>
                      <a:pt x="322" y="830"/>
                    </a:lnTo>
                    <a:lnTo>
                      <a:pt x="322" y="832"/>
                    </a:lnTo>
                    <a:lnTo>
                      <a:pt x="320" y="834"/>
                    </a:lnTo>
                    <a:lnTo>
                      <a:pt x="318" y="834"/>
                    </a:lnTo>
                    <a:lnTo>
                      <a:pt x="316" y="830"/>
                    </a:lnTo>
                    <a:lnTo>
                      <a:pt x="316" y="828"/>
                    </a:lnTo>
                    <a:lnTo>
                      <a:pt x="315" y="828"/>
                    </a:lnTo>
                    <a:lnTo>
                      <a:pt x="313" y="830"/>
                    </a:lnTo>
                    <a:lnTo>
                      <a:pt x="311" y="830"/>
                    </a:lnTo>
                    <a:lnTo>
                      <a:pt x="311" y="832"/>
                    </a:lnTo>
                    <a:lnTo>
                      <a:pt x="311" y="834"/>
                    </a:lnTo>
                    <a:lnTo>
                      <a:pt x="311" y="836"/>
                    </a:lnTo>
                    <a:lnTo>
                      <a:pt x="311" y="842"/>
                    </a:lnTo>
                    <a:lnTo>
                      <a:pt x="311" y="845"/>
                    </a:lnTo>
                    <a:lnTo>
                      <a:pt x="307" y="849"/>
                    </a:lnTo>
                    <a:lnTo>
                      <a:pt x="303" y="849"/>
                    </a:lnTo>
                    <a:lnTo>
                      <a:pt x="303" y="849"/>
                    </a:lnTo>
                    <a:lnTo>
                      <a:pt x="303" y="842"/>
                    </a:lnTo>
                    <a:lnTo>
                      <a:pt x="301" y="842"/>
                    </a:lnTo>
                    <a:lnTo>
                      <a:pt x="300" y="842"/>
                    </a:lnTo>
                    <a:lnTo>
                      <a:pt x="300" y="845"/>
                    </a:lnTo>
                    <a:lnTo>
                      <a:pt x="296" y="845"/>
                    </a:lnTo>
                    <a:lnTo>
                      <a:pt x="294" y="842"/>
                    </a:lnTo>
                    <a:lnTo>
                      <a:pt x="294" y="842"/>
                    </a:lnTo>
                    <a:lnTo>
                      <a:pt x="292" y="842"/>
                    </a:lnTo>
                    <a:lnTo>
                      <a:pt x="294" y="845"/>
                    </a:lnTo>
                    <a:lnTo>
                      <a:pt x="294" y="845"/>
                    </a:lnTo>
                    <a:lnTo>
                      <a:pt x="292" y="849"/>
                    </a:lnTo>
                    <a:lnTo>
                      <a:pt x="292" y="849"/>
                    </a:lnTo>
                    <a:lnTo>
                      <a:pt x="294" y="853"/>
                    </a:lnTo>
                    <a:lnTo>
                      <a:pt x="296" y="855"/>
                    </a:lnTo>
                    <a:lnTo>
                      <a:pt x="296" y="858"/>
                    </a:lnTo>
                    <a:lnTo>
                      <a:pt x="298" y="864"/>
                    </a:lnTo>
                    <a:lnTo>
                      <a:pt x="296" y="866"/>
                    </a:lnTo>
                    <a:lnTo>
                      <a:pt x="294" y="866"/>
                    </a:lnTo>
                    <a:lnTo>
                      <a:pt x="292" y="866"/>
                    </a:lnTo>
                    <a:lnTo>
                      <a:pt x="292" y="866"/>
                    </a:lnTo>
                    <a:lnTo>
                      <a:pt x="288" y="866"/>
                    </a:lnTo>
                    <a:lnTo>
                      <a:pt x="286" y="866"/>
                    </a:lnTo>
                    <a:lnTo>
                      <a:pt x="283" y="866"/>
                    </a:lnTo>
                    <a:lnTo>
                      <a:pt x="283" y="866"/>
                    </a:lnTo>
                    <a:lnTo>
                      <a:pt x="283" y="870"/>
                    </a:lnTo>
                    <a:lnTo>
                      <a:pt x="286" y="870"/>
                    </a:lnTo>
                    <a:lnTo>
                      <a:pt x="288" y="874"/>
                    </a:lnTo>
                    <a:lnTo>
                      <a:pt x="290" y="875"/>
                    </a:lnTo>
                    <a:lnTo>
                      <a:pt x="292" y="875"/>
                    </a:lnTo>
                    <a:lnTo>
                      <a:pt x="292" y="875"/>
                    </a:lnTo>
                    <a:lnTo>
                      <a:pt x="296" y="875"/>
                    </a:lnTo>
                    <a:lnTo>
                      <a:pt x="296" y="875"/>
                    </a:lnTo>
                    <a:lnTo>
                      <a:pt x="294" y="879"/>
                    </a:lnTo>
                    <a:lnTo>
                      <a:pt x="292" y="879"/>
                    </a:lnTo>
                    <a:lnTo>
                      <a:pt x="290" y="879"/>
                    </a:lnTo>
                    <a:lnTo>
                      <a:pt x="290" y="879"/>
                    </a:lnTo>
                    <a:lnTo>
                      <a:pt x="292" y="881"/>
                    </a:lnTo>
                    <a:lnTo>
                      <a:pt x="292" y="883"/>
                    </a:lnTo>
                    <a:lnTo>
                      <a:pt x="292" y="885"/>
                    </a:lnTo>
                    <a:lnTo>
                      <a:pt x="292" y="889"/>
                    </a:lnTo>
                    <a:lnTo>
                      <a:pt x="292" y="889"/>
                    </a:lnTo>
                    <a:lnTo>
                      <a:pt x="290" y="890"/>
                    </a:lnTo>
                    <a:lnTo>
                      <a:pt x="288" y="889"/>
                    </a:lnTo>
                    <a:lnTo>
                      <a:pt x="286" y="885"/>
                    </a:lnTo>
                    <a:lnTo>
                      <a:pt x="283" y="885"/>
                    </a:lnTo>
                    <a:lnTo>
                      <a:pt x="283" y="885"/>
                    </a:lnTo>
                    <a:lnTo>
                      <a:pt x="279" y="881"/>
                    </a:lnTo>
                    <a:lnTo>
                      <a:pt x="279" y="881"/>
                    </a:lnTo>
                    <a:lnTo>
                      <a:pt x="279" y="883"/>
                    </a:lnTo>
                    <a:lnTo>
                      <a:pt x="277" y="885"/>
                    </a:lnTo>
                    <a:lnTo>
                      <a:pt x="279" y="885"/>
                    </a:lnTo>
                    <a:lnTo>
                      <a:pt x="283" y="887"/>
                    </a:lnTo>
                    <a:lnTo>
                      <a:pt x="286" y="889"/>
                    </a:lnTo>
                    <a:lnTo>
                      <a:pt x="286" y="890"/>
                    </a:lnTo>
                    <a:lnTo>
                      <a:pt x="290" y="890"/>
                    </a:lnTo>
                    <a:lnTo>
                      <a:pt x="290" y="892"/>
                    </a:lnTo>
                    <a:lnTo>
                      <a:pt x="288" y="894"/>
                    </a:lnTo>
                    <a:lnTo>
                      <a:pt x="286" y="896"/>
                    </a:lnTo>
                    <a:lnTo>
                      <a:pt x="286" y="896"/>
                    </a:lnTo>
                    <a:lnTo>
                      <a:pt x="283" y="896"/>
                    </a:lnTo>
                    <a:lnTo>
                      <a:pt x="279" y="896"/>
                    </a:lnTo>
                    <a:lnTo>
                      <a:pt x="277" y="892"/>
                    </a:lnTo>
                    <a:lnTo>
                      <a:pt x="277" y="890"/>
                    </a:lnTo>
                    <a:lnTo>
                      <a:pt x="273" y="890"/>
                    </a:lnTo>
                    <a:lnTo>
                      <a:pt x="273" y="892"/>
                    </a:lnTo>
                    <a:lnTo>
                      <a:pt x="271" y="894"/>
                    </a:lnTo>
                    <a:lnTo>
                      <a:pt x="271" y="896"/>
                    </a:lnTo>
                    <a:lnTo>
                      <a:pt x="273" y="900"/>
                    </a:lnTo>
                    <a:lnTo>
                      <a:pt x="279" y="900"/>
                    </a:lnTo>
                    <a:lnTo>
                      <a:pt x="279" y="904"/>
                    </a:lnTo>
                    <a:lnTo>
                      <a:pt x="279" y="904"/>
                    </a:lnTo>
                    <a:lnTo>
                      <a:pt x="279" y="906"/>
                    </a:lnTo>
                    <a:lnTo>
                      <a:pt x="273" y="904"/>
                    </a:lnTo>
                    <a:lnTo>
                      <a:pt x="273" y="904"/>
                    </a:lnTo>
                    <a:lnTo>
                      <a:pt x="269" y="900"/>
                    </a:lnTo>
                    <a:lnTo>
                      <a:pt x="268" y="898"/>
                    </a:lnTo>
                    <a:lnTo>
                      <a:pt x="268" y="898"/>
                    </a:lnTo>
                    <a:lnTo>
                      <a:pt x="268" y="900"/>
                    </a:lnTo>
                    <a:lnTo>
                      <a:pt x="271" y="904"/>
                    </a:lnTo>
                    <a:lnTo>
                      <a:pt x="273" y="906"/>
                    </a:lnTo>
                    <a:lnTo>
                      <a:pt x="273" y="906"/>
                    </a:lnTo>
                    <a:lnTo>
                      <a:pt x="273" y="909"/>
                    </a:lnTo>
                    <a:lnTo>
                      <a:pt x="273" y="909"/>
                    </a:lnTo>
                    <a:lnTo>
                      <a:pt x="269" y="909"/>
                    </a:lnTo>
                    <a:lnTo>
                      <a:pt x="268" y="906"/>
                    </a:lnTo>
                    <a:lnTo>
                      <a:pt x="268" y="906"/>
                    </a:lnTo>
                    <a:lnTo>
                      <a:pt x="266" y="904"/>
                    </a:lnTo>
                    <a:lnTo>
                      <a:pt x="264" y="904"/>
                    </a:lnTo>
                    <a:lnTo>
                      <a:pt x="262" y="906"/>
                    </a:lnTo>
                    <a:lnTo>
                      <a:pt x="262" y="906"/>
                    </a:lnTo>
                    <a:lnTo>
                      <a:pt x="264" y="909"/>
                    </a:lnTo>
                    <a:lnTo>
                      <a:pt x="266" y="909"/>
                    </a:lnTo>
                    <a:lnTo>
                      <a:pt x="264" y="909"/>
                    </a:lnTo>
                    <a:lnTo>
                      <a:pt x="266" y="911"/>
                    </a:lnTo>
                    <a:lnTo>
                      <a:pt x="271" y="911"/>
                    </a:lnTo>
                    <a:lnTo>
                      <a:pt x="273" y="911"/>
                    </a:lnTo>
                    <a:lnTo>
                      <a:pt x="273" y="915"/>
                    </a:lnTo>
                    <a:lnTo>
                      <a:pt x="273" y="915"/>
                    </a:lnTo>
                    <a:lnTo>
                      <a:pt x="271" y="917"/>
                    </a:lnTo>
                    <a:lnTo>
                      <a:pt x="271" y="919"/>
                    </a:lnTo>
                    <a:lnTo>
                      <a:pt x="268" y="919"/>
                    </a:lnTo>
                    <a:lnTo>
                      <a:pt x="266" y="917"/>
                    </a:lnTo>
                    <a:lnTo>
                      <a:pt x="264" y="917"/>
                    </a:lnTo>
                    <a:lnTo>
                      <a:pt x="260" y="915"/>
                    </a:lnTo>
                    <a:lnTo>
                      <a:pt x="260" y="913"/>
                    </a:lnTo>
                    <a:lnTo>
                      <a:pt x="260" y="913"/>
                    </a:lnTo>
                    <a:lnTo>
                      <a:pt x="258" y="911"/>
                    </a:lnTo>
                    <a:lnTo>
                      <a:pt x="258" y="911"/>
                    </a:lnTo>
                    <a:lnTo>
                      <a:pt x="258" y="915"/>
                    </a:lnTo>
                    <a:lnTo>
                      <a:pt x="258" y="917"/>
                    </a:lnTo>
                    <a:lnTo>
                      <a:pt x="254" y="919"/>
                    </a:lnTo>
                    <a:lnTo>
                      <a:pt x="254" y="919"/>
                    </a:lnTo>
                    <a:lnTo>
                      <a:pt x="252" y="917"/>
                    </a:lnTo>
                    <a:lnTo>
                      <a:pt x="249" y="917"/>
                    </a:lnTo>
                    <a:lnTo>
                      <a:pt x="249" y="917"/>
                    </a:lnTo>
                    <a:lnTo>
                      <a:pt x="249" y="919"/>
                    </a:lnTo>
                    <a:lnTo>
                      <a:pt x="249" y="921"/>
                    </a:lnTo>
                    <a:lnTo>
                      <a:pt x="254" y="923"/>
                    </a:lnTo>
                    <a:lnTo>
                      <a:pt x="258" y="924"/>
                    </a:lnTo>
                    <a:lnTo>
                      <a:pt x="260" y="926"/>
                    </a:lnTo>
                    <a:lnTo>
                      <a:pt x="262" y="930"/>
                    </a:lnTo>
                    <a:lnTo>
                      <a:pt x="260" y="930"/>
                    </a:lnTo>
                    <a:lnTo>
                      <a:pt x="258" y="930"/>
                    </a:lnTo>
                    <a:lnTo>
                      <a:pt x="254" y="930"/>
                    </a:lnTo>
                    <a:lnTo>
                      <a:pt x="252" y="926"/>
                    </a:lnTo>
                    <a:lnTo>
                      <a:pt x="249" y="924"/>
                    </a:lnTo>
                    <a:lnTo>
                      <a:pt x="249" y="924"/>
                    </a:lnTo>
                    <a:lnTo>
                      <a:pt x="249" y="926"/>
                    </a:lnTo>
                    <a:lnTo>
                      <a:pt x="249" y="928"/>
                    </a:lnTo>
                    <a:lnTo>
                      <a:pt x="252" y="928"/>
                    </a:lnTo>
                    <a:lnTo>
                      <a:pt x="258" y="930"/>
                    </a:lnTo>
                    <a:lnTo>
                      <a:pt x="258" y="934"/>
                    </a:lnTo>
                    <a:lnTo>
                      <a:pt x="258" y="936"/>
                    </a:lnTo>
                    <a:lnTo>
                      <a:pt x="258" y="939"/>
                    </a:lnTo>
                    <a:lnTo>
                      <a:pt x="258" y="943"/>
                    </a:lnTo>
                    <a:lnTo>
                      <a:pt x="258" y="943"/>
                    </a:lnTo>
                    <a:lnTo>
                      <a:pt x="258" y="943"/>
                    </a:lnTo>
                    <a:lnTo>
                      <a:pt x="258" y="945"/>
                    </a:lnTo>
                    <a:lnTo>
                      <a:pt x="254" y="949"/>
                    </a:lnTo>
                    <a:lnTo>
                      <a:pt x="254" y="949"/>
                    </a:lnTo>
                    <a:lnTo>
                      <a:pt x="252" y="947"/>
                    </a:lnTo>
                    <a:lnTo>
                      <a:pt x="249" y="947"/>
                    </a:lnTo>
                    <a:lnTo>
                      <a:pt x="247" y="945"/>
                    </a:lnTo>
                    <a:lnTo>
                      <a:pt x="245" y="945"/>
                    </a:lnTo>
                    <a:lnTo>
                      <a:pt x="245" y="947"/>
                    </a:lnTo>
                    <a:lnTo>
                      <a:pt x="249" y="949"/>
                    </a:lnTo>
                    <a:lnTo>
                      <a:pt x="252" y="949"/>
                    </a:lnTo>
                    <a:lnTo>
                      <a:pt x="252" y="951"/>
                    </a:lnTo>
                    <a:lnTo>
                      <a:pt x="249" y="953"/>
                    </a:lnTo>
                    <a:lnTo>
                      <a:pt x="249" y="953"/>
                    </a:lnTo>
                    <a:lnTo>
                      <a:pt x="247" y="951"/>
                    </a:lnTo>
                    <a:lnTo>
                      <a:pt x="245" y="953"/>
                    </a:lnTo>
                    <a:lnTo>
                      <a:pt x="245" y="953"/>
                    </a:lnTo>
                    <a:lnTo>
                      <a:pt x="249" y="955"/>
                    </a:lnTo>
                    <a:lnTo>
                      <a:pt x="249" y="955"/>
                    </a:lnTo>
                    <a:lnTo>
                      <a:pt x="249" y="956"/>
                    </a:lnTo>
                    <a:lnTo>
                      <a:pt x="247" y="958"/>
                    </a:lnTo>
                    <a:lnTo>
                      <a:pt x="245" y="960"/>
                    </a:lnTo>
                    <a:lnTo>
                      <a:pt x="243" y="958"/>
                    </a:lnTo>
                    <a:lnTo>
                      <a:pt x="241" y="958"/>
                    </a:lnTo>
                    <a:lnTo>
                      <a:pt x="239" y="958"/>
                    </a:lnTo>
                    <a:lnTo>
                      <a:pt x="241" y="960"/>
                    </a:lnTo>
                    <a:lnTo>
                      <a:pt x="243" y="960"/>
                    </a:lnTo>
                    <a:lnTo>
                      <a:pt x="245" y="960"/>
                    </a:lnTo>
                    <a:lnTo>
                      <a:pt x="245" y="964"/>
                    </a:lnTo>
                    <a:lnTo>
                      <a:pt x="243" y="964"/>
                    </a:lnTo>
                    <a:lnTo>
                      <a:pt x="237" y="964"/>
                    </a:lnTo>
                    <a:lnTo>
                      <a:pt x="236" y="964"/>
                    </a:lnTo>
                    <a:lnTo>
                      <a:pt x="234" y="964"/>
                    </a:lnTo>
                    <a:lnTo>
                      <a:pt x="234" y="964"/>
                    </a:lnTo>
                    <a:lnTo>
                      <a:pt x="237" y="968"/>
                    </a:lnTo>
                    <a:lnTo>
                      <a:pt x="243" y="968"/>
                    </a:lnTo>
                    <a:lnTo>
                      <a:pt x="247" y="970"/>
                    </a:lnTo>
                    <a:lnTo>
                      <a:pt x="247" y="970"/>
                    </a:lnTo>
                    <a:lnTo>
                      <a:pt x="247" y="970"/>
                    </a:lnTo>
                    <a:lnTo>
                      <a:pt x="243" y="973"/>
                    </a:lnTo>
                    <a:lnTo>
                      <a:pt x="239" y="973"/>
                    </a:lnTo>
                    <a:lnTo>
                      <a:pt x="236" y="973"/>
                    </a:lnTo>
                    <a:lnTo>
                      <a:pt x="234" y="970"/>
                    </a:lnTo>
                    <a:lnTo>
                      <a:pt x="234" y="973"/>
                    </a:lnTo>
                    <a:lnTo>
                      <a:pt x="234" y="973"/>
                    </a:lnTo>
                    <a:lnTo>
                      <a:pt x="237" y="973"/>
                    </a:lnTo>
                    <a:lnTo>
                      <a:pt x="237" y="975"/>
                    </a:lnTo>
                    <a:lnTo>
                      <a:pt x="237" y="975"/>
                    </a:lnTo>
                    <a:lnTo>
                      <a:pt x="236" y="977"/>
                    </a:lnTo>
                    <a:lnTo>
                      <a:pt x="236" y="977"/>
                    </a:lnTo>
                    <a:lnTo>
                      <a:pt x="237" y="977"/>
                    </a:lnTo>
                    <a:lnTo>
                      <a:pt x="241" y="979"/>
                    </a:lnTo>
                    <a:lnTo>
                      <a:pt x="241" y="981"/>
                    </a:lnTo>
                    <a:lnTo>
                      <a:pt x="239" y="981"/>
                    </a:lnTo>
                    <a:lnTo>
                      <a:pt x="236" y="981"/>
                    </a:lnTo>
                    <a:lnTo>
                      <a:pt x="236" y="981"/>
                    </a:lnTo>
                    <a:lnTo>
                      <a:pt x="234" y="983"/>
                    </a:lnTo>
                    <a:lnTo>
                      <a:pt x="236" y="985"/>
                    </a:lnTo>
                    <a:lnTo>
                      <a:pt x="239" y="983"/>
                    </a:lnTo>
                    <a:lnTo>
                      <a:pt x="243" y="985"/>
                    </a:lnTo>
                    <a:lnTo>
                      <a:pt x="241" y="985"/>
                    </a:lnTo>
                    <a:lnTo>
                      <a:pt x="239" y="987"/>
                    </a:lnTo>
                    <a:lnTo>
                      <a:pt x="236" y="988"/>
                    </a:lnTo>
                    <a:lnTo>
                      <a:pt x="234" y="988"/>
                    </a:lnTo>
                    <a:lnTo>
                      <a:pt x="234" y="987"/>
                    </a:lnTo>
                    <a:lnTo>
                      <a:pt x="228" y="985"/>
                    </a:lnTo>
                    <a:lnTo>
                      <a:pt x="228" y="983"/>
                    </a:lnTo>
                    <a:lnTo>
                      <a:pt x="228" y="983"/>
                    </a:lnTo>
                    <a:lnTo>
                      <a:pt x="224" y="983"/>
                    </a:lnTo>
                    <a:lnTo>
                      <a:pt x="224" y="983"/>
                    </a:lnTo>
                    <a:lnTo>
                      <a:pt x="222" y="983"/>
                    </a:lnTo>
                    <a:lnTo>
                      <a:pt x="224" y="985"/>
                    </a:lnTo>
                    <a:lnTo>
                      <a:pt x="228" y="987"/>
                    </a:lnTo>
                    <a:lnTo>
                      <a:pt x="234" y="990"/>
                    </a:lnTo>
                    <a:lnTo>
                      <a:pt x="234" y="990"/>
                    </a:lnTo>
                    <a:lnTo>
                      <a:pt x="230" y="992"/>
                    </a:lnTo>
                    <a:lnTo>
                      <a:pt x="230" y="994"/>
                    </a:lnTo>
                    <a:lnTo>
                      <a:pt x="234" y="994"/>
                    </a:lnTo>
                    <a:lnTo>
                      <a:pt x="234" y="994"/>
                    </a:lnTo>
                    <a:lnTo>
                      <a:pt x="236" y="994"/>
                    </a:lnTo>
                    <a:lnTo>
                      <a:pt x="237" y="994"/>
                    </a:lnTo>
                    <a:lnTo>
                      <a:pt x="237" y="994"/>
                    </a:lnTo>
                    <a:lnTo>
                      <a:pt x="236" y="998"/>
                    </a:lnTo>
                    <a:lnTo>
                      <a:pt x="234" y="998"/>
                    </a:lnTo>
                    <a:lnTo>
                      <a:pt x="234" y="998"/>
                    </a:lnTo>
                    <a:lnTo>
                      <a:pt x="234" y="998"/>
                    </a:lnTo>
                    <a:lnTo>
                      <a:pt x="234" y="998"/>
                    </a:lnTo>
                    <a:lnTo>
                      <a:pt x="234" y="998"/>
                    </a:lnTo>
                    <a:lnTo>
                      <a:pt x="234" y="998"/>
                    </a:lnTo>
                    <a:close/>
                    <a:moveTo>
                      <a:pt x="228" y="1000"/>
                    </a:moveTo>
                    <a:lnTo>
                      <a:pt x="222" y="998"/>
                    </a:lnTo>
                    <a:lnTo>
                      <a:pt x="220" y="998"/>
                    </a:lnTo>
                    <a:lnTo>
                      <a:pt x="220" y="998"/>
                    </a:lnTo>
                    <a:lnTo>
                      <a:pt x="224" y="1000"/>
                    </a:lnTo>
                    <a:lnTo>
                      <a:pt x="224" y="1004"/>
                    </a:lnTo>
                    <a:lnTo>
                      <a:pt x="228" y="1000"/>
                    </a:lnTo>
                    <a:lnTo>
                      <a:pt x="228" y="1000"/>
                    </a:lnTo>
                    <a:lnTo>
                      <a:pt x="228" y="1000"/>
                    </a:lnTo>
                    <a:lnTo>
                      <a:pt x="228" y="1000"/>
                    </a:lnTo>
                    <a:close/>
                    <a:moveTo>
                      <a:pt x="514" y="676"/>
                    </a:moveTo>
                    <a:lnTo>
                      <a:pt x="518" y="678"/>
                    </a:lnTo>
                    <a:lnTo>
                      <a:pt x="522" y="676"/>
                    </a:lnTo>
                    <a:lnTo>
                      <a:pt x="529" y="674"/>
                    </a:lnTo>
                    <a:lnTo>
                      <a:pt x="537" y="676"/>
                    </a:lnTo>
                    <a:lnTo>
                      <a:pt x="539" y="674"/>
                    </a:lnTo>
                    <a:lnTo>
                      <a:pt x="542" y="672"/>
                    </a:lnTo>
                    <a:lnTo>
                      <a:pt x="546" y="676"/>
                    </a:lnTo>
                    <a:lnTo>
                      <a:pt x="550" y="674"/>
                    </a:lnTo>
                    <a:lnTo>
                      <a:pt x="552" y="674"/>
                    </a:lnTo>
                    <a:lnTo>
                      <a:pt x="557" y="670"/>
                    </a:lnTo>
                    <a:lnTo>
                      <a:pt x="557" y="661"/>
                    </a:lnTo>
                    <a:lnTo>
                      <a:pt x="556" y="657"/>
                    </a:lnTo>
                    <a:lnTo>
                      <a:pt x="554" y="653"/>
                    </a:lnTo>
                    <a:lnTo>
                      <a:pt x="550" y="653"/>
                    </a:lnTo>
                    <a:lnTo>
                      <a:pt x="539" y="661"/>
                    </a:lnTo>
                    <a:lnTo>
                      <a:pt x="529" y="661"/>
                    </a:lnTo>
                    <a:lnTo>
                      <a:pt x="527" y="663"/>
                    </a:lnTo>
                    <a:lnTo>
                      <a:pt x="524" y="666"/>
                    </a:lnTo>
                    <a:lnTo>
                      <a:pt x="522" y="668"/>
                    </a:lnTo>
                    <a:lnTo>
                      <a:pt x="518" y="670"/>
                    </a:lnTo>
                    <a:lnTo>
                      <a:pt x="518" y="672"/>
                    </a:lnTo>
                    <a:lnTo>
                      <a:pt x="514" y="676"/>
                    </a:lnTo>
                    <a:lnTo>
                      <a:pt x="514" y="676"/>
                    </a:lnTo>
                    <a:lnTo>
                      <a:pt x="514" y="676"/>
                    </a:lnTo>
                    <a:lnTo>
                      <a:pt x="514" y="676"/>
                    </a:lnTo>
                    <a:close/>
                    <a:moveTo>
                      <a:pt x="241" y="975"/>
                    </a:moveTo>
                    <a:lnTo>
                      <a:pt x="243" y="977"/>
                    </a:lnTo>
                    <a:lnTo>
                      <a:pt x="245" y="975"/>
                    </a:lnTo>
                    <a:lnTo>
                      <a:pt x="245" y="973"/>
                    </a:lnTo>
                    <a:lnTo>
                      <a:pt x="243" y="973"/>
                    </a:lnTo>
                    <a:lnTo>
                      <a:pt x="241" y="975"/>
                    </a:lnTo>
                    <a:lnTo>
                      <a:pt x="241" y="975"/>
                    </a:lnTo>
                    <a:lnTo>
                      <a:pt x="241" y="975"/>
                    </a:lnTo>
                    <a:lnTo>
                      <a:pt x="241" y="975"/>
                    </a:lnTo>
                    <a:close/>
                    <a:moveTo>
                      <a:pt x="258" y="939"/>
                    </a:moveTo>
                    <a:lnTo>
                      <a:pt x="260" y="939"/>
                    </a:lnTo>
                    <a:lnTo>
                      <a:pt x="260" y="939"/>
                    </a:lnTo>
                    <a:lnTo>
                      <a:pt x="258" y="939"/>
                    </a:lnTo>
                    <a:lnTo>
                      <a:pt x="258" y="939"/>
                    </a:lnTo>
                    <a:lnTo>
                      <a:pt x="258" y="939"/>
                    </a:lnTo>
                    <a:lnTo>
                      <a:pt x="258" y="939"/>
                    </a:lnTo>
                    <a:close/>
                    <a:moveTo>
                      <a:pt x="260" y="934"/>
                    </a:moveTo>
                    <a:lnTo>
                      <a:pt x="260" y="934"/>
                    </a:lnTo>
                    <a:lnTo>
                      <a:pt x="262" y="934"/>
                    </a:lnTo>
                    <a:lnTo>
                      <a:pt x="262" y="934"/>
                    </a:lnTo>
                    <a:lnTo>
                      <a:pt x="260" y="934"/>
                    </a:lnTo>
                    <a:lnTo>
                      <a:pt x="260" y="934"/>
                    </a:lnTo>
                    <a:lnTo>
                      <a:pt x="260" y="934"/>
                    </a:lnTo>
                    <a:lnTo>
                      <a:pt x="260" y="934"/>
                    </a:lnTo>
                    <a:close/>
                    <a:moveTo>
                      <a:pt x="262" y="928"/>
                    </a:moveTo>
                    <a:lnTo>
                      <a:pt x="264" y="928"/>
                    </a:lnTo>
                    <a:lnTo>
                      <a:pt x="264" y="928"/>
                    </a:lnTo>
                    <a:lnTo>
                      <a:pt x="264" y="926"/>
                    </a:lnTo>
                    <a:lnTo>
                      <a:pt x="264" y="926"/>
                    </a:lnTo>
                    <a:lnTo>
                      <a:pt x="262" y="928"/>
                    </a:lnTo>
                    <a:lnTo>
                      <a:pt x="262" y="928"/>
                    </a:lnTo>
                    <a:lnTo>
                      <a:pt x="262" y="928"/>
                    </a:lnTo>
                    <a:lnTo>
                      <a:pt x="262" y="928"/>
                    </a:lnTo>
                    <a:close/>
                    <a:moveTo>
                      <a:pt x="260" y="919"/>
                    </a:moveTo>
                    <a:lnTo>
                      <a:pt x="260" y="921"/>
                    </a:lnTo>
                    <a:lnTo>
                      <a:pt x="262" y="923"/>
                    </a:lnTo>
                    <a:lnTo>
                      <a:pt x="264" y="923"/>
                    </a:lnTo>
                    <a:lnTo>
                      <a:pt x="268" y="923"/>
                    </a:lnTo>
                    <a:lnTo>
                      <a:pt x="268" y="923"/>
                    </a:lnTo>
                    <a:lnTo>
                      <a:pt x="266" y="921"/>
                    </a:lnTo>
                    <a:lnTo>
                      <a:pt x="262" y="921"/>
                    </a:lnTo>
                    <a:lnTo>
                      <a:pt x="260" y="919"/>
                    </a:lnTo>
                    <a:lnTo>
                      <a:pt x="260" y="919"/>
                    </a:lnTo>
                    <a:lnTo>
                      <a:pt x="260" y="919"/>
                    </a:lnTo>
                    <a:lnTo>
                      <a:pt x="260" y="919"/>
                    </a:lnTo>
                    <a:lnTo>
                      <a:pt x="260" y="919"/>
                    </a:lnTo>
                    <a:close/>
                    <a:moveTo>
                      <a:pt x="273" y="917"/>
                    </a:moveTo>
                    <a:lnTo>
                      <a:pt x="277" y="915"/>
                    </a:lnTo>
                    <a:lnTo>
                      <a:pt x="277" y="913"/>
                    </a:lnTo>
                    <a:lnTo>
                      <a:pt x="273" y="913"/>
                    </a:lnTo>
                    <a:lnTo>
                      <a:pt x="273" y="917"/>
                    </a:lnTo>
                    <a:lnTo>
                      <a:pt x="273" y="917"/>
                    </a:lnTo>
                    <a:lnTo>
                      <a:pt x="273" y="917"/>
                    </a:lnTo>
                    <a:lnTo>
                      <a:pt x="273" y="917"/>
                    </a:lnTo>
                    <a:close/>
                    <a:moveTo>
                      <a:pt x="273" y="894"/>
                    </a:moveTo>
                    <a:lnTo>
                      <a:pt x="273" y="896"/>
                    </a:lnTo>
                    <a:lnTo>
                      <a:pt x="277" y="898"/>
                    </a:lnTo>
                    <a:lnTo>
                      <a:pt x="279" y="900"/>
                    </a:lnTo>
                    <a:lnTo>
                      <a:pt x="279" y="900"/>
                    </a:lnTo>
                    <a:lnTo>
                      <a:pt x="283" y="900"/>
                    </a:lnTo>
                    <a:lnTo>
                      <a:pt x="279" y="898"/>
                    </a:lnTo>
                    <a:lnTo>
                      <a:pt x="277" y="896"/>
                    </a:lnTo>
                    <a:lnTo>
                      <a:pt x="273" y="894"/>
                    </a:lnTo>
                    <a:lnTo>
                      <a:pt x="273" y="894"/>
                    </a:lnTo>
                    <a:lnTo>
                      <a:pt x="273" y="894"/>
                    </a:lnTo>
                    <a:lnTo>
                      <a:pt x="273" y="894"/>
                    </a:lnTo>
                    <a:lnTo>
                      <a:pt x="273" y="894"/>
                    </a:lnTo>
                    <a:close/>
                    <a:moveTo>
                      <a:pt x="298" y="851"/>
                    </a:moveTo>
                    <a:lnTo>
                      <a:pt x="298" y="855"/>
                    </a:lnTo>
                    <a:lnTo>
                      <a:pt x="300" y="857"/>
                    </a:lnTo>
                    <a:lnTo>
                      <a:pt x="300" y="862"/>
                    </a:lnTo>
                    <a:lnTo>
                      <a:pt x="301" y="864"/>
                    </a:lnTo>
                    <a:lnTo>
                      <a:pt x="303" y="866"/>
                    </a:lnTo>
                    <a:lnTo>
                      <a:pt x="301" y="860"/>
                    </a:lnTo>
                    <a:lnTo>
                      <a:pt x="303" y="857"/>
                    </a:lnTo>
                    <a:lnTo>
                      <a:pt x="301" y="855"/>
                    </a:lnTo>
                    <a:lnTo>
                      <a:pt x="300" y="851"/>
                    </a:lnTo>
                    <a:lnTo>
                      <a:pt x="298" y="849"/>
                    </a:lnTo>
                    <a:lnTo>
                      <a:pt x="298" y="851"/>
                    </a:lnTo>
                    <a:lnTo>
                      <a:pt x="298" y="851"/>
                    </a:lnTo>
                    <a:lnTo>
                      <a:pt x="298" y="851"/>
                    </a:lnTo>
                    <a:lnTo>
                      <a:pt x="298" y="851"/>
                    </a:lnTo>
                    <a:close/>
                    <a:moveTo>
                      <a:pt x="315" y="842"/>
                    </a:moveTo>
                    <a:lnTo>
                      <a:pt x="315" y="842"/>
                    </a:lnTo>
                    <a:lnTo>
                      <a:pt x="316" y="842"/>
                    </a:lnTo>
                    <a:lnTo>
                      <a:pt x="316" y="842"/>
                    </a:lnTo>
                    <a:lnTo>
                      <a:pt x="315" y="842"/>
                    </a:lnTo>
                    <a:lnTo>
                      <a:pt x="315" y="842"/>
                    </a:lnTo>
                    <a:lnTo>
                      <a:pt x="315" y="842"/>
                    </a:lnTo>
                    <a:lnTo>
                      <a:pt x="315" y="842"/>
                    </a:lnTo>
                    <a:lnTo>
                      <a:pt x="315" y="842"/>
                    </a:lnTo>
                    <a:close/>
                    <a:moveTo>
                      <a:pt x="320" y="836"/>
                    </a:moveTo>
                    <a:lnTo>
                      <a:pt x="320" y="836"/>
                    </a:lnTo>
                    <a:lnTo>
                      <a:pt x="320" y="836"/>
                    </a:lnTo>
                    <a:lnTo>
                      <a:pt x="320" y="836"/>
                    </a:lnTo>
                    <a:lnTo>
                      <a:pt x="320" y="836"/>
                    </a:lnTo>
                    <a:lnTo>
                      <a:pt x="320" y="836"/>
                    </a:lnTo>
                    <a:lnTo>
                      <a:pt x="320" y="836"/>
                    </a:lnTo>
                    <a:lnTo>
                      <a:pt x="320" y="836"/>
                    </a:lnTo>
                    <a:close/>
                    <a:moveTo>
                      <a:pt x="348" y="834"/>
                    </a:moveTo>
                    <a:lnTo>
                      <a:pt x="350" y="832"/>
                    </a:lnTo>
                    <a:lnTo>
                      <a:pt x="352" y="832"/>
                    </a:lnTo>
                    <a:lnTo>
                      <a:pt x="352" y="830"/>
                    </a:lnTo>
                    <a:lnTo>
                      <a:pt x="352" y="826"/>
                    </a:lnTo>
                    <a:lnTo>
                      <a:pt x="350" y="825"/>
                    </a:lnTo>
                    <a:lnTo>
                      <a:pt x="350" y="823"/>
                    </a:lnTo>
                    <a:lnTo>
                      <a:pt x="348" y="823"/>
                    </a:lnTo>
                    <a:lnTo>
                      <a:pt x="345" y="826"/>
                    </a:lnTo>
                    <a:lnTo>
                      <a:pt x="345" y="828"/>
                    </a:lnTo>
                    <a:lnTo>
                      <a:pt x="345" y="830"/>
                    </a:lnTo>
                    <a:lnTo>
                      <a:pt x="347" y="832"/>
                    </a:lnTo>
                    <a:lnTo>
                      <a:pt x="347" y="834"/>
                    </a:lnTo>
                    <a:lnTo>
                      <a:pt x="348" y="834"/>
                    </a:lnTo>
                    <a:lnTo>
                      <a:pt x="348" y="834"/>
                    </a:lnTo>
                    <a:lnTo>
                      <a:pt x="348" y="834"/>
                    </a:lnTo>
                    <a:lnTo>
                      <a:pt x="348" y="834"/>
                    </a:lnTo>
                    <a:close/>
                    <a:moveTo>
                      <a:pt x="360" y="832"/>
                    </a:moveTo>
                    <a:lnTo>
                      <a:pt x="360" y="830"/>
                    </a:lnTo>
                    <a:lnTo>
                      <a:pt x="360" y="828"/>
                    </a:lnTo>
                    <a:lnTo>
                      <a:pt x="360" y="830"/>
                    </a:lnTo>
                    <a:lnTo>
                      <a:pt x="360" y="832"/>
                    </a:lnTo>
                    <a:lnTo>
                      <a:pt x="360" y="832"/>
                    </a:lnTo>
                    <a:lnTo>
                      <a:pt x="360" y="832"/>
                    </a:lnTo>
                    <a:lnTo>
                      <a:pt x="360" y="832"/>
                    </a:lnTo>
                    <a:lnTo>
                      <a:pt x="360" y="832"/>
                    </a:lnTo>
                    <a:lnTo>
                      <a:pt x="360" y="832"/>
                    </a:lnTo>
                    <a:close/>
                    <a:moveTo>
                      <a:pt x="578" y="710"/>
                    </a:moveTo>
                    <a:lnTo>
                      <a:pt x="578" y="710"/>
                    </a:lnTo>
                    <a:lnTo>
                      <a:pt x="580" y="708"/>
                    </a:lnTo>
                    <a:lnTo>
                      <a:pt x="580" y="706"/>
                    </a:lnTo>
                    <a:lnTo>
                      <a:pt x="578" y="708"/>
                    </a:lnTo>
                    <a:lnTo>
                      <a:pt x="578" y="710"/>
                    </a:lnTo>
                    <a:lnTo>
                      <a:pt x="578" y="710"/>
                    </a:lnTo>
                    <a:lnTo>
                      <a:pt x="578" y="710"/>
                    </a:lnTo>
                    <a:lnTo>
                      <a:pt x="578" y="710"/>
                    </a:lnTo>
                    <a:close/>
                    <a:moveTo>
                      <a:pt x="539" y="678"/>
                    </a:moveTo>
                    <a:lnTo>
                      <a:pt x="542" y="678"/>
                    </a:lnTo>
                    <a:lnTo>
                      <a:pt x="542" y="678"/>
                    </a:lnTo>
                    <a:lnTo>
                      <a:pt x="542" y="676"/>
                    </a:lnTo>
                    <a:lnTo>
                      <a:pt x="539" y="676"/>
                    </a:lnTo>
                    <a:lnTo>
                      <a:pt x="539" y="676"/>
                    </a:lnTo>
                    <a:lnTo>
                      <a:pt x="539" y="678"/>
                    </a:lnTo>
                    <a:lnTo>
                      <a:pt x="539" y="678"/>
                    </a:lnTo>
                    <a:lnTo>
                      <a:pt x="539" y="678"/>
                    </a:lnTo>
                    <a:lnTo>
                      <a:pt x="539" y="678"/>
                    </a:lnTo>
                    <a:close/>
                    <a:moveTo>
                      <a:pt x="522" y="661"/>
                    </a:moveTo>
                    <a:lnTo>
                      <a:pt x="524" y="663"/>
                    </a:lnTo>
                    <a:lnTo>
                      <a:pt x="525" y="661"/>
                    </a:lnTo>
                    <a:lnTo>
                      <a:pt x="527" y="661"/>
                    </a:lnTo>
                    <a:lnTo>
                      <a:pt x="524" y="661"/>
                    </a:lnTo>
                    <a:lnTo>
                      <a:pt x="522" y="661"/>
                    </a:lnTo>
                    <a:lnTo>
                      <a:pt x="522" y="661"/>
                    </a:lnTo>
                    <a:lnTo>
                      <a:pt x="522" y="661"/>
                    </a:lnTo>
                    <a:lnTo>
                      <a:pt x="522" y="661"/>
                    </a:lnTo>
                    <a:close/>
                    <a:moveTo>
                      <a:pt x="556" y="653"/>
                    </a:moveTo>
                    <a:lnTo>
                      <a:pt x="556" y="653"/>
                    </a:lnTo>
                    <a:lnTo>
                      <a:pt x="557" y="657"/>
                    </a:lnTo>
                    <a:lnTo>
                      <a:pt x="557" y="653"/>
                    </a:lnTo>
                    <a:lnTo>
                      <a:pt x="557" y="653"/>
                    </a:lnTo>
                    <a:lnTo>
                      <a:pt x="556" y="651"/>
                    </a:lnTo>
                    <a:lnTo>
                      <a:pt x="556" y="653"/>
                    </a:lnTo>
                    <a:lnTo>
                      <a:pt x="556" y="653"/>
                    </a:lnTo>
                    <a:lnTo>
                      <a:pt x="556" y="653"/>
                    </a:lnTo>
                    <a:lnTo>
                      <a:pt x="556" y="653"/>
                    </a:lnTo>
                    <a:close/>
                    <a:moveTo>
                      <a:pt x="578" y="582"/>
                    </a:moveTo>
                    <a:lnTo>
                      <a:pt x="578" y="585"/>
                    </a:lnTo>
                    <a:lnTo>
                      <a:pt x="578" y="585"/>
                    </a:lnTo>
                    <a:lnTo>
                      <a:pt x="578" y="589"/>
                    </a:lnTo>
                    <a:lnTo>
                      <a:pt x="582" y="593"/>
                    </a:lnTo>
                    <a:lnTo>
                      <a:pt x="582" y="597"/>
                    </a:lnTo>
                    <a:lnTo>
                      <a:pt x="588" y="599"/>
                    </a:lnTo>
                    <a:lnTo>
                      <a:pt x="591" y="602"/>
                    </a:lnTo>
                    <a:lnTo>
                      <a:pt x="595" y="606"/>
                    </a:lnTo>
                    <a:lnTo>
                      <a:pt x="597" y="608"/>
                    </a:lnTo>
                    <a:lnTo>
                      <a:pt x="599" y="608"/>
                    </a:lnTo>
                    <a:lnTo>
                      <a:pt x="601" y="610"/>
                    </a:lnTo>
                    <a:lnTo>
                      <a:pt x="605" y="612"/>
                    </a:lnTo>
                    <a:lnTo>
                      <a:pt x="605" y="610"/>
                    </a:lnTo>
                    <a:lnTo>
                      <a:pt x="605" y="608"/>
                    </a:lnTo>
                    <a:lnTo>
                      <a:pt x="606" y="606"/>
                    </a:lnTo>
                    <a:lnTo>
                      <a:pt x="605" y="602"/>
                    </a:lnTo>
                    <a:lnTo>
                      <a:pt x="601" y="602"/>
                    </a:lnTo>
                    <a:lnTo>
                      <a:pt x="599" y="602"/>
                    </a:lnTo>
                    <a:lnTo>
                      <a:pt x="597" y="599"/>
                    </a:lnTo>
                    <a:lnTo>
                      <a:pt x="599" y="597"/>
                    </a:lnTo>
                    <a:lnTo>
                      <a:pt x="599" y="597"/>
                    </a:lnTo>
                    <a:lnTo>
                      <a:pt x="601" y="597"/>
                    </a:lnTo>
                    <a:lnTo>
                      <a:pt x="605" y="599"/>
                    </a:lnTo>
                    <a:lnTo>
                      <a:pt x="608" y="599"/>
                    </a:lnTo>
                    <a:lnTo>
                      <a:pt x="610" y="602"/>
                    </a:lnTo>
                    <a:lnTo>
                      <a:pt x="610" y="599"/>
                    </a:lnTo>
                    <a:lnTo>
                      <a:pt x="608" y="597"/>
                    </a:lnTo>
                    <a:lnTo>
                      <a:pt x="599" y="593"/>
                    </a:lnTo>
                    <a:lnTo>
                      <a:pt x="597" y="587"/>
                    </a:lnTo>
                    <a:lnTo>
                      <a:pt x="595" y="585"/>
                    </a:lnTo>
                    <a:lnTo>
                      <a:pt x="591" y="585"/>
                    </a:lnTo>
                    <a:lnTo>
                      <a:pt x="588" y="582"/>
                    </a:lnTo>
                    <a:lnTo>
                      <a:pt x="586" y="582"/>
                    </a:lnTo>
                    <a:lnTo>
                      <a:pt x="584" y="582"/>
                    </a:lnTo>
                    <a:lnTo>
                      <a:pt x="580" y="582"/>
                    </a:lnTo>
                    <a:lnTo>
                      <a:pt x="578" y="582"/>
                    </a:lnTo>
                    <a:lnTo>
                      <a:pt x="578" y="582"/>
                    </a:lnTo>
                    <a:lnTo>
                      <a:pt x="578" y="582"/>
                    </a:lnTo>
                    <a:lnTo>
                      <a:pt x="578" y="582"/>
                    </a:lnTo>
                    <a:close/>
                    <a:moveTo>
                      <a:pt x="571" y="583"/>
                    </a:moveTo>
                    <a:lnTo>
                      <a:pt x="571" y="583"/>
                    </a:lnTo>
                    <a:lnTo>
                      <a:pt x="571" y="582"/>
                    </a:lnTo>
                    <a:lnTo>
                      <a:pt x="573" y="578"/>
                    </a:lnTo>
                    <a:lnTo>
                      <a:pt x="567" y="580"/>
                    </a:lnTo>
                    <a:lnTo>
                      <a:pt x="567" y="583"/>
                    </a:lnTo>
                    <a:lnTo>
                      <a:pt x="571" y="583"/>
                    </a:lnTo>
                    <a:lnTo>
                      <a:pt x="571" y="583"/>
                    </a:lnTo>
                    <a:lnTo>
                      <a:pt x="571" y="583"/>
                    </a:lnTo>
                    <a:lnTo>
                      <a:pt x="571" y="583"/>
                    </a:lnTo>
                    <a:close/>
                    <a:moveTo>
                      <a:pt x="578" y="578"/>
                    </a:moveTo>
                    <a:lnTo>
                      <a:pt x="580" y="580"/>
                    </a:lnTo>
                    <a:lnTo>
                      <a:pt x="586" y="580"/>
                    </a:lnTo>
                    <a:lnTo>
                      <a:pt x="589" y="582"/>
                    </a:lnTo>
                    <a:lnTo>
                      <a:pt x="595" y="582"/>
                    </a:lnTo>
                    <a:lnTo>
                      <a:pt x="597" y="585"/>
                    </a:lnTo>
                    <a:lnTo>
                      <a:pt x="601" y="583"/>
                    </a:lnTo>
                    <a:lnTo>
                      <a:pt x="603" y="585"/>
                    </a:lnTo>
                    <a:lnTo>
                      <a:pt x="603" y="587"/>
                    </a:lnTo>
                    <a:lnTo>
                      <a:pt x="605" y="589"/>
                    </a:lnTo>
                    <a:lnTo>
                      <a:pt x="608" y="589"/>
                    </a:lnTo>
                    <a:lnTo>
                      <a:pt x="610" y="589"/>
                    </a:lnTo>
                    <a:lnTo>
                      <a:pt x="612" y="589"/>
                    </a:lnTo>
                    <a:lnTo>
                      <a:pt x="612" y="587"/>
                    </a:lnTo>
                    <a:lnTo>
                      <a:pt x="612" y="585"/>
                    </a:lnTo>
                    <a:lnTo>
                      <a:pt x="612" y="582"/>
                    </a:lnTo>
                    <a:lnTo>
                      <a:pt x="614" y="582"/>
                    </a:lnTo>
                    <a:lnTo>
                      <a:pt x="610" y="578"/>
                    </a:lnTo>
                    <a:lnTo>
                      <a:pt x="606" y="578"/>
                    </a:lnTo>
                    <a:lnTo>
                      <a:pt x="601" y="574"/>
                    </a:lnTo>
                    <a:lnTo>
                      <a:pt x="597" y="574"/>
                    </a:lnTo>
                    <a:lnTo>
                      <a:pt x="591" y="576"/>
                    </a:lnTo>
                    <a:lnTo>
                      <a:pt x="588" y="574"/>
                    </a:lnTo>
                    <a:lnTo>
                      <a:pt x="582" y="576"/>
                    </a:lnTo>
                    <a:lnTo>
                      <a:pt x="578" y="576"/>
                    </a:lnTo>
                    <a:lnTo>
                      <a:pt x="578" y="576"/>
                    </a:lnTo>
                    <a:lnTo>
                      <a:pt x="578" y="578"/>
                    </a:lnTo>
                    <a:lnTo>
                      <a:pt x="578" y="578"/>
                    </a:lnTo>
                    <a:lnTo>
                      <a:pt x="578" y="578"/>
                    </a:lnTo>
                    <a:lnTo>
                      <a:pt x="578" y="578"/>
                    </a:lnTo>
                    <a:close/>
                    <a:moveTo>
                      <a:pt x="563" y="563"/>
                    </a:moveTo>
                    <a:lnTo>
                      <a:pt x="567" y="568"/>
                    </a:lnTo>
                    <a:lnTo>
                      <a:pt x="571" y="568"/>
                    </a:lnTo>
                    <a:lnTo>
                      <a:pt x="574" y="572"/>
                    </a:lnTo>
                    <a:lnTo>
                      <a:pt x="580" y="574"/>
                    </a:lnTo>
                    <a:lnTo>
                      <a:pt x="588" y="572"/>
                    </a:lnTo>
                    <a:lnTo>
                      <a:pt x="597" y="574"/>
                    </a:lnTo>
                    <a:lnTo>
                      <a:pt x="601" y="572"/>
                    </a:lnTo>
                    <a:lnTo>
                      <a:pt x="601" y="572"/>
                    </a:lnTo>
                    <a:lnTo>
                      <a:pt x="597" y="572"/>
                    </a:lnTo>
                    <a:lnTo>
                      <a:pt x="589" y="572"/>
                    </a:lnTo>
                    <a:lnTo>
                      <a:pt x="586" y="568"/>
                    </a:lnTo>
                    <a:lnTo>
                      <a:pt x="580" y="568"/>
                    </a:lnTo>
                    <a:lnTo>
                      <a:pt x="576" y="567"/>
                    </a:lnTo>
                    <a:lnTo>
                      <a:pt x="574" y="563"/>
                    </a:lnTo>
                    <a:lnTo>
                      <a:pt x="576" y="563"/>
                    </a:lnTo>
                    <a:lnTo>
                      <a:pt x="578" y="563"/>
                    </a:lnTo>
                    <a:lnTo>
                      <a:pt x="586" y="568"/>
                    </a:lnTo>
                    <a:lnTo>
                      <a:pt x="591" y="568"/>
                    </a:lnTo>
                    <a:lnTo>
                      <a:pt x="595" y="568"/>
                    </a:lnTo>
                    <a:lnTo>
                      <a:pt x="591" y="567"/>
                    </a:lnTo>
                    <a:lnTo>
                      <a:pt x="584" y="559"/>
                    </a:lnTo>
                    <a:lnTo>
                      <a:pt x="573" y="559"/>
                    </a:lnTo>
                    <a:lnTo>
                      <a:pt x="571" y="559"/>
                    </a:lnTo>
                    <a:lnTo>
                      <a:pt x="571" y="559"/>
                    </a:lnTo>
                    <a:lnTo>
                      <a:pt x="565" y="563"/>
                    </a:lnTo>
                    <a:lnTo>
                      <a:pt x="563" y="563"/>
                    </a:lnTo>
                    <a:lnTo>
                      <a:pt x="563" y="563"/>
                    </a:lnTo>
                    <a:lnTo>
                      <a:pt x="563" y="563"/>
                    </a:lnTo>
                    <a:lnTo>
                      <a:pt x="563" y="563"/>
                    </a:lnTo>
                    <a:close/>
                    <a:moveTo>
                      <a:pt x="620" y="574"/>
                    </a:moveTo>
                    <a:lnTo>
                      <a:pt x="620" y="574"/>
                    </a:lnTo>
                    <a:lnTo>
                      <a:pt x="621" y="574"/>
                    </a:lnTo>
                    <a:lnTo>
                      <a:pt x="621" y="572"/>
                    </a:lnTo>
                    <a:lnTo>
                      <a:pt x="620" y="572"/>
                    </a:lnTo>
                    <a:lnTo>
                      <a:pt x="620" y="574"/>
                    </a:lnTo>
                    <a:lnTo>
                      <a:pt x="620" y="574"/>
                    </a:lnTo>
                    <a:lnTo>
                      <a:pt x="620" y="574"/>
                    </a:lnTo>
                    <a:lnTo>
                      <a:pt x="620" y="574"/>
                    </a:lnTo>
                    <a:close/>
                    <a:moveTo>
                      <a:pt x="621" y="518"/>
                    </a:moveTo>
                    <a:lnTo>
                      <a:pt x="620" y="523"/>
                    </a:lnTo>
                    <a:lnTo>
                      <a:pt x="620" y="527"/>
                    </a:lnTo>
                    <a:lnTo>
                      <a:pt x="621" y="529"/>
                    </a:lnTo>
                    <a:lnTo>
                      <a:pt x="625" y="529"/>
                    </a:lnTo>
                    <a:lnTo>
                      <a:pt x="629" y="533"/>
                    </a:lnTo>
                    <a:lnTo>
                      <a:pt x="631" y="533"/>
                    </a:lnTo>
                    <a:lnTo>
                      <a:pt x="635" y="533"/>
                    </a:lnTo>
                    <a:lnTo>
                      <a:pt x="638" y="533"/>
                    </a:lnTo>
                    <a:lnTo>
                      <a:pt x="638" y="529"/>
                    </a:lnTo>
                    <a:lnTo>
                      <a:pt x="640" y="525"/>
                    </a:lnTo>
                    <a:lnTo>
                      <a:pt x="640" y="521"/>
                    </a:lnTo>
                    <a:lnTo>
                      <a:pt x="633" y="516"/>
                    </a:lnTo>
                    <a:lnTo>
                      <a:pt x="627" y="518"/>
                    </a:lnTo>
                    <a:lnTo>
                      <a:pt x="621" y="518"/>
                    </a:lnTo>
                    <a:lnTo>
                      <a:pt x="621" y="518"/>
                    </a:lnTo>
                    <a:lnTo>
                      <a:pt x="621" y="518"/>
                    </a:lnTo>
                    <a:lnTo>
                      <a:pt x="621" y="518"/>
                    </a:lnTo>
                    <a:close/>
                    <a:moveTo>
                      <a:pt x="657" y="516"/>
                    </a:moveTo>
                    <a:lnTo>
                      <a:pt x="659" y="516"/>
                    </a:lnTo>
                    <a:lnTo>
                      <a:pt x="661" y="512"/>
                    </a:lnTo>
                    <a:lnTo>
                      <a:pt x="661" y="510"/>
                    </a:lnTo>
                    <a:lnTo>
                      <a:pt x="659" y="510"/>
                    </a:lnTo>
                    <a:lnTo>
                      <a:pt x="657" y="512"/>
                    </a:lnTo>
                    <a:lnTo>
                      <a:pt x="657" y="516"/>
                    </a:lnTo>
                    <a:lnTo>
                      <a:pt x="657" y="516"/>
                    </a:lnTo>
                    <a:lnTo>
                      <a:pt x="657" y="516"/>
                    </a:lnTo>
                    <a:lnTo>
                      <a:pt x="657" y="516"/>
                    </a:lnTo>
                    <a:close/>
                    <a:moveTo>
                      <a:pt x="640" y="495"/>
                    </a:moveTo>
                    <a:lnTo>
                      <a:pt x="640" y="497"/>
                    </a:lnTo>
                    <a:lnTo>
                      <a:pt x="640" y="502"/>
                    </a:lnTo>
                    <a:lnTo>
                      <a:pt x="640" y="504"/>
                    </a:lnTo>
                    <a:lnTo>
                      <a:pt x="644" y="508"/>
                    </a:lnTo>
                    <a:lnTo>
                      <a:pt x="646" y="504"/>
                    </a:lnTo>
                    <a:lnTo>
                      <a:pt x="646" y="502"/>
                    </a:lnTo>
                    <a:lnTo>
                      <a:pt x="650" y="499"/>
                    </a:lnTo>
                    <a:lnTo>
                      <a:pt x="650" y="499"/>
                    </a:lnTo>
                    <a:lnTo>
                      <a:pt x="644" y="495"/>
                    </a:lnTo>
                    <a:lnTo>
                      <a:pt x="640" y="495"/>
                    </a:lnTo>
                    <a:lnTo>
                      <a:pt x="640" y="495"/>
                    </a:lnTo>
                    <a:lnTo>
                      <a:pt x="640" y="495"/>
                    </a:lnTo>
                    <a:lnTo>
                      <a:pt x="640" y="495"/>
                    </a:lnTo>
                    <a:close/>
                    <a:moveTo>
                      <a:pt x="665" y="480"/>
                    </a:moveTo>
                    <a:lnTo>
                      <a:pt x="665" y="487"/>
                    </a:lnTo>
                    <a:lnTo>
                      <a:pt x="663" y="493"/>
                    </a:lnTo>
                    <a:lnTo>
                      <a:pt x="665" y="495"/>
                    </a:lnTo>
                    <a:lnTo>
                      <a:pt x="669" y="499"/>
                    </a:lnTo>
                    <a:lnTo>
                      <a:pt x="670" y="497"/>
                    </a:lnTo>
                    <a:lnTo>
                      <a:pt x="674" y="497"/>
                    </a:lnTo>
                    <a:lnTo>
                      <a:pt x="676" y="497"/>
                    </a:lnTo>
                    <a:lnTo>
                      <a:pt x="676" y="499"/>
                    </a:lnTo>
                    <a:lnTo>
                      <a:pt x="680" y="499"/>
                    </a:lnTo>
                    <a:lnTo>
                      <a:pt x="682" y="497"/>
                    </a:lnTo>
                    <a:lnTo>
                      <a:pt x="684" y="495"/>
                    </a:lnTo>
                    <a:lnTo>
                      <a:pt x="684" y="489"/>
                    </a:lnTo>
                    <a:lnTo>
                      <a:pt x="680" y="487"/>
                    </a:lnTo>
                    <a:lnTo>
                      <a:pt x="680" y="491"/>
                    </a:lnTo>
                    <a:lnTo>
                      <a:pt x="680" y="493"/>
                    </a:lnTo>
                    <a:lnTo>
                      <a:pt x="678" y="491"/>
                    </a:lnTo>
                    <a:lnTo>
                      <a:pt x="674" y="487"/>
                    </a:lnTo>
                    <a:lnTo>
                      <a:pt x="674" y="486"/>
                    </a:lnTo>
                    <a:lnTo>
                      <a:pt x="674" y="482"/>
                    </a:lnTo>
                    <a:lnTo>
                      <a:pt x="674" y="480"/>
                    </a:lnTo>
                    <a:lnTo>
                      <a:pt x="676" y="480"/>
                    </a:lnTo>
                    <a:lnTo>
                      <a:pt x="676" y="478"/>
                    </a:lnTo>
                    <a:lnTo>
                      <a:pt x="674" y="478"/>
                    </a:lnTo>
                    <a:lnTo>
                      <a:pt x="670" y="480"/>
                    </a:lnTo>
                    <a:lnTo>
                      <a:pt x="669" y="478"/>
                    </a:lnTo>
                    <a:lnTo>
                      <a:pt x="669" y="480"/>
                    </a:lnTo>
                    <a:lnTo>
                      <a:pt x="665" y="480"/>
                    </a:lnTo>
                    <a:lnTo>
                      <a:pt x="665" y="480"/>
                    </a:lnTo>
                    <a:lnTo>
                      <a:pt x="665" y="480"/>
                    </a:lnTo>
                    <a:lnTo>
                      <a:pt x="665" y="480"/>
                    </a:lnTo>
                    <a:close/>
                    <a:moveTo>
                      <a:pt x="670" y="421"/>
                    </a:moveTo>
                    <a:lnTo>
                      <a:pt x="665" y="423"/>
                    </a:lnTo>
                    <a:lnTo>
                      <a:pt x="665" y="425"/>
                    </a:lnTo>
                    <a:lnTo>
                      <a:pt x="669" y="427"/>
                    </a:lnTo>
                    <a:lnTo>
                      <a:pt x="670" y="429"/>
                    </a:lnTo>
                    <a:lnTo>
                      <a:pt x="669" y="431"/>
                    </a:lnTo>
                    <a:lnTo>
                      <a:pt x="669" y="435"/>
                    </a:lnTo>
                    <a:lnTo>
                      <a:pt x="670" y="440"/>
                    </a:lnTo>
                    <a:lnTo>
                      <a:pt x="670" y="444"/>
                    </a:lnTo>
                    <a:lnTo>
                      <a:pt x="669" y="450"/>
                    </a:lnTo>
                    <a:lnTo>
                      <a:pt x="669" y="453"/>
                    </a:lnTo>
                    <a:lnTo>
                      <a:pt x="670" y="455"/>
                    </a:lnTo>
                    <a:lnTo>
                      <a:pt x="670" y="453"/>
                    </a:lnTo>
                    <a:lnTo>
                      <a:pt x="670" y="448"/>
                    </a:lnTo>
                    <a:lnTo>
                      <a:pt x="674" y="446"/>
                    </a:lnTo>
                    <a:lnTo>
                      <a:pt x="674" y="440"/>
                    </a:lnTo>
                    <a:lnTo>
                      <a:pt x="670" y="438"/>
                    </a:lnTo>
                    <a:lnTo>
                      <a:pt x="670" y="431"/>
                    </a:lnTo>
                    <a:lnTo>
                      <a:pt x="670" y="425"/>
                    </a:lnTo>
                    <a:lnTo>
                      <a:pt x="670" y="423"/>
                    </a:lnTo>
                    <a:lnTo>
                      <a:pt x="670" y="421"/>
                    </a:lnTo>
                    <a:lnTo>
                      <a:pt x="670" y="421"/>
                    </a:lnTo>
                    <a:lnTo>
                      <a:pt x="670" y="421"/>
                    </a:lnTo>
                    <a:lnTo>
                      <a:pt x="670" y="421"/>
                    </a:lnTo>
                    <a:close/>
                    <a:moveTo>
                      <a:pt x="640" y="431"/>
                    </a:moveTo>
                    <a:lnTo>
                      <a:pt x="640" y="433"/>
                    </a:lnTo>
                    <a:lnTo>
                      <a:pt x="640" y="435"/>
                    </a:lnTo>
                    <a:lnTo>
                      <a:pt x="644" y="435"/>
                    </a:lnTo>
                    <a:lnTo>
                      <a:pt x="646" y="433"/>
                    </a:lnTo>
                    <a:lnTo>
                      <a:pt x="644" y="429"/>
                    </a:lnTo>
                    <a:lnTo>
                      <a:pt x="644" y="429"/>
                    </a:lnTo>
                    <a:lnTo>
                      <a:pt x="640" y="431"/>
                    </a:lnTo>
                    <a:lnTo>
                      <a:pt x="640" y="431"/>
                    </a:lnTo>
                    <a:lnTo>
                      <a:pt x="640" y="431"/>
                    </a:lnTo>
                    <a:lnTo>
                      <a:pt x="640" y="431"/>
                    </a:lnTo>
                    <a:close/>
                    <a:moveTo>
                      <a:pt x="637" y="423"/>
                    </a:moveTo>
                    <a:lnTo>
                      <a:pt x="638" y="427"/>
                    </a:lnTo>
                    <a:lnTo>
                      <a:pt x="640" y="425"/>
                    </a:lnTo>
                    <a:lnTo>
                      <a:pt x="640" y="423"/>
                    </a:lnTo>
                    <a:lnTo>
                      <a:pt x="638" y="423"/>
                    </a:lnTo>
                    <a:lnTo>
                      <a:pt x="637" y="423"/>
                    </a:lnTo>
                    <a:lnTo>
                      <a:pt x="637" y="423"/>
                    </a:lnTo>
                    <a:lnTo>
                      <a:pt x="637" y="423"/>
                    </a:lnTo>
                    <a:lnTo>
                      <a:pt x="637" y="423"/>
                    </a:lnTo>
                    <a:close/>
                    <a:moveTo>
                      <a:pt x="661" y="363"/>
                    </a:moveTo>
                    <a:lnTo>
                      <a:pt x="663" y="367"/>
                    </a:lnTo>
                    <a:lnTo>
                      <a:pt x="665" y="369"/>
                    </a:lnTo>
                    <a:lnTo>
                      <a:pt x="669" y="369"/>
                    </a:lnTo>
                    <a:lnTo>
                      <a:pt x="669" y="367"/>
                    </a:lnTo>
                    <a:lnTo>
                      <a:pt x="665" y="365"/>
                    </a:lnTo>
                    <a:lnTo>
                      <a:pt x="663" y="361"/>
                    </a:lnTo>
                    <a:lnTo>
                      <a:pt x="661" y="361"/>
                    </a:lnTo>
                    <a:lnTo>
                      <a:pt x="661" y="363"/>
                    </a:lnTo>
                    <a:lnTo>
                      <a:pt x="661" y="363"/>
                    </a:lnTo>
                    <a:lnTo>
                      <a:pt x="661" y="363"/>
                    </a:lnTo>
                    <a:lnTo>
                      <a:pt x="661" y="363"/>
                    </a:lnTo>
                    <a:close/>
                    <a:moveTo>
                      <a:pt x="684" y="376"/>
                    </a:moveTo>
                    <a:lnTo>
                      <a:pt x="684" y="376"/>
                    </a:lnTo>
                    <a:lnTo>
                      <a:pt x="685" y="380"/>
                    </a:lnTo>
                    <a:lnTo>
                      <a:pt x="687" y="380"/>
                    </a:lnTo>
                    <a:lnTo>
                      <a:pt x="689" y="376"/>
                    </a:lnTo>
                    <a:lnTo>
                      <a:pt x="689" y="376"/>
                    </a:lnTo>
                    <a:lnTo>
                      <a:pt x="689" y="371"/>
                    </a:lnTo>
                    <a:lnTo>
                      <a:pt x="691" y="371"/>
                    </a:lnTo>
                    <a:lnTo>
                      <a:pt x="691" y="365"/>
                    </a:lnTo>
                    <a:lnTo>
                      <a:pt x="685" y="371"/>
                    </a:lnTo>
                    <a:lnTo>
                      <a:pt x="685" y="374"/>
                    </a:lnTo>
                    <a:lnTo>
                      <a:pt x="684" y="376"/>
                    </a:lnTo>
                    <a:lnTo>
                      <a:pt x="684" y="376"/>
                    </a:lnTo>
                    <a:lnTo>
                      <a:pt x="684" y="376"/>
                    </a:lnTo>
                    <a:lnTo>
                      <a:pt x="684" y="376"/>
                    </a:lnTo>
                    <a:close/>
                    <a:moveTo>
                      <a:pt x="674" y="356"/>
                    </a:moveTo>
                    <a:lnTo>
                      <a:pt x="674" y="356"/>
                    </a:lnTo>
                    <a:lnTo>
                      <a:pt x="676" y="356"/>
                    </a:lnTo>
                    <a:lnTo>
                      <a:pt x="676" y="352"/>
                    </a:lnTo>
                    <a:lnTo>
                      <a:pt x="676" y="350"/>
                    </a:lnTo>
                    <a:lnTo>
                      <a:pt x="674" y="350"/>
                    </a:lnTo>
                    <a:lnTo>
                      <a:pt x="674" y="356"/>
                    </a:lnTo>
                    <a:lnTo>
                      <a:pt x="674" y="356"/>
                    </a:lnTo>
                    <a:lnTo>
                      <a:pt x="674" y="356"/>
                    </a:lnTo>
                    <a:lnTo>
                      <a:pt x="674" y="356"/>
                    </a:lnTo>
                    <a:close/>
                    <a:moveTo>
                      <a:pt x="674" y="342"/>
                    </a:moveTo>
                    <a:lnTo>
                      <a:pt x="674" y="344"/>
                    </a:lnTo>
                    <a:lnTo>
                      <a:pt x="676" y="346"/>
                    </a:lnTo>
                    <a:lnTo>
                      <a:pt x="676" y="344"/>
                    </a:lnTo>
                    <a:lnTo>
                      <a:pt x="676" y="342"/>
                    </a:lnTo>
                    <a:lnTo>
                      <a:pt x="674" y="342"/>
                    </a:lnTo>
                    <a:lnTo>
                      <a:pt x="674" y="342"/>
                    </a:lnTo>
                    <a:lnTo>
                      <a:pt x="674" y="342"/>
                    </a:lnTo>
                    <a:lnTo>
                      <a:pt x="674" y="342"/>
                    </a:lnTo>
                    <a:close/>
                    <a:moveTo>
                      <a:pt x="693" y="303"/>
                    </a:moveTo>
                    <a:lnTo>
                      <a:pt x="695" y="307"/>
                    </a:lnTo>
                    <a:lnTo>
                      <a:pt x="695" y="308"/>
                    </a:lnTo>
                    <a:lnTo>
                      <a:pt x="699" y="305"/>
                    </a:lnTo>
                    <a:lnTo>
                      <a:pt x="699" y="301"/>
                    </a:lnTo>
                    <a:lnTo>
                      <a:pt x="699" y="297"/>
                    </a:lnTo>
                    <a:lnTo>
                      <a:pt x="699" y="295"/>
                    </a:lnTo>
                    <a:lnTo>
                      <a:pt x="699" y="291"/>
                    </a:lnTo>
                    <a:lnTo>
                      <a:pt x="695" y="295"/>
                    </a:lnTo>
                    <a:lnTo>
                      <a:pt x="695" y="297"/>
                    </a:lnTo>
                    <a:lnTo>
                      <a:pt x="693" y="303"/>
                    </a:lnTo>
                    <a:lnTo>
                      <a:pt x="693" y="303"/>
                    </a:lnTo>
                    <a:lnTo>
                      <a:pt x="693" y="303"/>
                    </a:lnTo>
                    <a:lnTo>
                      <a:pt x="693" y="303"/>
                    </a:lnTo>
                    <a:close/>
                    <a:moveTo>
                      <a:pt x="682" y="248"/>
                    </a:moveTo>
                    <a:lnTo>
                      <a:pt x="682" y="248"/>
                    </a:lnTo>
                    <a:lnTo>
                      <a:pt x="684" y="246"/>
                    </a:lnTo>
                    <a:lnTo>
                      <a:pt x="689" y="248"/>
                    </a:lnTo>
                    <a:lnTo>
                      <a:pt x="691" y="244"/>
                    </a:lnTo>
                    <a:lnTo>
                      <a:pt x="691" y="241"/>
                    </a:lnTo>
                    <a:lnTo>
                      <a:pt x="689" y="237"/>
                    </a:lnTo>
                    <a:lnTo>
                      <a:pt x="682" y="241"/>
                    </a:lnTo>
                    <a:lnTo>
                      <a:pt x="680" y="246"/>
                    </a:lnTo>
                    <a:lnTo>
                      <a:pt x="682" y="248"/>
                    </a:lnTo>
                    <a:lnTo>
                      <a:pt x="682" y="248"/>
                    </a:lnTo>
                    <a:lnTo>
                      <a:pt x="682" y="248"/>
                    </a:lnTo>
                    <a:lnTo>
                      <a:pt x="682" y="248"/>
                    </a:lnTo>
                    <a:close/>
                    <a:moveTo>
                      <a:pt x="719" y="146"/>
                    </a:moveTo>
                    <a:lnTo>
                      <a:pt x="719" y="145"/>
                    </a:lnTo>
                    <a:lnTo>
                      <a:pt x="719" y="141"/>
                    </a:lnTo>
                    <a:lnTo>
                      <a:pt x="719" y="133"/>
                    </a:lnTo>
                    <a:lnTo>
                      <a:pt x="719" y="133"/>
                    </a:lnTo>
                    <a:lnTo>
                      <a:pt x="719" y="128"/>
                    </a:lnTo>
                    <a:lnTo>
                      <a:pt x="717" y="131"/>
                    </a:lnTo>
                    <a:lnTo>
                      <a:pt x="717" y="133"/>
                    </a:lnTo>
                    <a:lnTo>
                      <a:pt x="719" y="133"/>
                    </a:lnTo>
                    <a:lnTo>
                      <a:pt x="719" y="137"/>
                    </a:lnTo>
                    <a:lnTo>
                      <a:pt x="717" y="141"/>
                    </a:lnTo>
                    <a:lnTo>
                      <a:pt x="719" y="146"/>
                    </a:lnTo>
                    <a:lnTo>
                      <a:pt x="719" y="146"/>
                    </a:lnTo>
                    <a:lnTo>
                      <a:pt x="719" y="146"/>
                    </a:lnTo>
                    <a:lnTo>
                      <a:pt x="719" y="146"/>
                    </a:lnTo>
                    <a:close/>
                    <a:moveTo>
                      <a:pt x="708" y="158"/>
                    </a:moveTo>
                    <a:lnTo>
                      <a:pt x="708" y="158"/>
                    </a:lnTo>
                    <a:lnTo>
                      <a:pt x="710" y="158"/>
                    </a:lnTo>
                    <a:lnTo>
                      <a:pt x="710" y="156"/>
                    </a:lnTo>
                    <a:lnTo>
                      <a:pt x="710" y="150"/>
                    </a:lnTo>
                    <a:lnTo>
                      <a:pt x="708" y="148"/>
                    </a:lnTo>
                    <a:lnTo>
                      <a:pt x="706" y="150"/>
                    </a:lnTo>
                    <a:lnTo>
                      <a:pt x="706" y="154"/>
                    </a:lnTo>
                    <a:lnTo>
                      <a:pt x="708" y="158"/>
                    </a:lnTo>
                    <a:lnTo>
                      <a:pt x="708" y="158"/>
                    </a:lnTo>
                    <a:lnTo>
                      <a:pt x="708" y="158"/>
                    </a:lnTo>
                    <a:lnTo>
                      <a:pt x="708" y="158"/>
                    </a:lnTo>
                    <a:close/>
                    <a:moveTo>
                      <a:pt x="701" y="146"/>
                    </a:moveTo>
                    <a:lnTo>
                      <a:pt x="702" y="148"/>
                    </a:lnTo>
                    <a:lnTo>
                      <a:pt x="704" y="146"/>
                    </a:lnTo>
                    <a:lnTo>
                      <a:pt x="706" y="141"/>
                    </a:lnTo>
                    <a:lnTo>
                      <a:pt x="706" y="139"/>
                    </a:lnTo>
                    <a:lnTo>
                      <a:pt x="706" y="137"/>
                    </a:lnTo>
                    <a:lnTo>
                      <a:pt x="704" y="137"/>
                    </a:lnTo>
                    <a:lnTo>
                      <a:pt x="702" y="137"/>
                    </a:lnTo>
                    <a:lnTo>
                      <a:pt x="701" y="139"/>
                    </a:lnTo>
                    <a:lnTo>
                      <a:pt x="701" y="143"/>
                    </a:lnTo>
                    <a:lnTo>
                      <a:pt x="701" y="146"/>
                    </a:lnTo>
                    <a:lnTo>
                      <a:pt x="701" y="146"/>
                    </a:lnTo>
                    <a:lnTo>
                      <a:pt x="701" y="146"/>
                    </a:lnTo>
                    <a:lnTo>
                      <a:pt x="701" y="146"/>
                    </a:lnTo>
                    <a:close/>
                    <a:moveTo>
                      <a:pt x="509" y="9"/>
                    </a:moveTo>
                    <a:lnTo>
                      <a:pt x="509" y="9"/>
                    </a:lnTo>
                    <a:lnTo>
                      <a:pt x="509" y="9"/>
                    </a:lnTo>
                    <a:lnTo>
                      <a:pt x="512" y="7"/>
                    </a:lnTo>
                    <a:lnTo>
                      <a:pt x="509" y="5"/>
                    </a:lnTo>
                    <a:lnTo>
                      <a:pt x="509" y="5"/>
                    </a:lnTo>
                    <a:lnTo>
                      <a:pt x="507" y="7"/>
                    </a:lnTo>
                    <a:lnTo>
                      <a:pt x="509" y="9"/>
                    </a:lnTo>
                    <a:lnTo>
                      <a:pt x="509" y="9"/>
                    </a:lnTo>
                    <a:lnTo>
                      <a:pt x="509" y="9"/>
                    </a:lnTo>
                    <a:lnTo>
                      <a:pt x="509" y="9"/>
                    </a:lnTo>
                    <a:close/>
                    <a:moveTo>
                      <a:pt x="509" y="16"/>
                    </a:moveTo>
                    <a:lnTo>
                      <a:pt x="509" y="18"/>
                    </a:lnTo>
                    <a:lnTo>
                      <a:pt x="512" y="18"/>
                    </a:lnTo>
                    <a:lnTo>
                      <a:pt x="512" y="15"/>
                    </a:lnTo>
                    <a:lnTo>
                      <a:pt x="512" y="13"/>
                    </a:lnTo>
                    <a:lnTo>
                      <a:pt x="512" y="13"/>
                    </a:lnTo>
                    <a:lnTo>
                      <a:pt x="509" y="15"/>
                    </a:lnTo>
                    <a:lnTo>
                      <a:pt x="509" y="16"/>
                    </a:lnTo>
                    <a:lnTo>
                      <a:pt x="509" y="16"/>
                    </a:lnTo>
                    <a:lnTo>
                      <a:pt x="509" y="16"/>
                    </a:lnTo>
                    <a:lnTo>
                      <a:pt x="509" y="16"/>
                    </a:lnTo>
                    <a:close/>
                    <a:moveTo>
                      <a:pt x="493" y="16"/>
                    </a:moveTo>
                    <a:lnTo>
                      <a:pt x="497" y="20"/>
                    </a:lnTo>
                    <a:lnTo>
                      <a:pt x="497" y="24"/>
                    </a:lnTo>
                    <a:lnTo>
                      <a:pt x="499" y="24"/>
                    </a:lnTo>
                    <a:lnTo>
                      <a:pt x="501" y="20"/>
                    </a:lnTo>
                    <a:lnTo>
                      <a:pt x="503" y="20"/>
                    </a:lnTo>
                    <a:lnTo>
                      <a:pt x="497" y="15"/>
                    </a:lnTo>
                    <a:lnTo>
                      <a:pt x="497" y="13"/>
                    </a:lnTo>
                    <a:lnTo>
                      <a:pt x="497" y="9"/>
                    </a:lnTo>
                    <a:lnTo>
                      <a:pt x="493" y="13"/>
                    </a:lnTo>
                    <a:lnTo>
                      <a:pt x="493" y="15"/>
                    </a:lnTo>
                    <a:lnTo>
                      <a:pt x="492" y="15"/>
                    </a:lnTo>
                    <a:lnTo>
                      <a:pt x="493" y="16"/>
                    </a:lnTo>
                    <a:lnTo>
                      <a:pt x="493" y="16"/>
                    </a:lnTo>
                    <a:lnTo>
                      <a:pt x="493" y="16"/>
                    </a:lnTo>
                    <a:lnTo>
                      <a:pt x="493" y="16"/>
                    </a:lnTo>
                    <a:close/>
                    <a:moveTo>
                      <a:pt x="484" y="20"/>
                    </a:moveTo>
                    <a:lnTo>
                      <a:pt x="484" y="24"/>
                    </a:lnTo>
                    <a:lnTo>
                      <a:pt x="484" y="24"/>
                    </a:lnTo>
                    <a:lnTo>
                      <a:pt x="488" y="24"/>
                    </a:lnTo>
                    <a:lnTo>
                      <a:pt x="488" y="22"/>
                    </a:lnTo>
                    <a:lnTo>
                      <a:pt x="484" y="20"/>
                    </a:lnTo>
                    <a:lnTo>
                      <a:pt x="484" y="20"/>
                    </a:lnTo>
                    <a:lnTo>
                      <a:pt x="484" y="20"/>
                    </a:lnTo>
                    <a:lnTo>
                      <a:pt x="484" y="20"/>
                    </a:lnTo>
                    <a:lnTo>
                      <a:pt x="484" y="20"/>
                    </a:lnTo>
                    <a:close/>
                    <a:moveTo>
                      <a:pt x="429" y="37"/>
                    </a:moveTo>
                    <a:lnTo>
                      <a:pt x="431" y="39"/>
                    </a:lnTo>
                    <a:lnTo>
                      <a:pt x="433" y="39"/>
                    </a:lnTo>
                    <a:lnTo>
                      <a:pt x="439" y="45"/>
                    </a:lnTo>
                    <a:lnTo>
                      <a:pt x="439" y="45"/>
                    </a:lnTo>
                    <a:lnTo>
                      <a:pt x="441" y="43"/>
                    </a:lnTo>
                    <a:lnTo>
                      <a:pt x="441" y="39"/>
                    </a:lnTo>
                    <a:lnTo>
                      <a:pt x="443" y="37"/>
                    </a:lnTo>
                    <a:lnTo>
                      <a:pt x="443" y="33"/>
                    </a:lnTo>
                    <a:lnTo>
                      <a:pt x="439" y="33"/>
                    </a:lnTo>
                    <a:lnTo>
                      <a:pt x="439" y="30"/>
                    </a:lnTo>
                    <a:lnTo>
                      <a:pt x="435" y="30"/>
                    </a:lnTo>
                    <a:lnTo>
                      <a:pt x="433" y="32"/>
                    </a:lnTo>
                    <a:lnTo>
                      <a:pt x="435" y="33"/>
                    </a:lnTo>
                    <a:lnTo>
                      <a:pt x="435" y="37"/>
                    </a:lnTo>
                    <a:lnTo>
                      <a:pt x="433" y="39"/>
                    </a:lnTo>
                    <a:lnTo>
                      <a:pt x="431" y="33"/>
                    </a:lnTo>
                    <a:lnTo>
                      <a:pt x="429" y="37"/>
                    </a:lnTo>
                    <a:lnTo>
                      <a:pt x="429" y="37"/>
                    </a:lnTo>
                    <a:lnTo>
                      <a:pt x="429" y="37"/>
                    </a:lnTo>
                    <a:lnTo>
                      <a:pt x="429" y="37"/>
                    </a:lnTo>
                    <a:close/>
                    <a:moveTo>
                      <a:pt x="426" y="39"/>
                    </a:moveTo>
                    <a:lnTo>
                      <a:pt x="428" y="43"/>
                    </a:lnTo>
                    <a:lnTo>
                      <a:pt x="429" y="45"/>
                    </a:lnTo>
                    <a:lnTo>
                      <a:pt x="429" y="39"/>
                    </a:lnTo>
                    <a:lnTo>
                      <a:pt x="428" y="39"/>
                    </a:lnTo>
                    <a:lnTo>
                      <a:pt x="426" y="39"/>
                    </a:lnTo>
                    <a:lnTo>
                      <a:pt x="426" y="39"/>
                    </a:lnTo>
                    <a:lnTo>
                      <a:pt x="426" y="39"/>
                    </a:lnTo>
                    <a:lnTo>
                      <a:pt x="426" y="39"/>
                    </a:lnTo>
                    <a:close/>
                    <a:moveTo>
                      <a:pt x="409" y="39"/>
                    </a:moveTo>
                    <a:lnTo>
                      <a:pt x="409" y="39"/>
                    </a:lnTo>
                    <a:lnTo>
                      <a:pt x="414" y="43"/>
                    </a:lnTo>
                    <a:lnTo>
                      <a:pt x="414" y="43"/>
                    </a:lnTo>
                    <a:lnTo>
                      <a:pt x="416" y="43"/>
                    </a:lnTo>
                    <a:lnTo>
                      <a:pt x="416" y="39"/>
                    </a:lnTo>
                    <a:lnTo>
                      <a:pt x="414" y="39"/>
                    </a:lnTo>
                    <a:lnTo>
                      <a:pt x="414" y="39"/>
                    </a:lnTo>
                    <a:lnTo>
                      <a:pt x="414" y="33"/>
                    </a:lnTo>
                    <a:lnTo>
                      <a:pt x="411" y="33"/>
                    </a:lnTo>
                    <a:lnTo>
                      <a:pt x="409" y="37"/>
                    </a:lnTo>
                    <a:lnTo>
                      <a:pt x="409" y="39"/>
                    </a:lnTo>
                    <a:lnTo>
                      <a:pt x="409" y="39"/>
                    </a:lnTo>
                    <a:lnTo>
                      <a:pt x="409" y="39"/>
                    </a:lnTo>
                    <a:lnTo>
                      <a:pt x="409" y="39"/>
                    </a:lnTo>
                    <a:close/>
                    <a:moveTo>
                      <a:pt x="397" y="73"/>
                    </a:moveTo>
                    <a:lnTo>
                      <a:pt x="397" y="73"/>
                    </a:lnTo>
                    <a:lnTo>
                      <a:pt x="401" y="73"/>
                    </a:lnTo>
                    <a:lnTo>
                      <a:pt x="401" y="69"/>
                    </a:lnTo>
                    <a:lnTo>
                      <a:pt x="399" y="67"/>
                    </a:lnTo>
                    <a:lnTo>
                      <a:pt x="397" y="64"/>
                    </a:lnTo>
                    <a:lnTo>
                      <a:pt x="396" y="60"/>
                    </a:lnTo>
                    <a:lnTo>
                      <a:pt x="394" y="60"/>
                    </a:lnTo>
                    <a:lnTo>
                      <a:pt x="394" y="64"/>
                    </a:lnTo>
                    <a:lnTo>
                      <a:pt x="396" y="67"/>
                    </a:lnTo>
                    <a:lnTo>
                      <a:pt x="396" y="69"/>
                    </a:lnTo>
                    <a:lnTo>
                      <a:pt x="397" y="73"/>
                    </a:lnTo>
                    <a:lnTo>
                      <a:pt x="397" y="73"/>
                    </a:lnTo>
                    <a:lnTo>
                      <a:pt x="397" y="73"/>
                    </a:lnTo>
                    <a:lnTo>
                      <a:pt x="397" y="73"/>
                    </a:lnTo>
                    <a:close/>
                    <a:moveTo>
                      <a:pt x="401" y="107"/>
                    </a:moveTo>
                    <a:lnTo>
                      <a:pt x="407" y="107"/>
                    </a:lnTo>
                    <a:lnTo>
                      <a:pt x="409" y="107"/>
                    </a:lnTo>
                    <a:lnTo>
                      <a:pt x="409" y="103"/>
                    </a:lnTo>
                    <a:lnTo>
                      <a:pt x="405" y="101"/>
                    </a:lnTo>
                    <a:lnTo>
                      <a:pt x="405" y="97"/>
                    </a:lnTo>
                    <a:lnTo>
                      <a:pt x="403" y="97"/>
                    </a:lnTo>
                    <a:lnTo>
                      <a:pt x="399" y="97"/>
                    </a:lnTo>
                    <a:lnTo>
                      <a:pt x="397" y="103"/>
                    </a:lnTo>
                    <a:lnTo>
                      <a:pt x="397" y="103"/>
                    </a:lnTo>
                    <a:lnTo>
                      <a:pt x="401" y="107"/>
                    </a:lnTo>
                    <a:lnTo>
                      <a:pt x="401" y="107"/>
                    </a:lnTo>
                    <a:lnTo>
                      <a:pt x="401" y="107"/>
                    </a:lnTo>
                    <a:lnTo>
                      <a:pt x="401" y="107"/>
                    </a:lnTo>
                    <a:lnTo>
                      <a:pt x="401" y="107"/>
                    </a:lnTo>
                    <a:close/>
                    <a:moveTo>
                      <a:pt x="401" y="113"/>
                    </a:moveTo>
                    <a:lnTo>
                      <a:pt x="401" y="116"/>
                    </a:lnTo>
                    <a:lnTo>
                      <a:pt x="403" y="118"/>
                    </a:lnTo>
                    <a:lnTo>
                      <a:pt x="401" y="122"/>
                    </a:lnTo>
                    <a:lnTo>
                      <a:pt x="407" y="126"/>
                    </a:lnTo>
                    <a:lnTo>
                      <a:pt x="411" y="124"/>
                    </a:lnTo>
                    <a:lnTo>
                      <a:pt x="409" y="114"/>
                    </a:lnTo>
                    <a:lnTo>
                      <a:pt x="407" y="113"/>
                    </a:lnTo>
                    <a:lnTo>
                      <a:pt x="405" y="111"/>
                    </a:lnTo>
                    <a:lnTo>
                      <a:pt x="401" y="113"/>
                    </a:lnTo>
                    <a:lnTo>
                      <a:pt x="401" y="113"/>
                    </a:lnTo>
                    <a:lnTo>
                      <a:pt x="401" y="113"/>
                    </a:lnTo>
                    <a:lnTo>
                      <a:pt x="401" y="113"/>
                    </a:lnTo>
                    <a:close/>
                    <a:moveTo>
                      <a:pt x="350" y="77"/>
                    </a:moveTo>
                    <a:lnTo>
                      <a:pt x="352" y="77"/>
                    </a:lnTo>
                    <a:lnTo>
                      <a:pt x="350" y="73"/>
                    </a:lnTo>
                    <a:lnTo>
                      <a:pt x="350" y="73"/>
                    </a:lnTo>
                    <a:lnTo>
                      <a:pt x="350" y="69"/>
                    </a:lnTo>
                    <a:lnTo>
                      <a:pt x="348" y="69"/>
                    </a:lnTo>
                    <a:lnTo>
                      <a:pt x="348" y="73"/>
                    </a:lnTo>
                    <a:lnTo>
                      <a:pt x="350" y="77"/>
                    </a:lnTo>
                    <a:lnTo>
                      <a:pt x="350" y="77"/>
                    </a:lnTo>
                    <a:lnTo>
                      <a:pt x="350" y="77"/>
                    </a:lnTo>
                    <a:lnTo>
                      <a:pt x="350" y="77"/>
                    </a:lnTo>
                    <a:close/>
                    <a:moveTo>
                      <a:pt x="343" y="101"/>
                    </a:moveTo>
                    <a:lnTo>
                      <a:pt x="345" y="103"/>
                    </a:lnTo>
                    <a:lnTo>
                      <a:pt x="347" y="97"/>
                    </a:lnTo>
                    <a:lnTo>
                      <a:pt x="345" y="94"/>
                    </a:lnTo>
                    <a:lnTo>
                      <a:pt x="341" y="88"/>
                    </a:lnTo>
                    <a:lnTo>
                      <a:pt x="341" y="82"/>
                    </a:lnTo>
                    <a:lnTo>
                      <a:pt x="343" y="77"/>
                    </a:lnTo>
                    <a:lnTo>
                      <a:pt x="343" y="73"/>
                    </a:lnTo>
                    <a:lnTo>
                      <a:pt x="341" y="69"/>
                    </a:lnTo>
                    <a:lnTo>
                      <a:pt x="341" y="62"/>
                    </a:lnTo>
                    <a:lnTo>
                      <a:pt x="341" y="60"/>
                    </a:lnTo>
                    <a:lnTo>
                      <a:pt x="335" y="64"/>
                    </a:lnTo>
                    <a:lnTo>
                      <a:pt x="335" y="73"/>
                    </a:lnTo>
                    <a:lnTo>
                      <a:pt x="335" y="77"/>
                    </a:lnTo>
                    <a:lnTo>
                      <a:pt x="335" y="81"/>
                    </a:lnTo>
                    <a:lnTo>
                      <a:pt x="341" y="88"/>
                    </a:lnTo>
                    <a:lnTo>
                      <a:pt x="341" y="94"/>
                    </a:lnTo>
                    <a:lnTo>
                      <a:pt x="343" y="101"/>
                    </a:lnTo>
                    <a:lnTo>
                      <a:pt x="343" y="101"/>
                    </a:lnTo>
                    <a:lnTo>
                      <a:pt x="343" y="101"/>
                    </a:lnTo>
                    <a:lnTo>
                      <a:pt x="343" y="101"/>
                    </a:lnTo>
                    <a:close/>
                    <a:moveTo>
                      <a:pt x="145" y="131"/>
                    </a:moveTo>
                    <a:lnTo>
                      <a:pt x="147" y="133"/>
                    </a:lnTo>
                    <a:lnTo>
                      <a:pt x="147" y="133"/>
                    </a:lnTo>
                    <a:lnTo>
                      <a:pt x="151" y="137"/>
                    </a:lnTo>
                    <a:lnTo>
                      <a:pt x="151" y="133"/>
                    </a:lnTo>
                    <a:lnTo>
                      <a:pt x="149" y="131"/>
                    </a:lnTo>
                    <a:lnTo>
                      <a:pt x="145" y="131"/>
                    </a:lnTo>
                    <a:lnTo>
                      <a:pt x="145" y="131"/>
                    </a:lnTo>
                    <a:lnTo>
                      <a:pt x="145" y="131"/>
                    </a:lnTo>
                    <a:lnTo>
                      <a:pt x="145" y="131"/>
                    </a:lnTo>
                    <a:close/>
                    <a:moveTo>
                      <a:pt x="19" y="291"/>
                    </a:moveTo>
                    <a:lnTo>
                      <a:pt x="23" y="295"/>
                    </a:lnTo>
                    <a:lnTo>
                      <a:pt x="27" y="295"/>
                    </a:lnTo>
                    <a:lnTo>
                      <a:pt x="28" y="297"/>
                    </a:lnTo>
                    <a:lnTo>
                      <a:pt x="32" y="297"/>
                    </a:lnTo>
                    <a:lnTo>
                      <a:pt x="30" y="295"/>
                    </a:lnTo>
                    <a:lnTo>
                      <a:pt x="28" y="295"/>
                    </a:lnTo>
                    <a:lnTo>
                      <a:pt x="25" y="290"/>
                    </a:lnTo>
                    <a:lnTo>
                      <a:pt x="23" y="290"/>
                    </a:lnTo>
                    <a:lnTo>
                      <a:pt x="19" y="290"/>
                    </a:lnTo>
                    <a:lnTo>
                      <a:pt x="19" y="291"/>
                    </a:lnTo>
                    <a:lnTo>
                      <a:pt x="19" y="291"/>
                    </a:lnTo>
                    <a:lnTo>
                      <a:pt x="19" y="291"/>
                    </a:lnTo>
                    <a:lnTo>
                      <a:pt x="19" y="291"/>
                    </a:lnTo>
                    <a:close/>
                    <a:moveTo>
                      <a:pt x="0" y="291"/>
                    </a:moveTo>
                    <a:lnTo>
                      <a:pt x="4" y="297"/>
                    </a:lnTo>
                    <a:lnTo>
                      <a:pt x="10" y="297"/>
                    </a:lnTo>
                    <a:lnTo>
                      <a:pt x="13" y="299"/>
                    </a:lnTo>
                    <a:lnTo>
                      <a:pt x="17" y="295"/>
                    </a:lnTo>
                    <a:lnTo>
                      <a:pt x="13" y="291"/>
                    </a:lnTo>
                    <a:lnTo>
                      <a:pt x="8" y="290"/>
                    </a:lnTo>
                    <a:lnTo>
                      <a:pt x="2" y="290"/>
                    </a:lnTo>
                    <a:lnTo>
                      <a:pt x="0" y="291"/>
                    </a:lnTo>
                    <a:lnTo>
                      <a:pt x="0" y="291"/>
                    </a:lnTo>
                    <a:lnTo>
                      <a:pt x="0" y="291"/>
                    </a:lnTo>
                    <a:lnTo>
                      <a:pt x="0" y="291"/>
                    </a:lnTo>
                    <a:close/>
                    <a:moveTo>
                      <a:pt x="141" y="446"/>
                    </a:moveTo>
                    <a:lnTo>
                      <a:pt x="141" y="448"/>
                    </a:lnTo>
                    <a:lnTo>
                      <a:pt x="141" y="450"/>
                    </a:lnTo>
                    <a:lnTo>
                      <a:pt x="145" y="448"/>
                    </a:lnTo>
                    <a:lnTo>
                      <a:pt x="141" y="446"/>
                    </a:lnTo>
                    <a:lnTo>
                      <a:pt x="141" y="446"/>
                    </a:lnTo>
                    <a:lnTo>
                      <a:pt x="141" y="446"/>
                    </a:lnTo>
                    <a:lnTo>
                      <a:pt x="141" y="446"/>
                    </a:lnTo>
                    <a:lnTo>
                      <a:pt x="141" y="446"/>
                    </a:lnTo>
                    <a:close/>
                    <a:moveTo>
                      <a:pt x="141" y="463"/>
                    </a:moveTo>
                    <a:lnTo>
                      <a:pt x="145" y="465"/>
                    </a:lnTo>
                    <a:lnTo>
                      <a:pt x="147" y="465"/>
                    </a:lnTo>
                    <a:lnTo>
                      <a:pt x="155" y="465"/>
                    </a:lnTo>
                    <a:lnTo>
                      <a:pt x="155" y="465"/>
                    </a:lnTo>
                    <a:lnTo>
                      <a:pt x="156" y="465"/>
                    </a:lnTo>
                    <a:lnTo>
                      <a:pt x="156" y="465"/>
                    </a:lnTo>
                    <a:lnTo>
                      <a:pt x="155" y="463"/>
                    </a:lnTo>
                    <a:lnTo>
                      <a:pt x="151" y="461"/>
                    </a:lnTo>
                    <a:lnTo>
                      <a:pt x="149" y="463"/>
                    </a:lnTo>
                    <a:lnTo>
                      <a:pt x="147" y="459"/>
                    </a:lnTo>
                    <a:lnTo>
                      <a:pt x="141" y="459"/>
                    </a:lnTo>
                    <a:lnTo>
                      <a:pt x="141" y="461"/>
                    </a:lnTo>
                    <a:lnTo>
                      <a:pt x="141" y="463"/>
                    </a:lnTo>
                    <a:lnTo>
                      <a:pt x="141" y="463"/>
                    </a:lnTo>
                    <a:lnTo>
                      <a:pt x="141" y="463"/>
                    </a:lnTo>
                    <a:lnTo>
                      <a:pt x="141" y="463"/>
                    </a:lnTo>
                    <a:close/>
                    <a:moveTo>
                      <a:pt x="147" y="469"/>
                    </a:moveTo>
                    <a:lnTo>
                      <a:pt x="149" y="469"/>
                    </a:lnTo>
                    <a:lnTo>
                      <a:pt x="151" y="469"/>
                    </a:lnTo>
                    <a:lnTo>
                      <a:pt x="149" y="469"/>
                    </a:lnTo>
                    <a:lnTo>
                      <a:pt x="147" y="469"/>
                    </a:lnTo>
                    <a:lnTo>
                      <a:pt x="147" y="469"/>
                    </a:lnTo>
                    <a:lnTo>
                      <a:pt x="147" y="469"/>
                    </a:lnTo>
                    <a:lnTo>
                      <a:pt x="147" y="469"/>
                    </a:lnTo>
                    <a:close/>
                    <a:moveTo>
                      <a:pt x="149" y="493"/>
                    </a:moveTo>
                    <a:lnTo>
                      <a:pt x="151" y="495"/>
                    </a:lnTo>
                    <a:lnTo>
                      <a:pt x="151" y="495"/>
                    </a:lnTo>
                    <a:lnTo>
                      <a:pt x="155" y="497"/>
                    </a:lnTo>
                    <a:lnTo>
                      <a:pt x="155" y="495"/>
                    </a:lnTo>
                    <a:lnTo>
                      <a:pt x="155" y="493"/>
                    </a:lnTo>
                    <a:lnTo>
                      <a:pt x="151" y="491"/>
                    </a:lnTo>
                    <a:lnTo>
                      <a:pt x="149" y="491"/>
                    </a:lnTo>
                    <a:lnTo>
                      <a:pt x="149" y="493"/>
                    </a:lnTo>
                    <a:lnTo>
                      <a:pt x="149" y="493"/>
                    </a:lnTo>
                    <a:lnTo>
                      <a:pt x="149" y="493"/>
                    </a:lnTo>
                    <a:lnTo>
                      <a:pt x="149" y="493"/>
                    </a:lnTo>
                    <a:close/>
                    <a:moveTo>
                      <a:pt x="145" y="502"/>
                    </a:moveTo>
                    <a:lnTo>
                      <a:pt x="145" y="504"/>
                    </a:lnTo>
                    <a:lnTo>
                      <a:pt x="149" y="504"/>
                    </a:lnTo>
                    <a:lnTo>
                      <a:pt x="151" y="502"/>
                    </a:lnTo>
                    <a:lnTo>
                      <a:pt x="147" y="499"/>
                    </a:lnTo>
                    <a:lnTo>
                      <a:pt x="145" y="499"/>
                    </a:lnTo>
                    <a:lnTo>
                      <a:pt x="145" y="502"/>
                    </a:lnTo>
                    <a:lnTo>
                      <a:pt x="145" y="502"/>
                    </a:lnTo>
                    <a:lnTo>
                      <a:pt x="145" y="502"/>
                    </a:lnTo>
                    <a:lnTo>
                      <a:pt x="145" y="502"/>
                    </a:lnTo>
                    <a:close/>
                    <a:moveTo>
                      <a:pt x="151" y="516"/>
                    </a:moveTo>
                    <a:lnTo>
                      <a:pt x="151" y="516"/>
                    </a:lnTo>
                    <a:lnTo>
                      <a:pt x="151" y="514"/>
                    </a:lnTo>
                    <a:lnTo>
                      <a:pt x="151" y="512"/>
                    </a:lnTo>
                    <a:lnTo>
                      <a:pt x="151" y="510"/>
                    </a:lnTo>
                    <a:lnTo>
                      <a:pt x="151" y="512"/>
                    </a:lnTo>
                    <a:lnTo>
                      <a:pt x="151" y="516"/>
                    </a:lnTo>
                    <a:lnTo>
                      <a:pt x="151" y="516"/>
                    </a:lnTo>
                    <a:lnTo>
                      <a:pt x="151" y="516"/>
                    </a:lnTo>
                    <a:lnTo>
                      <a:pt x="151" y="516"/>
                    </a:lnTo>
                    <a:close/>
                    <a:moveTo>
                      <a:pt x="155" y="519"/>
                    </a:moveTo>
                    <a:lnTo>
                      <a:pt x="155" y="521"/>
                    </a:lnTo>
                    <a:lnTo>
                      <a:pt x="155" y="521"/>
                    </a:lnTo>
                    <a:lnTo>
                      <a:pt x="155" y="519"/>
                    </a:lnTo>
                    <a:lnTo>
                      <a:pt x="155" y="519"/>
                    </a:lnTo>
                    <a:lnTo>
                      <a:pt x="155" y="519"/>
                    </a:lnTo>
                    <a:lnTo>
                      <a:pt x="155" y="519"/>
                    </a:lnTo>
                    <a:lnTo>
                      <a:pt x="155" y="519"/>
                    </a:lnTo>
                    <a:close/>
                    <a:moveTo>
                      <a:pt x="141" y="523"/>
                    </a:moveTo>
                    <a:lnTo>
                      <a:pt x="145" y="521"/>
                    </a:lnTo>
                    <a:lnTo>
                      <a:pt x="145" y="519"/>
                    </a:lnTo>
                    <a:lnTo>
                      <a:pt x="141" y="521"/>
                    </a:lnTo>
                    <a:lnTo>
                      <a:pt x="141" y="523"/>
                    </a:lnTo>
                    <a:lnTo>
                      <a:pt x="141" y="523"/>
                    </a:lnTo>
                    <a:lnTo>
                      <a:pt x="141" y="523"/>
                    </a:lnTo>
                    <a:lnTo>
                      <a:pt x="141" y="523"/>
                    </a:lnTo>
                    <a:close/>
                    <a:moveTo>
                      <a:pt x="149" y="521"/>
                    </a:moveTo>
                    <a:lnTo>
                      <a:pt x="151" y="521"/>
                    </a:lnTo>
                    <a:lnTo>
                      <a:pt x="151" y="521"/>
                    </a:lnTo>
                    <a:lnTo>
                      <a:pt x="151" y="519"/>
                    </a:lnTo>
                    <a:lnTo>
                      <a:pt x="149" y="521"/>
                    </a:lnTo>
                    <a:lnTo>
                      <a:pt x="149" y="521"/>
                    </a:lnTo>
                    <a:lnTo>
                      <a:pt x="149" y="521"/>
                    </a:lnTo>
                    <a:lnTo>
                      <a:pt x="149" y="521"/>
                    </a:lnTo>
                    <a:close/>
                    <a:moveTo>
                      <a:pt x="147" y="527"/>
                    </a:moveTo>
                    <a:lnTo>
                      <a:pt x="149" y="525"/>
                    </a:lnTo>
                    <a:lnTo>
                      <a:pt x="151" y="525"/>
                    </a:lnTo>
                    <a:lnTo>
                      <a:pt x="149" y="525"/>
                    </a:lnTo>
                    <a:lnTo>
                      <a:pt x="147" y="527"/>
                    </a:lnTo>
                    <a:lnTo>
                      <a:pt x="147" y="527"/>
                    </a:lnTo>
                    <a:lnTo>
                      <a:pt x="147" y="527"/>
                    </a:lnTo>
                    <a:lnTo>
                      <a:pt x="147" y="527"/>
                    </a:lnTo>
                    <a:close/>
                    <a:moveTo>
                      <a:pt x="151" y="533"/>
                    </a:moveTo>
                    <a:lnTo>
                      <a:pt x="151" y="533"/>
                    </a:lnTo>
                    <a:lnTo>
                      <a:pt x="149" y="533"/>
                    </a:lnTo>
                    <a:lnTo>
                      <a:pt x="147" y="529"/>
                    </a:lnTo>
                    <a:lnTo>
                      <a:pt x="147" y="533"/>
                    </a:lnTo>
                    <a:lnTo>
                      <a:pt x="151" y="533"/>
                    </a:lnTo>
                    <a:lnTo>
                      <a:pt x="151" y="533"/>
                    </a:lnTo>
                    <a:lnTo>
                      <a:pt x="151" y="533"/>
                    </a:lnTo>
                    <a:lnTo>
                      <a:pt x="151" y="533"/>
                    </a:lnTo>
                    <a:close/>
                    <a:moveTo>
                      <a:pt x="151" y="534"/>
                    </a:moveTo>
                    <a:lnTo>
                      <a:pt x="155" y="534"/>
                    </a:lnTo>
                    <a:lnTo>
                      <a:pt x="155" y="533"/>
                    </a:lnTo>
                    <a:lnTo>
                      <a:pt x="155" y="533"/>
                    </a:lnTo>
                    <a:lnTo>
                      <a:pt x="151" y="533"/>
                    </a:lnTo>
                    <a:lnTo>
                      <a:pt x="151" y="533"/>
                    </a:lnTo>
                    <a:lnTo>
                      <a:pt x="151" y="534"/>
                    </a:lnTo>
                    <a:lnTo>
                      <a:pt x="151" y="534"/>
                    </a:lnTo>
                    <a:lnTo>
                      <a:pt x="151" y="534"/>
                    </a:lnTo>
                    <a:lnTo>
                      <a:pt x="151" y="534"/>
                    </a:lnTo>
                    <a:close/>
                    <a:moveTo>
                      <a:pt x="141" y="544"/>
                    </a:moveTo>
                    <a:lnTo>
                      <a:pt x="145" y="542"/>
                    </a:lnTo>
                    <a:lnTo>
                      <a:pt x="145" y="542"/>
                    </a:lnTo>
                    <a:lnTo>
                      <a:pt x="145" y="542"/>
                    </a:lnTo>
                    <a:lnTo>
                      <a:pt x="141" y="542"/>
                    </a:lnTo>
                    <a:lnTo>
                      <a:pt x="140" y="544"/>
                    </a:lnTo>
                    <a:lnTo>
                      <a:pt x="141" y="544"/>
                    </a:lnTo>
                    <a:lnTo>
                      <a:pt x="141" y="544"/>
                    </a:lnTo>
                    <a:lnTo>
                      <a:pt x="141" y="544"/>
                    </a:lnTo>
                    <a:lnTo>
                      <a:pt x="141" y="544"/>
                    </a:lnTo>
                    <a:close/>
                    <a:moveTo>
                      <a:pt x="147" y="551"/>
                    </a:moveTo>
                    <a:lnTo>
                      <a:pt x="155" y="546"/>
                    </a:lnTo>
                    <a:lnTo>
                      <a:pt x="155" y="542"/>
                    </a:lnTo>
                    <a:lnTo>
                      <a:pt x="155" y="540"/>
                    </a:lnTo>
                    <a:lnTo>
                      <a:pt x="155" y="540"/>
                    </a:lnTo>
                    <a:lnTo>
                      <a:pt x="151" y="544"/>
                    </a:lnTo>
                    <a:lnTo>
                      <a:pt x="147" y="544"/>
                    </a:lnTo>
                    <a:lnTo>
                      <a:pt x="147" y="546"/>
                    </a:lnTo>
                    <a:lnTo>
                      <a:pt x="145" y="548"/>
                    </a:lnTo>
                    <a:lnTo>
                      <a:pt x="145" y="550"/>
                    </a:lnTo>
                    <a:lnTo>
                      <a:pt x="145" y="551"/>
                    </a:lnTo>
                    <a:lnTo>
                      <a:pt x="147" y="551"/>
                    </a:lnTo>
                    <a:lnTo>
                      <a:pt x="147" y="551"/>
                    </a:lnTo>
                    <a:lnTo>
                      <a:pt x="147" y="551"/>
                    </a:lnTo>
                    <a:lnTo>
                      <a:pt x="147" y="551"/>
                    </a:lnTo>
                    <a:lnTo>
                      <a:pt x="147" y="551"/>
                    </a:lnTo>
                    <a:close/>
                    <a:moveTo>
                      <a:pt x="155" y="550"/>
                    </a:moveTo>
                    <a:lnTo>
                      <a:pt x="155" y="550"/>
                    </a:lnTo>
                    <a:lnTo>
                      <a:pt x="155" y="548"/>
                    </a:lnTo>
                    <a:lnTo>
                      <a:pt x="155" y="548"/>
                    </a:lnTo>
                    <a:lnTo>
                      <a:pt x="155" y="550"/>
                    </a:lnTo>
                    <a:lnTo>
                      <a:pt x="155" y="550"/>
                    </a:lnTo>
                    <a:lnTo>
                      <a:pt x="155" y="550"/>
                    </a:lnTo>
                    <a:lnTo>
                      <a:pt x="155" y="550"/>
                    </a:lnTo>
                    <a:close/>
                    <a:moveTo>
                      <a:pt x="151" y="553"/>
                    </a:moveTo>
                    <a:lnTo>
                      <a:pt x="151" y="553"/>
                    </a:lnTo>
                    <a:lnTo>
                      <a:pt x="151" y="551"/>
                    </a:lnTo>
                    <a:lnTo>
                      <a:pt x="151" y="551"/>
                    </a:lnTo>
                    <a:lnTo>
                      <a:pt x="151" y="553"/>
                    </a:lnTo>
                    <a:lnTo>
                      <a:pt x="151" y="553"/>
                    </a:lnTo>
                    <a:lnTo>
                      <a:pt x="151" y="553"/>
                    </a:lnTo>
                    <a:lnTo>
                      <a:pt x="151" y="553"/>
                    </a:lnTo>
                    <a:close/>
                    <a:moveTo>
                      <a:pt x="145" y="555"/>
                    </a:moveTo>
                    <a:lnTo>
                      <a:pt x="147" y="553"/>
                    </a:lnTo>
                    <a:lnTo>
                      <a:pt x="145" y="553"/>
                    </a:lnTo>
                    <a:lnTo>
                      <a:pt x="145" y="553"/>
                    </a:lnTo>
                    <a:lnTo>
                      <a:pt x="145" y="555"/>
                    </a:lnTo>
                    <a:lnTo>
                      <a:pt x="145" y="555"/>
                    </a:lnTo>
                    <a:lnTo>
                      <a:pt x="145" y="555"/>
                    </a:lnTo>
                    <a:lnTo>
                      <a:pt x="145" y="555"/>
                    </a:lnTo>
                    <a:lnTo>
                      <a:pt x="145" y="555"/>
                    </a:lnTo>
                    <a:close/>
                    <a:moveTo>
                      <a:pt x="140" y="568"/>
                    </a:moveTo>
                    <a:lnTo>
                      <a:pt x="140" y="572"/>
                    </a:lnTo>
                    <a:lnTo>
                      <a:pt x="141" y="572"/>
                    </a:lnTo>
                    <a:lnTo>
                      <a:pt x="145" y="568"/>
                    </a:lnTo>
                    <a:lnTo>
                      <a:pt x="149" y="567"/>
                    </a:lnTo>
                    <a:lnTo>
                      <a:pt x="149" y="563"/>
                    </a:lnTo>
                    <a:lnTo>
                      <a:pt x="147" y="563"/>
                    </a:lnTo>
                    <a:lnTo>
                      <a:pt x="145" y="563"/>
                    </a:lnTo>
                    <a:lnTo>
                      <a:pt x="141" y="563"/>
                    </a:lnTo>
                    <a:lnTo>
                      <a:pt x="141" y="568"/>
                    </a:lnTo>
                    <a:lnTo>
                      <a:pt x="141" y="568"/>
                    </a:lnTo>
                    <a:lnTo>
                      <a:pt x="140" y="568"/>
                    </a:lnTo>
                    <a:lnTo>
                      <a:pt x="140" y="568"/>
                    </a:lnTo>
                    <a:lnTo>
                      <a:pt x="140" y="568"/>
                    </a:lnTo>
                    <a:lnTo>
                      <a:pt x="140" y="568"/>
                    </a:lnTo>
                    <a:close/>
                    <a:moveTo>
                      <a:pt x="136" y="578"/>
                    </a:moveTo>
                    <a:lnTo>
                      <a:pt x="138" y="582"/>
                    </a:lnTo>
                    <a:lnTo>
                      <a:pt x="140" y="582"/>
                    </a:lnTo>
                    <a:lnTo>
                      <a:pt x="141" y="580"/>
                    </a:lnTo>
                    <a:lnTo>
                      <a:pt x="138" y="578"/>
                    </a:lnTo>
                    <a:lnTo>
                      <a:pt x="136" y="578"/>
                    </a:lnTo>
                    <a:lnTo>
                      <a:pt x="136" y="578"/>
                    </a:lnTo>
                    <a:lnTo>
                      <a:pt x="136" y="578"/>
                    </a:lnTo>
                    <a:lnTo>
                      <a:pt x="136" y="578"/>
                    </a:lnTo>
                    <a:close/>
                    <a:moveTo>
                      <a:pt x="217" y="1007"/>
                    </a:moveTo>
                    <a:lnTo>
                      <a:pt x="220" y="1005"/>
                    </a:lnTo>
                    <a:lnTo>
                      <a:pt x="222" y="1004"/>
                    </a:lnTo>
                    <a:lnTo>
                      <a:pt x="224" y="1005"/>
                    </a:lnTo>
                    <a:lnTo>
                      <a:pt x="222" y="1007"/>
                    </a:lnTo>
                    <a:lnTo>
                      <a:pt x="220" y="1007"/>
                    </a:lnTo>
                    <a:lnTo>
                      <a:pt x="219" y="1009"/>
                    </a:lnTo>
                    <a:lnTo>
                      <a:pt x="217" y="1007"/>
                    </a:lnTo>
                    <a:lnTo>
                      <a:pt x="217" y="1007"/>
                    </a:lnTo>
                    <a:lnTo>
                      <a:pt x="217" y="1007"/>
                    </a:lnTo>
                    <a:lnTo>
                      <a:pt x="217" y="1007"/>
                    </a:lnTo>
                    <a:close/>
                    <a:moveTo>
                      <a:pt x="198" y="998"/>
                    </a:moveTo>
                    <a:lnTo>
                      <a:pt x="200" y="998"/>
                    </a:lnTo>
                    <a:lnTo>
                      <a:pt x="200" y="994"/>
                    </a:lnTo>
                    <a:lnTo>
                      <a:pt x="200" y="994"/>
                    </a:lnTo>
                    <a:lnTo>
                      <a:pt x="200" y="990"/>
                    </a:lnTo>
                    <a:lnTo>
                      <a:pt x="200" y="990"/>
                    </a:lnTo>
                    <a:lnTo>
                      <a:pt x="200" y="992"/>
                    </a:lnTo>
                    <a:lnTo>
                      <a:pt x="198" y="994"/>
                    </a:lnTo>
                    <a:lnTo>
                      <a:pt x="198" y="998"/>
                    </a:lnTo>
                    <a:lnTo>
                      <a:pt x="198" y="998"/>
                    </a:lnTo>
                    <a:lnTo>
                      <a:pt x="198" y="998"/>
                    </a:lnTo>
                    <a:lnTo>
                      <a:pt x="198" y="998"/>
                    </a:lnTo>
                    <a:close/>
                    <a:moveTo>
                      <a:pt x="183" y="973"/>
                    </a:moveTo>
                    <a:lnTo>
                      <a:pt x="185" y="973"/>
                    </a:lnTo>
                    <a:lnTo>
                      <a:pt x="187" y="973"/>
                    </a:lnTo>
                    <a:lnTo>
                      <a:pt x="188" y="973"/>
                    </a:lnTo>
                    <a:lnTo>
                      <a:pt x="188" y="970"/>
                    </a:lnTo>
                    <a:lnTo>
                      <a:pt x="187" y="970"/>
                    </a:lnTo>
                    <a:lnTo>
                      <a:pt x="183" y="973"/>
                    </a:lnTo>
                    <a:lnTo>
                      <a:pt x="183" y="973"/>
                    </a:lnTo>
                    <a:lnTo>
                      <a:pt x="183" y="973"/>
                    </a:lnTo>
                    <a:lnTo>
                      <a:pt x="183" y="973"/>
                    </a:lnTo>
                    <a:close/>
                    <a:moveTo>
                      <a:pt x="175" y="973"/>
                    </a:moveTo>
                    <a:lnTo>
                      <a:pt x="179" y="973"/>
                    </a:lnTo>
                    <a:lnTo>
                      <a:pt x="179" y="973"/>
                    </a:lnTo>
                    <a:lnTo>
                      <a:pt x="179" y="973"/>
                    </a:lnTo>
                    <a:lnTo>
                      <a:pt x="179" y="970"/>
                    </a:lnTo>
                    <a:lnTo>
                      <a:pt x="175" y="973"/>
                    </a:lnTo>
                    <a:lnTo>
                      <a:pt x="175" y="973"/>
                    </a:lnTo>
                    <a:lnTo>
                      <a:pt x="175" y="973"/>
                    </a:lnTo>
                    <a:lnTo>
                      <a:pt x="175" y="973"/>
                    </a:lnTo>
                    <a:close/>
                    <a:moveTo>
                      <a:pt x="156" y="973"/>
                    </a:moveTo>
                    <a:lnTo>
                      <a:pt x="156" y="973"/>
                    </a:lnTo>
                    <a:lnTo>
                      <a:pt x="158" y="975"/>
                    </a:lnTo>
                    <a:lnTo>
                      <a:pt x="160" y="977"/>
                    </a:lnTo>
                    <a:lnTo>
                      <a:pt x="162" y="975"/>
                    </a:lnTo>
                    <a:lnTo>
                      <a:pt x="160" y="973"/>
                    </a:lnTo>
                    <a:lnTo>
                      <a:pt x="158" y="973"/>
                    </a:lnTo>
                    <a:lnTo>
                      <a:pt x="156" y="973"/>
                    </a:lnTo>
                    <a:lnTo>
                      <a:pt x="156" y="973"/>
                    </a:lnTo>
                    <a:lnTo>
                      <a:pt x="156" y="973"/>
                    </a:lnTo>
                    <a:lnTo>
                      <a:pt x="156" y="973"/>
                    </a:lnTo>
                    <a:close/>
                    <a:moveTo>
                      <a:pt x="132" y="860"/>
                    </a:moveTo>
                    <a:lnTo>
                      <a:pt x="132" y="860"/>
                    </a:lnTo>
                    <a:lnTo>
                      <a:pt x="136" y="857"/>
                    </a:lnTo>
                    <a:lnTo>
                      <a:pt x="140" y="853"/>
                    </a:lnTo>
                    <a:lnTo>
                      <a:pt x="138" y="853"/>
                    </a:lnTo>
                    <a:lnTo>
                      <a:pt x="136" y="857"/>
                    </a:lnTo>
                    <a:lnTo>
                      <a:pt x="132" y="860"/>
                    </a:lnTo>
                    <a:lnTo>
                      <a:pt x="132" y="860"/>
                    </a:lnTo>
                    <a:lnTo>
                      <a:pt x="132" y="860"/>
                    </a:lnTo>
                    <a:lnTo>
                      <a:pt x="132" y="860"/>
                    </a:lnTo>
                    <a:close/>
                    <a:moveTo>
                      <a:pt x="132" y="855"/>
                    </a:moveTo>
                    <a:lnTo>
                      <a:pt x="132" y="855"/>
                    </a:lnTo>
                    <a:lnTo>
                      <a:pt x="132" y="857"/>
                    </a:lnTo>
                    <a:lnTo>
                      <a:pt x="132" y="857"/>
                    </a:lnTo>
                    <a:lnTo>
                      <a:pt x="134" y="855"/>
                    </a:lnTo>
                    <a:lnTo>
                      <a:pt x="136" y="853"/>
                    </a:lnTo>
                    <a:lnTo>
                      <a:pt x="134" y="853"/>
                    </a:lnTo>
                    <a:lnTo>
                      <a:pt x="132" y="855"/>
                    </a:lnTo>
                    <a:lnTo>
                      <a:pt x="132" y="855"/>
                    </a:lnTo>
                    <a:lnTo>
                      <a:pt x="132" y="855"/>
                    </a:lnTo>
                    <a:lnTo>
                      <a:pt x="132" y="855"/>
                    </a:lnTo>
                    <a:close/>
                    <a:moveTo>
                      <a:pt x="117" y="817"/>
                    </a:moveTo>
                    <a:lnTo>
                      <a:pt x="115" y="819"/>
                    </a:lnTo>
                    <a:lnTo>
                      <a:pt x="117" y="819"/>
                    </a:lnTo>
                    <a:lnTo>
                      <a:pt x="117" y="819"/>
                    </a:lnTo>
                    <a:lnTo>
                      <a:pt x="117" y="817"/>
                    </a:lnTo>
                    <a:lnTo>
                      <a:pt x="117" y="817"/>
                    </a:lnTo>
                    <a:lnTo>
                      <a:pt x="117" y="817"/>
                    </a:lnTo>
                    <a:lnTo>
                      <a:pt x="117" y="817"/>
                    </a:lnTo>
                    <a:lnTo>
                      <a:pt x="117" y="817"/>
                    </a:lnTo>
                    <a:lnTo>
                      <a:pt x="117" y="817"/>
                    </a:lnTo>
                    <a:close/>
                    <a:moveTo>
                      <a:pt x="115" y="811"/>
                    </a:moveTo>
                    <a:lnTo>
                      <a:pt x="115" y="815"/>
                    </a:lnTo>
                    <a:lnTo>
                      <a:pt x="117" y="815"/>
                    </a:lnTo>
                    <a:lnTo>
                      <a:pt x="117" y="811"/>
                    </a:lnTo>
                    <a:lnTo>
                      <a:pt x="117" y="811"/>
                    </a:lnTo>
                    <a:lnTo>
                      <a:pt x="115" y="811"/>
                    </a:lnTo>
                    <a:lnTo>
                      <a:pt x="115" y="811"/>
                    </a:lnTo>
                    <a:lnTo>
                      <a:pt x="115" y="811"/>
                    </a:lnTo>
                    <a:lnTo>
                      <a:pt x="115" y="811"/>
                    </a:lnTo>
                    <a:close/>
                    <a:moveTo>
                      <a:pt x="117" y="777"/>
                    </a:moveTo>
                    <a:lnTo>
                      <a:pt x="121" y="779"/>
                    </a:lnTo>
                    <a:lnTo>
                      <a:pt x="123" y="777"/>
                    </a:lnTo>
                    <a:lnTo>
                      <a:pt x="121" y="776"/>
                    </a:lnTo>
                    <a:lnTo>
                      <a:pt x="117" y="777"/>
                    </a:lnTo>
                    <a:lnTo>
                      <a:pt x="117" y="777"/>
                    </a:lnTo>
                    <a:lnTo>
                      <a:pt x="117" y="777"/>
                    </a:lnTo>
                    <a:lnTo>
                      <a:pt x="117" y="777"/>
                    </a:lnTo>
                    <a:close/>
                    <a:moveTo>
                      <a:pt x="117" y="772"/>
                    </a:moveTo>
                    <a:lnTo>
                      <a:pt x="121" y="772"/>
                    </a:lnTo>
                    <a:lnTo>
                      <a:pt x="123" y="772"/>
                    </a:lnTo>
                    <a:lnTo>
                      <a:pt x="126" y="772"/>
                    </a:lnTo>
                    <a:lnTo>
                      <a:pt x="123" y="772"/>
                    </a:lnTo>
                    <a:lnTo>
                      <a:pt x="117" y="772"/>
                    </a:lnTo>
                    <a:lnTo>
                      <a:pt x="117" y="772"/>
                    </a:lnTo>
                    <a:lnTo>
                      <a:pt x="117" y="772"/>
                    </a:lnTo>
                    <a:lnTo>
                      <a:pt x="117" y="772"/>
                    </a:lnTo>
                    <a:lnTo>
                      <a:pt x="117" y="772"/>
                    </a:lnTo>
                    <a:close/>
                    <a:moveTo>
                      <a:pt x="111" y="772"/>
                    </a:moveTo>
                    <a:lnTo>
                      <a:pt x="113" y="772"/>
                    </a:lnTo>
                    <a:lnTo>
                      <a:pt x="115" y="772"/>
                    </a:lnTo>
                    <a:lnTo>
                      <a:pt x="113" y="772"/>
                    </a:lnTo>
                    <a:lnTo>
                      <a:pt x="113" y="772"/>
                    </a:lnTo>
                    <a:lnTo>
                      <a:pt x="111" y="772"/>
                    </a:lnTo>
                    <a:lnTo>
                      <a:pt x="111" y="772"/>
                    </a:lnTo>
                    <a:lnTo>
                      <a:pt x="111" y="772"/>
                    </a:lnTo>
                    <a:lnTo>
                      <a:pt x="111" y="772"/>
                    </a:lnTo>
                    <a:close/>
                    <a:moveTo>
                      <a:pt x="123" y="740"/>
                    </a:moveTo>
                    <a:lnTo>
                      <a:pt x="121" y="742"/>
                    </a:lnTo>
                    <a:lnTo>
                      <a:pt x="123" y="742"/>
                    </a:lnTo>
                    <a:lnTo>
                      <a:pt x="124" y="742"/>
                    </a:lnTo>
                    <a:lnTo>
                      <a:pt x="126" y="740"/>
                    </a:lnTo>
                    <a:lnTo>
                      <a:pt x="126" y="738"/>
                    </a:lnTo>
                    <a:lnTo>
                      <a:pt x="124" y="738"/>
                    </a:lnTo>
                    <a:lnTo>
                      <a:pt x="123" y="740"/>
                    </a:lnTo>
                    <a:lnTo>
                      <a:pt x="123" y="740"/>
                    </a:lnTo>
                    <a:lnTo>
                      <a:pt x="123" y="740"/>
                    </a:lnTo>
                    <a:lnTo>
                      <a:pt x="123" y="740"/>
                    </a:lnTo>
                    <a:close/>
                    <a:moveTo>
                      <a:pt x="151" y="727"/>
                    </a:moveTo>
                    <a:lnTo>
                      <a:pt x="155" y="728"/>
                    </a:lnTo>
                    <a:lnTo>
                      <a:pt x="158" y="727"/>
                    </a:lnTo>
                    <a:lnTo>
                      <a:pt x="156" y="725"/>
                    </a:lnTo>
                    <a:lnTo>
                      <a:pt x="155" y="725"/>
                    </a:lnTo>
                    <a:lnTo>
                      <a:pt x="151" y="725"/>
                    </a:lnTo>
                    <a:lnTo>
                      <a:pt x="151" y="727"/>
                    </a:lnTo>
                    <a:lnTo>
                      <a:pt x="151" y="727"/>
                    </a:lnTo>
                    <a:lnTo>
                      <a:pt x="151" y="727"/>
                    </a:lnTo>
                    <a:lnTo>
                      <a:pt x="151" y="727"/>
                    </a:lnTo>
                    <a:close/>
                    <a:moveTo>
                      <a:pt x="140" y="710"/>
                    </a:moveTo>
                    <a:lnTo>
                      <a:pt x="140" y="712"/>
                    </a:lnTo>
                    <a:lnTo>
                      <a:pt x="140" y="713"/>
                    </a:lnTo>
                    <a:lnTo>
                      <a:pt x="145" y="712"/>
                    </a:lnTo>
                    <a:lnTo>
                      <a:pt x="145" y="710"/>
                    </a:lnTo>
                    <a:lnTo>
                      <a:pt x="141" y="710"/>
                    </a:lnTo>
                    <a:lnTo>
                      <a:pt x="140" y="710"/>
                    </a:lnTo>
                    <a:lnTo>
                      <a:pt x="140" y="710"/>
                    </a:lnTo>
                    <a:lnTo>
                      <a:pt x="140" y="710"/>
                    </a:lnTo>
                    <a:lnTo>
                      <a:pt x="140" y="710"/>
                    </a:lnTo>
                    <a:close/>
                    <a:moveTo>
                      <a:pt x="155" y="710"/>
                    </a:moveTo>
                    <a:lnTo>
                      <a:pt x="155" y="712"/>
                    </a:lnTo>
                    <a:lnTo>
                      <a:pt x="156" y="712"/>
                    </a:lnTo>
                    <a:lnTo>
                      <a:pt x="158" y="710"/>
                    </a:lnTo>
                    <a:lnTo>
                      <a:pt x="156" y="708"/>
                    </a:lnTo>
                    <a:lnTo>
                      <a:pt x="155" y="710"/>
                    </a:lnTo>
                    <a:lnTo>
                      <a:pt x="155" y="710"/>
                    </a:lnTo>
                    <a:lnTo>
                      <a:pt x="155" y="710"/>
                    </a:lnTo>
                    <a:lnTo>
                      <a:pt x="155" y="710"/>
                    </a:lnTo>
                    <a:close/>
                    <a:moveTo>
                      <a:pt x="145" y="706"/>
                    </a:moveTo>
                    <a:lnTo>
                      <a:pt x="151" y="708"/>
                    </a:lnTo>
                    <a:lnTo>
                      <a:pt x="151" y="708"/>
                    </a:lnTo>
                    <a:lnTo>
                      <a:pt x="155" y="706"/>
                    </a:lnTo>
                    <a:lnTo>
                      <a:pt x="151" y="706"/>
                    </a:lnTo>
                    <a:lnTo>
                      <a:pt x="149" y="704"/>
                    </a:lnTo>
                    <a:lnTo>
                      <a:pt x="145" y="706"/>
                    </a:lnTo>
                    <a:lnTo>
                      <a:pt x="145" y="706"/>
                    </a:lnTo>
                    <a:lnTo>
                      <a:pt x="145" y="706"/>
                    </a:lnTo>
                    <a:lnTo>
                      <a:pt x="145" y="706"/>
                    </a:lnTo>
                    <a:lnTo>
                      <a:pt x="145" y="706"/>
                    </a:lnTo>
                    <a:close/>
                    <a:moveTo>
                      <a:pt x="179" y="634"/>
                    </a:moveTo>
                    <a:lnTo>
                      <a:pt x="179" y="636"/>
                    </a:lnTo>
                    <a:lnTo>
                      <a:pt x="179" y="638"/>
                    </a:lnTo>
                    <a:lnTo>
                      <a:pt x="181" y="636"/>
                    </a:lnTo>
                    <a:lnTo>
                      <a:pt x="179" y="634"/>
                    </a:lnTo>
                    <a:lnTo>
                      <a:pt x="179" y="634"/>
                    </a:lnTo>
                    <a:lnTo>
                      <a:pt x="179" y="634"/>
                    </a:lnTo>
                    <a:lnTo>
                      <a:pt x="179" y="634"/>
                    </a:lnTo>
                    <a:lnTo>
                      <a:pt x="179" y="634"/>
                    </a:lnTo>
                    <a:close/>
                    <a:moveTo>
                      <a:pt x="175" y="627"/>
                    </a:moveTo>
                    <a:lnTo>
                      <a:pt x="175" y="627"/>
                    </a:lnTo>
                    <a:lnTo>
                      <a:pt x="179" y="629"/>
                    </a:lnTo>
                    <a:lnTo>
                      <a:pt x="179" y="629"/>
                    </a:lnTo>
                    <a:lnTo>
                      <a:pt x="179" y="627"/>
                    </a:lnTo>
                    <a:lnTo>
                      <a:pt x="179" y="627"/>
                    </a:lnTo>
                    <a:lnTo>
                      <a:pt x="175" y="627"/>
                    </a:lnTo>
                    <a:lnTo>
                      <a:pt x="175" y="627"/>
                    </a:lnTo>
                    <a:lnTo>
                      <a:pt x="175" y="627"/>
                    </a:lnTo>
                    <a:lnTo>
                      <a:pt x="175" y="627"/>
                    </a:lnTo>
                    <a:close/>
                    <a:moveTo>
                      <a:pt x="166" y="602"/>
                    </a:moveTo>
                    <a:lnTo>
                      <a:pt x="168" y="602"/>
                    </a:lnTo>
                    <a:lnTo>
                      <a:pt x="172" y="597"/>
                    </a:lnTo>
                    <a:lnTo>
                      <a:pt x="173" y="597"/>
                    </a:lnTo>
                    <a:lnTo>
                      <a:pt x="173" y="597"/>
                    </a:lnTo>
                    <a:lnTo>
                      <a:pt x="170" y="597"/>
                    </a:lnTo>
                    <a:lnTo>
                      <a:pt x="168" y="593"/>
                    </a:lnTo>
                    <a:lnTo>
                      <a:pt x="166" y="597"/>
                    </a:lnTo>
                    <a:lnTo>
                      <a:pt x="164" y="597"/>
                    </a:lnTo>
                    <a:lnTo>
                      <a:pt x="166" y="602"/>
                    </a:lnTo>
                    <a:lnTo>
                      <a:pt x="166" y="602"/>
                    </a:lnTo>
                    <a:lnTo>
                      <a:pt x="166" y="602"/>
                    </a:lnTo>
                    <a:lnTo>
                      <a:pt x="166" y="602"/>
                    </a:lnTo>
                    <a:close/>
                    <a:moveTo>
                      <a:pt x="166" y="615"/>
                    </a:moveTo>
                    <a:lnTo>
                      <a:pt x="168" y="615"/>
                    </a:lnTo>
                    <a:lnTo>
                      <a:pt x="170" y="615"/>
                    </a:lnTo>
                    <a:lnTo>
                      <a:pt x="173" y="612"/>
                    </a:lnTo>
                    <a:lnTo>
                      <a:pt x="173" y="608"/>
                    </a:lnTo>
                    <a:lnTo>
                      <a:pt x="170" y="606"/>
                    </a:lnTo>
                    <a:lnTo>
                      <a:pt x="166" y="608"/>
                    </a:lnTo>
                    <a:lnTo>
                      <a:pt x="166" y="615"/>
                    </a:lnTo>
                    <a:lnTo>
                      <a:pt x="166" y="615"/>
                    </a:lnTo>
                    <a:lnTo>
                      <a:pt x="166" y="615"/>
                    </a:lnTo>
                    <a:lnTo>
                      <a:pt x="166" y="615"/>
                    </a:lnTo>
                    <a:close/>
                    <a:moveTo>
                      <a:pt x="155" y="615"/>
                    </a:moveTo>
                    <a:lnTo>
                      <a:pt x="156" y="617"/>
                    </a:lnTo>
                    <a:lnTo>
                      <a:pt x="158" y="614"/>
                    </a:lnTo>
                    <a:lnTo>
                      <a:pt x="158" y="612"/>
                    </a:lnTo>
                    <a:lnTo>
                      <a:pt x="160" y="606"/>
                    </a:lnTo>
                    <a:lnTo>
                      <a:pt x="155" y="610"/>
                    </a:lnTo>
                    <a:lnTo>
                      <a:pt x="155" y="612"/>
                    </a:lnTo>
                    <a:lnTo>
                      <a:pt x="155" y="615"/>
                    </a:lnTo>
                    <a:lnTo>
                      <a:pt x="155" y="615"/>
                    </a:lnTo>
                    <a:lnTo>
                      <a:pt x="155" y="615"/>
                    </a:lnTo>
                    <a:lnTo>
                      <a:pt x="155" y="615"/>
                    </a:lnTo>
                    <a:close/>
                    <a:moveTo>
                      <a:pt x="132" y="632"/>
                    </a:moveTo>
                    <a:lnTo>
                      <a:pt x="130" y="634"/>
                    </a:lnTo>
                    <a:lnTo>
                      <a:pt x="132" y="638"/>
                    </a:lnTo>
                    <a:lnTo>
                      <a:pt x="134" y="638"/>
                    </a:lnTo>
                    <a:lnTo>
                      <a:pt x="136" y="636"/>
                    </a:lnTo>
                    <a:lnTo>
                      <a:pt x="134" y="632"/>
                    </a:lnTo>
                    <a:lnTo>
                      <a:pt x="132" y="632"/>
                    </a:lnTo>
                    <a:lnTo>
                      <a:pt x="132" y="632"/>
                    </a:lnTo>
                    <a:lnTo>
                      <a:pt x="132" y="632"/>
                    </a:lnTo>
                    <a:lnTo>
                      <a:pt x="132" y="632"/>
                    </a:lnTo>
                    <a:close/>
                    <a:moveTo>
                      <a:pt x="175" y="668"/>
                    </a:moveTo>
                    <a:lnTo>
                      <a:pt x="175" y="670"/>
                    </a:lnTo>
                    <a:lnTo>
                      <a:pt x="175" y="668"/>
                    </a:lnTo>
                    <a:lnTo>
                      <a:pt x="175" y="672"/>
                    </a:lnTo>
                    <a:lnTo>
                      <a:pt x="175" y="676"/>
                    </a:lnTo>
                    <a:lnTo>
                      <a:pt x="179" y="678"/>
                    </a:lnTo>
                    <a:lnTo>
                      <a:pt x="179" y="676"/>
                    </a:lnTo>
                    <a:lnTo>
                      <a:pt x="181" y="670"/>
                    </a:lnTo>
                    <a:lnTo>
                      <a:pt x="183" y="666"/>
                    </a:lnTo>
                    <a:lnTo>
                      <a:pt x="183" y="666"/>
                    </a:lnTo>
                    <a:lnTo>
                      <a:pt x="181" y="666"/>
                    </a:lnTo>
                    <a:lnTo>
                      <a:pt x="179" y="666"/>
                    </a:lnTo>
                    <a:lnTo>
                      <a:pt x="175" y="668"/>
                    </a:lnTo>
                    <a:lnTo>
                      <a:pt x="175" y="668"/>
                    </a:lnTo>
                    <a:lnTo>
                      <a:pt x="175" y="668"/>
                    </a:lnTo>
                    <a:lnTo>
                      <a:pt x="175" y="668"/>
                    </a:lnTo>
                    <a:close/>
                    <a:moveTo>
                      <a:pt x="130" y="681"/>
                    </a:moveTo>
                    <a:lnTo>
                      <a:pt x="134" y="683"/>
                    </a:lnTo>
                    <a:lnTo>
                      <a:pt x="140" y="683"/>
                    </a:lnTo>
                    <a:lnTo>
                      <a:pt x="140" y="685"/>
                    </a:lnTo>
                    <a:lnTo>
                      <a:pt x="141" y="687"/>
                    </a:lnTo>
                    <a:lnTo>
                      <a:pt x="145" y="685"/>
                    </a:lnTo>
                    <a:lnTo>
                      <a:pt x="155" y="683"/>
                    </a:lnTo>
                    <a:lnTo>
                      <a:pt x="160" y="683"/>
                    </a:lnTo>
                    <a:lnTo>
                      <a:pt x="168" y="678"/>
                    </a:lnTo>
                    <a:lnTo>
                      <a:pt x="166" y="672"/>
                    </a:lnTo>
                    <a:lnTo>
                      <a:pt x="164" y="666"/>
                    </a:lnTo>
                    <a:lnTo>
                      <a:pt x="160" y="666"/>
                    </a:lnTo>
                    <a:lnTo>
                      <a:pt x="156" y="666"/>
                    </a:lnTo>
                    <a:lnTo>
                      <a:pt x="155" y="657"/>
                    </a:lnTo>
                    <a:lnTo>
                      <a:pt x="151" y="651"/>
                    </a:lnTo>
                    <a:lnTo>
                      <a:pt x="145" y="649"/>
                    </a:lnTo>
                    <a:lnTo>
                      <a:pt x="141" y="646"/>
                    </a:lnTo>
                    <a:lnTo>
                      <a:pt x="136" y="644"/>
                    </a:lnTo>
                    <a:lnTo>
                      <a:pt x="132" y="642"/>
                    </a:lnTo>
                    <a:lnTo>
                      <a:pt x="132" y="646"/>
                    </a:lnTo>
                    <a:lnTo>
                      <a:pt x="126" y="649"/>
                    </a:lnTo>
                    <a:lnTo>
                      <a:pt x="126" y="653"/>
                    </a:lnTo>
                    <a:lnTo>
                      <a:pt x="132" y="657"/>
                    </a:lnTo>
                    <a:lnTo>
                      <a:pt x="134" y="661"/>
                    </a:lnTo>
                    <a:lnTo>
                      <a:pt x="130" y="657"/>
                    </a:lnTo>
                    <a:lnTo>
                      <a:pt x="126" y="657"/>
                    </a:lnTo>
                    <a:lnTo>
                      <a:pt x="126" y="661"/>
                    </a:lnTo>
                    <a:lnTo>
                      <a:pt x="126" y="663"/>
                    </a:lnTo>
                    <a:lnTo>
                      <a:pt x="130" y="666"/>
                    </a:lnTo>
                    <a:lnTo>
                      <a:pt x="126" y="668"/>
                    </a:lnTo>
                    <a:lnTo>
                      <a:pt x="126" y="668"/>
                    </a:lnTo>
                    <a:lnTo>
                      <a:pt x="126" y="672"/>
                    </a:lnTo>
                    <a:lnTo>
                      <a:pt x="136" y="674"/>
                    </a:lnTo>
                    <a:lnTo>
                      <a:pt x="138" y="676"/>
                    </a:lnTo>
                    <a:lnTo>
                      <a:pt x="140" y="678"/>
                    </a:lnTo>
                    <a:lnTo>
                      <a:pt x="147" y="674"/>
                    </a:lnTo>
                    <a:lnTo>
                      <a:pt x="141" y="678"/>
                    </a:lnTo>
                    <a:lnTo>
                      <a:pt x="140" y="678"/>
                    </a:lnTo>
                    <a:lnTo>
                      <a:pt x="134" y="678"/>
                    </a:lnTo>
                    <a:lnTo>
                      <a:pt x="132" y="678"/>
                    </a:lnTo>
                    <a:lnTo>
                      <a:pt x="130" y="681"/>
                    </a:lnTo>
                    <a:lnTo>
                      <a:pt x="130" y="681"/>
                    </a:lnTo>
                    <a:lnTo>
                      <a:pt x="130" y="6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5" name="Freeform 157"/>
              <p:cNvSpPr>
                <a:spLocks noEditPoints="1"/>
              </p:cNvSpPr>
              <p:nvPr/>
            </p:nvSpPr>
            <p:spPr bwMode="auto">
              <a:xfrm>
                <a:off x="1473" y="2723"/>
                <a:ext cx="73" cy="47"/>
              </a:xfrm>
              <a:custGeom>
                <a:avLst/>
                <a:gdLst/>
                <a:ahLst/>
                <a:cxnLst>
                  <a:cxn ang="0">
                    <a:pos x="65" y="35"/>
                  </a:cxn>
                  <a:cxn ang="0">
                    <a:pos x="67" y="35"/>
                  </a:cxn>
                  <a:cxn ang="0">
                    <a:pos x="64" y="32"/>
                  </a:cxn>
                  <a:cxn ang="0">
                    <a:pos x="64" y="32"/>
                  </a:cxn>
                  <a:cxn ang="0">
                    <a:pos x="64" y="32"/>
                  </a:cxn>
                  <a:cxn ang="0">
                    <a:pos x="9" y="5"/>
                  </a:cxn>
                  <a:cxn ang="0">
                    <a:pos x="9" y="11"/>
                  </a:cxn>
                  <a:cxn ang="0">
                    <a:pos x="3" y="17"/>
                  </a:cxn>
                  <a:cxn ang="0">
                    <a:pos x="5" y="22"/>
                  </a:cxn>
                  <a:cxn ang="0">
                    <a:pos x="5" y="26"/>
                  </a:cxn>
                  <a:cxn ang="0">
                    <a:pos x="0" y="35"/>
                  </a:cxn>
                  <a:cxn ang="0">
                    <a:pos x="5" y="41"/>
                  </a:cxn>
                  <a:cxn ang="0">
                    <a:pos x="7" y="45"/>
                  </a:cxn>
                  <a:cxn ang="0">
                    <a:pos x="9" y="47"/>
                  </a:cxn>
                  <a:cxn ang="0">
                    <a:pos x="18" y="35"/>
                  </a:cxn>
                  <a:cxn ang="0">
                    <a:pos x="18" y="32"/>
                  </a:cxn>
                  <a:cxn ang="0">
                    <a:pos x="22" y="32"/>
                  </a:cxn>
                  <a:cxn ang="0">
                    <a:pos x="28" y="32"/>
                  </a:cxn>
                  <a:cxn ang="0">
                    <a:pos x="30" y="35"/>
                  </a:cxn>
                  <a:cxn ang="0">
                    <a:pos x="39" y="30"/>
                  </a:cxn>
                  <a:cxn ang="0">
                    <a:pos x="52" y="30"/>
                  </a:cxn>
                  <a:cxn ang="0">
                    <a:pos x="58" y="30"/>
                  </a:cxn>
                  <a:cxn ang="0">
                    <a:pos x="67" y="32"/>
                  </a:cxn>
                  <a:cxn ang="0">
                    <a:pos x="71" y="30"/>
                  </a:cxn>
                  <a:cxn ang="0">
                    <a:pos x="71" y="22"/>
                  </a:cxn>
                  <a:cxn ang="0">
                    <a:pos x="60" y="18"/>
                  </a:cxn>
                  <a:cxn ang="0">
                    <a:pos x="52" y="17"/>
                  </a:cxn>
                  <a:cxn ang="0">
                    <a:pos x="43" y="11"/>
                  </a:cxn>
                  <a:cxn ang="0">
                    <a:pos x="39" y="11"/>
                  </a:cxn>
                  <a:cxn ang="0">
                    <a:pos x="54" y="13"/>
                  </a:cxn>
                  <a:cxn ang="0">
                    <a:pos x="54" y="9"/>
                  </a:cxn>
                  <a:cxn ang="0">
                    <a:pos x="49" y="9"/>
                  </a:cxn>
                  <a:cxn ang="0">
                    <a:pos x="39" y="1"/>
                  </a:cxn>
                  <a:cxn ang="0">
                    <a:pos x="37" y="1"/>
                  </a:cxn>
                  <a:cxn ang="0">
                    <a:pos x="18" y="0"/>
                  </a:cxn>
                  <a:cxn ang="0">
                    <a:pos x="9" y="0"/>
                  </a:cxn>
                  <a:cxn ang="0">
                    <a:pos x="7" y="5"/>
                  </a:cxn>
                </a:cxnLst>
                <a:rect l="0" t="0" r="r" b="b"/>
                <a:pathLst>
                  <a:path w="73" h="47">
                    <a:moveTo>
                      <a:pt x="64" y="32"/>
                    </a:moveTo>
                    <a:lnTo>
                      <a:pt x="65" y="35"/>
                    </a:lnTo>
                    <a:lnTo>
                      <a:pt x="69" y="35"/>
                    </a:lnTo>
                    <a:lnTo>
                      <a:pt x="67" y="35"/>
                    </a:lnTo>
                    <a:lnTo>
                      <a:pt x="64" y="35"/>
                    </a:lnTo>
                    <a:lnTo>
                      <a:pt x="64" y="32"/>
                    </a:lnTo>
                    <a:lnTo>
                      <a:pt x="64" y="32"/>
                    </a:lnTo>
                    <a:lnTo>
                      <a:pt x="64" y="32"/>
                    </a:lnTo>
                    <a:lnTo>
                      <a:pt x="64" y="32"/>
                    </a:lnTo>
                    <a:lnTo>
                      <a:pt x="64" y="32"/>
                    </a:lnTo>
                    <a:close/>
                    <a:moveTo>
                      <a:pt x="7" y="5"/>
                    </a:moveTo>
                    <a:lnTo>
                      <a:pt x="9" y="5"/>
                    </a:lnTo>
                    <a:lnTo>
                      <a:pt x="7" y="9"/>
                    </a:lnTo>
                    <a:lnTo>
                      <a:pt x="9" y="11"/>
                    </a:lnTo>
                    <a:lnTo>
                      <a:pt x="7" y="17"/>
                    </a:lnTo>
                    <a:lnTo>
                      <a:pt x="3" y="17"/>
                    </a:lnTo>
                    <a:lnTo>
                      <a:pt x="3" y="18"/>
                    </a:lnTo>
                    <a:lnTo>
                      <a:pt x="5" y="22"/>
                    </a:lnTo>
                    <a:lnTo>
                      <a:pt x="5" y="26"/>
                    </a:lnTo>
                    <a:lnTo>
                      <a:pt x="5" y="26"/>
                    </a:lnTo>
                    <a:lnTo>
                      <a:pt x="0" y="32"/>
                    </a:lnTo>
                    <a:lnTo>
                      <a:pt x="0" y="35"/>
                    </a:lnTo>
                    <a:lnTo>
                      <a:pt x="1" y="35"/>
                    </a:lnTo>
                    <a:lnTo>
                      <a:pt x="5" y="41"/>
                    </a:lnTo>
                    <a:lnTo>
                      <a:pt x="3" y="41"/>
                    </a:lnTo>
                    <a:lnTo>
                      <a:pt x="7" y="45"/>
                    </a:lnTo>
                    <a:lnTo>
                      <a:pt x="7" y="45"/>
                    </a:lnTo>
                    <a:lnTo>
                      <a:pt x="9" y="47"/>
                    </a:lnTo>
                    <a:lnTo>
                      <a:pt x="13" y="41"/>
                    </a:lnTo>
                    <a:lnTo>
                      <a:pt x="18" y="35"/>
                    </a:lnTo>
                    <a:lnTo>
                      <a:pt x="15" y="32"/>
                    </a:lnTo>
                    <a:lnTo>
                      <a:pt x="18" y="32"/>
                    </a:lnTo>
                    <a:lnTo>
                      <a:pt x="18" y="32"/>
                    </a:lnTo>
                    <a:lnTo>
                      <a:pt x="22" y="32"/>
                    </a:lnTo>
                    <a:lnTo>
                      <a:pt x="24" y="30"/>
                    </a:lnTo>
                    <a:lnTo>
                      <a:pt x="28" y="32"/>
                    </a:lnTo>
                    <a:lnTo>
                      <a:pt x="28" y="35"/>
                    </a:lnTo>
                    <a:lnTo>
                      <a:pt x="30" y="35"/>
                    </a:lnTo>
                    <a:lnTo>
                      <a:pt x="35" y="35"/>
                    </a:lnTo>
                    <a:lnTo>
                      <a:pt x="39" y="30"/>
                    </a:lnTo>
                    <a:lnTo>
                      <a:pt x="45" y="26"/>
                    </a:lnTo>
                    <a:lnTo>
                      <a:pt x="52" y="30"/>
                    </a:lnTo>
                    <a:lnTo>
                      <a:pt x="54" y="26"/>
                    </a:lnTo>
                    <a:lnTo>
                      <a:pt x="58" y="30"/>
                    </a:lnTo>
                    <a:lnTo>
                      <a:pt x="62" y="32"/>
                    </a:lnTo>
                    <a:lnTo>
                      <a:pt x="67" y="32"/>
                    </a:lnTo>
                    <a:lnTo>
                      <a:pt x="67" y="30"/>
                    </a:lnTo>
                    <a:lnTo>
                      <a:pt x="71" y="30"/>
                    </a:lnTo>
                    <a:lnTo>
                      <a:pt x="73" y="26"/>
                    </a:lnTo>
                    <a:lnTo>
                      <a:pt x="71" y="22"/>
                    </a:lnTo>
                    <a:lnTo>
                      <a:pt x="62" y="18"/>
                    </a:lnTo>
                    <a:lnTo>
                      <a:pt x="60" y="18"/>
                    </a:lnTo>
                    <a:lnTo>
                      <a:pt x="54" y="17"/>
                    </a:lnTo>
                    <a:lnTo>
                      <a:pt x="52" y="17"/>
                    </a:lnTo>
                    <a:lnTo>
                      <a:pt x="49" y="15"/>
                    </a:lnTo>
                    <a:lnTo>
                      <a:pt x="43" y="11"/>
                    </a:lnTo>
                    <a:lnTo>
                      <a:pt x="39" y="11"/>
                    </a:lnTo>
                    <a:lnTo>
                      <a:pt x="39" y="11"/>
                    </a:lnTo>
                    <a:lnTo>
                      <a:pt x="45" y="11"/>
                    </a:lnTo>
                    <a:lnTo>
                      <a:pt x="54" y="13"/>
                    </a:lnTo>
                    <a:lnTo>
                      <a:pt x="58" y="11"/>
                    </a:lnTo>
                    <a:lnTo>
                      <a:pt x="54" y="9"/>
                    </a:lnTo>
                    <a:lnTo>
                      <a:pt x="52" y="9"/>
                    </a:lnTo>
                    <a:lnTo>
                      <a:pt x="49" y="9"/>
                    </a:lnTo>
                    <a:lnTo>
                      <a:pt x="45" y="1"/>
                    </a:lnTo>
                    <a:lnTo>
                      <a:pt x="39" y="1"/>
                    </a:lnTo>
                    <a:lnTo>
                      <a:pt x="39" y="5"/>
                    </a:lnTo>
                    <a:lnTo>
                      <a:pt x="37" y="1"/>
                    </a:lnTo>
                    <a:lnTo>
                      <a:pt x="20" y="0"/>
                    </a:lnTo>
                    <a:lnTo>
                      <a:pt x="18" y="0"/>
                    </a:lnTo>
                    <a:lnTo>
                      <a:pt x="15" y="0"/>
                    </a:lnTo>
                    <a:lnTo>
                      <a:pt x="9" y="0"/>
                    </a:lnTo>
                    <a:lnTo>
                      <a:pt x="7" y="5"/>
                    </a:lnTo>
                    <a:lnTo>
                      <a:pt x="7" y="5"/>
                    </a:lnTo>
                    <a:lnTo>
                      <a:pt x="7" y="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6" name="Freeform 158"/>
              <p:cNvSpPr>
                <a:spLocks/>
              </p:cNvSpPr>
              <p:nvPr/>
            </p:nvSpPr>
            <p:spPr bwMode="auto">
              <a:xfrm>
                <a:off x="1356" y="2749"/>
                <a:ext cx="41" cy="15"/>
              </a:xfrm>
              <a:custGeom>
                <a:avLst/>
                <a:gdLst/>
                <a:ahLst/>
                <a:cxnLst>
                  <a:cxn ang="0">
                    <a:pos x="6" y="0"/>
                  </a:cxn>
                  <a:cxn ang="0">
                    <a:pos x="9" y="2"/>
                  </a:cxn>
                  <a:cxn ang="0">
                    <a:pos x="17" y="0"/>
                  </a:cxn>
                  <a:cxn ang="0">
                    <a:pos x="30" y="0"/>
                  </a:cxn>
                  <a:cxn ang="0">
                    <a:pos x="34" y="4"/>
                  </a:cxn>
                  <a:cxn ang="0">
                    <a:pos x="38" y="8"/>
                  </a:cxn>
                  <a:cxn ang="0">
                    <a:pos x="41" y="9"/>
                  </a:cxn>
                  <a:cxn ang="0">
                    <a:pos x="41" y="11"/>
                  </a:cxn>
                  <a:cxn ang="0">
                    <a:pos x="36" y="11"/>
                  </a:cxn>
                  <a:cxn ang="0">
                    <a:pos x="32" y="9"/>
                  </a:cxn>
                  <a:cxn ang="0">
                    <a:pos x="32" y="13"/>
                  </a:cxn>
                  <a:cxn ang="0">
                    <a:pos x="30" y="13"/>
                  </a:cxn>
                  <a:cxn ang="0">
                    <a:pos x="28" y="11"/>
                  </a:cxn>
                  <a:cxn ang="0">
                    <a:pos x="26" y="11"/>
                  </a:cxn>
                  <a:cxn ang="0">
                    <a:pos x="26" y="15"/>
                  </a:cxn>
                  <a:cxn ang="0">
                    <a:pos x="19" y="15"/>
                  </a:cxn>
                  <a:cxn ang="0">
                    <a:pos x="19" y="13"/>
                  </a:cxn>
                  <a:cxn ang="0">
                    <a:pos x="13" y="13"/>
                  </a:cxn>
                  <a:cxn ang="0">
                    <a:pos x="11" y="11"/>
                  </a:cxn>
                  <a:cxn ang="0">
                    <a:pos x="9" y="8"/>
                  </a:cxn>
                  <a:cxn ang="0">
                    <a:pos x="6" y="8"/>
                  </a:cxn>
                  <a:cxn ang="0">
                    <a:pos x="4" y="8"/>
                  </a:cxn>
                  <a:cxn ang="0">
                    <a:pos x="0" y="4"/>
                  </a:cxn>
                  <a:cxn ang="0">
                    <a:pos x="2" y="2"/>
                  </a:cxn>
                  <a:cxn ang="0">
                    <a:pos x="6" y="0"/>
                  </a:cxn>
                  <a:cxn ang="0">
                    <a:pos x="6" y="0"/>
                  </a:cxn>
                  <a:cxn ang="0">
                    <a:pos x="6" y="0"/>
                  </a:cxn>
                </a:cxnLst>
                <a:rect l="0" t="0" r="r" b="b"/>
                <a:pathLst>
                  <a:path w="41" h="15">
                    <a:moveTo>
                      <a:pt x="6" y="0"/>
                    </a:moveTo>
                    <a:lnTo>
                      <a:pt x="9" y="2"/>
                    </a:lnTo>
                    <a:lnTo>
                      <a:pt x="17" y="0"/>
                    </a:lnTo>
                    <a:lnTo>
                      <a:pt x="30" y="0"/>
                    </a:lnTo>
                    <a:lnTo>
                      <a:pt x="34" y="4"/>
                    </a:lnTo>
                    <a:lnTo>
                      <a:pt x="38" y="8"/>
                    </a:lnTo>
                    <a:lnTo>
                      <a:pt x="41" y="9"/>
                    </a:lnTo>
                    <a:lnTo>
                      <a:pt x="41" y="11"/>
                    </a:lnTo>
                    <a:lnTo>
                      <a:pt x="36" y="11"/>
                    </a:lnTo>
                    <a:lnTo>
                      <a:pt x="32" y="9"/>
                    </a:lnTo>
                    <a:lnTo>
                      <a:pt x="32" y="13"/>
                    </a:lnTo>
                    <a:lnTo>
                      <a:pt x="30" y="13"/>
                    </a:lnTo>
                    <a:lnTo>
                      <a:pt x="28" y="11"/>
                    </a:lnTo>
                    <a:lnTo>
                      <a:pt x="26" y="11"/>
                    </a:lnTo>
                    <a:lnTo>
                      <a:pt x="26" y="15"/>
                    </a:lnTo>
                    <a:lnTo>
                      <a:pt x="19" y="15"/>
                    </a:lnTo>
                    <a:lnTo>
                      <a:pt x="19" y="13"/>
                    </a:lnTo>
                    <a:lnTo>
                      <a:pt x="13" y="13"/>
                    </a:lnTo>
                    <a:lnTo>
                      <a:pt x="11" y="11"/>
                    </a:lnTo>
                    <a:lnTo>
                      <a:pt x="9" y="8"/>
                    </a:lnTo>
                    <a:lnTo>
                      <a:pt x="6" y="8"/>
                    </a:lnTo>
                    <a:lnTo>
                      <a:pt x="4" y="8"/>
                    </a:lnTo>
                    <a:lnTo>
                      <a:pt x="0" y="4"/>
                    </a:lnTo>
                    <a:lnTo>
                      <a:pt x="2" y="2"/>
                    </a:lnTo>
                    <a:lnTo>
                      <a:pt x="6" y="0"/>
                    </a:lnTo>
                    <a:lnTo>
                      <a:pt x="6" y="0"/>
                    </a:lnTo>
                    <a:lnTo>
                      <a:pt x="6"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7" name="Freeform 159"/>
              <p:cNvSpPr>
                <a:spLocks noEditPoints="1"/>
              </p:cNvSpPr>
              <p:nvPr/>
            </p:nvSpPr>
            <p:spPr bwMode="auto">
              <a:xfrm>
                <a:off x="1426" y="2717"/>
                <a:ext cx="56" cy="41"/>
              </a:xfrm>
              <a:custGeom>
                <a:avLst/>
                <a:gdLst/>
                <a:ahLst/>
                <a:cxnLst>
                  <a:cxn ang="0">
                    <a:pos x="47" y="38"/>
                  </a:cxn>
                  <a:cxn ang="0">
                    <a:pos x="52" y="32"/>
                  </a:cxn>
                  <a:cxn ang="0">
                    <a:pos x="50" y="24"/>
                  </a:cxn>
                  <a:cxn ang="0">
                    <a:pos x="56" y="23"/>
                  </a:cxn>
                  <a:cxn ang="0">
                    <a:pos x="56" y="17"/>
                  </a:cxn>
                  <a:cxn ang="0">
                    <a:pos x="56" y="11"/>
                  </a:cxn>
                  <a:cxn ang="0">
                    <a:pos x="52" y="9"/>
                  </a:cxn>
                  <a:cxn ang="0">
                    <a:pos x="45" y="7"/>
                  </a:cxn>
                  <a:cxn ang="0">
                    <a:pos x="33" y="7"/>
                  </a:cxn>
                  <a:cxn ang="0">
                    <a:pos x="22" y="6"/>
                  </a:cxn>
                  <a:cxn ang="0">
                    <a:pos x="22" y="9"/>
                  </a:cxn>
                  <a:cxn ang="0">
                    <a:pos x="37" y="13"/>
                  </a:cxn>
                  <a:cxn ang="0">
                    <a:pos x="37" y="17"/>
                  </a:cxn>
                  <a:cxn ang="0">
                    <a:pos x="37" y="26"/>
                  </a:cxn>
                  <a:cxn ang="0">
                    <a:pos x="45" y="30"/>
                  </a:cxn>
                  <a:cxn ang="0">
                    <a:pos x="35" y="34"/>
                  </a:cxn>
                  <a:cxn ang="0">
                    <a:pos x="32" y="34"/>
                  </a:cxn>
                  <a:cxn ang="0">
                    <a:pos x="22" y="32"/>
                  </a:cxn>
                  <a:cxn ang="0">
                    <a:pos x="16" y="32"/>
                  </a:cxn>
                  <a:cxn ang="0">
                    <a:pos x="9" y="32"/>
                  </a:cxn>
                  <a:cxn ang="0">
                    <a:pos x="1" y="32"/>
                  </a:cxn>
                  <a:cxn ang="0">
                    <a:pos x="1" y="38"/>
                  </a:cxn>
                  <a:cxn ang="0">
                    <a:pos x="11" y="41"/>
                  </a:cxn>
                  <a:cxn ang="0">
                    <a:pos x="15" y="41"/>
                  </a:cxn>
                  <a:cxn ang="0">
                    <a:pos x="24" y="38"/>
                  </a:cxn>
                  <a:cxn ang="0">
                    <a:pos x="39" y="41"/>
                  </a:cxn>
                  <a:cxn ang="0">
                    <a:pos x="45" y="41"/>
                  </a:cxn>
                  <a:cxn ang="0">
                    <a:pos x="47" y="41"/>
                  </a:cxn>
                  <a:cxn ang="0">
                    <a:pos x="47" y="41"/>
                  </a:cxn>
                  <a:cxn ang="0">
                    <a:pos x="35" y="0"/>
                  </a:cxn>
                  <a:cxn ang="0">
                    <a:pos x="35" y="4"/>
                  </a:cxn>
                  <a:cxn ang="0">
                    <a:pos x="32" y="2"/>
                  </a:cxn>
                  <a:cxn ang="0">
                    <a:pos x="32" y="2"/>
                  </a:cxn>
                  <a:cxn ang="0">
                    <a:pos x="28" y="23"/>
                  </a:cxn>
                  <a:cxn ang="0">
                    <a:pos x="33" y="28"/>
                  </a:cxn>
                  <a:cxn ang="0">
                    <a:pos x="24" y="24"/>
                  </a:cxn>
                  <a:cxn ang="0">
                    <a:pos x="24" y="24"/>
                  </a:cxn>
                </a:cxnLst>
                <a:rect l="0" t="0" r="r" b="b"/>
                <a:pathLst>
                  <a:path w="56" h="41">
                    <a:moveTo>
                      <a:pt x="47" y="41"/>
                    </a:moveTo>
                    <a:lnTo>
                      <a:pt x="47" y="38"/>
                    </a:lnTo>
                    <a:lnTo>
                      <a:pt x="52" y="34"/>
                    </a:lnTo>
                    <a:lnTo>
                      <a:pt x="52" y="32"/>
                    </a:lnTo>
                    <a:lnTo>
                      <a:pt x="52" y="28"/>
                    </a:lnTo>
                    <a:lnTo>
                      <a:pt x="50" y="24"/>
                    </a:lnTo>
                    <a:lnTo>
                      <a:pt x="50" y="23"/>
                    </a:lnTo>
                    <a:lnTo>
                      <a:pt x="56" y="23"/>
                    </a:lnTo>
                    <a:lnTo>
                      <a:pt x="56" y="17"/>
                    </a:lnTo>
                    <a:lnTo>
                      <a:pt x="56" y="17"/>
                    </a:lnTo>
                    <a:lnTo>
                      <a:pt x="56" y="13"/>
                    </a:lnTo>
                    <a:lnTo>
                      <a:pt x="56" y="11"/>
                    </a:lnTo>
                    <a:lnTo>
                      <a:pt x="56" y="11"/>
                    </a:lnTo>
                    <a:lnTo>
                      <a:pt x="52" y="9"/>
                    </a:lnTo>
                    <a:lnTo>
                      <a:pt x="50" y="11"/>
                    </a:lnTo>
                    <a:lnTo>
                      <a:pt x="45" y="7"/>
                    </a:lnTo>
                    <a:lnTo>
                      <a:pt x="35" y="6"/>
                    </a:lnTo>
                    <a:lnTo>
                      <a:pt x="33" y="7"/>
                    </a:lnTo>
                    <a:lnTo>
                      <a:pt x="30" y="6"/>
                    </a:lnTo>
                    <a:lnTo>
                      <a:pt x="22" y="6"/>
                    </a:lnTo>
                    <a:lnTo>
                      <a:pt x="22" y="9"/>
                    </a:lnTo>
                    <a:lnTo>
                      <a:pt x="22" y="9"/>
                    </a:lnTo>
                    <a:lnTo>
                      <a:pt x="26" y="11"/>
                    </a:lnTo>
                    <a:lnTo>
                      <a:pt x="37" y="13"/>
                    </a:lnTo>
                    <a:lnTo>
                      <a:pt x="35" y="17"/>
                    </a:lnTo>
                    <a:lnTo>
                      <a:pt x="37" y="17"/>
                    </a:lnTo>
                    <a:lnTo>
                      <a:pt x="35" y="23"/>
                    </a:lnTo>
                    <a:lnTo>
                      <a:pt x="37" y="26"/>
                    </a:lnTo>
                    <a:lnTo>
                      <a:pt x="41" y="26"/>
                    </a:lnTo>
                    <a:lnTo>
                      <a:pt x="45" y="30"/>
                    </a:lnTo>
                    <a:lnTo>
                      <a:pt x="45" y="34"/>
                    </a:lnTo>
                    <a:lnTo>
                      <a:pt x="35" y="34"/>
                    </a:lnTo>
                    <a:lnTo>
                      <a:pt x="33" y="34"/>
                    </a:lnTo>
                    <a:lnTo>
                      <a:pt x="32" y="34"/>
                    </a:lnTo>
                    <a:lnTo>
                      <a:pt x="26" y="34"/>
                    </a:lnTo>
                    <a:lnTo>
                      <a:pt x="22" y="32"/>
                    </a:lnTo>
                    <a:lnTo>
                      <a:pt x="16" y="34"/>
                    </a:lnTo>
                    <a:lnTo>
                      <a:pt x="16" y="32"/>
                    </a:lnTo>
                    <a:lnTo>
                      <a:pt x="15" y="32"/>
                    </a:lnTo>
                    <a:lnTo>
                      <a:pt x="9" y="32"/>
                    </a:lnTo>
                    <a:lnTo>
                      <a:pt x="5" y="30"/>
                    </a:lnTo>
                    <a:lnTo>
                      <a:pt x="1" y="32"/>
                    </a:lnTo>
                    <a:lnTo>
                      <a:pt x="0" y="34"/>
                    </a:lnTo>
                    <a:lnTo>
                      <a:pt x="1" y="38"/>
                    </a:lnTo>
                    <a:lnTo>
                      <a:pt x="7" y="38"/>
                    </a:lnTo>
                    <a:lnTo>
                      <a:pt x="11" y="41"/>
                    </a:lnTo>
                    <a:lnTo>
                      <a:pt x="13" y="41"/>
                    </a:lnTo>
                    <a:lnTo>
                      <a:pt x="15" y="41"/>
                    </a:lnTo>
                    <a:lnTo>
                      <a:pt x="16" y="38"/>
                    </a:lnTo>
                    <a:lnTo>
                      <a:pt x="24" y="38"/>
                    </a:lnTo>
                    <a:lnTo>
                      <a:pt x="28" y="41"/>
                    </a:lnTo>
                    <a:lnTo>
                      <a:pt x="39" y="41"/>
                    </a:lnTo>
                    <a:lnTo>
                      <a:pt x="41" y="38"/>
                    </a:lnTo>
                    <a:lnTo>
                      <a:pt x="45" y="41"/>
                    </a:lnTo>
                    <a:lnTo>
                      <a:pt x="47" y="41"/>
                    </a:lnTo>
                    <a:lnTo>
                      <a:pt x="47" y="41"/>
                    </a:lnTo>
                    <a:lnTo>
                      <a:pt x="47" y="41"/>
                    </a:lnTo>
                    <a:lnTo>
                      <a:pt x="47" y="41"/>
                    </a:lnTo>
                    <a:close/>
                    <a:moveTo>
                      <a:pt x="32" y="2"/>
                    </a:moveTo>
                    <a:lnTo>
                      <a:pt x="35" y="0"/>
                    </a:lnTo>
                    <a:lnTo>
                      <a:pt x="43" y="4"/>
                    </a:lnTo>
                    <a:lnTo>
                      <a:pt x="35" y="4"/>
                    </a:lnTo>
                    <a:lnTo>
                      <a:pt x="32" y="2"/>
                    </a:lnTo>
                    <a:lnTo>
                      <a:pt x="32" y="2"/>
                    </a:lnTo>
                    <a:lnTo>
                      <a:pt x="32" y="2"/>
                    </a:lnTo>
                    <a:lnTo>
                      <a:pt x="32" y="2"/>
                    </a:lnTo>
                    <a:close/>
                    <a:moveTo>
                      <a:pt x="24" y="24"/>
                    </a:moveTo>
                    <a:lnTo>
                      <a:pt x="28" y="23"/>
                    </a:lnTo>
                    <a:lnTo>
                      <a:pt x="32" y="26"/>
                    </a:lnTo>
                    <a:lnTo>
                      <a:pt x="33" y="28"/>
                    </a:lnTo>
                    <a:lnTo>
                      <a:pt x="28" y="26"/>
                    </a:lnTo>
                    <a:lnTo>
                      <a:pt x="24" y="24"/>
                    </a:lnTo>
                    <a:lnTo>
                      <a:pt x="24" y="24"/>
                    </a:lnTo>
                    <a:lnTo>
                      <a:pt x="24"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8" name="Freeform 160"/>
              <p:cNvSpPr>
                <a:spLocks noEditPoints="1"/>
              </p:cNvSpPr>
              <p:nvPr/>
            </p:nvSpPr>
            <p:spPr bwMode="auto">
              <a:xfrm>
                <a:off x="1426" y="2717"/>
                <a:ext cx="56" cy="41"/>
              </a:xfrm>
              <a:custGeom>
                <a:avLst/>
                <a:gdLst/>
                <a:ahLst/>
                <a:cxnLst>
                  <a:cxn ang="0">
                    <a:pos x="47" y="38"/>
                  </a:cxn>
                  <a:cxn ang="0">
                    <a:pos x="52" y="32"/>
                  </a:cxn>
                  <a:cxn ang="0">
                    <a:pos x="50" y="24"/>
                  </a:cxn>
                  <a:cxn ang="0">
                    <a:pos x="56" y="23"/>
                  </a:cxn>
                  <a:cxn ang="0">
                    <a:pos x="56" y="17"/>
                  </a:cxn>
                  <a:cxn ang="0">
                    <a:pos x="56" y="11"/>
                  </a:cxn>
                  <a:cxn ang="0">
                    <a:pos x="52" y="9"/>
                  </a:cxn>
                  <a:cxn ang="0">
                    <a:pos x="45" y="7"/>
                  </a:cxn>
                  <a:cxn ang="0">
                    <a:pos x="33" y="7"/>
                  </a:cxn>
                  <a:cxn ang="0">
                    <a:pos x="22" y="6"/>
                  </a:cxn>
                  <a:cxn ang="0">
                    <a:pos x="22" y="9"/>
                  </a:cxn>
                  <a:cxn ang="0">
                    <a:pos x="37" y="13"/>
                  </a:cxn>
                  <a:cxn ang="0">
                    <a:pos x="37" y="17"/>
                  </a:cxn>
                  <a:cxn ang="0">
                    <a:pos x="37" y="26"/>
                  </a:cxn>
                  <a:cxn ang="0">
                    <a:pos x="45" y="30"/>
                  </a:cxn>
                  <a:cxn ang="0">
                    <a:pos x="35" y="34"/>
                  </a:cxn>
                  <a:cxn ang="0">
                    <a:pos x="32" y="34"/>
                  </a:cxn>
                  <a:cxn ang="0">
                    <a:pos x="22" y="32"/>
                  </a:cxn>
                  <a:cxn ang="0">
                    <a:pos x="16" y="32"/>
                  </a:cxn>
                  <a:cxn ang="0">
                    <a:pos x="9" y="32"/>
                  </a:cxn>
                  <a:cxn ang="0">
                    <a:pos x="1" y="32"/>
                  </a:cxn>
                  <a:cxn ang="0">
                    <a:pos x="1" y="38"/>
                  </a:cxn>
                  <a:cxn ang="0">
                    <a:pos x="11" y="41"/>
                  </a:cxn>
                  <a:cxn ang="0">
                    <a:pos x="15" y="41"/>
                  </a:cxn>
                  <a:cxn ang="0">
                    <a:pos x="24" y="38"/>
                  </a:cxn>
                  <a:cxn ang="0">
                    <a:pos x="39" y="41"/>
                  </a:cxn>
                  <a:cxn ang="0">
                    <a:pos x="45" y="41"/>
                  </a:cxn>
                  <a:cxn ang="0">
                    <a:pos x="47" y="41"/>
                  </a:cxn>
                  <a:cxn ang="0">
                    <a:pos x="47" y="41"/>
                  </a:cxn>
                  <a:cxn ang="0">
                    <a:pos x="35" y="0"/>
                  </a:cxn>
                  <a:cxn ang="0">
                    <a:pos x="35" y="4"/>
                  </a:cxn>
                  <a:cxn ang="0">
                    <a:pos x="32" y="2"/>
                  </a:cxn>
                  <a:cxn ang="0">
                    <a:pos x="32" y="2"/>
                  </a:cxn>
                  <a:cxn ang="0">
                    <a:pos x="28" y="23"/>
                  </a:cxn>
                  <a:cxn ang="0">
                    <a:pos x="33" y="28"/>
                  </a:cxn>
                  <a:cxn ang="0">
                    <a:pos x="24" y="24"/>
                  </a:cxn>
                  <a:cxn ang="0">
                    <a:pos x="24" y="24"/>
                  </a:cxn>
                </a:cxnLst>
                <a:rect l="0" t="0" r="r" b="b"/>
                <a:pathLst>
                  <a:path w="56" h="41">
                    <a:moveTo>
                      <a:pt x="47" y="41"/>
                    </a:moveTo>
                    <a:lnTo>
                      <a:pt x="47" y="38"/>
                    </a:lnTo>
                    <a:lnTo>
                      <a:pt x="52" y="34"/>
                    </a:lnTo>
                    <a:lnTo>
                      <a:pt x="52" y="32"/>
                    </a:lnTo>
                    <a:lnTo>
                      <a:pt x="52" y="28"/>
                    </a:lnTo>
                    <a:lnTo>
                      <a:pt x="50" y="24"/>
                    </a:lnTo>
                    <a:lnTo>
                      <a:pt x="50" y="23"/>
                    </a:lnTo>
                    <a:lnTo>
                      <a:pt x="56" y="23"/>
                    </a:lnTo>
                    <a:lnTo>
                      <a:pt x="56" y="17"/>
                    </a:lnTo>
                    <a:lnTo>
                      <a:pt x="56" y="17"/>
                    </a:lnTo>
                    <a:lnTo>
                      <a:pt x="56" y="13"/>
                    </a:lnTo>
                    <a:lnTo>
                      <a:pt x="56" y="11"/>
                    </a:lnTo>
                    <a:lnTo>
                      <a:pt x="56" y="11"/>
                    </a:lnTo>
                    <a:lnTo>
                      <a:pt x="52" y="9"/>
                    </a:lnTo>
                    <a:lnTo>
                      <a:pt x="50" y="11"/>
                    </a:lnTo>
                    <a:lnTo>
                      <a:pt x="45" y="7"/>
                    </a:lnTo>
                    <a:lnTo>
                      <a:pt x="35" y="6"/>
                    </a:lnTo>
                    <a:lnTo>
                      <a:pt x="33" y="7"/>
                    </a:lnTo>
                    <a:lnTo>
                      <a:pt x="30" y="6"/>
                    </a:lnTo>
                    <a:lnTo>
                      <a:pt x="22" y="6"/>
                    </a:lnTo>
                    <a:lnTo>
                      <a:pt x="22" y="9"/>
                    </a:lnTo>
                    <a:lnTo>
                      <a:pt x="22" y="9"/>
                    </a:lnTo>
                    <a:lnTo>
                      <a:pt x="26" y="11"/>
                    </a:lnTo>
                    <a:lnTo>
                      <a:pt x="37" y="13"/>
                    </a:lnTo>
                    <a:lnTo>
                      <a:pt x="35" y="17"/>
                    </a:lnTo>
                    <a:lnTo>
                      <a:pt x="37" y="17"/>
                    </a:lnTo>
                    <a:lnTo>
                      <a:pt x="35" y="23"/>
                    </a:lnTo>
                    <a:lnTo>
                      <a:pt x="37" y="26"/>
                    </a:lnTo>
                    <a:lnTo>
                      <a:pt x="41" y="26"/>
                    </a:lnTo>
                    <a:lnTo>
                      <a:pt x="45" y="30"/>
                    </a:lnTo>
                    <a:lnTo>
                      <a:pt x="45" y="34"/>
                    </a:lnTo>
                    <a:lnTo>
                      <a:pt x="35" y="34"/>
                    </a:lnTo>
                    <a:lnTo>
                      <a:pt x="33" y="34"/>
                    </a:lnTo>
                    <a:lnTo>
                      <a:pt x="32" y="34"/>
                    </a:lnTo>
                    <a:lnTo>
                      <a:pt x="26" y="34"/>
                    </a:lnTo>
                    <a:lnTo>
                      <a:pt x="22" y="32"/>
                    </a:lnTo>
                    <a:lnTo>
                      <a:pt x="16" y="34"/>
                    </a:lnTo>
                    <a:lnTo>
                      <a:pt x="16" y="32"/>
                    </a:lnTo>
                    <a:lnTo>
                      <a:pt x="15" y="32"/>
                    </a:lnTo>
                    <a:lnTo>
                      <a:pt x="9" y="32"/>
                    </a:lnTo>
                    <a:lnTo>
                      <a:pt x="5" y="30"/>
                    </a:lnTo>
                    <a:lnTo>
                      <a:pt x="1" y="32"/>
                    </a:lnTo>
                    <a:lnTo>
                      <a:pt x="0" y="34"/>
                    </a:lnTo>
                    <a:lnTo>
                      <a:pt x="1" y="38"/>
                    </a:lnTo>
                    <a:lnTo>
                      <a:pt x="7" y="38"/>
                    </a:lnTo>
                    <a:lnTo>
                      <a:pt x="11" y="41"/>
                    </a:lnTo>
                    <a:lnTo>
                      <a:pt x="13" y="41"/>
                    </a:lnTo>
                    <a:lnTo>
                      <a:pt x="15" y="41"/>
                    </a:lnTo>
                    <a:lnTo>
                      <a:pt x="16" y="38"/>
                    </a:lnTo>
                    <a:lnTo>
                      <a:pt x="24" y="38"/>
                    </a:lnTo>
                    <a:lnTo>
                      <a:pt x="28" y="41"/>
                    </a:lnTo>
                    <a:lnTo>
                      <a:pt x="39" y="41"/>
                    </a:lnTo>
                    <a:lnTo>
                      <a:pt x="41" y="38"/>
                    </a:lnTo>
                    <a:lnTo>
                      <a:pt x="45" y="41"/>
                    </a:lnTo>
                    <a:lnTo>
                      <a:pt x="47" y="41"/>
                    </a:lnTo>
                    <a:lnTo>
                      <a:pt x="47" y="41"/>
                    </a:lnTo>
                    <a:lnTo>
                      <a:pt x="47" y="41"/>
                    </a:lnTo>
                    <a:lnTo>
                      <a:pt x="47" y="41"/>
                    </a:lnTo>
                    <a:close/>
                    <a:moveTo>
                      <a:pt x="32" y="2"/>
                    </a:moveTo>
                    <a:lnTo>
                      <a:pt x="35" y="0"/>
                    </a:lnTo>
                    <a:lnTo>
                      <a:pt x="43" y="4"/>
                    </a:lnTo>
                    <a:lnTo>
                      <a:pt x="35" y="4"/>
                    </a:lnTo>
                    <a:lnTo>
                      <a:pt x="32" y="2"/>
                    </a:lnTo>
                    <a:lnTo>
                      <a:pt x="32" y="2"/>
                    </a:lnTo>
                    <a:lnTo>
                      <a:pt x="32" y="2"/>
                    </a:lnTo>
                    <a:lnTo>
                      <a:pt x="32" y="2"/>
                    </a:lnTo>
                    <a:close/>
                    <a:moveTo>
                      <a:pt x="24" y="24"/>
                    </a:moveTo>
                    <a:lnTo>
                      <a:pt x="28" y="23"/>
                    </a:lnTo>
                    <a:lnTo>
                      <a:pt x="32" y="26"/>
                    </a:lnTo>
                    <a:lnTo>
                      <a:pt x="33" y="28"/>
                    </a:lnTo>
                    <a:lnTo>
                      <a:pt x="28" y="26"/>
                    </a:lnTo>
                    <a:lnTo>
                      <a:pt x="24" y="24"/>
                    </a:lnTo>
                    <a:lnTo>
                      <a:pt x="24" y="24"/>
                    </a:lnTo>
                    <a:lnTo>
                      <a:pt x="24"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9" name="Freeform 161"/>
              <p:cNvSpPr>
                <a:spLocks noEditPoints="1"/>
              </p:cNvSpPr>
              <p:nvPr/>
            </p:nvSpPr>
            <p:spPr bwMode="auto">
              <a:xfrm>
                <a:off x="1239" y="2653"/>
                <a:ext cx="196" cy="70"/>
              </a:xfrm>
              <a:custGeom>
                <a:avLst/>
                <a:gdLst/>
                <a:ahLst/>
                <a:cxnLst>
                  <a:cxn ang="0">
                    <a:pos x="42" y="26"/>
                  </a:cxn>
                  <a:cxn ang="0">
                    <a:pos x="40" y="34"/>
                  </a:cxn>
                  <a:cxn ang="0">
                    <a:pos x="36" y="34"/>
                  </a:cxn>
                  <a:cxn ang="0">
                    <a:pos x="38" y="30"/>
                  </a:cxn>
                  <a:cxn ang="0">
                    <a:pos x="38" y="28"/>
                  </a:cxn>
                  <a:cxn ang="0">
                    <a:pos x="13" y="23"/>
                  </a:cxn>
                  <a:cxn ang="0">
                    <a:pos x="2" y="26"/>
                  </a:cxn>
                  <a:cxn ang="0">
                    <a:pos x="6" y="30"/>
                  </a:cxn>
                  <a:cxn ang="0">
                    <a:pos x="10" y="30"/>
                  </a:cxn>
                  <a:cxn ang="0">
                    <a:pos x="21" y="21"/>
                  </a:cxn>
                  <a:cxn ang="0">
                    <a:pos x="30" y="21"/>
                  </a:cxn>
                  <a:cxn ang="0">
                    <a:pos x="42" y="15"/>
                  </a:cxn>
                  <a:cxn ang="0">
                    <a:pos x="55" y="11"/>
                  </a:cxn>
                  <a:cxn ang="0">
                    <a:pos x="60" y="15"/>
                  </a:cxn>
                  <a:cxn ang="0">
                    <a:pos x="57" y="21"/>
                  </a:cxn>
                  <a:cxn ang="0">
                    <a:pos x="74" y="21"/>
                  </a:cxn>
                  <a:cxn ang="0">
                    <a:pos x="83" y="24"/>
                  </a:cxn>
                  <a:cxn ang="0">
                    <a:pos x="87" y="26"/>
                  </a:cxn>
                  <a:cxn ang="0">
                    <a:pos x="100" y="30"/>
                  </a:cxn>
                  <a:cxn ang="0">
                    <a:pos x="109" y="34"/>
                  </a:cxn>
                  <a:cxn ang="0">
                    <a:pos x="121" y="43"/>
                  </a:cxn>
                  <a:cxn ang="0">
                    <a:pos x="130" y="49"/>
                  </a:cxn>
                  <a:cxn ang="0">
                    <a:pos x="141" y="55"/>
                  </a:cxn>
                  <a:cxn ang="0">
                    <a:pos x="139" y="58"/>
                  </a:cxn>
                  <a:cxn ang="0">
                    <a:pos x="139" y="70"/>
                  </a:cxn>
                  <a:cxn ang="0">
                    <a:pos x="158" y="66"/>
                  </a:cxn>
                  <a:cxn ang="0">
                    <a:pos x="177" y="68"/>
                  </a:cxn>
                  <a:cxn ang="0">
                    <a:pos x="183" y="62"/>
                  </a:cxn>
                  <a:cxn ang="0">
                    <a:pos x="196" y="58"/>
                  </a:cxn>
                  <a:cxn ang="0">
                    <a:pos x="188" y="53"/>
                  </a:cxn>
                  <a:cxn ang="0">
                    <a:pos x="170" y="49"/>
                  </a:cxn>
                  <a:cxn ang="0">
                    <a:pos x="170" y="43"/>
                  </a:cxn>
                  <a:cxn ang="0">
                    <a:pos x="158" y="36"/>
                  </a:cxn>
                  <a:cxn ang="0">
                    <a:pos x="147" y="34"/>
                  </a:cxn>
                  <a:cxn ang="0">
                    <a:pos x="143" y="30"/>
                  </a:cxn>
                  <a:cxn ang="0">
                    <a:pos x="138" y="30"/>
                  </a:cxn>
                  <a:cxn ang="0">
                    <a:pos x="123" y="23"/>
                  </a:cxn>
                  <a:cxn ang="0">
                    <a:pos x="104" y="15"/>
                  </a:cxn>
                  <a:cxn ang="0">
                    <a:pos x="96" y="9"/>
                  </a:cxn>
                  <a:cxn ang="0">
                    <a:pos x="75" y="7"/>
                  </a:cxn>
                  <a:cxn ang="0">
                    <a:pos x="57" y="0"/>
                  </a:cxn>
                  <a:cxn ang="0">
                    <a:pos x="36" y="4"/>
                  </a:cxn>
                  <a:cxn ang="0">
                    <a:pos x="17" y="11"/>
                  </a:cxn>
                  <a:cxn ang="0">
                    <a:pos x="11" y="19"/>
                  </a:cxn>
                </a:cxnLst>
                <a:rect l="0" t="0" r="r" b="b"/>
                <a:pathLst>
                  <a:path w="196" h="70">
                    <a:moveTo>
                      <a:pt x="38" y="28"/>
                    </a:moveTo>
                    <a:lnTo>
                      <a:pt x="40" y="26"/>
                    </a:lnTo>
                    <a:lnTo>
                      <a:pt x="42" y="26"/>
                    </a:lnTo>
                    <a:lnTo>
                      <a:pt x="45" y="30"/>
                    </a:lnTo>
                    <a:lnTo>
                      <a:pt x="45" y="34"/>
                    </a:lnTo>
                    <a:lnTo>
                      <a:pt x="40" y="34"/>
                    </a:lnTo>
                    <a:lnTo>
                      <a:pt x="36" y="34"/>
                    </a:lnTo>
                    <a:lnTo>
                      <a:pt x="34" y="30"/>
                    </a:lnTo>
                    <a:lnTo>
                      <a:pt x="36" y="34"/>
                    </a:lnTo>
                    <a:lnTo>
                      <a:pt x="38" y="34"/>
                    </a:lnTo>
                    <a:lnTo>
                      <a:pt x="40" y="30"/>
                    </a:lnTo>
                    <a:lnTo>
                      <a:pt x="38" y="30"/>
                    </a:lnTo>
                    <a:lnTo>
                      <a:pt x="38" y="28"/>
                    </a:lnTo>
                    <a:lnTo>
                      <a:pt x="38" y="28"/>
                    </a:lnTo>
                    <a:lnTo>
                      <a:pt x="38" y="28"/>
                    </a:lnTo>
                    <a:lnTo>
                      <a:pt x="38" y="28"/>
                    </a:lnTo>
                    <a:close/>
                    <a:moveTo>
                      <a:pt x="11" y="19"/>
                    </a:moveTo>
                    <a:lnTo>
                      <a:pt x="13" y="23"/>
                    </a:lnTo>
                    <a:lnTo>
                      <a:pt x="13" y="24"/>
                    </a:lnTo>
                    <a:lnTo>
                      <a:pt x="10" y="23"/>
                    </a:lnTo>
                    <a:lnTo>
                      <a:pt x="2" y="26"/>
                    </a:lnTo>
                    <a:lnTo>
                      <a:pt x="0" y="24"/>
                    </a:lnTo>
                    <a:lnTo>
                      <a:pt x="0" y="28"/>
                    </a:lnTo>
                    <a:lnTo>
                      <a:pt x="6" y="30"/>
                    </a:lnTo>
                    <a:lnTo>
                      <a:pt x="8" y="24"/>
                    </a:lnTo>
                    <a:lnTo>
                      <a:pt x="10" y="26"/>
                    </a:lnTo>
                    <a:lnTo>
                      <a:pt x="10" y="30"/>
                    </a:lnTo>
                    <a:lnTo>
                      <a:pt x="13" y="26"/>
                    </a:lnTo>
                    <a:lnTo>
                      <a:pt x="17" y="26"/>
                    </a:lnTo>
                    <a:lnTo>
                      <a:pt x="21" y="21"/>
                    </a:lnTo>
                    <a:lnTo>
                      <a:pt x="27" y="21"/>
                    </a:lnTo>
                    <a:lnTo>
                      <a:pt x="27" y="19"/>
                    </a:lnTo>
                    <a:lnTo>
                      <a:pt x="30" y="21"/>
                    </a:lnTo>
                    <a:lnTo>
                      <a:pt x="32" y="21"/>
                    </a:lnTo>
                    <a:lnTo>
                      <a:pt x="40" y="15"/>
                    </a:lnTo>
                    <a:lnTo>
                      <a:pt x="42" y="15"/>
                    </a:lnTo>
                    <a:lnTo>
                      <a:pt x="45" y="11"/>
                    </a:lnTo>
                    <a:lnTo>
                      <a:pt x="51" y="11"/>
                    </a:lnTo>
                    <a:lnTo>
                      <a:pt x="55" y="11"/>
                    </a:lnTo>
                    <a:lnTo>
                      <a:pt x="60" y="11"/>
                    </a:lnTo>
                    <a:lnTo>
                      <a:pt x="62" y="15"/>
                    </a:lnTo>
                    <a:lnTo>
                      <a:pt x="60" y="15"/>
                    </a:lnTo>
                    <a:lnTo>
                      <a:pt x="57" y="15"/>
                    </a:lnTo>
                    <a:lnTo>
                      <a:pt x="55" y="17"/>
                    </a:lnTo>
                    <a:lnTo>
                      <a:pt x="57" y="21"/>
                    </a:lnTo>
                    <a:lnTo>
                      <a:pt x="66" y="23"/>
                    </a:lnTo>
                    <a:lnTo>
                      <a:pt x="70" y="21"/>
                    </a:lnTo>
                    <a:lnTo>
                      <a:pt x="74" y="21"/>
                    </a:lnTo>
                    <a:lnTo>
                      <a:pt x="75" y="23"/>
                    </a:lnTo>
                    <a:lnTo>
                      <a:pt x="81" y="24"/>
                    </a:lnTo>
                    <a:lnTo>
                      <a:pt x="83" y="24"/>
                    </a:lnTo>
                    <a:lnTo>
                      <a:pt x="85" y="23"/>
                    </a:lnTo>
                    <a:lnTo>
                      <a:pt x="87" y="24"/>
                    </a:lnTo>
                    <a:lnTo>
                      <a:pt x="87" y="26"/>
                    </a:lnTo>
                    <a:lnTo>
                      <a:pt x="94" y="30"/>
                    </a:lnTo>
                    <a:lnTo>
                      <a:pt x="100" y="30"/>
                    </a:lnTo>
                    <a:lnTo>
                      <a:pt x="100" y="30"/>
                    </a:lnTo>
                    <a:lnTo>
                      <a:pt x="104" y="34"/>
                    </a:lnTo>
                    <a:lnTo>
                      <a:pt x="106" y="30"/>
                    </a:lnTo>
                    <a:lnTo>
                      <a:pt x="109" y="34"/>
                    </a:lnTo>
                    <a:lnTo>
                      <a:pt x="115" y="30"/>
                    </a:lnTo>
                    <a:lnTo>
                      <a:pt x="117" y="30"/>
                    </a:lnTo>
                    <a:lnTo>
                      <a:pt x="121" y="43"/>
                    </a:lnTo>
                    <a:lnTo>
                      <a:pt x="124" y="51"/>
                    </a:lnTo>
                    <a:lnTo>
                      <a:pt x="128" y="51"/>
                    </a:lnTo>
                    <a:lnTo>
                      <a:pt x="130" y="49"/>
                    </a:lnTo>
                    <a:lnTo>
                      <a:pt x="134" y="53"/>
                    </a:lnTo>
                    <a:lnTo>
                      <a:pt x="141" y="53"/>
                    </a:lnTo>
                    <a:lnTo>
                      <a:pt x="141" y="55"/>
                    </a:lnTo>
                    <a:lnTo>
                      <a:pt x="145" y="55"/>
                    </a:lnTo>
                    <a:lnTo>
                      <a:pt x="145" y="58"/>
                    </a:lnTo>
                    <a:lnTo>
                      <a:pt x="139" y="58"/>
                    </a:lnTo>
                    <a:lnTo>
                      <a:pt x="134" y="64"/>
                    </a:lnTo>
                    <a:lnTo>
                      <a:pt x="134" y="68"/>
                    </a:lnTo>
                    <a:lnTo>
                      <a:pt x="139" y="70"/>
                    </a:lnTo>
                    <a:lnTo>
                      <a:pt x="145" y="66"/>
                    </a:lnTo>
                    <a:lnTo>
                      <a:pt x="149" y="68"/>
                    </a:lnTo>
                    <a:lnTo>
                      <a:pt x="158" y="66"/>
                    </a:lnTo>
                    <a:lnTo>
                      <a:pt x="160" y="66"/>
                    </a:lnTo>
                    <a:lnTo>
                      <a:pt x="168" y="70"/>
                    </a:lnTo>
                    <a:lnTo>
                      <a:pt x="177" y="68"/>
                    </a:lnTo>
                    <a:lnTo>
                      <a:pt x="177" y="64"/>
                    </a:lnTo>
                    <a:lnTo>
                      <a:pt x="179" y="66"/>
                    </a:lnTo>
                    <a:lnTo>
                      <a:pt x="183" y="62"/>
                    </a:lnTo>
                    <a:lnTo>
                      <a:pt x="190" y="64"/>
                    </a:lnTo>
                    <a:lnTo>
                      <a:pt x="194" y="62"/>
                    </a:lnTo>
                    <a:lnTo>
                      <a:pt x="196" y="58"/>
                    </a:lnTo>
                    <a:lnTo>
                      <a:pt x="194" y="58"/>
                    </a:lnTo>
                    <a:lnTo>
                      <a:pt x="192" y="58"/>
                    </a:lnTo>
                    <a:lnTo>
                      <a:pt x="188" y="53"/>
                    </a:lnTo>
                    <a:lnTo>
                      <a:pt x="183" y="49"/>
                    </a:lnTo>
                    <a:lnTo>
                      <a:pt x="171" y="49"/>
                    </a:lnTo>
                    <a:lnTo>
                      <a:pt x="170" y="49"/>
                    </a:lnTo>
                    <a:lnTo>
                      <a:pt x="171" y="47"/>
                    </a:lnTo>
                    <a:lnTo>
                      <a:pt x="173" y="43"/>
                    </a:lnTo>
                    <a:lnTo>
                      <a:pt x="170" y="43"/>
                    </a:lnTo>
                    <a:lnTo>
                      <a:pt x="168" y="43"/>
                    </a:lnTo>
                    <a:lnTo>
                      <a:pt x="164" y="43"/>
                    </a:lnTo>
                    <a:lnTo>
                      <a:pt x="158" y="36"/>
                    </a:lnTo>
                    <a:lnTo>
                      <a:pt x="155" y="39"/>
                    </a:lnTo>
                    <a:lnTo>
                      <a:pt x="153" y="36"/>
                    </a:lnTo>
                    <a:lnTo>
                      <a:pt x="147" y="34"/>
                    </a:lnTo>
                    <a:lnTo>
                      <a:pt x="145" y="34"/>
                    </a:lnTo>
                    <a:lnTo>
                      <a:pt x="143" y="34"/>
                    </a:lnTo>
                    <a:lnTo>
                      <a:pt x="143" y="30"/>
                    </a:lnTo>
                    <a:lnTo>
                      <a:pt x="141" y="30"/>
                    </a:lnTo>
                    <a:lnTo>
                      <a:pt x="141" y="34"/>
                    </a:lnTo>
                    <a:lnTo>
                      <a:pt x="138" y="30"/>
                    </a:lnTo>
                    <a:lnTo>
                      <a:pt x="130" y="30"/>
                    </a:lnTo>
                    <a:lnTo>
                      <a:pt x="128" y="24"/>
                    </a:lnTo>
                    <a:lnTo>
                      <a:pt x="123" y="23"/>
                    </a:lnTo>
                    <a:lnTo>
                      <a:pt x="119" y="19"/>
                    </a:lnTo>
                    <a:lnTo>
                      <a:pt x="107" y="17"/>
                    </a:lnTo>
                    <a:lnTo>
                      <a:pt x="104" y="15"/>
                    </a:lnTo>
                    <a:lnTo>
                      <a:pt x="104" y="11"/>
                    </a:lnTo>
                    <a:lnTo>
                      <a:pt x="100" y="9"/>
                    </a:lnTo>
                    <a:lnTo>
                      <a:pt x="96" y="9"/>
                    </a:lnTo>
                    <a:lnTo>
                      <a:pt x="94" y="7"/>
                    </a:lnTo>
                    <a:lnTo>
                      <a:pt x="79" y="6"/>
                    </a:lnTo>
                    <a:lnTo>
                      <a:pt x="75" y="7"/>
                    </a:lnTo>
                    <a:lnTo>
                      <a:pt x="70" y="6"/>
                    </a:lnTo>
                    <a:lnTo>
                      <a:pt x="66" y="2"/>
                    </a:lnTo>
                    <a:lnTo>
                      <a:pt x="57" y="0"/>
                    </a:lnTo>
                    <a:lnTo>
                      <a:pt x="51" y="0"/>
                    </a:lnTo>
                    <a:lnTo>
                      <a:pt x="45" y="4"/>
                    </a:lnTo>
                    <a:lnTo>
                      <a:pt x="36" y="4"/>
                    </a:lnTo>
                    <a:lnTo>
                      <a:pt x="30" y="6"/>
                    </a:lnTo>
                    <a:lnTo>
                      <a:pt x="27" y="9"/>
                    </a:lnTo>
                    <a:lnTo>
                      <a:pt x="17" y="11"/>
                    </a:lnTo>
                    <a:lnTo>
                      <a:pt x="15" y="15"/>
                    </a:lnTo>
                    <a:lnTo>
                      <a:pt x="11" y="15"/>
                    </a:lnTo>
                    <a:lnTo>
                      <a:pt x="11" y="19"/>
                    </a:lnTo>
                    <a:lnTo>
                      <a:pt x="11" y="19"/>
                    </a:lnTo>
                    <a:lnTo>
                      <a:pt x="11"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0" name="Freeform 162"/>
              <p:cNvSpPr>
                <a:spLocks/>
              </p:cNvSpPr>
              <p:nvPr/>
            </p:nvSpPr>
            <p:spPr bwMode="auto">
              <a:xfrm>
                <a:off x="1277" y="2922"/>
                <a:ext cx="90" cy="44"/>
              </a:xfrm>
              <a:custGeom>
                <a:avLst/>
                <a:gdLst/>
                <a:ahLst/>
                <a:cxnLst>
                  <a:cxn ang="0">
                    <a:pos x="77" y="38"/>
                  </a:cxn>
                  <a:cxn ang="0">
                    <a:pos x="71" y="30"/>
                  </a:cxn>
                  <a:cxn ang="0">
                    <a:pos x="75" y="23"/>
                  </a:cxn>
                  <a:cxn ang="0">
                    <a:pos x="79" y="23"/>
                  </a:cxn>
                  <a:cxn ang="0">
                    <a:pos x="77" y="21"/>
                  </a:cxn>
                  <a:cxn ang="0">
                    <a:pos x="75" y="23"/>
                  </a:cxn>
                  <a:cxn ang="0">
                    <a:pos x="71" y="19"/>
                  </a:cxn>
                  <a:cxn ang="0">
                    <a:pos x="66" y="13"/>
                  </a:cxn>
                  <a:cxn ang="0">
                    <a:pos x="60" y="10"/>
                  </a:cxn>
                  <a:cxn ang="0">
                    <a:pos x="53" y="13"/>
                  </a:cxn>
                  <a:cxn ang="0">
                    <a:pos x="53" y="17"/>
                  </a:cxn>
                  <a:cxn ang="0">
                    <a:pos x="49" y="23"/>
                  </a:cxn>
                  <a:cxn ang="0">
                    <a:pos x="41" y="27"/>
                  </a:cxn>
                  <a:cxn ang="0">
                    <a:pos x="41" y="30"/>
                  </a:cxn>
                  <a:cxn ang="0">
                    <a:pos x="47" y="36"/>
                  </a:cxn>
                  <a:cxn ang="0">
                    <a:pos x="45" y="38"/>
                  </a:cxn>
                  <a:cxn ang="0">
                    <a:pos x="41" y="40"/>
                  </a:cxn>
                  <a:cxn ang="0">
                    <a:pos x="34" y="44"/>
                  </a:cxn>
                  <a:cxn ang="0">
                    <a:pos x="34" y="38"/>
                  </a:cxn>
                  <a:cxn ang="0">
                    <a:pos x="34" y="32"/>
                  </a:cxn>
                  <a:cxn ang="0">
                    <a:pos x="28" y="32"/>
                  </a:cxn>
                  <a:cxn ang="0">
                    <a:pos x="28" y="36"/>
                  </a:cxn>
                  <a:cxn ang="0">
                    <a:pos x="26" y="36"/>
                  </a:cxn>
                  <a:cxn ang="0">
                    <a:pos x="21" y="32"/>
                  </a:cxn>
                  <a:cxn ang="0">
                    <a:pos x="13" y="27"/>
                  </a:cxn>
                  <a:cxn ang="0">
                    <a:pos x="13" y="23"/>
                  </a:cxn>
                  <a:cxn ang="0">
                    <a:pos x="11" y="23"/>
                  </a:cxn>
                  <a:cxn ang="0">
                    <a:pos x="4" y="23"/>
                  </a:cxn>
                  <a:cxn ang="0">
                    <a:pos x="0" y="23"/>
                  </a:cxn>
                  <a:cxn ang="0">
                    <a:pos x="2" y="17"/>
                  </a:cxn>
                  <a:cxn ang="0">
                    <a:pos x="2" y="13"/>
                  </a:cxn>
                  <a:cxn ang="0">
                    <a:pos x="0" y="10"/>
                  </a:cxn>
                  <a:cxn ang="0">
                    <a:pos x="2" y="4"/>
                  </a:cxn>
                  <a:cxn ang="0">
                    <a:pos x="7" y="2"/>
                  </a:cxn>
                  <a:cxn ang="0">
                    <a:pos x="9" y="6"/>
                  </a:cxn>
                  <a:cxn ang="0">
                    <a:pos x="13" y="8"/>
                  </a:cxn>
                  <a:cxn ang="0">
                    <a:pos x="13" y="10"/>
                  </a:cxn>
                  <a:cxn ang="0">
                    <a:pos x="13" y="12"/>
                  </a:cxn>
                  <a:cxn ang="0">
                    <a:pos x="17" y="12"/>
                  </a:cxn>
                  <a:cxn ang="0">
                    <a:pos x="17" y="10"/>
                  </a:cxn>
                  <a:cxn ang="0">
                    <a:pos x="21" y="10"/>
                  </a:cxn>
                  <a:cxn ang="0">
                    <a:pos x="32" y="15"/>
                  </a:cxn>
                  <a:cxn ang="0">
                    <a:pos x="37" y="12"/>
                  </a:cxn>
                  <a:cxn ang="0">
                    <a:pos x="53" y="4"/>
                  </a:cxn>
                  <a:cxn ang="0">
                    <a:pos x="60" y="0"/>
                  </a:cxn>
                  <a:cxn ang="0">
                    <a:pos x="62" y="4"/>
                  </a:cxn>
                  <a:cxn ang="0">
                    <a:pos x="71" y="4"/>
                  </a:cxn>
                  <a:cxn ang="0">
                    <a:pos x="81" y="10"/>
                  </a:cxn>
                  <a:cxn ang="0">
                    <a:pos x="85" y="15"/>
                  </a:cxn>
                  <a:cxn ang="0">
                    <a:pos x="88" y="17"/>
                  </a:cxn>
                  <a:cxn ang="0">
                    <a:pos x="88" y="23"/>
                  </a:cxn>
                  <a:cxn ang="0">
                    <a:pos x="88" y="32"/>
                  </a:cxn>
                  <a:cxn ang="0">
                    <a:pos x="85" y="36"/>
                  </a:cxn>
                  <a:cxn ang="0">
                    <a:pos x="81" y="42"/>
                  </a:cxn>
                  <a:cxn ang="0">
                    <a:pos x="81" y="42"/>
                  </a:cxn>
                </a:cxnLst>
                <a:rect l="0" t="0" r="r" b="b"/>
                <a:pathLst>
                  <a:path w="90" h="44">
                    <a:moveTo>
                      <a:pt x="81" y="42"/>
                    </a:moveTo>
                    <a:lnTo>
                      <a:pt x="77" y="38"/>
                    </a:lnTo>
                    <a:lnTo>
                      <a:pt x="75" y="32"/>
                    </a:lnTo>
                    <a:lnTo>
                      <a:pt x="71" y="30"/>
                    </a:lnTo>
                    <a:lnTo>
                      <a:pt x="75" y="27"/>
                    </a:lnTo>
                    <a:lnTo>
                      <a:pt x="75" y="23"/>
                    </a:lnTo>
                    <a:lnTo>
                      <a:pt x="77" y="23"/>
                    </a:lnTo>
                    <a:lnTo>
                      <a:pt x="79" y="23"/>
                    </a:lnTo>
                    <a:lnTo>
                      <a:pt x="79" y="19"/>
                    </a:lnTo>
                    <a:lnTo>
                      <a:pt x="77" y="21"/>
                    </a:lnTo>
                    <a:lnTo>
                      <a:pt x="75" y="23"/>
                    </a:lnTo>
                    <a:lnTo>
                      <a:pt x="75" y="23"/>
                    </a:lnTo>
                    <a:lnTo>
                      <a:pt x="71" y="23"/>
                    </a:lnTo>
                    <a:lnTo>
                      <a:pt x="71" y="19"/>
                    </a:lnTo>
                    <a:lnTo>
                      <a:pt x="68" y="15"/>
                    </a:lnTo>
                    <a:lnTo>
                      <a:pt x="66" y="13"/>
                    </a:lnTo>
                    <a:lnTo>
                      <a:pt x="64" y="12"/>
                    </a:lnTo>
                    <a:lnTo>
                      <a:pt x="60" y="10"/>
                    </a:lnTo>
                    <a:lnTo>
                      <a:pt x="56" y="10"/>
                    </a:lnTo>
                    <a:lnTo>
                      <a:pt x="53" y="13"/>
                    </a:lnTo>
                    <a:lnTo>
                      <a:pt x="53" y="17"/>
                    </a:lnTo>
                    <a:lnTo>
                      <a:pt x="53" y="17"/>
                    </a:lnTo>
                    <a:lnTo>
                      <a:pt x="53" y="19"/>
                    </a:lnTo>
                    <a:lnTo>
                      <a:pt x="49" y="23"/>
                    </a:lnTo>
                    <a:lnTo>
                      <a:pt x="43" y="23"/>
                    </a:lnTo>
                    <a:lnTo>
                      <a:pt x="41" y="27"/>
                    </a:lnTo>
                    <a:lnTo>
                      <a:pt x="41" y="27"/>
                    </a:lnTo>
                    <a:lnTo>
                      <a:pt x="41" y="30"/>
                    </a:lnTo>
                    <a:lnTo>
                      <a:pt x="43" y="32"/>
                    </a:lnTo>
                    <a:lnTo>
                      <a:pt x="47" y="36"/>
                    </a:lnTo>
                    <a:lnTo>
                      <a:pt x="47" y="38"/>
                    </a:lnTo>
                    <a:lnTo>
                      <a:pt x="45" y="38"/>
                    </a:lnTo>
                    <a:lnTo>
                      <a:pt x="41" y="38"/>
                    </a:lnTo>
                    <a:lnTo>
                      <a:pt x="41" y="40"/>
                    </a:lnTo>
                    <a:lnTo>
                      <a:pt x="37" y="44"/>
                    </a:lnTo>
                    <a:lnTo>
                      <a:pt x="34" y="44"/>
                    </a:lnTo>
                    <a:lnTo>
                      <a:pt x="32" y="40"/>
                    </a:lnTo>
                    <a:lnTo>
                      <a:pt x="34" y="38"/>
                    </a:lnTo>
                    <a:lnTo>
                      <a:pt x="32" y="36"/>
                    </a:lnTo>
                    <a:lnTo>
                      <a:pt x="34" y="32"/>
                    </a:lnTo>
                    <a:lnTo>
                      <a:pt x="32" y="32"/>
                    </a:lnTo>
                    <a:lnTo>
                      <a:pt x="28" y="32"/>
                    </a:lnTo>
                    <a:lnTo>
                      <a:pt x="28" y="32"/>
                    </a:lnTo>
                    <a:lnTo>
                      <a:pt x="28" y="36"/>
                    </a:lnTo>
                    <a:lnTo>
                      <a:pt x="28" y="36"/>
                    </a:lnTo>
                    <a:lnTo>
                      <a:pt x="26" y="36"/>
                    </a:lnTo>
                    <a:lnTo>
                      <a:pt x="22" y="36"/>
                    </a:lnTo>
                    <a:lnTo>
                      <a:pt x="21" y="32"/>
                    </a:lnTo>
                    <a:lnTo>
                      <a:pt x="21" y="27"/>
                    </a:lnTo>
                    <a:lnTo>
                      <a:pt x="13" y="27"/>
                    </a:lnTo>
                    <a:lnTo>
                      <a:pt x="13" y="27"/>
                    </a:lnTo>
                    <a:lnTo>
                      <a:pt x="13" y="23"/>
                    </a:lnTo>
                    <a:lnTo>
                      <a:pt x="11" y="23"/>
                    </a:lnTo>
                    <a:lnTo>
                      <a:pt x="11" y="23"/>
                    </a:lnTo>
                    <a:lnTo>
                      <a:pt x="7" y="23"/>
                    </a:lnTo>
                    <a:lnTo>
                      <a:pt x="4" y="23"/>
                    </a:lnTo>
                    <a:lnTo>
                      <a:pt x="2" y="23"/>
                    </a:lnTo>
                    <a:lnTo>
                      <a:pt x="0" y="23"/>
                    </a:lnTo>
                    <a:lnTo>
                      <a:pt x="0" y="21"/>
                    </a:lnTo>
                    <a:lnTo>
                      <a:pt x="2" y="17"/>
                    </a:lnTo>
                    <a:lnTo>
                      <a:pt x="4" y="15"/>
                    </a:lnTo>
                    <a:lnTo>
                      <a:pt x="2" y="13"/>
                    </a:lnTo>
                    <a:lnTo>
                      <a:pt x="0" y="12"/>
                    </a:lnTo>
                    <a:lnTo>
                      <a:pt x="0" y="10"/>
                    </a:lnTo>
                    <a:lnTo>
                      <a:pt x="2" y="8"/>
                    </a:lnTo>
                    <a:lnTo>
                      <a:pt x="2" y="4"/>
                    </a:lnTo>
                    <a:lnTo>
                      <a:pt x="4" y="2"/>
                    </a:lnTo>
                    <a:lnTo>
                      <a:pt x="7" y="2"/>
                    </a:lnTo>
                    <a:lnTo>
                      <a:pt x="7" y="4"/>
                    </a:lnTo>
                    <a:lnTo>
                      <a:pt x="9" y="6"/>
                    </a:lnTo>
                    <a:lnTo>
                      <a:pt x="11" y="8"/>
                    </a:lnTo>
                    <a:lnTo>
                      <a:pt x="13" y="8"/>
                    </a:lnTo>
                    <a:lnTo>
                      <a:pt x="13" y="8"/>
                    </a:lnTo>
                    <a:lnTo>
                      <a:pt x="13" y="10"/>
                    </a:lnTo>
                    <a:lnTo>
                      <a:pt x="13" y="10"/>
                    </a:lnTo>
                    <a:lnTo>
                      <a:pt x="13" y="12"/>
                    </a:lnTo>
                    <a:lnTo>
                      <a:pt x="17" y="13"/>
                    </a:lnTo>
                    <a:lnTo>
                      <a:pt x="17" y="12"/>
                    </a:lnTo>
                    <a:lnTo>
                      <a:pt x="17" y="10"/>
                    </a:lnTo>
                    <a:lnTo>
                      <a:pt x="17" y="10"/>
                    </a:lnTo>
                    <a:lnTo>
                      <a:pt x="17" y="8"/>
                    </a:lnTo>
                    <a:lnTo>
                      <a:pt x="21" y="10"/>
                    </a:lnTo>
                    <a:lnTo>
                      <a:pt x="26" y="13"/>
                    </a:lnTo>
                    <a:lnTo>
                      <a:pt x="32" y="15"/>
                    </a:lnTo>
                    <a:lnTo>
                      <a:pt x="36" y="13"/>
                    </a:lnTo>
                    <a:lnTo>
                      <a:pt x="37" y="12"/>
                    </a:lnTo>
                    <a:lnTo>
                      <a:pt x="47" y="6"/>
                    </a:lnTo>
                    <a:lnTo>
                      <a:pt x="53" y="4"/>
                    </a:lnTo>
                    <a:lnTo>
                      <a:pt x="56" y="0"/>
                    </a:lnTo>
                    <a:lnTo>
                      <a:pt x="60" y="0"/>
                    </a:lnTo>
                    <a:lnTo>
                      <a:pt x="60" y="2"/>
                    </a:lnTo>
                    <a:lnTo>
                      <a:pt x="62" y="4"/>
                    </a:lnTo>
                    <a:lnTo>
                      <a:pt x="64" y="4"/>
                    </a:lnTo>
                    <a:lnTo>
                      <a:pt x="71" y="4"/>
                    </a:lnTo>
                    <a:lnTo>
                      <a:pt x="75" y="4"/>
                    </a:lnTo>
                    <a:lnTo>
                      <a:pt x="81" y="10"/>
                    </a:lnTo>
                    <a:lnTo>
                      <a:pt x="85" y="13"/>
                    </a:lnTo>
                    <a:lnTo>
                      <a:pt x="85" y="15"/>
                    </a:lnTo>
                    <a:lnTo>
                      <a:pt x="88" y="15"/>
                    </a:lnTo>
                    <a:lnTo>
                      <a:pt x="88" y="17"/>
                    </a:lnTo>
                    <a:lnTo>
                      <a:pt x="88" y="21"/>
                    </a:lnTo>
                    <a:lnTo>
                      <a:pt x="88" y="23"/>
                    </a:lnTo>
                    <a:lnTo>
                      <a:pt x="90" y="27"/>
                    </a:lnTo>
                    <a:lnTo>
                      <a:pt x="88" y="32"/>
                    </a:lnTo>
                    <a:lnTo>
                      <a:pt x="86" y="36"/>
                    </a:lnTo>
                    <a:lnTo>
                      <a:pt x="85" y="36"/>
                    </a:lnTo>
                    <a:lnTo>
                      <a:pt x="83" y="36"/>
                    </a:lnTo>
                    <a:lnTo>
                      <a:pt x="81" y="42"/>
                    </a:lnTo>
                    <a:lnTo>
                      <a:pt x="81" y="42"/>
                    </a:lnTo>
                    <a:lnTo>
                      <a:pt x="81" y="4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1" name="Freeform 163"/>
              <p:cNvSpPr>
                <a:spLocks/>
              </p:cNvSpPr>
              <p:nvPr/>
            </p:nvSpPr>
            <p:spPr bwMode="auto">
              <a:xfrm>
                <a:off x="1209" y="2892"/>
                <a:ext cx="62" cy="57"/>
              </a:xfrm>
              <a:custGeom>
                <a:avLst/>
                <a:gdLst/>
                <a:ahLst/>
                <a:cxnLst>
                  <a:cxn ang="0">
                    <a:pos x="55" y="53"/>
                  </a:cxn>
                  <a:cxn ang="0">
                    <a:pos x="57" y="53"/>
                  </a:cxn>
                  <a:cxn ang="0">
                    <a:pos x="57" y="57"/>
                  </a:cxn>
                  <a:cxn ang="0">
                    <a:pos x="53" y="55"/>
                  </a:cxn>
                  <a:cxn ang="0">
                    <a:pos x="49" y="53"/>
                  </a:cxn>
                  <a:cxn ang="0">
                    <a:pos x="49" y="47"/>
                  </a:cxn>
                  <a:cxn ang="0">
                    <a:pos x="43" y="47"/>
                  </a:cxn>
                  <a:cxn ang="0">
                    <a:pos x="45" y="49"/>
                  </a:cxn>
                  <a:cxn ang="0">
                    <a:pos x="49" y="53"/>
                  </a:cxn>
                  <a:cxn ang="0">
                    <a:pos x="43" y="53"/>
                  </a:cxn>
                  <a:cxn ang="0">
                    <a:pos x="38" y="49"/>
                  </a:cxn>
                  <a:cxn ang="0">
                    <a:pos x="40" y="43"/>
                  </a:cxn>
                  <a:cxn ang="0">
                    <a:pos x="36" y="36"/>
                  </a:cxn>
                  <a:cxn ang="0">
                    <a:pos x="30" y="34"/>
                  </a:cxn>
                  <a:cxn ang="0">
                    <a:pos x="25" y="27"/>
                  </a:cxn>
                  <a:cxn ang="0">
                    <a:pos x="21" y="21"/>
                  </a:cxn>
                  <a:cxn ang="0">
                    <a:pos x="13" y="19"/>
                  </a:cxn>
                  <a:cxn ang="0">
                    <a:pos x="13" y="21"/>
                  </a:cxn>
                  <a:cxn ang="0">
                    <a:pos x="19" y="28"/>
                  </a:cxn>
                  <a:cxn ang="0">
                    <a:pos x="15" y="30"/>
                  </a:cxn>
                  <a:cxn ang="0">
                    <a:pos x="9" y="27"/>
                  </a:cxn>
                  <a:cxn ang="0">
                    <a:pos x="0" y="21"/>
                  </a:cxn>
                  <a:cxn ang="0">
                    <a:pos x="0" y="15"/>
                  </a:cxn>
                  <a:cxn ang="0">
                    <a:pos x="4" y="10"/>
                  </a:cxn>
                  <a:cxn ang="0">
                    <a:pos x="0" y="8"/>
                  </a:cxn>
                  <a:cxn ang="0">
                    <a:pos x="4" y="2"/>
                  </a:cxn>
                  <a:cxn ang="0">
                    <a:pos x="4" y="0"/>
                  </a:cxn>
                  <a:cxn ang="0">
                    <a:pos x="9" y="0"/>
                  </a:cxn>
                  <a:cxn ang="0">
                    <a:pos x="23" y="2"/>
                  </a:cxn>
                  <a:cxn ang="0">
                    <a:pos x="30" y="4"/>
                  </a:cxn>
                  <a:cxn ang="0">
                    <a:pos x="32" y="6"/>
                  </a:cxn>
                  <a:cxn ang="0">
                    <a:pos x="40" y="10"/>
                  </a:cxn>
                  <a:cxn ang="0">
                    <a:pos x="40" y="11"/>
                  </a:cxn>
                  <a:cxn ang="0">
                    <a:pos x="43" y="10"/>
                  </a:cxn>
                  <a:cxn ang="0">
                    <a:pos x="49" y="11"/>
                  </a:cxn>
                  <a:cxn ang="0">
                    <a:pos x="49" y="19"/>
                  </a:cxn>
                  <a:cxn ang="0">
                    <a:pos x="55" y="25"/>
                  </a:cxn>
                  <a:cxn ang="0">
                    <a:pos x="60" y="28"/>
                  </a:cxn>
                  <a:cxn ang="0">
                    <a:pos x="62" y="30"/>
                  </a:cxn>
                  <a:cxn ang="0">
                    <a:pos x="58" y="30"/>
                  </a:cxn>
                  <a:cxn ang="0">
                    <a:pos x="55" y="38"/>
                  </a:cxn>
                  <a:cxn ang="0">
                    <a:pos x="57" y="42"/>
                  </a:cxn>
                  <a:cxn ang="0">
                    <a:pos x="57" y="47"/>
                  </a:cxn>
                  <a:cxn ang="0">
                    <a:pos x="55" y="53"/>
                  </a:cxn>
                  <a:cxn ang="0">
                    <a:pos x="55" y="53"/>
                  </a:cxn>
                  <a:cxn ang="0">
                    <a:pos x="55" y="53"/>
                  </a:cxn>
                </a:cxnLst>
                <a:rect l="0" t="0" r="r" b="b"/>
                <a:pathLst>
                  <a:path w="62" h="57">
                    <a:moveTo>
                      <a:pt x="55" y="53"/>
                    </a:moveTo>
                    <a:lnTo>
                      <a:pt x="55" y="53"/>
                    </a:lnTo>
                    <a:lnTo>
                      <a:pt x="57" y="53"/>
                    </a:lnTo>
                    <a:lnTo>
                      <a:pt x="57" y="53"/>
                    </a:lnTo>
                    <a:lnTo>
                      <a:pt x="57" y="55"/>
                    </a:lnTo>
                    <a:lnTo>
                      <a:pt x="57" y="57"/>
                    </a:lnTo>
                    <a:lnTo>
                      <a:pt x="53" y="57"/>
                    </a:lnTo>
                    <a:lnTo>
                      <a:pt x="53" y="55"/>
                    </a:lnTo>
                    <a:lnTo>
                      <a:pt x="51" y="55"/>
                    </a:lnTo>
                    <a:lnTo>
                      <a:pt x="49" y="53"/>
                    </a:lnTo>
                    <a:lnTo>
                      <a:pt x="49" y="49"/>
                    </a:lnTo>
                    <a:lnTo>
                      <a:pt x="49" y="47"/>
                    </a:lnTo>
                    <a:lnTo>
                      <a:pt x="43" y="45"/>
                    </a:lnTo>
                    <a:lnTo>
                      <a:pt x="43" y="47"/>
                    </a:lnTo>
                    <a:lnTo>
                      <a:pt x="43" y="47"/>
                    </a:lnTo>
                    <a:lnTo>
                      <a:pt x="45" y="49"/>
                    </a:lnTo>
                    <a:lnTo>
                      <a:pt x="49" y="49"/>
                    </a:lnTo>
                    <a:lnTo>
                      <a:pt x="49" y="53"/>
                    </a:lnTo>
                    <a:lnTo>
                      <a:pt x="45" y="55"/>
                    </a:lnTo>
                    <a:lnTo>
                      <a:pt x="43" y="53"/>
                    </a:lnTo>
                    <a:lnTo>
                      <a:pt x="40" y="53"/>
                    </a:lnTo>
                    <a:lnTo>
                      <a:pt x="38" y="49"/>
                    </a:lnTo>
                    <a:lnTo>
                      <a:pt x="38" y="47"/>
                    </a:lnTo>
                    <a:lnTo>
                      <a:pt x="40" y="43"/>
                    </a:lnTo>
                    <a:lnTo>
                      <a:pt x="40" y="42"/>
                    </a:lnTo>
                    <a:lnTo>
                      <a:pt x="36" y="36"/>
                    </a:lnTo>
                    <a:lnTo>
                      <a:pt x="34" y="36"/>
                    </a:lnTo>
                    <a:lnTo>
                      <a:pt x="30" y="34"/>
                    </a:lnTo>
                    <a:lnTo>
                      <a:pt x="25" y="30"/>
                    </a:lnTo>
                    <a:lnTo>
                      <a:pt x="25" y="27"/>
                    </a:lnTo>
                    <a:lnTo>
                      <a:pt x="21" y="25"/>
                    </a:lnTo>
                    <a:lnTo>
                      <a:pt x="21" y="21"/>
                    </a:lnTo>
                    <a:lnTo>
                      <a:pt x="17" y="19"/>
                    </a:lnTo>
                    <a:lnTo>
                      <a:pt x="13" y="19"/>
                    </a:lnTo>
                    <a:lnTo>
                      <a:pt x="13" y="19"/>
                    </a:lnTo>
                    <a:lnTo>
                      <a:pt x="13" y="21"/>
                    </a:lnTo>
                    <a:lnTo>
                      <a:pt x="17" y="25"/>
                    </a:lnTo>
                    <a:lnTo>
                      <a:pt x="19" y="28"/>
                    </a:lnTo>
                    <a:lnTo>
                      <a:pt x="17" y="30"/>
                    </a:lnTo>
                    <a:lnTo>
                      <a:pt x="15" y="30"/>
                    </a:lnTo>
                    <a:lnTo>
                      <a:pt x="13" y="28"/>
                    </a:lnTo>
                    <a:lnTo>
                      <a:pt x="9" y="27"/>
                    </a:lnTo>
                    <a:lnTo>
                      <a:pt x="4" y="27"/>
                    </a:lnTo>
                    <a:lnTo>
                      <a:pt x="0" y="21"/>
                    </a:lnTo>
                    <a:lnTo>
                      <a:pt x="0" y="19"/>
                    </a:lnTo>
                    <a:lnTo>
                      <a:pt x="0" y="15"/>
                    </a:lnTo>
                    <a:lnTo>
                      <a:pt x="4" y="11"/>
                    </a:lnTo>
                    <a:lnTo>
                      <a:pt x="4" y="10"/>
                    </a:lnTo>
                    <a:lnTo>
                      <a:pt x="0" y="8"/>
                    </a:lnTo>
                    <a:lnTo>
                      <a:pt x="0" y="8"/>
                    </a:lnTo>
                    <a:lnTo>
                      <a:pt x="0" y="6"/>
                    </a:lnTo>
                    <a:lnTo>
                      <a:pt x="4" y="2"/>
                    </a:lnTo>
                    <a:lnTo>
                      <a:pt x="0" y="2"/>
                    </a:lnTo>
                    <a:lnTo>
                      <a:pt x="4" y="0"/>
                    </a:lnTo>
                    <a:lnTo>
                      <a:pt x="4" y="0"/>
                    </a:lnTo>
                    <a:lnTo>
                      <a:pt x="9" y="0"/>
                    </a:lnTo>
                    <a:lnTo>
                      <a:pt x="19" y="2"/>
                    </a:lnTo>
                    <a:lnTo>
                      <a:pt x="23" y="2"/>
                    </a:lnTo>
                    <a:lnTo>
                      <a:pt x="28" y="2"/>
                    </a:lnTo>
                    <a:lnTo>
                      <a:pt x="30" y="4"/>
                    </a:lnTo>
                    <a:lnTo>
                      <a:pt x="32" y="6"/>
                    </a:lnTo>
                    <a:lnTo>
                      <a:pt x="32" y="6"/>
                    </a:lnTo>
                    <a:lnTo>
                      <a:pt x="38" y="10"/>
                    </a:lnTo>
                    <a:lnTo>
                      <a:pt x="40" y="10"/>
                    </a:lnTo>
                    <a:lnTo>
                      <a:pt x="40" y="10"/>
                    </a:lnTo>
                    <a:lnTo>
                      <a:pt x="40" y="11"/>
                    </a:lnTo>
                    <a:lnTo>
                      <a:pt x="43" y="11"/>
                    </a:lnTo>
                    <a:lnTo>
                      <a:pt x="43" y="10"/>
                    </a:lnTo>
                    <a:lnTo>
                      <a:pt x="45" y="8"/>
                    </a:lnTo>
                    <a:lnTo>
                      <a:pt x="49" y="11"/>
                    </a:lnTo>
                    <a:lnTo>
                      <a:pt x="49" y="15"/>
                    </a:lnTo>
                    <a:lnTo>
                      <a:pt x="49" y="19"/>
                    </a:lnTo>
                    <a:lnTo>
                      <a:pt x="53" y="23"/>
                    </a:lnTo>
                    <a:lnTo>
                      <a:pt x="55" y="25"/>
                    </a:lnTo>
                    <a:lnTo>
                      <a:pt x="57" y="28"/>
                    </a:lnTo>
                    <a:lnTo>
                      <a:pt x="60" y="28"/>
                    </a:lnTo>
                    <a:lnTo>
                      <a:pt x="62" y="30"/>
                    </a:lnTo>
                    <a:lnTo>
                      <a:pt x="62" y="30"/>
                    </a:lnTo>
                    <a:lnTo>
                      <a:pt x="60" y="30"/>
                    </a:lnTo>
                    <a:lnTo>
                      <a:pt x="58" y="30"/>
                    </a:lnTo>
                    <a:lnTo>
                      <a:pt x="58" y="34"/>
                    </a:lnTo>
                    <a:lnTo>
                      <a:pt x="55" y="38"/>
                    </a:lnTo>
                    <a:lnTo>
                      <a:pt x="55" y="40"/>
                    </a:lnTo>
                    <a:lnTo>
                      <a:pt x="57" y="42"/>
                    </a:lnTo>
                    <a:lnTo>
                      <a:pt x="60" y="45"/>
                    </a:lnTo>
                    <a:lnTo>
                      <a:pt x="57" y="47"/>
                    </a:lnTo>
                    <a:lnTo>
                      <a:pt x="55" y="49"/>
                    </a:lnTo>
                    <a:lnTo>
                      <a:pt x="55" y="53"/>
                    </a:lnTo>
                    <a:lnTo>
                      <a:pt x="55" y="53"/>
                    </a:lnTo>
                    <a:lnTo>
                      <a:pt x="55" y="53"/>
                    </a:lnTo>
                    <a:lnTo>
                      <a:pt x="55" y="53"/>
                    </a:lnTo>
                    <a:lnTo>
                      <a:pt x="55" y="5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2" name="Freeform 164"/>
              <p:cNvSpPr>
                <a:spLocks/>
              </p:cNvSpPr>
              <p:nvPr/>
            </p:nvSpPr>
            <p:spPr bwMode="auto">
              <a:xfrm>
                <a:off x="1183" y="2817"/>
                <a:ext cx="83" cy="85"/>
              </a:xfrm>
              <a:custGeom>
                <a:avLst/>
                <a:gdLst/>
                <a:ahLst/>
                <a:cxnLst>
                  <a:cxn ang="0">
                    <a:pos x="34" y="75"/>
                  </a:cxn>
                  <a:cxn ang="0">
                    <a:pos x="39" y="75"/>
                  </a:cxn>
                  <a:cxn ang="0">
                    <a:pos x="52" y="77"/>
                  </a:cxn>
                  <a:cxn ang="0">
                    <a:pos x="58" y="79"/>
                  </a:cxn>
                  <a:cxn ang="0">
                    <a:pos x="62" y="81"/>
                  </a:cxn>
                  <a:cxn ang="0">
                    <a:pos x="67" y="85"/>
                  </a:cxn>
                  <a:cxn ang="0">
                    <a:pos x="69" y="85"/>
                  </a:cxn>
                  <a:cxn ang="0">
                    <a:pos x="71" y="79"/>
                  </a:cxn>
                  <a:cxn ang="0">
                    <a:pos x="67" y="75"/>
                  </a:cxn>
                  <a:cxn ang="0">
                    <a:pos x="71" y="66"/>
                  </a:cxn>
                  <a:cxn ang="0">
                    <a:pos x="69" y="66"/>
                  </a:cxn>
                  <a:cxn ang="0">
                    <a:pos x="67" y="66"/>
                  </a:cxn>
                  <a:cxn ang="0">
                    <a:pos x="69" y="62"/>
                  </a:cxn>
                  <a:cxn ang="0">
                    <a:pos x="69" y="56"/>
                  </a:cxn>
                  <a:cxn ang="0">
                    <a:pos x="73" y="47"/>
                  </a:cxn>
                  <a:cxn ang="0">
                    <a:pos x="73" y="49"/>
                  </a:cxn>
                  <a:cxn ang="0">
                    <a:pos x="73" y="53"/>
                  </a:cxn>
                  <a:cxn ang="0">
                    <a:pos x="73" y="56"/>
                  </a:cxn>
                  <a:cxn ang="0">
                    <a:pos x="75" y="54"/>
                  </a:cxn>
                  <a:cxn ang="0">
                    <a:pos x="77" y="37"/>
                  </a:cxn>
                  <a:cxn ang="0">
                    <a:pos x="75" y="32"/>
                  </a:cxn>
                  <a:cxn ang="0">
                    <a:pos x="75" y="30"/>
                  </a:cxn>
                  <a:cxn ang="0">
                    <a:pos x="77" y="30"/>
                  </a:cxn>
                  <a:cxn ang="0">
                    <a:pos x="79" y="26"/>
                  </a:cxn>
                  <a:cxn ang="0">
                    <a:pos x="83" y="21"/>
                  </a:cxn>
                  <a:cxn ang="0">
                    <a:pos x="83" y="17"/>
                  </a:cxn>
                  <a:cxn ang="0">
                    <a:pos x="83" y="13"/>
                  </a:cxn>
                  <a:cxn ang="0">
                    <a:pos x="83" y="4"/>
                  </a:cxn>
                  <a:cxn ang="0">
                    <a:pos x="83" y="0"/>
                  </a:cxn>
                  <a:cxn ang="0">
                    <a:pos x="79" y="2"/>
                  </a:cxn>
                  <a:cxn ang="0">
                    <a:pos x="77" y="0"/>
                  </a:cxn>
                  <a:cxn ang="0">
                    <a:pos x="75" y="4"/>
                  </a:cxn>
                  <a:cxn ang="0">
                    <a:pos x="69" y="7"/>
                  </a:cxn>
                  <a:cxn ang="0">
                    <a:pos x="64" y="9"/>
                  </a:cxn>
                  <a:cxn ang="0">
                    <a:pos x="58" y="9"/>
                  </a:cxn>
                  <a:cxn ang="0">
                    <a:pos x="54" y="5"/>
                  </a:cxn>
                  <a:cxn ang="0">
                    <a:pos x="54" y="9"/>
                  </a:cxn>
                  <a:cxn ang="0">
                    <a:pos x="47" y="15"/>
                  </a:cxn>
                  <a:cxn ang="0">
                    <a:pos x="45" y="17"/>
                  </a:cxn>
                  <a:cxn ang="0">
                    <a:pos x="37" y="22"/>
                  </a:cxn>
                  <a:cxn ang="0">
                    <a:pos x="34" y="24"/>
                  </a:cxn>
                  <a:cxn ang="0">
                    <a:pos x="30" y="22"/>
                  </a:cxn>
                  <a:cxn ang="0">
                    <a:pos x="20" y="26"/>
                  </a:cxn>
                  <a:cxn ang="0">
                    <a:pos x="15" y="30"/>
                  </a:cxn>
                  <a:cxn ang="0">
                    <a:pos x="13" y="36"/>
                  </a:cxn>
                  <a:cxn ang="0">
                    <a:pos x="7" y="39"/>
                  </a:cxn>
                  <a:cxn ang="0">
                    <a:pos x="3" y="41"/>
                  </a:cxn>
                  <a:cxn ang="0">
                    <a:pos x="0" y="41"/>
                  </a:cxn>
                  <a:cxn ang="0">
                    <a:pos x="5" y="51"/>
                  </a:cxn>
                  <a:cxn ang="0">
                    <a:pos x="9" y="56"/>
                  </a:cxn>
                  <a:cxn ang="0">
                    <a:pos x="19" y="66"/>
                  </a:cxn>
                  <a:cxn ang="0">
                    <a:pos x="30" y="75"/>
                  </a:cxn>
                  <a:cxn ang="0">
                    <a:pos x="30" y="77"/>
                  </a:cxn>
                </a:cxnLst>
                <a:rect l="0" t="0" r="r" b="b"/>
                <a:pathLst>
                  <a:path w="83" h="85">
                    <a:moveTo>
                      <a:pt x="30" y="77"/>
                    </a:moveTo>
                    <a:lnTo>
                      <a:pt x="34" y="75"/>
                    </a:lnTo>
                    <a:lnTo>
                      <a:pt x="34" y="75"/>
                    </a:lnTo>
                    <a:lnTo>
                      <a:pt x="39" y="75"/>
                    </a:lnTo>
                    <a:lnTo>
                      <a:pt x="49" y="77"/>
                    </a:lnTo>
                    <a:lnTo>
                      <a:pt x="52" y="77"/>
                    </a:lnTo>
                    <a:lnTo>
                      <a:pt x="58" y="77"/>
                    </a:lnTo>
                    <a:lnTo>
                      <a:pt x="58" y="79"/>
                    </a:lnTo>
                    <a:lnTo>
                      <a:pt x="62" y="81"/>
                    </a:lnTo>
                    <a:lnTo>
                      <a:pt x="62" y="81"/>
                    </a:lnTo>
                    <a:lnTo>
                      <a:pt x="67" y="85"/>
                    </a:lnTo>
                    <a:lnTo>
                      <a:pt x="67" y="85"/>
                    </a:lnTo>
                    <a:lnTo>
                      <a:pt x="69" y="85"/>
                    </a:lnTo>
                    <a:lnTo>
                      <a:pt x="69" y="85"/>
                    </a:lnTo>
                    <a:lnTo>
                      <a:pt x="71" y="83"/>
                    </a:lnTo>
                    <a:lnTo>
                      <a:pt x="71" y="79"/>
                    </a:lnTo>
                    <a:lnTo>
                      <a:pt x="67" y="77"/>
                    </a:lnTo>
                    <a:lnTo>
                      <a:pt x="67" y="75"/>
                    </a:lnTo>
                    <a:lnTo>
                      <a:pt x="69" y="69"/>
                    </a:lnTo>
                    <a:lnTo>
                      <a:pt x="71" y="66"/>
                    </a:lnTo>
                    <a:lnTo>
                      <a:pt x="71" y="62"/>
                    </a:lnTo>
                    <a:lnTo>
                      <a:pt x="69" y="66"/>
                    </a:lnTo>
                    <a:lnTo>
                      <a:pt x="69" y="66"/>
                    </a:lnTo>
                    <a:lnTo>
                      <a:pt x="67" y="66"/>
                    </a:lnTo>
                    <a:lnTo>
                      <a:pt x="67" y="66"/>
                    </a:lnTo>
                    <a:lnTo>
                      <a:pt x="69" y="62"/>
                    </a:lnTo>
                    <a:lnTo>
                      <a:pt x="71" y="56"/>
                    </a:lnTo>
                    <a:lnTo>
                      <a:pt x="69" y="56"/>
                    </a:lnTo>
                    <a:lnTo>
                      <a:pt x="69" y="53"/>
                    </a:lnTo>
                    <a:lnTo>
                      <a:pt x="73" y="47"/>
                    </a:lnTo>
                    <a:lnTo>
                      <a:pt x="73" y="47"/>
                    </a:lnTo>
                    <a:lnTo>
                      <a:pt x="73" y="49"/>
                    </a:lnTo>
                    <a:lnTo>
                      <a:pt x="73" y="49"/>
                    </a:lnTo>
                    <a:lnTo>
                      <a:pt x="73" y="53"/>
                    </a:lnTo>
                    <a:lnTo>
                      <a:pt x="73" y="53"/>
                    </a:lnTo>
                    <a:lnTo>
                      <a:pt x="73" y="56"/>
                    </a:lnTo>
                    <a:lnTo>
                      <a:pt x="75" y="56"/>
                    </a:lnTo>
                    <a:lnTo>
                      <a:pt x="75" y="54"/>
                    </a:lnTo>
                    <a:lnTo>
                      <a:pt x="77" y="47"/>
                    </a:lnTo>
                    <a:lnTo>
                      <a:pt x="77" y="37"/>
                    </a:lnTo>
                    <a:lnTo>
                      <a:pt x="77" y="36"/>
                    </a:lnTo>
                    <a:lnTo>
                      <a:pt x="75" y="32"/>
                    </a:lnTo>
                    <a:lnTo>
                      <a:pt x="75" y="32"/>
                    </a:lnTo>
                    <a:lnTo>
                      <a:pt x="75" y="30"/>
                    </a:lnTo>
                    <a:lnTo>
                      <a:pt x="75" y="30"/>
                    </a:lnTo>
                    <a:lnTo>
                      <a:pt x="77" y="30"/>
                    </a:lnTo>
                    <a:lnTo>
                      <a:pt x="79" y="30"/>
                    </a:lnTo>
                    <a:lnTo>
                      <a:pt x="79" y="26"/>
                    </a:lnTo>
                    <a:lnTo>
                      <a:pt x="83" y="22"/>
                    </a:lnTo>
                    <a:lnTo>
                      <a:pt x="83" y="21"/>
                    </a:lnTo>
                    <a:lnTo>
                      <a:pt x="83" y="17"/>
                    </a:lnTo>
                    <a:lnTo>
                      <a:pt x="83" y="17"/>
                    </a:lnTo>
                    <a:lnTo>
                      <a:pt x="83" y="15"/>
                    </a:lnTo>
                    <a:lnTo>
                      <a:pt x="83" y="13"/>
                    </a:lnTo>
                    <a:lnTo>
                      <a:pt x="83" y="9"/>
                    </a:lnTo>
                    <a:lnTo>
                      <a:pt x="83" y="4"/>
                    </a:lnTo>
                    <a:lnTo>
                      <a:pt x="83" y="2"/>
                    </a:lnTo>
                    <a:lnTo>
                      <a:pt x="83" y="0"/>
                    </a:lnTo>
                    <a:lnTo>
                      <a:pt x="83" y="2"/>
                    </a:lnTo>
                    <a:lnTo>
                      <a:pt x="79" y="2"/>
                    </a:lnTo>
                    <a:lnTo>
                      <a:pt x="79" y="0"/>
                    </a:lnTo>
                    <a:lnTo>
                      <a:pt x="77" y="0"/>
                    </a:lnTo>
                    <a:lnTo>
                      <a:pt x="75" y="2"/>
                    </a:lnTo>
                    <a:lnTo>
                      <a:pt x="75" y="4"/>
                    </a:lnTo>
                    <a:lnTo>
                      <a:pt x="71" y="5"/>
                    </a:lnTo>
                    <a:lnTo>
                      <a:pt x="69" y="7"/>
                    </a:lnTo>
                    <a:lnTo>
                      <a:pt x="67" y="7"/>
                    </a:lnTo>
                    <a:lnTo>
                      <a:pt x="64" y="9"/>
                    </a:lnTo>
                    <a:lnTo>
                      <a:pt x="62" y="9"/>
                    </a:lnTo>
                    <a:lnTo>
                      <a:pt x="58" y="9"/>
                    </a:lnTo>
                    <a:lnTo>
                      <a:pt x="58" y="7"/>
                    </a:lnTo>
                    <a:lnTo>
                      <a:pt x="54" y="5"/>
                    </a:lnTo>
                    <a:lnTo>
                      <a:pt x="54" y="5"/>
                    </a:lnTo>
                    <a:lnTo>
                      <a:pt x="54" y="9"/>
                    </a:lnTo>
                    <a:lnTo>
                      <a:pt x="51" y="9"/>
                    </a:lnTo>
                    <a:lnTo>
                      <a:pt x="47" y="15"/>
                    </a:lnTo>
                    <a:lnTo>
                      <a:pt x="47" y="17"/>
                    </a:lnTo>
                    <a:lnTo>
                      <a:pt x="45" y="17"/>
                    </a:lnTo>
                    <a:lnTo>
                      <a:pt x="41" y="21"/>
                    </a:lnTo>
                    <a:lnTo>
                      <a:pt x="37" y="22"/>
                    </a:lnTo>
                    <a:lnTo>
                      <a:pt x="37" y="24"/>
                    </a:lnTo>
                    <a:lnTo>
                      <a:pt x="34" y="24"/>
                    </a:lnTo>
                    <a:lnTo>
                      <a:pt x="34" y="24"/>
                    </a:lnTo>
                    <a:lnTo>
                      <a:pt x="30" y="22"/>
                    </a:lnTo>
                    <a:lnTo>
                      <a:pt x="24" y="22"/>
                    </a:lnTo>
                    <a:lnTo>
                      <a:pt x="20" y="26"/>
                    </a:lnTo>
                    <a:lnTo>
                      <a:pt x="15" y="26"/>
                    </a:lnTo>
                    <a:lnTo>
                      <a:pt x="15" y="30"/>
                    </a:lnTo>
                    <a:lnTo>
                      <a:pt x="15" y="30"/>
                    </a:lnTo>
                    <a:lnTo>
                      <a:pt x="13" y="36"/>
                    </a:lnTo>
                    <a:lnTo>
                      <a:pt x="13" y="39"/>
                    </a:lnTo>
                    <a:lnTo>
                      <a:pt x="7" y="39"/>
                    </a:lnTo>
                    <a:lnTo>
                      <a:pt x="3" y="39"/>
                    </a:lnTo>
                    <a:lnTo>
                      <a:pt x="3" y="41"/>
                    </a:lnTo>
                    <a:lnTo>
                      <a:pt x="3" y="41"/>
                    </a:lnTo>
                    <a:lnTo>
                      <a:pt x="0" y="41"/>
                    </a:lnTo>
                    <a:lnTo>
                      <a:pt x="0" y="41"/>
                    </a:lnTo>
                    <a:lnTo>
                      <a:pt x="5" y="51"/>
                    </a:lnTo>
                    <a:lnTo>
                      <a:pt x="9" y="53"/>
                    </a:lnTo>
                    <a:lnTo>
                      <a:pt x="9" y="56"/>
                    </a:lnTo>
                    <a:lnTo>
                      <a:pt x="15" y="60"/>
                    </a:lnTo>
                    <a:lnTo>
                      <a:pt x="19" y="66"/>
                    </a:lnTo>
                    <a:lnTo>
                      <a:pt x="28" y="75"/>
                    </a:lnTo>
                    <a:lnTo>
                      <a:pt x="30" y="75"/>
                    </a:lnTo>
                    <a:lnTo>
                      <a:pt x="30" y="77"/>
                    </a:lnTo>
                    <a:lnTo>
                      <a:pt x="30" y="77"/>
                    </a:lnTo>
                    <a:lnTo>
                      <a:pt x="30" y="7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3" name="Freeform 165"/>
              <p:cNvSpPr>
                <a:spLocks/>
              </p:cNvSpPr>
              <p:nvPr/>
            </p:nvSpPr>
            <p:spPr bwMode="auto">
              <a:xfrm>
                <a:off x="1145" y="2796"/>
                <a:ext cx="121" cy="58"/>
              </a:xfrm>
              <a:custGeom>
                <a:avLst/>
                <a:gdLst/>
                <a:ahLst/>
                <a:cxnLst>
                  <a:cxn ang="0">
                    <a:pos x="45" y="58"/>
                  </a:cxn>
                  <a:cxn ang="0">
                    <a:pos x="51" y="55"/>
                  </a:cxn>
                  <a:cxn ang="0">
                    <a:pos x="53" y="49"/>
                  </a:cxn>
                  <a:cxn ang="0">
                    <a:pos x="57" y="45"/>
                  </a:cxn>
                  <a:cxn ang="0">
                    <a:pos x="68" y="42"/>
                  </a:cxn>
                  <a:cxn ang="0">
                    <a:pos x="72" y="43"/>
                  </a:cxn>
                  <a:cxn ang="0">
                    <a:pos x="75" y="42"/>
                  </a:cxn>
                  <a:cxn ang="0">
                    <a:pos x="81" y="36"/>
                  </a:cxn>
                  <a:cxn ang="0">
                    <a:pos x="83" y="34"/>
                  </a:cxn>
                  <a:cxn ang="0">
                    <a:pos x="90" y="28"/>
                  </a:cxn>
                  <a:cxn ang="0">
                    <a:pos x="90" y="25"/>
                  </a:cxn>
                  <a:cxn ang="0">
                    <a:pos x="94" y="28"/>
                  </a:cxn>
                  <a:cxn ang="0">
                    <a:pos x="100" y="28"/>
                  </a:cxn>
                  <a:cxn ang="0">
                    <a:pos x="105" y="26"/>
                  </a:cxn>
                  <a:cxn ang="0">
                    <a:pos x="109" y="25"/>
                  </a:cxn>
                  <a:cxn ang="0">
                    <a:pos x="113" y="21"/>
                  </a:cxn>
                  <a:cxn ang="0">
                    <a:pos x="115" y="21"/>
                  </a:cxn>
                  <a:cxn ang="0">
                    <a:pos x="119" y="21"/>
                  </a:cxn>
                  <a:cxn ang="0">
                    <a:pos x="119" y="19"/>
                  </a:cxn>
                  <a:cxn ang="0">
                    <a:pos x="113" y="13"/>
                  </a:cxn>
                  <a:cxn ang="0">
                    <a:pos x="113" y="17"/>
                  </a:cxn>
                  <a:cxn ang="0">
                    <a:pos x="105" y="17"/>
                  </a:cxn>
                  <a:cxn ang="0">
                    <a:pos x="100" y="13"/>
                  </a:cxn>
                  <a:cxn ang="0">
                    <a:pos x="98" y="13"/>
                  </a:cxn>
                  <a:cxn ang="0">
                    <a:pos x="98" y="9"/>
                  </a:cxn>
                  <a:cxn ang="0">
                    <a:pos x="104" y="9"/>
                  </a:cxn>
                  <a:cxn ang="0">
                    <a:pos x="109" y="11"/>
                  </a:cxn>
                  <a:cxn ang="0">
                    <a:pos x="102" y="6"/>
                  </a:cxn>
                  <a:cxn ang="0">
                    <a:pos x="94" y="6"/>
                  </a:cxn>
                  <a:cxn ang="0">
                    <a:pos x="94" y="8"/>
                  </a:cxn>
                  <a:cxn ang="0">
                    <a:pos x="83" y="6"/>
                  </a:cxn>
                  <a:cxn ang="0">
                    <a:pos x="72" y="2"/>
                  </a:cxn>
                  <a:cxn ang="0">
                    <a:pos x="66" y="2"/>
                  </a:cxn>
                  <a:cxn ang="0">
                    <a:pos x="64" y="6"/>
                  </a:cxn>
                  <a:cxn ang="0">
                    <a:pos x="60" y="6"/>
                  </a:cxn>
                  <a:cxn ang="0">
                    <a:pos x="47" y="6"/>
                  </a:cxn>
                  <a:cxn ang="0">
                    <a:pos x="32" y="8"/>
                  </a:cxn>
                  <a:cxn ang="0">
                    <a:pos x="28" y="8"/>
                  </a:cxn>
                  <a:cxn ang="0">
                    <a:pos x="25" y="13"/>
                  </a:cxn>
                  <a:cxn ang="0">
                    <a:pos x="17" y="15"/>
                  </a:cxn>
                  <a:cxn ang="0">
                    <a:pos x="9" y="25"/>
                  </a:cxn>
                  <a:cxn ang="0">
                    <a:pos x="8" y="32"/>
                  </a:cxn>
                  <a:cxn ang="0">
                    <a:pos x="4" y="36"/>
                  </a:cxn>
                  <a:cxn ang="0">
                    <a:pos x="2" y="38"/>
                  </a:cxn>
                  <a:cxn ang="0">
                    <a:pos x="4" y="51"/>
                  </a:cxn>
                  <a:cxn ang="0">
                    <a:pos x="11" y="53"/>
                  </a:cxn>
                  <a:cxn ang="0">
                    <a:pos x="17" y="55"/>
                  </a:cxn>
                  <a:cxn ang="0">
                    <a:pos x="17" y="53"/>
                  </a:cxn>
                  <a:cxn ang="0">
                    <a:pos x="23" y="57"/>
                  </a:cxn>
                  <a:cxn ang="0">
                    <a:pos x="32" y="58"/>
                  </a:cxn>
                  <a:cxn ang="0">
                    <a:pos x="32" y="53"/>
                  </a:cxn>
                  <a:cxn ang="0">
                    <a:pos x="38" y="53"/>
                  </a:cxn>
                  <a:cxn ang="0">
                    <a:pos x="41" y="55"/>
                  </a:cxn>
                  <a:cxn ang="0">
                    <a:pos x="41" y="55"/>
                  </a:cxn>
                  <a:cxn ang="0">
                    <a:pos x="41" y="58"/>
                  </a:cxn>
                  <a:cxn ang="0">
                    <a:pos x="41" y="58"/>
                  </a:cxn>
                </a:cxnLst>
                <a:rect l="0" t="0" r="r" b="b"/>
                <a:pathLst>
                  <a:path w="121" h="58">
                    <a:moveTo>
                      <a:pt x="41" y="58"/>
                    </a:moveTo>
                    <a:lnTo>
                      <a:pt x="45" y="58"/>
                    </a:lnTo>
                    <a:lnTo>
                      <a:pt x="51" y="58"/>
                    </a:lnTo>
                    <a:lnTo>
                      <a:pt x="51" y="55"/>
                    </a:lnTo>
                    <a:lnTo>
                      <a:pt x="53" y="49"/>
                    </a:lnTo>
                    <a:lnTo>
                      <a:pt x="53" y="49"/>
                    </a:lnTo>
                    <a:lnTo>
                      <a:pt x="53" y="45"/>
                    </a:lnTo>
                    <a:lnTo>
                      <a:pt x="57" y="45"/>
                    </a:lnTo>
                    <a:lnTo>
                      <a:pt x="62" y="42"/>
                    </a:lnTo>
                    <a:lnTo>
                      <a:pt x="68" y="42"/>
                    </a:lnTo>
                    <a:lnTo>
                      <a:pt x="70" y="43"/>
                    </a:lnTo>
                    <a:lnTo>
                      <a:pt x="72" y="43"/>
                    </a:lnTo>
                    <a:lnTo>
                      <a:pt x="73" y="43"/>
                    </a:lnTo>
                    <a:lnTo>
                      <a:pt x="75" y="42"/>
                    </a:lnTo>
                    <a:lnTo>
                      <a:pt x="79" y="40"/>
                    </a:lnTo>
                    <a:lnTo>
                      <a:pt x="81" y="36"/>
                    </a:lnTo>
                    <a:lnTo>
                      <a:pt x="83" y="36"/>
                    </a:lnTo>
                    <a:lnTo>
                      <a:pt x="83" y="34"/>
                    </a:lnTo>
                    <a:lnTo>
                      <a:pt x="87" y="28"/>
                    </a:lnTo>
                    <a:lnTo>
                      <a:pt x="90" y="28"/>
                    </a:lnTo>
                    <a:lnTo>
                      <a:pt x="90" y="25"/>
                    </a:lnTo>
                    <a:lnTo>
                      <a:pt x="90" y="25"/>
                    </a:lnTo>
                    <a:lnTo>
                      <a:pt x="94" y="26"/>
                    </a:lnTo>
                    <a:lnTo>
                      <a:pt x="94" y="28"/>
                    </a:lnTo>
                    <a:lnTo>
                      <a:pt x="98" y="28"/>
                    </a:lnTo>
                    <a:lnTo>
                      <a:pt x="100" y="28"/>
                    </a:lnTo>
                    <a:lnTo>
                      <a:pt x="102" y="26"/>
                    </a:lnTo>
                    <a:lnTo>
                      <a:pt x="105" y="26"/>
                    </a:lnTo>
                    <a:lnTo>
                      <a:pt x="107" y="25"/>
                    </a:lnTo>
                    <a:lnTo>
                      <a:pt x="109" y="25"/>
                    </a:lnTo>
                    <a:lnTo>
                      <a:pt x="109" y="21"/>
                    </a:lnTo>
                    <a:lnTo>
                      <a:pt x="113" y="21"/>
                    </a:lnTo>
                    <a:lnTo>
                      <a:pt x="113" y="21"/>
                    </a:lnTo>
                    <a:lnTo>
                      <a:pt x="115" y="21"/>
                    </a:lnTo>
                    <a:lnTo>
                      <a:pt x="117" y="21"/>
                    </a:lnTo>
                    <a:lnTo>
                      <a:pt x="119" y="21"/>
                    </a:lnTo>
                    <a:lnTo>
                      <a:pt x="121" y="21"/>
                    </a:lnTo>
                    <a:lnTo>
                      <a:pt x="119" y="19"/>
                    </a:lnTo>
                    <a:lnTo>
                      <a:pt x="115" y="15"/>
                    </a:lnTo>
                    <a:lnTo>
                      <a:pt x="113" y="13"/>
                    </a:lnTo>
                    <a:lnTo>
                      <a:pt x="113" y="13"/>
                    </a:lnTo>
                    <a:lnTo>
                      <a:pt x="113" y="17"/>
                    </a:lnTo>
                    <a:lnTo>
                      <a:pt x="109" y="17"/>
                    </a:lnTo>
                    <a:lnTo>
                      <a:pt x="105" y="17"/>
                    </a:lnTo>
                    <a:lnTo>
                      <a:pt x="104" y="15"/>
                    </a:lnTo>
                    <a:lnTo>
                      <a:pt x="100" y="13"/>
                    </a:lnTo>
                    <a:lnTo>
                      <a:pt x="98" y="13"/>
                    </a:lnTo>
                    <a:lnTo>
                      <a:pt x="98" y="13"/>
                    </a:lnTo>
                    <a:lnTo>
                      <a:pt x="100" y="11"/>
                    </a:lnTo>
                    <a:lnTo>
                      <a:pt x="98" y="9"/>
                    </a:lnTo>
                    <a:lnTo>
                      <a:pt x="100" y="9"/>
                    </a:lnTo>
                    <a:lnTo>
                      <a:pt x="104" y="9"/>
                    </a:lnTo>
                    <a:lnTo>
                      <a:pt x="109" y="11"/>
                    </a:lnTo>
                    <a:lnTo>
                      <a:pt x="109" y="11"/>
                    </a:lnTo>
                    <a:lnTo>
                      <a:pt x="105" y="8"/>
                    </a:lnTo>
                    <a:lnTo>
                      <a:pt x="102" y="6"/>
                    </a:lnTo>
                    <a:lnTo>
                      <a:pt x="98" y="6"/>
                    </a:lnTo>
                    <a:lnTo>
                      <a:pt x="94" y="6"/>
                    </a:lnTo>
                    <a:lnTo>
                      <a:pt x="94" y="6"/>
                    </a:lnTo>
                    <a:lnTo>
                      <a:pt x="94" y="8"/>
                    </a:lnTo>
                    <a:lnTo>
                      <a:pt x="90" y="6"/>
                    </a:lnTo>
                    <a:lnTo>
                      <a:pt x="83" y="6"/>
                    </a:lnTo>
                    <a:lnTo>
                      <a:pt x="75" y="6"/>
                    </a:lnTo>
                    <a:lnTo>
                      <a:pt x="72" y="2"/>
                    </a:lnTo>
                    <a:lnTo>
                      <a:pt x="68" y="0"/>
                    </a:lnTo>
                    <a:lnTo>
                      <a:pt x="66" y="2"/>
                    </a:lnTo>
                    <a:lnTo>
                      <a:pt x="68" y="2"/>
                    </a:lnTo>
                    <a:lnTo>
                      <a:pt x="64" y="6"/>
                    </a:lnTo>
                    <a:lnTo>
                      <a:pt x="62" y="6"/>
                    </a:lnTo>
                    <a:lnTo>
                      <a:pt x="60" y="6"/>
                    </a:lnTo>
                    <a:lnTo>
                      <a:pt x="55" y="6"/>
                    </a:lnTo>
                    <a:lnTo>
                      <a:pt x="47" y="6"/>
                    </a:lnTo>
                    <a:lnTo>
                      <a:pt x="36" y="6"/>
                    </a:lnTo>
                    <a:lnTo>
                      <a:pt x="32" y="8"/>
                    </a:lnTo>
                    <a:lnTo>
                      <a:pt x="28" y="6"/>
                    </a:lnTo>
                    <a:lnTo>
                      <a:pt x="28" y="8"/>
                    </a:lnTo>
                    <a:lnTo>
                      <a:pt x="26" y="9"/>
                    </a:lnTo>
                    <a:lnTo>
                      <a:pt x="25" y="13"/>
                    </a:lnTo>
                    <a:lnTo>
                      <a:pt x="19" y="17"/>
                    </a:lnTo>
                    <a:lnTo>
                      <a:pt x="17" y="15"/>
                    </a:lnTo>
                    <a:lnTo>
                      <a:pt x="13" y="21"/>
                    </a:lnTo>
                    <a:lnTo>
                      <a:pt x="9" y="25"/>
                    </a:lnTo>
                    <a:lnTo>
                      <a:pt x="11" y="26"/>
                    </a:lnTo>
                    <a:lnTo>
                      <a:pt x="8" y="32"/>
                    </a:lnTo>
                    <a:lnTo>
                      <a:pt x="4" y="36"/>
                    </a:lnTo>
                    <a:lnTo>
                      <a:pt x="4" y="36"/>
                    </a:lnTo>
                    <a:lnTo>
                      <a:pt x="4" y="38"/>
                    </a:lnTo>
                    <a:lnTo>
                      <a:pt x="2" y="38"/>
                    </a:lnTo>
                    <a:lnTo>
                      <a:pt x="0" y="45"/>
                    </a:lnTo>
                    <a:lnTo>
                      <a:pt x="4" y="51"/>
                    </a:lnTo>
                    <a:lnTo>
                      <a:pt x="6" y="51"/>
                    </a:lnTo>
                    <a:lnTo>
                      <a:pt x="11" y="53"/>
                    </a:lnTo>
                    <a:lnTo>
                      <a:pt x="17" y="57"/>
                    </a:lnTo>
                    <a:lnTo>
                      <a:pt x="17" y="55"/>
                    </a:lnTo>
                    <a:lnTo>
                      <a:pt x="13" y="53"/>
                    </a:lnTo>
                    <a:lnTo>
                      <a:pt x="17" y="53"/>
                    </a:lnTo>
                    <a:lnTo>
                      <a:pt x="19" y="53"/>
                    </a:lnTo>
                    <a:lnTo>
                      <a:pt x="23" y="57"/>
                    </a:lnTo>
                    <a:lnTo>
                      <a:pt x="25" y="58"/>
                    </a:lnTo>
                    <a:lnTo>
                      <a:pt x="32" y="58"/>
                    </a:lnTo>
                    <a:lnTo>
                      <a:pt x="36" y="55"/>
                    </a:lnTo>
                    <a:lnTo>
                      <a:pt x="32" y="53"/>
                    </a:lnTo>
                    <a:lnTo>
                      <a:pt x="36" y="53"/>
                    </a:lnTo>
                    <a:lnTo>
                      <a:pt x="38" y="53"/>
                    </a:lnTo>
                    <a:lnTo>
                      <a:pt x="38" y="55"/>
                    </a:lnTo>
                    <a:lnTo>
                      <a:pt x="41" y="55"/>
                    </a:lnTo>
                    <a:lnTo>
                      <a:pt x="41" y="53"/>
                    </a:lnTo>
                    <a:lnTo>
                      <a:pt x="41" y="55"/>
                    </a:lnTo>
                    <a:lnTo>
                      <a:pt x="41" y="57"/>
                    </a:lnTo>
                    <a:lnTo>
                      <a:pt x="41" y="58"/>
                    </a:lnTo>
                    <a:lnTo>
                      <a:pt x="41" y="58"/>
                    </a:lnTo>
                    <a:lnTo>
                      <a:pt x="41" y="58"/>
                    </a:lnTo>
                    <a:lnTo>
                      <a:pt x="41" y="5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4" name="Freeform 166"/>
              <p:cNvSpPr>
                <a:spLocks/>
              </p:cNvSpPr>
              <p:nvPr/>
            </p:nvSpPr>
            <p:spPr bwMode="auto">
              <a:xfrm>
                <a:off x="1156" y="2755"/>
                <a:ext cx="21" cy="41"/>
              </a:xfrm>
              <a:custGeom>
                <a:avLst/>
                <a:gdLst/>
                <a:ahLst/>
                <a:cxnLst>
                  <a:cxn ang="0">
                    <a:pos x="0" y="9"/>
                  </a:cxn>
                  <a:cxn ang="0">
                    <a:pos x="0" y="9"/>
                  </a:cxn>
                  <a:cxn ang="0">
                    <a:pos x="0" y="9"/>
                  </a:cxn>
                  <a:cxn ang="0">
                    <a:pos x="2" y="5"/>
                  </a:cxn>
                  <a:cxn ang="0">
                    <a:pos x="4" y="5"/>
                  </a:cxn>
                  <a:cxn ang="0">
                    <a:pos x="4" y="9"/>
                  </a:cxn>
                  <a:cxn ang="0">
                    <a:pos x="6" y="9"/>
                  </a:cxn>
                  <a:cxn ang="0">
                    <a:pos x="6" y="9"/>
                  </a:cxn>
                  <a:cxn ang="0">
                    <a:pos x="8" y="9"/>
                  </a:cxn>
                  <a:cxn ang="0">
                    <a:pos x="8" y="5"/>
                  </a:cxn>
                  <a:cxn ang="0">
                    <a:pos x="10" y="3"/>
                  </a:cxn>
                  <a:cxn ang="0">
                    <a:pos x="12" y="2"/>
                  </a:cxn>
                  <a:cxn ang="0">
                    <a:pos x="12" y="0"/>
                  </a:cxn>
                  <a:cxn ang="0">
                    <a:pos x="14" y="0"/>
                  </a:cxn>
                  <a:cxn ang="0">
                    <a:pos x="15" y="0"/>
                  </a:cxn>
                  <a:cxn ang="0">
                    <a:pos x="17" y="0"/>
                  </a:cxn>
                  <a:cxn ang="0">
                    <a:pos x="19" y="0"/>
                  </a:cxn>
                  <a:cxn ang="0">
                    <a:pos x="21" y="0"/>
                  </a:cxn>
                  <a:cxn ang="0">
                    <a:pos x="21" y="2"/>
                  </a:cxn>
                  <a:cxn ang="0">
                    <a:pos x="21" y="3"/>
                  </a:cxn>
                  <a:cxn ang="0">
                    <a:pos x="21" y="11"/>
                  </a:cxn>
                  <a:cxn ang="0">
                    <a:pos x="19" y="15"/>
                  </a:cxn>
                  <a:cxn ang="0">
                    <a:pos x="17" y="18"/>
                  </a:cxn>
                  <a:cxn ang="0">
                    <a:pos x="19" y="20"/>
                  </a:cxn>
                  <a:cxn ang="0">
                    <a:pos x="19" y="26"/>
                  </a:cxn>
                  <a:cxn ang="0">
                    <a:pos x="17" y="30"/>
                  </a:cxn>
                  <a:cxn ang="0">
                    <a:pos x="12" y="37"/>
                  </a:cxn>
                  <a:cxn ang="0">
                    <a:pos x="10" y="35"/>
                  </a:cxn>
                  <a:cxn ang="0">
                    <a:pos x="6" y="39"/>
                  </a:cxn>
                  <a:cxn ang="0">
                    <a:pos x="4" y="41"/>
                  </a:cxn>
                  <a:cxn ang="0">
                    <a:pos x="4" y="41"/>
                  </a:cxn>
                  <a:cxn ang="0">
                    <a:pos x="2" y="41"/>
                  </a:cxn>
                  <a:cxn ang="0">
                    <a:pos x="2" y="41"/>
                  </a:cxn>
                  <a:cxn ang="0">
                    <a:pos x="0" y="41"/>
                  </a:cxn>
                  <a:cxn ang="0">
                    <a:pos x="0" y="9"/>
                  </a:cxn>
                  <a:cxn ang="0">
                    <a:pos x="0" y="9"/>
                  </a:cxn>
                  <a:cxn ang="0">
                    <a:pos x="0" y="9"/>
                  </a:cxn>
                  <a:cxn ang="0">
                    <a:pos x="0" y="9"/>
                  </a:cxn>
                </a:cxnLst>
                <a:rect l="0" t="0" r="r" b="b"/>
                <a:pathLst>
                  <a:path w="21" h="41">
                    <a:moveTo>
                      <a:pt x="0" y="9"/>
                    </a:moveTo>
                    <a:lnTo>
                      <a:pt x="0" y="9"/>
                    </a:lnTo>
                    <a:lnTo>
                      <a:pt x="0" y="9"/>
                    </a:lnTo>
                    <a:lnTo>
                      <a:pt x="2" y="5"/>
                    </a:lnTo>
                    <a:lnTo>
                      <a:pt x="4" y="5"/>
                    </a:lnTo>
                    <a:lnTo>
                      <a:pt x="4" y="9"/>
                    </a:lnTo>
                    <a:lnTo>
                      <a:pt x="6" y="9"/>
                    </a:lnTo>
                    <a:lnTo>
                      <a:pt x="6" y="9"/>
                    </a:lnTo>
                    <a:lnTo>
                      <a:pt x="8" y="9"/>
                    </a:lnTo>
                    <a:lnTo>
                      <a:pt x="8" y="5"/>
                    </a:lnTo>
                    <a:lnTo>
                      <a:pt x="10" y="3"/>
                    </a:lnTo>
                    <a:lnTo>
                      <a:pt x="12" y="2"/>
                    </a:lnTo>
                    <a:lnTo>
                      <a:pt x="12" y="0"/>
                    </a:lnTo>
                    <a:lnTo>
                      <a:pt x="14" y="0"/>
                    </a:lnTo>
                    <a:lnTo>
                      <a:pt x="15" y="0"/>
                    </a:lnTo>
                    <a:lnTo>
                      <a:pt x="17" y="0"/>
                    </a:lnTo>
                    <a:lnTo>
                      <a:pt x="19" y="0"/>
                    </a:lnTo>
                    <a:lnTo>
                      <a:pt x="21" y="0"/>
                    </a:lnTo>
                    <a:lnTo>
                      <a:pt x="21" y="2"/>
                    </a:lnTo>
                    <a:lnTo>
                      <a:pt x="21" y="3"/>
                    </a:lnTo>
                    <a:lnTo>
                      <a:pt x="21" y="11"/>
                    </a:lnTo>
                    <a:lnTo>
                      <a:pt x="19" y="15"/>
                    </a:lnTo>
                    <a:lnTo>
                      <a:pt x="17" y="18"/>
                    </a:lnTo>
                    <a:lnTo>
                      <a:pt x="19" y="20"/>
                    </a:lnTo>
                    <a:lnTo>
                      <a:pt x="19" y="26"/>
                    </a:lnTo>
                    <a:lnTo>
                      <a:pt x="17" y="30"/>
                    </a:lnTo>
                    <a:lnTo>
                      <a:pt x="12" y="37"/>
                    </a:lnTo>
                    <a:lnTo>
                      <a:pt x="10" y="35"/>
                    </a:lnTo>
                    <a:lnTo>
                      <a:pt x="6" y="39"/>
                    </a:lnTo>
                    <a:lnTo>
                      <a:pt x="4" y="41"/>
                    </a:lnTo>
                    <a:lnTo>
                      <a:pt x="4" y="41"/>
                    </a:lnTo>
                    <a:lnTo>
                      <a:pt x="2" y="41"/>
                    </a:lnTo>
                    <a:lnTo>
                      <a:pt x="2" y="41"/>
                    </a:lnTo>
                    <a:lnTo>
                      <a:pt x="0" y="41"/>
                    </a:lnTo>
                    <a:lnTo>
                      <a:pt x="0" y="9"/>
                    </a:lnTo>
                    <a:lnTo>
                      <a:pt x="0" y="9"/>
                    </a:lnTo>
                    <a:lnTo>
                      <a:pt x="0" y="9"/>
                    </a:lnTo>
                    <a:lnTo>
                      <a:pt x="0" y="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5" name="Freeform 167"/>
              <p:cNvSpPr>
                <a:spLocks/>
              </p:cNvSpPr>
              <p:nvPr/>
            </p:nvSpPr>
            <p:spPr bwMode="auto">
              <a:xfrm>
                <a:off x="1789" y="2998"/>
                <a:ext cx="53" cy="73"/>
              </a:xfrm>
              <a:custGeom>
                <a:avLst/>
                <a:gdLst/>
                <a:ahLst/>
                <a:cxnLst>
                  <a:cxn ang="0">
                    <a:pos x="0" y="56"/>
                  </a:cxn>
                  <a:cxn ang="0">
                    <a:pos x="0" y="60"/>
                  </a:cxn>
                  <a:cxn ang="0">
                    <a:pos x="0" y="62"/>
                  </a:cxn>
                  <a:cxn ang="0">
                    <a:pos x="4" y="62"/>
                  </a:cxn>
                  <a:cxn ang="0">
                    <a:pos x="4" y="64"/>
                  </a:cxn>
                  <a:cxn ang="0">
                    <a:pos x="5" y="67"/>
                  </a:cxn>
                  <a:cxn ang="0">
                    <a:pos x="9" y="67"/>
                  </a:cxn>
                  <a:cxn ang="0">
                    <a:pos x="11" y="66"/>
                  </a:cxn>
                  <a:cxn ang="0">
                    <a:pos x="13" y="64"/>
                  </a:cxn>
                  <a:cxn ang="0">
                    <a:pos x="15" y="64"/>
                  </a:cxn>
                  <a:cxn ang="0">
                    <a:pos x="15" y="66"/>
                  </a:cxn>
                  <a:cxn ang="0">
                    <a:pos x="19" y="67"/>
                  </a:cxn>
                  <a:cxn ang="0">
                    <a:pos x="19" y="71"/>
                  </a:cxn>
                  <a:cxn ang="0">
                    <a:pos x="21" y="73"/>
                  </a:cxn>
                  <a:cxn ang="0">
                    <a:pos x="24" y="69"/>
                  </a:cxn>
                  <a:cxn ang="0">
                    <a:pos x="24" y="67"/>
                  </a:cxn>
                  <a:cxn ang="0">
                    <a:pos x="24" y="66"/>
                  </a:cxn>
                  <a:cxn ang="0">
                    <a:pos x="30" y="66"/>
                  </a:cxn>
                  <a:cxn ang="0">
                    <a:pos x="30" y="60"/>
                  </a:cxn>
                  <a:cxn ang="0">
                    <a:pos x="34" y="56"/>
                  </a:cxn>
                  <a:cxn ang="0">
                    <a:pos x="39" y="49"/>
                  </a:cxn>
                  <a:cxn ang="0">
                    <a:pos x="39" y="45"/>
                  </a:cxn>
                  <a:cxn ang="0">
                    <a:pos x="43" y="41"/>
                  </a:cxn>
                  <a:cxn ang="0">
                    <a:pos x="47" y="34"/>
                  </a:cxn>
                  <a:cxn ang="0">
                    <a:pos x="49" y="32"/>
                  </a:cxn>
                  <a:cxn ang="0">
                    <a:pos x="49" y="32"/>
                  </a:cxn>
                  <a:cxn ang="0">
                    <a:pos x="53" y="28"/>
                  </a:cxn>
                  <a:cxn ang="0">
                    <a:pos x="53" y="22"/>
                  </a:cxn>
                  <a:cxn ang="0">
                    <a:pos x="49" y="18"/>
                  </a:cxn>
                  <a:cxn ang="0">
                    <a:pos x="47" y="22"/>
                  </a:cxn>
                  <a:cxn ang="0">
                    <a:pos x="45" y="18"/>
                  </a:cxn>
                  <a:cxn ang="0">
                    <a:pos x="45" y="17"/>
                  </a:cxn>
                  <a:cxn ang="0">
                    <a:pos x="39" y="9"/>
                  </a:cxn>
                  <a:cxn ang="0">
                    <a:pos x="36" y="9"/>
                  </a:cxn>
                  <a:cxn ang="0">
                    <a:pos x="34" y="7"/>
                  </a:cxn>
                  <a:cxn ang="0">
                    <a:pos x="21" y="3"/>
                  </a:cxn>
                  <a:cxn ang="0">
                    <a:pos x="15" y="0"/>
                  </a:cxn>
                  <a:cxn ang="0">
                    <a:pos x="11" y="0"/>
                  </a:cxn>
                  <a:cxn ang="0">
                    <a:pos x="7" y="3"/>
                  </a:cxn>
                  <a:cxn ang="0">
                    <a:pos x="4" y="3"/>
                  </a:cxn>
                  <a:cxn ang="0">
                    <a:pos x="4" y="3"/>
                  </a:cxn>
                  <a:cxn ang="0">
                    <a:pos x="4" y="3"/>
                  </a:cxn>
                  <a:cxn ang="0">
                    <a:pos x="0" y="7"/>
                  </a:cxn>
                  <a:cxn ang="0">
                    <a:pos x="0" y="9"/>
                  </a:cxn>
                  <a:cxn ang="0">
                    <a:pos x="0" y="15"/>
                  </a:cxn>
                  <a:cxn ang="0">
                    <a:pos x="0" y="18"/>
                  </a:cxn>
                  <a:cxn ang="0">
                    <a:pos x="0" y="22"/>
                  </a:cxn>
                  <a:cxn ang="0">
                    <a:pos x="0" y="24"/>
                  </a:cxn>
                  <a:cxn ang="0">
                    <a:pos x="4" y="26"/>
                  </a:cxn>
                  <a:cxn ang="0">
                    <a:pos x="5" y="30"/>
                  </a:cxn>
                  <a:cxn ang="0">
                    <a:pos x="7" y="34"/>
                  </a:cxn>
                  <a:cxn ang="0">
                    <a:pos x="9" y="37"/>
                  </a:cxn>
                  <a:cxn ang="0">
                    <a:pos x="9" y="37"/>
                  </a:cxn>
                  <a:cxn ang="0">
                    <a:pos x="9" y="41"/>
                  </a:cxn>
                  <a:cxn ang="0">
                    <a:pos x="5" y="43"/>
                  </a:cxn>
                  <a:cxn ang="0">
                    <a:pos x="5" y="49"/>
                  </a:cxn>
                  <a:cxn ang="0">
                    <a:pos x="7" y="50"/>
                  </a:cxn>
                  <a:cxn ang="0">
                    <a:pos x="5" y="54"/>
                  </a:cxn>
                  <a:cxn ang="0">
                    <a:pos x="0" y="56"/>
                  </a:cxn>
                  <a:cxn ang="0">
                    <a:pos x="0" y="56"/>
                  </a:cxn>
                  <a:cxn ang="0">
                    <a:pos x="0" y="56"/>
                  </a:cxn>
                  <a:cxn ang="0">
                    <a:pos x="0" y="56"/>
                  </a:cxn>
                </a:cxnLst>
                <a:rect l="0" t="0" r="r" b="b"/>
                <a:pathLst>
                  <a:path w="53" h="73">
                    <a:moveTo>
                      <a:pt x="0" y="56"/>
                    </a:moveTo>
                    <a:lnTo>
                      <a:pt x="0" y="60"/>
                    </a:lnTo>
                    <a:lnTo>
                      <a:pt x="0" y="62"/>
                    </a:lnTo>
                    <a:lnTo>
                      <a:pt x="4" y="62"/>
                    </a:lnTo>
                    <a:lnTo>
                      <a:pt x="4" y="64"/>
                    </a:lnTo>
                    <a:lnTo>
                      <a:pt x="5" y="67"/>
                    </a:lnTo>
                    <a:lnTo>
                      <a:pt x="9" y="67"/>
                    </a:lnTo>
                    <a:lnTo>
                      <a:pt x="11" y="66"/>
                    </a:lnTo>
                    <a:lnTo>
                      <a:pt x="13" y="64"/>
                    </a:lnTo>
                    <a:lnTo>
                      <a:pt x="15" y="64"/>
                    </a:lnTo>
                    <a:lnTo>
                      <a:pt x="15" y="66"/>
                    </a:lnTo>
                    <a:lnTo>
                      <a:pt x="19" y="67"/>
                    </a:lnTo>
                    <a:lnTo>
                      <a:pt x="19" y="71"/>
                    </a:lnTo>
                    <a:lnTo>
                      <a:pt x="21" y="73"/>
                    </a:lnTo>
                    <a:lnTo>
                      <a:pt x="24" y="69"/>
                    </a:lnTo>
                    <a:lnTo>
                      <a:pt x="24" y="67"/>
                    </a:lnTo>
                    <a:lnTo>
                      <a:pt x="24" y="66"/>
                    </a:lnTo>
                    <a:lnTo>
                      <a:pt x="30" y="66"/>
                    </a:lnTo>
                    <a:lnTo>
                      <a:pt x="30" y="60"/>
                    </a:lnTo>
                    <a:lnTo>
                      <a:pt x="34" y="56"/>
                    </a:lnTo>
                    <a:lnTo>
                      <a:pt x="39" y="49"/>
                    </a:lnTo>
                    <a:lnTo>
                      <a:pt x="39" y="45"/>
                    </a:lnTo>
                    <a:lnTo>
                      <a:pt x="43" y="41"/>
                    </a:lnTo>
                    <a:lnTo>
                      <a:pt x="47" y="34"/>
                    </a:lnTo>
                    <a:lnTo>
                      <a:pt x="49" y="32"/>
                    </a:lnTo>
                    <a:lnTo>
                      <a:pt x="49" y="32"/>
                    </a:lnTo>
                    <a:lnTo>
                      <a:pt x="53" y="28"/>
                    </a:lnTo>
                    <a:lnTo>
                      <a:pt x="53" y="22"/>
                    </a:lnTo>
                    <a:lnTo>
                      <a:pt x="49" y="18"/>
                    </a:lnTo>
                    <a:lnTo>
                      <a:pt x="47" y="22"/>
                    </a:lnTo>
                    <a:lnTo>
                      <a:pt x="45" y="18"/>
                    </a:lnTo>
                    <a:lnTo>
                      <a:pt x="45" y="17"/>
                    </a:lnTo>
                    <a:lnTo>
                      <a:pt x="39" y="9"/>
                    </a:lnTo>
                    <a:lnTo>
                      <a:pt x="36" y="9"/>
                    </a:lnTo>
                    <a:lnTo>
                      <a:pt x="34" y="7"/>
                    </a:lnTo>
                    <a:lnTo>
                      <a:pt x="21" y="3"/>
                    </a:lnTo>
                    <a:lnTo>
                      <a:pt x="15" y="0"/>
                    </a:lnTo>
                    <a:lnTo>
                      <a:pt x="11" y="0"/>
                    </a:lnTo>
                    <a:lnTo>
                      <a:pt x="7" y="3"/>
                    </a:lnTo>
                    <a:lnTo>
                      <a:pt x="4" y="3"/>
                    </a:lnTo>
                    <a:lnTo>
                      <a:pt x="4" y="3"/>
                    </a:lnTo>
                    <a:lnTo>
                      <a:pt x="4" y="3"/>
                    </a:lnTo>
                    <a:lnTo>
                      <a:pt x="0" y="7"/>
                    </a:lnTo>
                    <a:lnTo>
                      <a:pt x="0" y="9"/>
                    </a:lnTo>
                    <a:lnTo>
                      <a:pt x="0" y="15"/>
                    </a:lnTo>
                    <a:lnTo>
                      <a:pt x="0" y="18"/>
                    </a:lnTo>
                    <a:lnTo>
                      <a:pt x="0" y="22"/>
                    </a:lnTo>
                    <a:lnTo>
                      <a:pt x="0" y="24"/>
                    </a:lnTo>
                    <a:lnTo>
                      <a:pt x="4" y="26"/>
                    </a:lnTo>
                    <a:lnTo>
                      <a:pt x="5" y="30"/>
                    </a:lnTo>
                    <a:lnTo>
                      <a:pt x="7" y="34"/>
                    </a:lnTo>
                    <a:lnTo>
                      <a:pt x="9" y="37"/>
                    </a:lnTo>
                    <a:lnTo>
                      <a:pt x="9" y="37"/>
                    </a:lnTo>
                    <a:lnTo>
                      <a:pt x="9" y="41"/>
                    </a:lnTo>
                    <a:lnTo>
                      <a:pt x="5" y="43"/>
                    </a:lnTo>
                    <a:lnTo>
                      <a:pt x="5" y="49"/>
                    </a:lnTo>
                    <a:lnTo>
                      <a:pt x="7" y="50"/>
                    </a:lnTo>
                    <a:lnTo>
                      <a:pt x="5" y="54"/>
                    </a:lnTo>
                    <a:lnTo>
                      <a:pt x="0" y="56"/>
                    </a:lnTo>
                    <a:lnTo>
                      <a:pt x="0" y="56"/>
                    </a:lnTo>
                    <a:lnTo>
                      <a:pt x="0" y="56"/>
                    </a:lnTo>
                    <a:lnTo>
                      <a:pt x="0" y="5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6" name="Freeform 168"/>
              <p:cNvSpPr>
                <a:spLocks/>
              </p:cNvSpPr>
              <p:nvPr/>
            </p:nvSpPr>
            <p:spPr bwMode="auto">
              <a:xfrm>
                <a:off x="1789" y="2998"/>
                <a:ext cx="53" cy="73"/>
              </a:xfrm>
              <a:custGeom>
                <a:avLst/>
                <a:gdLst/>
                <a:ahLst/>
                <a:cxnLst>
                  <a:cxn ang="0">
                    <a:pos x="0" y="56"/>
                  </a:cxn>
                  <a:cxn ang="0">
                    <a:pos x="0" y="60"/>
                  </a:cxn>
                  <a:cxn ang="0">
                    <a:pos x="0" y="62"/>
                  </a:cxn>
                  <a:cxn ang="0">
                    <a:pos x="4" y="62"/>
                  </a:cxn>
                  <a:cxn ang="0">
                    <a:pos x="4" y="64"/>
                  </a:cxn>
                  <a:cxn ang="0">
                    <a:pos x="5" y="67"/>
                  </a:cxn>
                  <a:cxn ang="0">
                    <a:pos x="9" y="67"/>
                  </a:cxn>
                  <a:cxn ang="0">
                    <a:pos x="11" y="66"/>
                  </a:cxn>
                  <a:cxn ang="0">
                    <a:pos x="13" y="64"/>
                  </a:cxn>
                  <a:cxn ang="0">
                    <a:pos x="15" y="64"/>
                  </a:cxn>
                  <a:cxn ang="0">
                    <a:pos x="15" y="66"/>
                  </a:cxn>
                  <a:cxn ang="0">
                    <a:pos x="19" y="67"/>
                  </a:cxn>
                  <a:cxn ang="0">
                    <a:pos x="19" y="71"/>
                  </a:cxn>
                  <a:cxn ang="0">
                    <a:pos x="21" y="73"/>
                  </a:cxn>
                  <a:cxn ang="0">
                    <a:pos x="24" y="69"/>
                  </a:cxn>
                  <a:cxn ang="0">
                    <a:pos x="24" y="67"/>
                  </a:cxn>
                  <a:cxn ang="0">
                    <a:pos x="24" y="66"/>
                  </a:cxn>
                  <a:cxn ang="0">
                    <a:pos x="30" y="66"/>
                  </a:cxn>
                  <a:cxn ang="0">
                    <a:pos x="30" y="60"/>
                  </a:cxn>
                  <a:cxn ang="0">
                    <a:pos x="34" y="56"/>
                  </a:cxn>
                  <a:cxn ang="0">
                    <a:pos x="39" y="49"/>
                  </a:cxn>
                  <a:cxn ang="0">
                    <a:pos x="39" y="45"/>
                  </a:cxn>
                  <a:cxn ang="0">
                    <a:pos x="43" y="41"/>
                  </a:cxn>
                  <a:cxn ang="0">
                    <a:pos x="47" y="34"/>
                  </a:cxn>
                  <a:cxn ang="0">
                    <a:pos x="49" y="32"/>
                  </a:cxn>
                  <a:cxn ang="0">
                    <a:pos x="49" y="32"/>
                  </a:cxn>
                  <a:cxn ang="0">
                    <a:pos x="53" y="28"/>
                  </a:cxn>
                  <a:cxn ang="0">
                    <a:pos x="53" y="22"/>
                  </a:cxn>
                  <a:cxn ang="0">
                    <a:pos x="49" y="18"/>
                  </a:cxn>
                  <a:cxn ang="0">
                    <a:pos x="47" y="22"/>
                  </a:cxn>
                  <a:cxn ang="0">
                    <a:pos x="45" y="18"/>
                  </a:cxn>
                  <a:cxn ang="0">
                    <a:pos x="45" y="17"/>
                  </a:cxn>
                  <a:cxn ang="0">
                    <a:pos x="39" y="9"/>
                  </a:cxn>
                  <a:cxn ang="0">
                    <a:pos x="36" y="9"/>
                  </a:cxn>
                  <a:cxn ang="0">
                    <a:pos x="34" y="7"/>
                  </a:cxn>
                  <a:cxn ang="0">
                    <a:pos x="21" y="3"/>
                  </a:cxn>
                  <a:cxn ang="0">
                    <a:pos x="15" y="0"/>
                  </a:cxn>
                  <a:cxn ang="0">
                    <a:pos x="11" y="0"/>
                  </a:cxn>
                  <a:cxn ang="0">
                    <a:pos x="7" y="3"/>
                  </a:cxn>
                  <a:cxn ang="0">
                    <a:pos x="4" y="3"/>
                  </a:cxn>
                  <a:cxn ang="0">
                    <a:pos x="4" y="3"/>
                  </a:cxn>
                  <a:cxn ang="0">
                    <a:pos x="4" y="3"/>
                  </a:cxn>
                  <a:cxn ang="0">
                    <a:pos x="0" y="7"/>
                  </a:cxn>
                  <a:cxn ang="0">
                    <a:pos x="0" y="9"/>
                  </a:cxn>
                  <a:cxn ang="0">
                    <a:pos x="0" y="15"/>
                  </a:cxn>
                  <a:cxn ang="0">
                    <a:pos x="0" y="18"/>
                  </a:cxn>
                  <a:cxn ang="0">
                    <a:pos x="0" y="22"/>
                  </a:cxn>
                  <a:cxn ang="0">
                    <a:pos x="0" y="24"/>
                  </a:cxn>
                  <a:cxn ang="0">
                    <a:pos x="4" y="26"/>
                  </a:cxn>
                  <a:cxn ang="0">
                    <a:pos x="5" y="30"/>
                  </a:cxn>
                  <a:cxn ang="0">
                    <a:pos x="7" y="34"/>
                  </a:cxn>
                  <a:cxn ang="0">
                    <a:pos x="9" y="37"/>
                  </a:cxn>
                  <a:cxn ang="0">
                    <a:pos x="9" y="37"/>
                  </a:cxn>
                  <a:cxn ang="0">
                    <a:pos x="9" y="41"/>
                  </a:cxn>
                  <a:cxn ang="0">
                    <a:pos x="5" y="43"/>
                  </a:cxn>
                  <a:cxn ang="0">
                    <a:pos x="5" y="49"/>
                  </a:cxn>
                  <a:cxn ang="0">
                    <a:pos x="7" y="50"/>
                  </a:cxn>
                  <a:cxn ang="0">
                    <a:pos x="5" y="54"/>
                  </a:cxn>
                  <a:cxn ang="0">
                    <a:pos x="0" y="56"/>
                  </a:cxn>
                  <a:cxn ang="0">
                    <a:pos x="0" y="56"/>
                  </a:cxn>
                  <a:cxn ang="0">
                    <a:pos x="0" y="56"/>
                  </a:cxn>
                  <a:cxn ang="0">
                    <a:pos x="0" y="56"/>
                  </a:cxn>
                </a:cxnLst>
                <a:rect l="0" t="0" r="r" b="b"/>
                <a:pathLst>
                  <a:path w="53" h="73">
                    <a:moveTo>
                      <a:pt x="0" y="56"/>
                    </a:moveTo>
                    <a:lnTo>
                      <a:pt x="0" y="60"/>
                    </a:lnTo>
                    <a:lnTo>
                      <a:pt x="0" y="62"/>
                    </a:lnTo>
                    <a:lnTo>
                      <a:pt x="4" y="62"/>
                    </a:lnTo>
                    <a:lnTo>
                      <a:pt x="4" y="64"/>
                    </a:lnTo>
                    <a:lnTo>
                      <a:pt x="5" y="67"/>
                    </a:lnTo>
                    <a:lnTo>
                      <a:pt x="9" y="67"/>
                    </a:lnTo>
                    <a:lnTo>
                      <a:pt x="11" y="66"/>
                    </a:lnTo>
                    <a:lnTo>
                      <a:pt x="13" y="64"/>
                    </a:lnTo>
                    <a:lnTo>
                      <a:pt x="15" y="64"/>
                    </a:lnTo>
                    <a:lnTo>
                      <a:pt x="15" y="66"/>
                    </a:lnTo>
                    <a:lnTo>
                      <a:pt x="19" y="67"/>
                    </a:lnTo>
                    <a:lnTo>
                      <a:pt x="19" y="71"/>
                    </a:lnTo>
                    <a:lnTo>
                      <a:pt x="21" y="73"/>
                    </a:lnTo>
                    <a:lnTo>
                      <a:pt x="24" y="69"/>
                    </a:lnTo>
                    <a:lnTo>
                      <a:pt x="24" y="67"/>
                    </a:lnTo>
                    <a:lnTo>
                      <a:pt x="24" y="66"/>
                    </a:lnTo>
                    <a:lnTo>
                      <a:pt x="30" y="66"/>
                    </a:lnTo>
                    <a:lnTo>
                      <a:pt x="30" y="60"/>
                    </a:lnTo>
                    <a:lnTo>
                      <a:pt x="34" y="56"/>
                    </a:lnTo>
                    <a:lnTo>
                      <a:pt x="39" y="49"/>
                    </a:lnTo>
                    <a:lnTo>
                      <a:pt x="39" y="45"/>
                    </a:lnTo>
                    <a:lnTo>
                      <a:pt x="43" y="41"/>
                    </a:lnTo>
                    <a:lnTo>
                      <a:pt x="47" y="34"/>
                    </a:lnTo>
                    <a:lnTo>
                      <a:pt x="49" y="32"/>
                    </a:lnTo>
                    <a:lnTo>
                      <a:pt x="49" y="32"/>
                    </a:lnTo>
                    <a:lnTo>
                      <a:pt x="53" y="28"/>
                    </a:lnTo>
                    <a:lnTo>
                      <a:pt x="53" y="22"/>
                    </a:lnTo>
                    <a:lnTo>
                      <a:pt x="49" y="18"/>
                    </a:lnTo>
                    <a:lnTo>
                      <a:pt x="47" y="22"/>
                    </a:lnTo>
                    <a:lnTo>
                      <a:pt x="45" y="18"/>
                    </a:lnTo>
                    <a:lnTo>
                      <a:pt x="45" y="17"/>
                    </a:lnTo>
                    <a:lnTo>
                      <a:pt x="39" y="9"/>
                    </a:lnTo>
                    <a:lnTo>
                      <a:pt x="36" y="9"/>
                    </a:lnTo>
                    <a:lnTo>
                      <a:pt x="34" y="7"/>
                    </a:lnTo>
                    <a:lnTo>
                      <a:pt x="21" y="3"/>
                    </a:lnTo>
                    <a:lnTo>
                      <a:pt x="15" y="0"/>
                    </a:lnTo>
                    <a:lnTo>
                      <a:pt x="11" y="0"/>
                    </a:lnTo>
                    <a:lnTo>
                      <a:pt x="7" y="3"/>
                    </a:lnTo>
                    <a:lnTo>
                      <a:pt x="4" y="3"/>
                    </a:lnTo>
                    <a:lnTo>
                      <a:pt x="4" y="3"/>
                    </a:lnTo>
                    <a:lnTo>
                      <a:pt x="4" y="3"/>
                    </a:lnTo>
                    <a:lnTo>
                      <a:pt x="0" y="7"/>
                    </a:lnTo>
                    <a:lnTo>
                      <a:pt x="0" y="9"/>
                    </a:lnTo>
                    <a:lnTo>
                      <a:pt x="0" y="15"/>
                    </a:lnTo>
                    <a:lnTo>
                      <a:pt x="0" y="18"/>
                    </a:lnTo>
                    <a:lnTo>
                      <a:pt x="0" y="22"/>
                    </a:lnTo>
                    <a:lnTo>
                      <a:pt x="0" y="24"/>
                    </a:lnTo>
                    <a:lnTo>
                      <a:pt x="4" y="26"/>
                    </a:lnTo>
                    <a:lnTo>
                      <a:pt x="5" y="30"/>
                    </a:lnTo>
                    <a:lnTo>
                      <a:pt x="7" y="34"/>
                    </a:lnTo>
                    <a:lnTo>
                      <a:pt x="9" y="37"/>
                    </a:lnTo>
                    <a:lnTo>
                      <a:pt x="9" y="37"/>
                    </a:lnTo>
                    <a:lnTo>
                      <a:pt x="9" y="41"/>
                    </a:lnTo>
                    <a:lnTo>
                      <a:pt x="5" y="43"/>
                    </a:lnTo>
                    <a:lnTo>
                      <a:pt x="5" y="49"/>
                    </a:lnTo>
                    <a:lnTo>
                      <a:pt x="7" y="50"/>
                    </a:lnTo>
                    <a:lnTo>
                      <a:pt x="5" y="54"/>
                    </a:lnTo>
                    <a:lnTo>
                      <a:pt x="0" y="56"/>
                    </a:lnTo>
                    <a:lnTo>
                      <a:pt x="0" y="56"/>
                    </a:lnTo>
                    <a:lnTo>
                      <a:pt x="0" y="56"/>
                    </a:lnTo>
                    <a:lnTo>
                      <a:pt x="0" y="5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7" name="Freeform 169"/>
              <p:cNvSpPr>
                <a:spLocks/>
              </p:cNvSpPr>
              <p:nvPr/>
            </p:nvSpPr>
            <p:spPr bwMode="auto">
              <a:xfrm>
                <a:off x="1725" y="2986"/>
                <a:ext cx="73" cy="85"/>
              </a:xfrm>
              <a:custGeom>
                <a:avLst/>
                <a:gdLst/>
                <a:ahLst/>
                <a:cxnLst>
                  <a:cxn ang="0">
                    <a:pos x="30" y="81"/>
                  </a:cxn>
                  <a:cxn ang="0">
                    <a:pos x="32" y="83"/>
                  </a:cxn>
                  <a:cxn ang="0">
                    <a:pos x="39" y="85"/>
                  </a:cxn>
                  <a:cxn ang="0">
                    <a:pos x="39" y="79"/>
                  </a:cxn>
                  <a:cxn ang="0">
                    <a:pos x="36" y="74"/>
                  </a:cxn>
                  <a:cxn ang="0">
                    <a:pos x="39" y="68"/>
                  </a:cxn>
                  <a:cxn ang="0">
                    <a:pos x="51" y="70"/>
                  </a:cxn>
                  <a:cxn ang="0">
                    <a:pos x="60" y="68"/>
                  </a:cxn>
                  <a:cxn ang="0">
                    <a:pos x="66" y="70"/>
                  </a:cxn>
                  <a:cxn ang="0">
                    <a:pos x="73" y="64"/>
                  </a:cxn>
                  <a:cxn ang="0">
                    <a:pos x="69" y="57"/>
                  </a:cxn>
                  <a:cxn ang="0">
                    <a:pos x="73" y="51"/>
                  </a:cxn>
                  <a:cxn ang="0">
                    <a:pos x="73" y="46"/>
                  </a:cxn>
                  <a:cxn ang="0">
                    <a:pos x="69" y="38"/>
                  </a:cxn>
                  <a:cxn ang="0">
                    <a:pos x="66" y="34"/>
                  </a:cxn>
                  <a:cxn ang="0">
                    <a:pos x="66" y="25"/>
                  </a:cxn>
                  <a:cxn ang="0">
                    <a:pos x="66" y="17"/>
                  </a:cxn>
                  <a:cxn ang="0">
                    <a:pos x="69" y="15"/>
                  </a:cxn>
                  <a:cxn ang="0">
                    <a:pos x="73" y="8"/>
                  </a:cxn>
                  <a:cxn ang="0">
                    <a:pos x="60" y="4"/>
                  </a:cxn>
                  <a:cxn ang="0">
                    <a:pos x="53" y="4"/>
                  </a:cxn>
                  <a:cxn ang="0">
                    <a:pos x="45" y="4"/>
                  </a:cxn>
                  <a:cxn ang="0">
                    <a:pos x="30" y="4"/>
                  </a:cxn>
                  <a:cxn ang="0">
                    <a:pos x="17" y="4"/>
                  </a:cxn>
                  <a:cxn ang="0">
                    <a:pos x="17" y="10"/>
                  </a:cxn>
                  <a:cxn ang="0">
                    <a:pos x="15" y="15"/>
                  </a:cxn>
                  <a:cxn ang="0">
                    <a:pos x="11" y="21"/>
                  </a:cxn>
                  <a:cxn ang="0">
                    <a:pos x="4" y="25"/>
                  </a:cxn>
                  <a:cxn ang="0">
                    <a:pos x="0" y="36"/>
                  </a:cxn>
                  <a:cxn ang="0">
                    <a:pos x="4" y="44"/>
                  </a:cxn>
                  <a:cxn ang="0">
                    <a:pos x="7" y="46"/>
                  </a:cxn>
                  <a:cxn ang="0">
                    <a:pos x="9" y="51"/>
                  </a:cxn>
                  <a:cxn ang="0">
                    <a:pos x="11" y="53"/>
                  </a:cxn>
                  <a:cxn ang="0">
                    <a:pos x="15" y="57"/>
                  </a:cxn>
                  <a:cxn ang="0">
                    <a:pos x="15" y="68"/>
                  </a:cxn>
                  <a:cxn ang="0">
                    <a:pos x="21" y="70"/>
                  </a:cxn>
                  <a:cxn ang="0">
                    <a:pos x="26" y="76"/>
                  </a:cxn>
                  <a:cxn ang="0">
                    <a:pos x="26" y="79"/>
                  </a:cxn>
                  <a:cxn ang="0">
                    <a:pos x="30" y="81"/>
                  </a:cxn>
                </a:cxnLst>
                <a:rect l="0" t="0" r="r" b="b"/>
                <a:pathLst>
                  <a:path w="73" h="85">
                    <a:moveTo>
                      <a:pt x="30" y="81"/>
                    </a:moveTo>
                    <a:lnTo>
                      <a:pt x="30" y="81"/>
                    </a:lnTo>
                    <a:lnTo>
                      <a:pt x="32" y="81"/>
                    </a:lnTo>
                    <a:lnTo>
                      <a:pt x="32" y="83"/>
                    </a:lnTo>
                    <a:lnTo>
                      <a:pt x="36" y="85"/>
                    </a:lnTo>
                    <a:lnTo>
                      <a:pt x="39" y="85"/>
                    </a:lnTo>
                    <a:lnTo>
                      <a:pt x="39" y="83"/>
                    </a:lnTo>
                    <a:lnTo>
                      <a:pt x="39" y="79"/>
                    </a:lnTo>
                    <a:lnTo>
                      <a:pt x="39" y="76"/>
                    </a:lnTo>
                    <a:lnTo>
                      <a:pt x="36" y="74"/>
                    </a:lnTo>
                    <a:lnTo>
                      <a:pt x="36" y="70"/>
                    </a:lnTo>
                    <a:lnTo>
                      <a:pt x="39" y="68"/>
                    </a:lnTo>
                    <a:lnTo>
                      <a:pt x="41" y="70"/>
                    </a:lnTo>
                    <a:lnTo>
                      <a:pt x="51" y="70"/>
                    </a:lnTo>
                    <a:lnTo>
                      <a:pt x="54" y="68"/>
                    </a:lnTo>
                    <a:lnTo>
                      <a:pt x="60" y="68"/>
                    </a:lnTo>
                    <a:lnTo>
                      <a:pt x="64" y="70"/>
                    </a:lnTo>
                    <a:lnTo>
                      <a:pt x="66" y="70"/>
                    </a:lnTo>
                    <a:lnTo>
                      <a:pt x="69" y="68"/>
                    </a:lnTo>
                    <a:lnTo>
                      <a:pt x="73" y="64"/>
                    </a:lnTo>
                    <a:lnTo>
                      <a:pt x="69" y="62"/>
                    </a:lnTo>
                    <a:lnTo>
                      <a:pt x="69" y="57"/>
                    </a:lnTo>
                    <a:lnTo>
                      <a:pt x="73" y="53"/>
                    </a:lnTo>
                    <a:lnTo>
                      <a:pt x="73" y="51"/>
                    </a:lnTo>
                    <a:lnTo>
                      <a:pt x="73" y="49"/>
                    </a:lnTo>
                    <a:lnTo>
                      <a:pt x="73" y="46"/>
                    </a:lnTo>
                    <a:lnTo>
                      <a:pt x="69" y="44"/>
                    </a:lnTo>
                    <a:lnTo>
                      <a:pt x="69" y="38"/>
                    </a:lnTo>
                    <a:lnTo>
                      <a:pt x="66" y="36"/>
                    </a:lnTo>
                    <a:lnTo>
                      <a:pt x="66" y="34"/>
                    </a:lnTo>
                    <a:lnTo>
                      <a:pt x="66" y="30"/>
                    </a:lnTo>
                    <a:lnTo>
                      <a:pt x="66" y="25"/>
                    </a:lnTo>
                    <a:lnTo>
                      <a:pt x="66" y="21"/>
                    </a:lnTo>
                    <a:lnTo>
                      <a:pt x="66" y="17"/>
                    </a:lnTo>
                    <a:lnTo>
                      <a:pt x="69" y="15"/>
                    </a:lnTo>
                    <a:lnTo>
                      <a:pt x="69" y="15"/>
                    </a:lnTo>
                    <a:lnTo>
                      <a:pt x="73" y="10"/>
                    </a:lnTo>
                    <a:lnTo>
                      <a:pt x="73" y="8"/>
                    </a:lnTo>
                    <a:lnTo>
                      <a:pt x="69" y="6"/>
                    </a:lnTo>
                    <a:lnTo>
                      <a:pt x="60" y="4"/>
                    </a:lnTo>
                    <a:lnTo>
                      <a:pt x="54" y="0"/>
                    </a:lnTo>
                    <a:lnTo>
                      <a:pt x="53" y="4"/>
                    </a:lnTo>
                    <a:lnTo>
                      <a:pt x="49" y="4"/>
                    </a:lnTo>
                    <a:lnTo>
                      <a:pt x="45" y="4"/>
                    </a:lnTo>
                    <a:lnTo>
                      <a:pt x="36" y="4"/>
                    </a:lnTo>
                    <a:lnTo>
                      <a:pt x="30" y="4"/>
                    </a:lnTo>
                    <a:lnTo>
                      <a:pt x="22" y="4"/>
                    </a:lnTo>
                    <a:lnTo>
                      <a:pt x="17" y="4"/>
                    </a:lnTo>
                    <a:lnTo>
                      <a:pt x="17" y="8"/>
                    </a:lnTo>
                    <a:lnTo>
                      <a:pt x="17" y="10"/>
                    </a:lnTo>
                    <a:lnTo>
                      <a:pt x="15" y="14"/>
                    </a:lnTo>
                    <a:lnTo>
                      <a:pt x="15" y="15"/>
                    </a:lnTo>
                    <a:lnTo>
                      <a:pt x="15" y="19"/>
                    </a:lnTo>
                    <a:lnTo>
                      <a:pt x="11" y="21"/>
                    </a:lnTo>
                    <a:lnTo>
                      <a:pt x="5" y="21"/>
                    </a:lnTo>
                    <a:lnTo>
                      <a:pt x="4" y="25"/>
                    </a:lnTo>
                    <a:lnTo>
                      <a:pt x="4" y="30"/>
                    </a:lnTo>
                    <a:lnTo>
                      <a:pt x="0" y="36"/>
                    </a:lnTo>
                    <a:lnTo>
                      <a:pt x="0" y="40"/>
                    </a:lnTo>
                    <a:lnTo>
                      <a:pt x="4" y="44"/>
                    </a:lnTo>
                    <a:lnTo>
                      <a:pt x="5" y="44"/>
                    </a:lnTo>
                    <a:lnTo>
                      <a:pt x="7" y="46"/>
                    </a:lnTo>
                    <a:lnTo>
                      <a:pt x="9" y="49"/>
                    </a:lnTo>
                    <a:lnTo>
                      <a:pt x="9" y="51"/>
                    </a:lnTo>
                    <a:lnTo>
                      <a:pt x="11" y="53"/>
                    </a:lnTo>
                    <a:lnTo>
                      <a:pt x="11" y="53"/>
                    </a:lnTo>
                    <a:lnTo>
                      <a:pt x="15" y="55"/>
                    </a:lnTo>
                    <a:lnTo>
                      <a:pt x="15" y="57"/>
                    </a:lnTo>
                    <a:lnTo>
                      <a:pt x="15" y="64"/>
                    </a:lnTo>
                    <a:lnTo>
                      <a:pt x="15" y="68"/>
                    </a:lnTo>
                    <a:lnTo>
                      <a:pt x="17" y="68"/>
                    </a:lnTo>
                    <a:lnTo>
                      <a:pt x="21" y="70"/>
                    </a:lnTo>
                    <a:lnTo>
                      <a:pt x="21" y="74"/>
                    </a:lnTo>
                    <a:lnTo>
                      <a:pt x="26" y="76"/>
                    </a:lnTo>
                    <a:lnTo>
                      <a:pt x="26" y="79"/>
                    </a:lnTo>
                    <a:lnTo>
                      <a:pt x="26" y="79"/>
                    </a:lnTo>
                    <a:lnTo>
                      <a:pt x="30" y="81"/>
                    </a:lnTo>
                    <a:lnTo>
                      <a:pt x="30" y="81"/>
                    </a:lnTo>
                    <a:lnTo>
                      <a:pt x="30" y="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8" name="Freeform 170"/>
              <p:cNvSpPr>
                <a:spLocks/>
              </p:cNvSpPr>
              <p:nvPr/>
            </p:nvSpPr>
            <p:spPr bwMode="auto">
              <a:xfrm>
                <a:off x="1725" y="2986"/>
                <a:ext cx="73" cy="85"/>
              </a:xfrm>
              <a:custGeom>
                <a:avLst/>
                <a:gdLst/>
                <a:ahLst/>
                <a:cxnLst>
                  <a:cxn ang="0">
                    <a:pos x="30" y="81"/>
                  </a:cxn>
                  <a:cxn ang="0">
                    <a:pos x="32" y="83"/>
                  </a:cxn>
                  <a:cxn ang="0">
                    <a:pos x="39" y="85"/>
                  </a:cxn>
                  <a:cxn ang="0">
                    <a:pos x="39" y="79"/>
                  </a:cxn>
                  <a:cxn ang="0">
                    <a:pos x="36" y="74"/>
                  </a:cxn>
                  <a:cxn ang="0">
                    <a:pos x="39" y="68"/>
                  </a:cxn>
                  <a:cxn ang="0">
                    <a:pos x="51" y="70"/>
                  </a:cxn>
                  <a:cxn ang="0">
                    <a:pos x="60" y="68"/>
                  </a:cxn>
                  <a:cxn ang="0">
                    <a:pos x="66" y="70"/>
                  </a:cxn>
                  <a:cxn ang="0">
                    <a:pos x="73" y="64"/>
                  </a:cxn>
                  <a:cxn ang="0">
                    <a:pos x="69" y="57"/>
                  </a:cxn>
                  <a:cxn ang="0">
                    <a:pos x="73" y="51"/>
                  </a:cxn>
                  <a:cxn ang="0">
                    <a:pos x="73" y="46"/>
                  </a:cxn>
                  <a:cxn ang="0">
                    <a:pos x="69" y="38"/>
                  </a:cxn>
                  <a:cxn ang="0">
                    <a:pos x="66" y="34"/>
                  </a:cxn>
                  <a:cxn ang="0">
                    <a:pos x="66" y="25"/>
                  </a:cxn>
                  <a:cxn ang="0">
                    <a:pos x="66" y="17"/>
                  </a:cxn>
                  <a:cxn ang="0">
                    <a:pos x="69" y="15"/>
                  </a:cxn>
                  <a:cxn ang="0">
                    <a:pos x="73" y="8"/>
                  </a:cxn>
                  <a:cxn ang="0">
                    <a:pos x="60" y="4"/>
                  </a:cxn>
                  <a:cxn ang="0">
                    <a:pos x="53" y="4"/>
                  </a:cxn>
                  <a:cxn ang="0">
                    <a:pos x="45" y="4"/>
                  </a:cxn>
                  <a:cxn ang="0">
                    <a:pos x="30" y="4"/>
                  </a:cxn>
                  <a:cxn ang="0">
                    <a:pos x="17" y="4"/>
                  </a:cxn>
                  <a:cxn ang="0">
                    <a:pos x="17" y="10"/>
                  </a:cxn>
                  <a:cxn ang="0">
                    <a:pos x="15" y="15"/>
                  </a:cxn>
                  <a:cxn ang="0">
                    <a:pos x="11" y="21"/>
                  </a:cxn>
                  <a:cxn ang="0">
                    <a:pos x="4" y="25"/>
                  </a:cxn>
                  <a:cxn ang="0">
                    <a:pos x="0" y="36"/>
                  </a:cxn>
                  <a:cxn ang="0">
                    <a:pos x="4" y="44"/>
                  </a:cxn>
                  <a:cxn ang="0">
                    <a:pos x="7" y="46"/>
                  </a:cxn>
                  <a:cxn ang="0">
                    <a:pos x="9" y="51"/>
                  </a:cxn>
                  <a:cxn ang="0">
                    <a:pos x="11" y="53"/>
                  </a:cxn>
                  <a:cxn ang="0">
                    <a:pos x="15" y="57"/>
                  </a:cxn>
                  <a:cxn ang="0">
                    <a:pos x="15" y="68"/>
                  </a:cxn>
                  <a:cxn ang="0">
                    <a:pos x="21" y="70"/>
                  </a:cxn>
                  <a:cxn ang="0">
                    <a:pos x="26" y="76"/>
                  </a:cxn>
                  <a:cxn ang="0">
                    <a:pos x="26" y="79"/>
                  </a:cxn>
                  <a:cxn ang="0">
                    <a:pos x="30" y="81"/>
                  </a:cxn>
                </a:cxnLst>
                <a:rect l="0" t="0" r="r" b="b"/>
                <a:pathLst>
                  <a:path w="73" h="85">
                    <a:moveTo>
                      <a:pt x="30" y="81"/>
                    </a:moveTo>
                    <a:lnTo>
                      <a:pt x="30" y="81"/>
                    </a:lnTo>
                    <a:lnTo>
                      <a:pt x="32" y="81"/>
                    </a:lnTo>
                    <a:lnTo>
                      <a:pt x="32" y="83"/>
                    </a:lnTo>
                    <a:lnTo>
                      <a:pt x="36" y="85"/>
                    </a:lnTo>
                    <a:lnTo>
                      <a:pt x="39" y="85"/>
                    </a:lnTo>
                    <a:lnTo>
                      <a:pt x="39" y="83"/>
                    </a:lnTo>
                    <a:lnTo>
                      <a:pt x="39" y="79"/>
                    </a:lnTo>
                    <a:lnTo>
                      <a:pt x="39" y="76"/>
                    </a:lnTo>
                    <a:lnTo>
                      <a:pt x="36" y="74"/>
                    </a:lnTo>
                    <a:lnTo>
                      <a:pt x="36" y="70"/>
                    </a:lnTo>
                    <a:lnTo>
                      <a:pt x="39" y="68"/>
                    </a:lnTo>
                    <a:lnTo>
                      <a:pt x="41" y="70"/>
                    </a:lnTo>
                    <a:lnTo>
                      <a:pt x="51" y="70"/>
                    </a:lnTo>
                    <a:lnTo>
                      <a:pt x="54" y="68"/>
                    </a:lnTo>
                    <a:lnTo>
                      <a:pt x="60" y="68"/>
                    </a:lnTo>
                    <a:lnTo>
                      <a:pt x="64" y="70"/>
                    </a:lnTo>
                    <a:lnTo>
                      <a:pt x="66" y="70"/>
                    </a:lnTo>
                    <a:lnTo>
                      <a:pt x="69" y="68"/>
                    </a:lnTo>
                    <a:lnTo>
                      <a:pt x="73" y="64"/>
                    </a:lnTo>
                    <a:lnTo>
                      <a:pt x="69" y="62"/>
                    </a:lnTo>
                    <a:lnTo>
                      <a:pt x="69" y="57"/>
                    </a:lnTo>
                    <a:lnTo>
                      <a:pt x="73" y="53"/>
                    </a:lnTo>
                    <a:lnTo>
                      <a:pt x="73" y="51"/>
                    </a:lnTo>
                    <a:lnTo>
                      <a:pt x="73" y="49"/>
                    </a:lnTo>
                    <a:lnTo>
                      <a:pt x="73" y="46"/>
                    </a:lnTo>
                    <a:lnTo>
                      <a:pt x="69" y="44"/>
                    </a:lnTo>
                    <a:lnTo>
                      <a:pt x="69" y="38"/>
                    </a:lnTo>
                    <a:lnTo>
                      <a:pt x="66" y="36"/>
                    </a:lnTo>
                    <a:lnTo>
                      <a:pt x="66" y="34"/>
                    </a:lnTo>
                    <a:lnTo>
                      <a:pt x="66" y="30"/>
                    </a:lnTo>
                    <a:lnTo>
                      <a:pt x="66" y="25"/>
                    </a:lnTo>
                    <a:lnTo>
                      <a:pt x="66" y="21"/>
                    </a:lnTo>
                    <a:lnTo>
                      <a:pt x="66" y="17"/>
                    </a:lnTo>
                    <a:lnTo>
                      <a:pt x="69" y="15"/>
                    </a:lnTo>
                    <a:lnTo>
                      <a:pt x="69" y="15"/>
                    </a:lnTo>
                    <a:lnTo>
                      <a:pt x="73" y="10"/>
                    </a:lnTo>
                    <a:lnTo>
                      <a:pt x="73" y="8"/>
                    </a:lnTo>
                    <a:lnTo>
                      <a:pt x="69" y="6"/>
                    </a:lnTo>
                    <a:lnTo>
                      <a:pt x="60" y="4"/>
                    </a:lnTo>
                    <a:lnTo>
                      <a:pt x="54" y="0"/>
                    </a:lnTo>
                    <a:lnTo>
                      <a:pt x="53" y="4"/>
                    </a:lnTo>
                    <a:lnTo>
                      <a:pt x="49" y="4"/>
                    </a:lnTo>
                    <a:lnTo>
                      <a:pt x="45" y="4"/>
                    </a:lnTo>
                    <a:lnTo>
                      <a:pt x="36" y="4"/>
                    </a:lnTo>
                    <a:lnTo>
                      <a:pt x="30" y="4"/>
                    </a:lnTo>
                    <a:lnTo>
                      <a:pt x="22" y="4"/>
                    </a:lnTo>
                    <a:lnTo>
                      <a:pt x="17" y="4"/>
                    </a:lnTo>
                    <a:lnTo>
                      <a:pt x="17" y="8"/>
                    </a:lnTo>
                    <a:lnTo>
                      <a:pt x="17" y="10"/>
                    </a:lnTo>
                    <a:lnTo>
                      <a:pt x="15" y="14"/>
                    </a:lnTo>
                    <a:lnTo>
                      <a:pt x="15" y="15"/>
                    </a:lnTo>
                    <a:lnTo>
                      <a:pt x="15" y="19"/>
                    </a:lnTo>
                    <a:lnTo>
                      <a:pt x="11" y="21"/>
                    </a:lnTo>
                    <a:lnTo>
                      <a:pt x="5" y="21"/>
                    </a:lnTo>
                    <a:lnTo>
                      <a:pt x="4" y="25"/>
                    </a:lnTo>
                    <a:lnTo>
                      <a:pt x="4" y="30"/>
                    </a:lnTo>
                    <a:lnTo>
                      <a:pt x="0" y="36"/>
                    </a:lnTo>
                    <a:lnTo>
                      <a:pt x="0" y="40"/>
                    </a:lnTo>
                    <a:lnTo>
                      <a:pt x="4" y="44"/>
                    </a:lnTo>
                    <a:lnTo>
                      <a:pt x="5" y="44"/>
                    </a:lnTo>
                    <a:lnTo>
                      <a:pt x="7" y="46"/>
                    </a:lnTo>
                    <a:lnTo>
                      <a:pt x="9" y="49"/>
                    </a:lnTo>
                    <a:lnTo>
                      <a:pt x="9" y="51"/>
                    </a:lnTo>
                    <a:lnTo>
                      <a:pt x="11" y="53"/>
                    </a:lnTo>
                    <a:lnTo>
                      <a:pt x="11" y="53"/>
                    </a:lnTo>
                    <a:lnTo>
                      <a:pt x="15" y="55"/>
                    </a:lnTo>
                    <a:lnTo>
                      <a:pt x="15" y="57"/>
                    </a:lnTo>
                    <a:lnTo>
                      <a:pt x="15" y="64"/>
                    </a:lnTo>
                    <a:lnTo>
                      <a:pt x="15" y="68"/>
                    </a:lnTo>
                    <a:lnTo>
                      <a:pt x="17" y="68"/>
                    </a:lnTo>
                    <a:lnTo>
                      <a:pt x="21" y="70"/>
                    </a:lnTo>
                    <a:lnTo>
                      <a:pt x="21" y="74"/>
                    </a:lnTo>
                    <a:lnTo>
                      <a:pt x="26" y="76"/>
                    </a:lnTo>
                    <a:lnTo>
                      <a:pt x="26" y="79"/>
                    </a:lnTo>
                    <a:lnTo>
                      <a:pt x="26" y="79"/>
                    </a:lnTo>
                    <a:lnTo>
                      <a:pt x="30" y="81"/>
                    </a:lnTo>
                    <a:lnTo>
                      <a:pt x="30" y="81"/>
                    </a:lnTo>
                    <a:lnTo>
                      <a:pt x="30" y="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9" name="Freeform 171"/>
              <p:cNvSpPr>
                <a:spLocks/>
              </p:cNvSpPr>
              <p:nvPr/>
            </p:nvSpPr>
            <p:spPr bwMode="auto">
              <a:xfrm>
                <a:off x="1663" y="2945"/>
                <a:ext cx="94" cy="137"/>
              </a:xfrm>
              <a:custGeom>
                <a:avLst/>
                <a:gdLst/>
                <a:ahLst/>
                <a:cxnLst>
                  <a:cxn ang="0">
                    <a:pos x="15" y="60"/>
                  </a:cxn>
                  <a:cxn ang="0">
                    <a:pos x="19" y="60"/>
                  </a:cxn>
                  <a:cxn ang="0">
                    <a:pos x="26" y="64"/>
                  </a:cxn>
                  <a:cxn ang="0">
                    <a:pos x="22" y="71"/>
                  </a:cxn>
                  <a:cxn ang="0">
                    <a:pos x="24" y="75"/>
                  </a:cxn>
                  <a:cxn ang="0">
                    <a:pos x="30" y="79"/>
                  </a:cxn>
                  <a:cxn ang="0">
                    <a:pos x="34" y="81"/>
                  </a:cxn>
                  <a:cxn ang="0">
                    <a:pos x="30" y="87"/>
                  </a:cxn>
                  <a:cxn ang="0">
                    <a:pos x="28" y="98"/>
                  </a:cxn>
                  <a:cxn ang="0">
                    <a:pos x="26" y="105"/>
                  </a:cxn>
                  <a:cxn ang="0">
                    <a:pos x="26" y="109"/>
                  </a:cxn>
                  <a:cxn ang="0">
                    <a:pos x="26" y="115"/>
                  </a:cxn>
                  <a:cxn ang="0">
                    <a:pos x="34" y="122"/>
                  </a:cxn>
                  <a:cxn ang="0">
                    <a:pos x="35" y="130"/>
                  </a:cxn>
                  <a:cxn ang="0">
                    <a:pos x="45" y="137"/>
                  </a:cxn>
                  <a:cxn ang="0">
                    <a:pos x="51" y="134"/>
                  </a:cxn>
                  <a:cxn ang="0">
                    <a:pos x="56" y="134"/>
                  </a:cxn>
                  <a:cxn ang="0">
                    <a:pos x="60" y="130"/>
                  </a:cxn>
                  <a:cxn ang="0">
                    <a:pos x="69" y="128"/>
                  </a:cxn>
                  <a:cxn ang="0">
                    <a:pos x="79" y="120"/>
                  </a:cxn>
                  <a:cxn ang="0">
                    <a:pos x="83" y="122"/>
                  </a:cxn>
                  <a:cxn ang="0">
                    <a:pos x="94" y="120"/>
                  </a:cxn>
                  <a:cxn ang="0">
                    <a:pos x="90" y="119"/>
                  </a:cxn>
                  <a:cxn ang="0">
                    <a:pos x="84" y="115"/>
                  </a:cxn>
                  <a:cxn ang="0">
                    <a:pos x="81" y="107"/>
                  </a:cxn>
                  <a:cxn ang="0">
                    <a:pos x="79" y="103"/>
                  </a:cxn>
                  <a:cxn ang="0">
                    <a:pos x="79" y="94"/>
                  </a:cxn>
                  <a:cxn ang="0">
                    <a:pos x="73" y="94"/>
                  </a:cxn>
                  <a:cxn ang="0">
                    <a:pos x="73" y="90"/>
                  </a:cxn>
                  <a:cxn ang="0">
                    <a:pos x="69" y="85"/>
                  </a:cxn>
                  <a:cxn ang="0">
                    <a:pos x="64" y="81"/>
                  </a:cxn>
                  <a:cxn ang="0">
                    <a:pos x="67" y="71"/>
                  </a:cxn>
                  <a:cxn ang="0">
                    <a:pos x="69" y="62"/>
                  </a:cxn>
                  <a:cxn ang="0">
                    <a:pos x="79" y="60"/>
                  </a:cxn>
                  <a:cxn ang="0">
                    <a:pos x="79" y="55"/>
                  </a:cxn>
                  <a:cxn ang="0">
                    <a:pos x="81" y="51"/>
                  </a:cxn>
                  <a:cxn ang="0">
                    <a:pos x="79" y="47"/>
                  </a:cxn>
                  <a:cxn ang="0">
                    <a:pos x="79" y="39"/>
                  </a:cxn>
                  <a:cxn ang="0">
                    <a:pos x="66" y="32"/>
                  </a:cxn>
                  <a:cxn ang="0">
                    <a:pos x="60" y="32"/>
                  </a:cxn>
                  <a:cxn ang="0">
                    <a:pos x="52" y="36"/>
                  </a:cxn>
                  <a:cxn ang="0">
                    <a:pos x="51" y="36"/>
                  </a:cxn>
                  <a:cxn ang="0">
                    <a:pos x="52" y="24"/>
                  </a:cxn>
                  <a:cxn ang="0">
                    <a:pos x="49" y="17"/>
                  </a:cxn>
                  <a:cxn ang="0">
                    <a:pos x="35" y="7"/>
                  </a:cxn>
                  <a:cxn ang="0">
                    <a:pos x="34" y="2"/>
                  </a:cxn>
                  <a:cxn ang="0">
                    <a:pos x="28" y="0"/>
                  </a:cxn>
                  <a:cxn ang="0">
                    <a:pos x="22" y="7"/>
                  </a:cxn>
                  <a:cxn ang="0">
                    <a:pos x="15" y="11"/>
                  </a:cxn>
                  <a:cxn ang="0">
                    <a:pos x="11" y="19"/>
                  </a:cxn>
                  <a:cxn ang="0">
                    <a:pos x="17" y="22"/>
                  </a:cxn>
                  <a:cxn ang="0">
                    <a:pos x="20" y="28"/>
                  </a:cxn>
                  <a:cxn ang="0">
                    <a:pos x="11" y="32"/>
                  </a:cxn>
                  <a:cxn ang="0">
                    <a:pos x="5" y="32"/>
                  </a:cxn>
                  <a:cxn ang="0">
                    <a:pos x="3" y="39"/>
                  </a:cxn>
                  <a:cxn ang="0">
                    <a:pos x="0" y="47"/>
                  </a:cxn>
                  <a:cxn ang="0">
                    <a:pos x="13" y="58"/>
                  </a:cxn>
                  <a:cxn ang="0">
                    <a:pos x="13" y="60"/>
                  </a:cxn>
                </a:cxnLst>
                <a:rect l="0" t="0" r="r" b="b"/>
                <a:pathLst>
                  <a:path w="94" h="137">
                    <a:moveTo>
                      <a:pt x="13" y="60"/>
                    </a:moveTo>
                    <a:lnTo>
                      <a:pt x="15" y="60"/>
                    </a:lnTo>
                    <a:lnTo>
                      <a:pt x="15" y="62"/>
                    </a:lnTo>
                    <a:lnTo>
                      <a:pt x="19" y="60"/>
                    </a:lnTo>
                    <a:lnTo>
                      <a:pt x="22" y="60"/>
                    </a:lnTo>
                    <a:lnTo>
                      <a:pt x="26" y="64"/>
                    </a:lnTo>
                    <a:lnTo>
                      <a:pt x="26" y="70"/>
                    </a:lnTo>
                    <a:lnTo>
                      <a:pt x="22" y="71"/>
                    </a:lnTo>
                    <a:lnTo>
                      <a:pt x="20" y="75"/>
                    </a:lnTo>
                    <a:lnTo>
                      <a:pt x="24" y="75"/>
                    </a:lnTo>
                    <a:lnTo>
                      <a:pt x="28" y="75"/>
                    </a:lnTo>
                    <a:lnTo>
                      <a:pt x="30" y="79"/>
                    </a:lnTo>
                    <a:lnTo>
                      <a:pt x="30" y="81"/>
                    </a:lnTo>
                    <a:lnTo>
                      <a:pt x="34" y="81"/>
                    </a:lnTo>
                    <a:lnTo>
                      <a:pt x="34" y="83"/>
                    </a:lnTo>
                    <a:lnTo>
                      <a:pt x="30" y="87"/>
                    </a:lnTo>
                    <a:lnTo>
                      <a:pt x="30" y="90"/>
                    </a:lnTo>
                    <a:lnTo>
                      <a:pt x="28" y="98"/>
                    </a:lnTo>
                    <a:lnTo>
                      <a:pt x="28" y="102"/>
                    </a:lnTo>
                    <a:lnTo>
                      <a:pt x="26" y="105"/>
                    </a:lnTo>
                    <a:lnTo>
                      <a:pt x="26" y="109"/>
                    </a:lnTo>
                    <a:lnTo>
                      <a:pt x="26" y="109"/>
                    </a:lnTo>
                    <a:lnTo>
                      <a:pt x="26" y="113"/>
                    </a:lnTo>
                    <a:lnTo>
                      <a:pt x="26" y="115"/>
                    </a:lnTo>
                    <a:lnTo>
                      <a:pt x="30" y="119"/>
                    </a:lnTo>
                    <a:lnTo>
                      <a:pt x="34" y="122"/>
                    </a:lnTo>
                    <a:lnTo>
                      <a:pt x="34" y="126"/>
                    </a:lnTo>
                    <a:lnTo>
                      <a:pt x="35" y="130"/>
                    </a:lnTo>
                    <a:lnTo>
                      <a:pt x="43" y="134"/>
                    </a:lnTo>
                    <a:lnTo>
                      <a:pt x="45" y="137"/>
                    </a:lnTo>
                    <a:lnTo>
                      <a:pt x="49" y="134"/>
                    </a:lnTo>
                    <a:lnTo>
                      <a:pt x="51" y="134"/>
                    </a:lnTo>
                    <a:lnTo>
                      <a:pt x="51" y="134"/>
                    </a:lnTo>
                    <a:lnTo>
                      <a:pt x="56" y="134"/>
                    </a:lnTo>
                    <a:lnTo>
                      <a:pt x="58" y="132"/>
                    </a:lnTo>
                    <a:lnTo>
                      <a:pt x="60" y="130"/>
                    </a:lnTo>
                    <a:lnTo>
                      <a:pt x="64" y="128"/>
                    </a:lnTo>
                    <a:lnTo>
                      <a:pt x="69" y="128"/>
                    </a:lnTo>
                    <a:lnTo>
                      <a:pt x="73" y="122"/>
                    </a:lnTo>
                    <a:lnTo>
                      <a:pt x="79" y="120"/>
                    </a:lnTo>
                    <a:lnTo>
                      <a:pt x="83" y="120"/>
                    </a:lnTo>
                    <a:lnTo>
                      <a:pt x="83" y="122"/>
                    </a:lnTo>
                    <a:lnTo>
                      <a:pt x="86" y="120"/>
                    </a:lnTo>
                    <a:lnTo>
                      <a:pt x="94" y="120"/>
                    </a:lnTo>
                    <a:lnTo>
                      <a:pt x="90" y="119"/>
                    </a:lnTo>
                    <a:lnTo>
                      <a:pt x="90" y="119"/>
                    </a:lnTo>
                    <a:lnTo>
                      <a:pt x="90" y="115"/>
                    </a:lnTo>
                    <a:lnTo>
                      <a:pt x="84" y="115"/>
                    </a:lnTo>
                    <a:lnTo>
                      <a:pt x="84" y="109"/>
                    </a:lnTo>
                    <a:lnTo>
                      <a:pt x="81" y="107"/>
                    </a:lnTo>
                    <a:lnTo>
                      <a:pt x="79" y="107"/>
                    </a:lnTo>
                    <a:lnTo>
                      <a:pt x="79" y="103"/>
                    </a:lnTo>
                    <a:lnTo>
                      <a:pt x="79" y="96"/>
                    </a:lnTo>
                    <a:lnTo>
                      <a:pt x="79" y="94"/>
                    </a:lnTo>
                    <a:lnTo>
                      <a:pt x="75" y="94"/>
                    </a:lnTo>
                    <a:lnTo>
                      <a:pt x="73" y="94"/>
                    </a:lnTo>
                    <a:lnTo>
                      <a:pt x="73" y="90"/>
                    </a:lnTo>
                    <a:lnTo>
                      <a:pt x="73" y="90"/>
                    </a:lnTo>
                    <a:lnTo>
                      <a:pt x="69" y="87"/>
                    </a:lnTo>
                    <a:lnTo>
                      <a:pt x="69" y="85"/>
                    </a:lnTo>
                    <a:lnTo>
                      <a:pt x="67" y="83"/>
                    </a:lnTo>
                    <a:lnTo>
                      <a:pt x="64" y="81"/>
                    </a:lnTo>
                    <a:lnTo>
                      <a:pt x="64" y="77"/>
                    </a:lnTo>
                    <a:lnTo>
                      <a:pt x="67" y="71"/>
                    </a:lnTo>
                    <a:lnTo>
                      <a:pt x="67" y="66"/>
                    </a:lnTo>
                    <a:lnTo>
                      <a:pt x="69" y="62"/>
                    </a:lnTo>
                    <a:lnTo>
                      <a:pt x="73" y="62"/>
                    </a:lnTo>
                    <a:lnTo>
                      <a:pt x="79" y="60"/>
                    </a:lnTo>
                    <a:lnTo>
                      <a:pt x="79" y="56"/>
                    </a:lnTo>
                    <a:lnTo>
                      <a:pt x="79" y="55"/>
                    </a:lnTo>
                    <a:lnTo>
                      <a:pt x="81" y="51"/>
                    </a:lnTo>
                    <a:lnTo>
                      <a:pt x="81" y="51"/>
                    </a:lnTo>
                    <a:lnTo>
                      <a:pt x="79" y="51"/>
                    </a:lnTo>
                    <a:lnTo>
                      <a:pt x="79" y="47"/>
                    </a:lnTo>
                    <a:lnTo>
                      <a:pt x="79" y="43"/>
                    </a:lnTo>
                    <a:lnTo>
                      <a:pt x="79" y="39"/>
                    </a:lnTo>
                    <a:lnTo>
                      <a:pt x="69" y="38"/>
                    </a:lnTo>
                    <a:lnTo>
                      <a:pt x="66" y="32"/>
                    </a:lnTo>
                    <a:lnTo>
                      <a:pt x="60" y="28"/>
                    </a:lnTo>
                    <a:lnTo>
                      <a:pt x="60" y="32"/>
                    </a:lnTo>
                    <a:lnTo>
                      <a:pt x="56" y="32"/>
                    </a:lnTo>
                    <a:lnTo>
                      <a:pt x="52" y="36"/>
                    </a:lnTo>
                    <a:lnTo>
                      <a:pt x="52" y="38"/>
                    </a:lnTo>
                    <a:lnTo>
                      <a:pt x="51" y="36"/>
                    </a:lnTo>
                    <a:lnTo>
                      <a:pt x="52" y="28"/>
                    </a:lnTo>
                    <a:lnTo>
                      <a:pt x="52" y="24"/>
                    </a:lnTo>
                    <a:lnTo>
                      <a:pt x="51" y="19"/>
                    </a:lnTo>
                    <a:lnTo>
                      <a:pt x="49" y="17"/>
                    </a:lnTo>
                    <a:lnTo>
                      <a:pt x="41" y="11"/>
                    </a:lnTo>
                    <a:lnTo>
                      <a:pt x="35" y="7"/>
                    </a:lnTo>
                    <a:lnTo>
                      <a:pt x="35" y="4"/>
                    </a:lnTo>
                    <a:lnTo>
                      <a:pt x="34" y="2"/>
                    </a:lnTo>
                    <a:lnTo>
                      <a:pt x="30" y="0"/>
                    </a:lnTo>
                    <a:lnTo>
                      <a:pt x="28" y="0"/>
                    </a:lnTo>
                    <a:lnTo>
                      <a:pt x="28" y="2"/>
                    </a:lnTo>
                    <a:lnTo>
                      <a:pt x="22" y="7"/>
                    </a:lnTo>
                    <a:lnTo>
                      <a:pt x="19" y="11"/>
                    </a:lnTo>
                    <a:lnTo>
                      <a:pt x="15" y="11"/>
                    </a:lnTo>
                    <a:lnTo>
                      <a:pt x="9" y="15"/>
                    </a:lnTo>
                    <a:lnTo>
                      <a:pt x="11" y="19"/>
                    </a:lnTo>
                    <a:lnTo>
                      <a:pt x="13" y="22"/>
                    </a:lnTo>
                    <a:lnTo>
                      <a:pt x="17" y="22"/>
                    </a:lnTo>
                    <a:lnTo>
                      <a:pt x="20" y="26"/>
                    </a:lnTo>
                    <a:lnTo>
                      <a:pt x="20" y="28"/>
                    </a:lnTo>
                    <a:lnTo>
                      <a:pt x="15" y="32"/>
                    </a:lnTo>
                    <a:lnTo>
                      <a:pt x="11" y="32"/>
                    </a:lnTo>
                    <a:lnTo>
                      <a:pt x="9" y="32"/>
                    </a:lnTo>
                    <a:lnTo>
                      <a:pt x="5" y="32"/>
                    </a:lnTo>
                    <a:lnTo>
                      <a:pt x="3" y="36"/>
                    </a:lnTo>
                    <a:lnTo>
                      <a:pt x="3" y="39"/>
                    </a:lnTo>
                    <a:lnTo>
                      <a:pt x="0" y="43"/>
                    </a:lnTo>
                    <a:lnTo>
                      <a:pt x="0" y="47"/>
                    </a:lnTo>
                    <a:lnTo>
                      <a:pt x="5" y="53"/>
                    </a:lnTo>
                    <a:lnTo>
                      <a:pt x="13" y="58"/>
                    </a:lnTo>
                    <a:lnTo>
                      <a:pt x="13" y="60"/>
                    </a:lnTo>
                    <a:lnTo>
                      <a:pt x="13" y="60"/>
                    </a:lnTo>
                    <a:lnTo>
                      <a:pt x="13" y="6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0" name="Freeform 172"/>
              <p:cNvSpPr>
                <a:spLocks/>
              </p:cNvSpPr>
              <p:nvPr/>
            </p:nvSpPr>
            <p:spPr bwMode="auto">
              <a:xfrm>
                <a:off x="1663" y="2945"/>
                <a:ext cx="94" cy="137"/>
              </a:xfrm>
              <a:custGeom>
                <a:avLst/>
                <a:gdLst/>
                <a:ahLst/>
                <a:cxnLst>
                  <a:cxn ang="0">
                    <a:pos x="15" y="60"/>
                  </a:cxn>
                  <a:cxn ang="0">
                    <a:pos x="19" y="60"/>
                  </a:cxn>
                  <a:cxn ang="0">
                    <a:pos x="26" y="64"/>
                  </a:cxn>
                  <a:cxn ang="0">
                    <a:pos x="22" y="71"/>
                  </a:cxn>
                  <a:cxn ang="0">
                    <a:pos x="24" y="75"/>
                  </a:cxn>
                  <a:cxn ang="0">
                    <a:pos x="30" y="79"/>
                  </a:cxn>
                  <a:cxn ang="0">
                    <a:pos x="34" y="81"/>
                  </a:cxn>
                  <a:cxn ang="0">
                    <a:pos x="30" y="87"/>
                  </a:cxn>
                  <a:cxn ang="0">
                    <a:pos x="28" y="98"/>
                  </a:cxn>
                  <a:cxn ang="0">
                    <a:pos x="26" y="105"/>
                  </a:cxn>
                  <a:cxn ang="0">
                    <a:pos x="26" y="109"/>
                  </a:cxn>
                  <a:cxn ang="0">
                    <a:pos x="26" y="115"/>
                  </a:cxn>
                  <a:cxn ang="0">
                    <a:pos x="34" y="122"/>
                  </a:cxn>
                  <a:cxn ang="0">
                    <a:pos x="35" y="130"/>
                  </a:cxn>
                  <a:cxn ang="0">
                    <a:pos x="45" y="137"/>
                  </a:cxn>
                  <a:cxn ang="0">
                    <a:pos x="51" y="134"/>
                  </a:cxn>
                  <a:cxn ang="0">
                    <a:pos x="56" y="134"/>
                  </a:cxn>
                  <a:cxn ang="0">
                    <a:pos x="60" y="130"/>
                  </a:cxn>
                  <a:cxn ang="0">
                    <a:pos x="69" y="128"/>
                  </a:cxn>
                  <a:cxn ang="0">
                    <a:pos x="79" y="120"/>
                  </a:cxn>
                  <a:cxn ang="0">
                    <a:pos x="83" y="122"/>
                  </a:cxn>
                  <a:cxn ang="0">
                    <a:pos x="94" y="120"/>
                  </a:cxn>
                  <a:cxn ang="0">
                    <a:pos x="90" y="119"/>
                  </a:cxn>
                  <a:cxn ang="0">
                    <a:pos x="84" y="115"/>
                  </a:cxn>
                  <a:cxn ang="0">
                    <a:pos x="81" y="107"/>
                  </a:cxn>
                  <a:cxn ang="0">
                    <a:pos x="79" y="103"/>
                  </a:cxn>
                  <a:cxn ang="0">
                    <a:pos x="79" y="94"/>
                  </a:cxn>
                  <a:cxn ang="0">
                    <a:pos x="73" y="94"/>
                  </a:cxn>
                  <a:cxn ang="0">
                    <a:pos x="73" y="90"/>
                  </a:cxn>
                  <a:cxn ang="0">
                    <a:pos x="69" y="85"/>
                  </a:cxn>
                  <a:cxn ang="0">
                    <a:pos x="64" y="81"/>
                  </a:cxn>
                  <a:cxn ang="0">
                    <a:pos x="67" y="71"/>
                  </a:cxn>
                  <a:cxn ang="0">
                    <a:pos x="69" y="62"/>
                  </a:cxn>
                  <a:cxn ang="0">
                    <a:pos x="79" y="60"/>
                  </a:cxn>
                  <a:cxn ang="0">
                    <a:pos x="79" y="55"/>
                  </a:cxn>
                  <a:cxn ang="0">
                    <a:pos x="81" y="51"/>
                  </a:cxn>
                  <a:cxn ang="0">
                    <a:pos x="79" y="47"/>
                  </a:cxn>
                  <a:cxn ang="0">
                    <a:pos x="79" y="39"/>
                  </a:cxn>
                  <a:cxn ang="0">
                    <a:pos x="66" y="32"/>
                  </a:cxn>
                  <a:cxn ang="0">
                    <a:pos x="60" y="32"/>
                  </a:cxn>
                  <a:cxn ang="0">
                    <a:pos x="52" y="36"/>
                  </a:cxn>
                  <a:cxn ang="0">
                    <a:pos x="51" y="36"/>
                  </a:cxn>
                  <a:cxn ang="0">
                    <a:pos x="52" y="24"/>
                  </a:cxn>
                  <a:cxn ang="0">
                    <a:pos x="49" y="17"/>
                  </a:cxn>
                  <a:cxn ang="0">
                    <a:pos x="35" y="7"/>
                  </a:cxn>
                  <a:cxn ang="0">
                    <a:pos x="34" y="2"/>
                  </a:cxn>
                  <a:cxn ang="0">
                    <a:pos x="28" y="0"/>
                  </a:cxn>
                  <a:cxn ang="0">
                    <a:pos x="22" y="7"/>
                  </a:cxn>
                  <a:cxn ang="0">
                    <a:pos x="15" y="11"/>
                  </a:cxn>
                  <a:cxn ang="0">
                    <a:pos x="11" y="19"/>
                  </a:cxn>
                  <a:cxn ang="0">
                    <a:pos x="17" y="22"/>
                  </a:cxn>
                  <a:cxn ang="0">
                    <a:pos x="20" y="28"/>
                  </a:cxn>
                  <a:cxn ang="0">
                    <a:pos x="11" y="32"/>
                  </a:cxn>
                  <a:cxn ang="0">
                    <a:pos x="5" y="32"/>
                  </a:cxn>
                  <a:cxn ang="0">
                    <a:pos x="3" y="39"/>
                  </a:cxn>
                  <a:cxn ang="0">
                    <a:pos x="0" y="47"/>
                  </a:cxn>
                  <a:cxn ang="0">
                    <a:pos x="13" y="58"/>
                  </a:cxn>
                  <a:cxn ang="0">
                    <a:pos x="13" y="60"/>
                  </a:cxn>
                </a:cxnLst>
                <a:rect l="0" t="0" r="r" b="b"/>
                <a:pathLst>
                  <a:path w="94" h="137">
                    <a:moveTo>
                      <a:pt x="13" y="60"/>
                    </a:moveTo>
                    <a:lnTo>
                      <a:pt x="15" y="60"/>
                    </a:lnTo>
                    <a:lnTo>
                      <a:pt x="15" y="62"/>
                    </a:lnTo>
                    <a:lnTo>
                      <a:pt x="19" y="60"/>
                    </a:lnTo>
                    <a:lnTo>
                      <a:pt x="22" y="60"/>
                    </a:lnTo>
                    <a:lnTo>
                      <a:pt x="26" y="64"/>
                    </a:lnTo>
                    <a:lnTo>
                      <a:pt x="26" y="70"/>
                    </a:lnTo>
                    <a:lnTo>
                      <a:pt x="22" y="71"/>
                    </a:lnTo>
                    <a:lnTo>
                      <a:pt x="20" y="75"/>
                    </a:lnTo>
                    <a:lnTo>
                      <a:pt x="24" y="75"/>
                    </a:lnTo>
                    <a:lnTo>
                      <a:pt x="28" y="75"/>
                    </a:lnTo>
                    <a:lnTo>
                      <a:pt x="30" y="79"/>
                    </a:lnTo>
                    <a:lnTo>
                      <a:pt x="30" y="81"/>
                    </a:lnTo>
                    <a:lnTo>
                      <a:pt x="34" y="81"/>
                    </a:lnTo>
                    <a:lnTo>
                      <a:pt x="34" y="83"/>
                    </a:lnTo>
                    <a:lnTo>
                      <a:pt x="30" y="87"/>
                    </a:lnTo>
                    <a:lnTo>
                      <a:pt x="30" y="90"/>
                    </a:lnTo>
                    <a:lnTo>
                      <a:pt x="28" y="98"/>
                    </a:lnTo>
                    <a:lnTo>
                      <a:pt x="28" y="102"/>
                    </a:lnTo>
                    <a:lnTo>
                      <a:pt x="26" y="105"/>
                    </a:lnTo>
                    <a:lnTo>
                      <a:pt x="26" y="109"/>
                    </a:lnTo>
                    <a:lnTo>
                      <a:pt x="26" y="109"/>
                    </a:lnTo>
                    <a:lnTo>
                      <a:pt x="26" y="113"/>
                    </a:lnTo>
                    <a:lnTo>
                      <a:pt x="26" y="115"/>
                    </a:lnTo>
                    <a:lnTo>
                      <a:pt x="30" y="119"/>
                    </a:lnTo>
                    <a:lnTo>
                      <a:pt x="34" y="122"/>
                    </a:lnTo>
                    <a:lnTo>
                      <a:pt x="34" y="126"/>
                    </a:lnTo>
                    <a:lnTo>
                      <a:pt x="35" y="130"/>
                    </a:lnTo>
                    <a:lnTo>
                      <a:pt x="43" y="134"/>
                    </a:lnTo>
                    <a:lnTo>
                      <a:pt x="45" y="137"/>
                    </a:lnTo>
                    <a:lnTo>
                      <a:pt x="49" y="134"/>
                    </a:lnTo>
                    <a:lnTo>
                      <a:pt x="51" y="134"/>
                    </a:lnTo>
                    <a:lnTo>
                      <a:pt x="51" y="134"/>
                    </a:lnTo>
                    <a:lnTo>
                      <a:pt x="56" y="134"/>
                    </a:lnTo>
                    <a:lnTo>
                      <a:pt x="58" y="132"/>
                    </a:lnTo>
                    <a:lnTo>
                      <a:pt x="60" y="130"/>
                    </a:lnTo>
                    <a:lnTo>
                      <a:pt x="64" y="128"/>
                    </a:lnTo>
                    <a:lnTo>
                      <a:pt x="69" y="128"/>
                    </a:lnTo>
                    <a:lnTo>
                      <a:pt x="73" y="122"/>
                    </a:lnTo>
                    <a:lnTo>
                      <a:pt x="79" y="120"/>
                    </a:lnTo>
                    <a:lnTo>
                      <a:pt x="83" y="120"/>
                    </a:lnTo>
                    <a:lnTo>
                      <a:pt x="83" y="122"/>
                    </a:lnTo>
                    <a:lnTo>
                      <a:pt x="86" y="120"/>
                    </a:lnTo>
                    <a:lnTo>
                      <a:pt x="94" y="120"/>
                    </a:lnTo>
                    <a:lnTo>
                      <a:pt x="90" y="119"/>
                    </a:lnTo>
                    <a:lnTo>
                      <a:pt x="90" y="119"/>
                    </a:lnTo>
                    <a:lnTo>
                      <a:pt x="90" y="115"/>
                    </a:lnTo>
                    <a:lnTo>
                      <a:pt x="84" y="115"/>
                    </a:lnTo>
                    <a:lnTo>
                      <a:pt x="84" y="109"/>
                    </a:lnTo>
                    <a:lnTo>
                      <a:pt x="81" y="107"/>
                    </a:lnTo>
                    <a:lnTo>
                      <a:pt x="79" y="107"/>
                    </a:lnTo>
                    <a:lnTo>
                      <a:pt x="79" y="103"/>
                    </a:lnTo>
                    <a:lnTo>
                      <a:pt x="79" y="96"/>
                    </a:lnTo>
                    <a:lnTo>
                      <a:pt x="79" y="94"/>
                    </a:lnTo>
                    <a:lnTo>
                      <a:pt x="75" y="94"/>
                    </a:lnTo>
                    <a:lnTo>
                      <a:pt x="73" y="94"/>
                    </a:lnTo>
                    <a:lnTo>
                      <a:pt x="73" y="90"/>
                    </a:lnTo>
                    <a:lnTo>
                      <a:pt x="73" y="90"/>
                    </a:lnTo>
                    <a:lnTo>
                      <a:pt x="69" y="87"/>
                    </a:lnTo>
                    <a:lnTo>
                      <a:pt x="69" y="85"/>
                    </a:lnTo>
                    <a:lnTo>
                      <a:pt x="67" y="83"/>
                    </a:lnTo>
                    <a:lnTo>
                      <a:pt x="64" y="81"/>
                    </a:lnTo>
                    <a:lnTo>
                      <a:pt x="64" y="77"/>
                    </a:lnTo>
                    <a:lnTo>
                      <a:pt x="67" y="71"/>
                    </a:lnTo>
                    <a:lnTo>
                      <a:pt x="67" y="66"/>
                    </a:lnTo>
                    <a:lnTo>
                      <a:pt x="69" y="62"/>
                    </a:lnTo>
                    <a:lnTo>
                      <a:pt x="73" y="62"/>
                    </a:lnTo>
                    <a:lnTo>
                      <a:pt x="79" y="60"/>
                    </a:lnTo>
                    <a:lnTo>
                      <a:pt x="79" y="56"/>
                    </a:lnTo>
                    <a:lnTo>
                      <a:pt x="79" y="55"/>
                    </a:lnTo>
                    <a:lnTo>
                      <a:pt x="81" y="51"/>
                    </a:lnTo>
                    <a:lnTo>
                      <a:pt x="81" y="51"/>
                    </a:lnTo>
                    <a:lnTo>
                      <a:pt x="79" y="51"/>
                    </a:lnTo>
                    <a:lnTo>
                      <a:pt x="79" y="47"/>
                    </a:lnTo>
                    <a:lnTo>
                      <a:pt x="79" y="43"/>
                    </a:lnTo>
                    <a:lnTo>
                      <a:pt x="79" y="39"/>
                    </a:lnTo>
                    <a:lnTo>
                      <a:pt x="69" y="38"/>
                    </a:lnTo>
                    <a:lnTo>
                      <a:pt x="66" y="32"/>
                    </a:lnTo>
                    <a:lnTo>
                      <a:pt x="60" y="28"/>
                    </a:lnTo>
                    <a:lnTo>
                      <a:pt x="60" y="32"/>
                    </a:lnTo>
                    <a:lnTo>
                      <a:pt x="56" y="32"/>
                    </a:lnTo>
                    <a:lnTo>
                      <a:pt x="52" y="36"/>
                    </a:lnTo>
                    <a:lnTo>
                      <a:pt x="52" y="38"/>
                    </a:lnTo>
                    <a:lnTo>
                      <a:pt x="51" y="36"/>
                    </a:lnTo>
                    <a:lnTo>
                      <a:pt x="52" y="28"/>
                    </a:lnTo>
                    <a:lnTo>
                      <a:pt x="52" y="24"/>
                    </a:lnTo>
                    <a:lnTo>
                      <a:pt x="51" y="19"/>
                    </a:lnTo>
                    <a:lnTo>
                      <a:pt x="49" y="17"/>
                    </a:lnTo>
                    <a:lnTo>
                      <a:pt x="41" y="11"/>
                    </a:lnTo>
                    <a:lnTo>
                      <a:pt x="35" y="7"/>
                    </a:lnTo>
                    <a:lnTo>
                      <a:pt x="35" y="4"/>
                    </a:lnTo>
                    <a:lnTo>
                      <a:pt x="34" y="2"/>
                    </a:lnTo>
                    <a:lnTo>
                      <a:pt x="30" y="0"/>
                    </a:lnTo>
                    <a:lnTo>
                      <a:pt x="28" y="0"/>
                    </a:lnTo>
                    <a:lnTo>
                      <a:pt x="28" y="2"/>
                    </a:lnTo>
                    <a:lnTo>
                      <a:pt x="22" y="7"/>
                    </a:lnTo>
                    <a:lnTo>
                      <a:pt x="19" y="11"/>
                    </a:lnTo>
                    <a:lnTo>
                      <a:pt x="15" y="11"/>
                    </a:lnTo>
                    <a:lnTo>
                      <a:pt x="9" y="15"/>
                    </a:lnTo>
                    <a:lnTo>
                      <a:pt x="11" y="19"/>
                    </a:lnTo>
                    <a:lnTo>
                      <a:pt x="13" y="22"/>
                    </a:lnTo>
                    <a:lnTo>
                      <a:pt x="17" y="22"/>
                    </a:lnTo>
                    <a:lnTo>
                      <a:pt x="20" y="26"/>
                    </a:lnTo>
                    <a:lnTo>
                      <a:pt x="20" y="28"/>
                    </a:lnTo>
                    <a:lnTo>
                      <a:pt x="15" y="32"/>
                    </a:lnTo>
                    <a:lnTo>
                      <a:pt x="11" y="32"/>
                    </a:lnTo>
                    <a:lnTo>
                      <a:pt x="9" y="32"/>
                    </a:lnTo>
                    <a:lnTo>
                      <a:pt x="5" y="32"/>
                    </a:lnTo>
                    <a:lnTo>
                      <a:pt x="3" y="36"/>
                    </a:lnTo>
                    <a:lnTo>
                      <a:pt x="3" y="39"/>
                    </a:lnTo>
                    <a:lnTo>
                      <a:pt x="0" y="43"/>
                    </a:lnTo>
                    <a:lnTo>
                      <a:pt x="0" y="47"/>
                    </a:lnTo>
                    <a:lnTo>
                      <a:pt x="5" y="53"/>
                    </a:lnTo>
                    <a:lnTo>
                      <a:pt x="13" y="58"/>
                    </a:lnTo>
                    <a:lnTo>
                      <a:pt x="13" y="60"/>
                    </a:lnTo>
                    <a:lnTo>
                      <a:pt x="13" y="60"/>
                    </a:lnTo>
                    <a:lnTo>
                      <a:pt x="13" y="6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1" name="Freeform 173"/>
              <p:cNvSpPr>
                <a:spLocks noEditPoints="1"/>
              </p:cNvSpPr>
              <p:nvPr/>
            </p:nvSpPr>
            <p:spPr bwMode="auto">
              <a:xfrm>
                <a:off x="1441" y="2866"/>
                <a:ext cx="248" cy="226"/>
              </a:xfrm>
              <a:custGeom>
                <a:avLst/>
                <a:gdLst/>
                <a:ahLst/>
                <a:cxnLst>
                  <a:cxn ang="0">
                    <a:pos x="139" y="226"/>
                  </a:cxn>
                  <a:cxn ang="0">
                    <a:pos x="165" y="203"/>
                  </a:cxn>
                  <a:cxn ang="0">
                    <a:pos x="175" y="194"/>
                  </a:cxn>
                  <a:cxn ang="0">
                    <a:pos x="165" y="171"/>
                  </a:cxn>
                  <a:cxn ang="0">
                    <a:pos x="160" y="160"/>
                  </a:cxn>
                  <a:cxn ang="0">
                    <a:pos x="186" y="164"/>
                  </a:cxn>
                  <a:cxn ang="0">
                    <a:pos x="214" y="154"/>
                  </a:cxn>
                  <a:cxn ang="0">
                    <a:pos x="225" y="132"/>
                  </a:cxn>
                  <a:cxn ang="0">
                    <a:pos x="225" y="109"/>
                  </a:cxn>
                  <a:cxn ang="0">
                    <a:pos x="239" y="103"/>
                  </a:cxn>
                  <a:cxn ang="0">
                    <a:pos x="235" y="88"/>
                  </a:cxn>
                  <a:cxn ang="0">
                    <a:pos x="248" y="75"/>
                  </a:cxn>
                  <a:cxn ang="0">
                    <a:pos x="227" y="73"/>
                  </a:cxn>
                  <a:cxn ang="0">
                    <a:pos x="218" y="73"/>
                  </a:cxn>
                  <a:cxn ang="0">
                    <a:pos x="227" y="64"/>
                  </a:cxn>
                  <a:cxn ang="0">
                    <a:pos x="214" y="54"/>
                  </a:cxn>
                  <a:cxn ang="0">
                    <a:pos x="201" y="47"/>
                  </a:cxn>
                  <a:cxn ang="0">
                    <a:pos x="190" y="41"/>
                  </a:cxn>
                  <a:cxn ang="0">
                    <a:pos x="209" y="36"/>
                  </a:cxn>
                  <a:cxn ang="0">
                    <a:pos x="186" y="32"/>
                  </a:cxn>
                  <a:cxn ang="0">
                    <a:pos x="161" y="39"/>
                  </a:cxn>
                  <a:cxn ang="0">
                    <a:pos x="146" y="45"/>
                  </a:cxn>
                  <a:cxn ang="0">
                    <a:pos x="107" y="39"/>
                  </a:cxn>
                  <a:cxn ang="0">
                    <a:pos x="97" y="32"/>
                  </a:cxn>
                  <a:cxn ang="0">
                    <a:pos x="77" y="20"/>
                  </a:cxn>
                  <a:cxn ang="0">
                    <a:pos x="67" y="5"/>
                  </a:cxn>
                  <a:cxn ang="0">
                    <a:pos x="56" y="19"/>
                  </a:cxn>
                  <a:cxn ang="0">
                    <a:pos x="64" y="24"/>
                  </a:cxn>
                  <a:cxn ang="0">
                    <a:pos x="52" y="26"/>
                  </a:cxn>
                  <a:cxn ang="0">
                    <a:pos x="35" y="39"/>
                  </a:cxn>
                  <a:cxn ang="0">
                    <a:pos x="30" y="66"/>
                  </a:cxn>
                  <a:cxn ang="0">
                    <a:pos x="24" y="51"/>
                  </a:cxn>
                  <a:cxn ang="0">
                    <a:pos x="30" y="30"/>
                  </a:cxn>
                  <a:cxn ang="0">
                    <a:pos x="30" y="17"/>
                  </a:cxn>
                  <a:cxn ang="0">
                    <a:pos x="26" y="17"/>
                  </a:cxn>
                  <a:cxn ang="0">
                    <a:pos x="11" y="34"/>
                  </a:cxn>
                  <a:cxn ang="0">
                    <a:pos x="1" y="60"/>
                  </a:cxn>
                  <a:cxn ang="0">
                    <a:pos x="18" y="83"/>
                  </a:cxn>
                  <a:cxn ang="0">
                    <a:pos x="17" y="96"/>
                  </a:cxn>
                  <a:cxn ang="0">
                    <a:pos x="35" y="103"/>
                  </a:cxn>
                  <a:cxn ang="0">
                    <a:pos x="56" y="103"/>
                  </a:cxn>
                  <a:cxn ang="0">
                    <a:pos x="81" y="120"/>
                  </a:cxn>
                  <a:cxn ang="0">
                    <a:pos x="101" y="120"/>
                  </a:cxn>
                  <a:cxn ang="0">
                    <a:pos x="107" y="130"/>
                  </a:cxn>
                  <a:cxn ang="0">
                    <a:pos x="101" y="147"/>
                  </a:cxn>
                  <a:cxn ang="0">
                    <a:pos x="101" y="164"/>
                  </a:cxn>
                  <a:cxn ang="0">
                    <a:pos x="105" y="188"/>
                  </a:cxn>
                  <a:cxn ang="0">
                    <a:pos x="107" y="199"/>
                  </a:cxn>
                  <a:cxn ang="0">
                    <a:pos x="114" y="216"/>
                  </a:cxn>
                  <a:cxn ang="0">
                    <a:pos x="97" y="7"/>
                  </a:cxn>
                  <a:cxn ang="0">
                    <a:pos x="90" y="4"/>
                  </a:cxn>
                  <a:cxn ang="0">
                    <a:pos x="84" y="5"/>
                  </a:cxn>
                  <a:cxn ang="0">
                    <a:pos x="77" y="2"/>
                  </a:cxn>
                  <a:cxn ang="0">
                    <a:pos x="65" y="0"/>
                  </a:cxn>
                  <a:cxn ang="0">
                    <a:pos x="60" y="0"/>
                  </a:cxn>
                  <a:cxn ang="0">
                    <a:pos x="177" y="26"/>
                  </a:cxn>
                  <a:cxn ang="0">
                    <a:pos x="163" y="30"/>
                  </a:cxn>
                </a:cxnLst>
                <a:rect l="0" t="0" r="r" b="b"/>
                <a:pathLst>
                  <a:path w="248" h="226">
                    <a:moveTo>
                      <a:pt x="114" y="216"/>
                    </a:moveTo>
                    <a:lnTo>
                      <a:pt x="122" y="220"/>
                    </a:lnTo>
                    <a:lnTo>
                      <a:pt x="129" y="226"/>
                    </a:lnTo>
                    <a:lnTo>
                      <a:pt x="131" y="226"/>
                    </a:lnTo>
                    <a:lnTo>
                      <a:pt x="139" y="226"/>
                    </a:lnTo>
                    <a:lnTo>
                      <a:pt x="145" y="220"/>
                    </a:lnTo>
                    <a:lnTo>
                      <a:pt x="152" y="218"/>
                    </a:lnTo>
                    <a:lnTo>
                      <a:pt x="154" y="215"/>
                    </a:lnTo>
                    <a:lnTo>
                      <a:pt x="163" y="209"/>
                    </a:lnTo>
                    <a:lnTo>
                      <a:pt x="165" y="203"/>
                    </a:lnTo>
                    <a:lnTo>
                      <a:pt x="167" y="199"/>
                    </a:lnTo>
                    <a:lnTo>
                      <a:pt x="177" y="199"/>
                    </a:lnTo>
                    <a:lnTo>
                      <a:pt x="180" y="196"/>
                    </a:lnTo>
                    <a:lnTo>
                      <a:pt x="180" y="194"/>
                    </a:lnTo>
                    <a:lnTo>
                      <a:pt x="175" y="194"/>
                    </a:lnTo>
                    <a:lnTo>
                      <a:pt x="169" y="194"/>
                    </a:lnTo>
                    <a:lnTo>
                      <a:pt x="160" y="190"/>
                    </a:lnTo>
                    <a:lnTo>
                      <a:pt x="161" y="184"/>
                    </a:lnTo>
                    <a:lnTo>
                      <a:pt x="160" y="181"/>
                    </a:lnTo>
                    <a:lnTo>
                      <a:pt x="165" y="171"/>
                    </a:lnTo>
                    <a:lnTo>
                      <a:pt x="163" y="169"/>
                    </a:lnTo>
                    <a:lnTo>
                      <a:pt x="160" y="164"/>
                    </a:lnTo>
                    <a:lnTo>
                      <a:pt x="156" y="164"/>
                    </a:lnTo>
                    <a:lnTo>
                      <a:pt x="154" y="160"/>
                    </a:lnTo>
                    <a:lnTo>
                      <a:pt x="160" y="160"/>
                    </a:lnTo>
                    <a:lnTo>
                      <a:pt x="163" y="160"/>
                    </a:lnTo>
                    <a:lnTo>
                      <a:pt x="169" y="164"/>
                    </a:lnTo>
                    <a:lnTo>
                      <a:pt x="177" y="164"/>
                    </a:lnTo>
                    <a:lnTo>
                      <a:pt x="184" y="164"/>
                    </a:lnTo>
                    <a:lnTo>
                      <a:pt x="186" y="164"/>
                    </a:lnTo>
                    <a:lnTo>
                      <a:pt x="193" y="164"/>
                    </a:lnTo>
                    <a:lnTo>
                      <a:pt x="199" y="156"/>
                    </a:lnTo>
                    <a:lnTo>
                      <a:pt x="205" y="156"/>
                    </a:lnTo>
                    <a:lnTo>
                      <a:pt x="205" y="156"/>
                    </a:lnTo>
                    <a:lnTo>
                      <a:pt x="214" y="154"/>
                    </a:lnTo>
                    <a:lnTo>
                      <a:pt x="220" y="154"/>
                    </a:lnTo>
                    <a:lnTo>
                      <a:pt x="231" y="147"/>
                    </a:lnTo>
                    <a:lnTo>
                      <a:pt x="233" y="143"/>
                    </a:lnTo>
                    <a:lnTo>
                      <a:pt x="233" y="139"/>
                    </a:lnTo>
                    <a:lnTo>
                      <a:pt x="225" y="132"/>
                    </a:lnTo>
                    <a:lnTo>
                      <a:pt x="220" y="126"/>
                    </a:lnTo>
                    <a:lnTo>
                      <a:pt x="218" y="120"/>
                    </a:lnTo>
                    <a:lnTo>
                      <a:pt x="222" y="118"/>
                    </a:lnTo>
                    <a:lnTo>
                      <a:pt x="222" y="113"/>
                    </a:lnTo>
                    <a:lnTo>
                      <a:pt x="225" y="109"/>
                    </a:lnTo>
                    <a:lnTo>
                      <a:pt x="229" y="111"/>
                    </a:lnTo>
                    <a:lnTo>
                      <a:pt x="231" y="109"/>
                    </a:lnTo>
                    <a:lnTo>
                      <a:pt x="235" y="111"/>
                    </a:lnTo>
                    <a:lnTo>
                      <a:pt x="239" y="107"/>
                    </a:lnTo>
                    <a:lnTo>
                      <a:pt x="239" y="103"/>
                    </a:lnTo>
                    <a:lnTo>
                      <a:pt x="235" y="100"/>
                    </a:lnTo>
                    <a:lnTo>
                      <a:pt x="233" y="100"/>
                    </a:lnTo>
                    <a:lnTo>
                      <a:pt x="231" y="96"/>
                    </a:lnTo>
                    <a:lnTo>
                      <a:pt x="229" y="94"/>
                    </a:lnTo>
                    <a:lnTo>
                      <a:pt x="235" y="88"/>
                    </a:lnTo>
                    <a:lnTo>
                      <a:pt x="239" y="88"/>
                    </a:lnTo>
                    <a:lnTo>
                      <a:pt x="242" y="85"/>
                    </a:lnTo>
                    <a:lnTo>
                      <a:pt x="248" y="79"/>
                    </a:lnTo>
                    <a:lnTo>
                      <a:pt x="248" y="77"/>
                    </a:lnTo>
                    <a:lnTo>
                      <a:pt x="248" y="75"/>
                    </a:lnTo>
                    <a:lnTo>
                      <a:pt x="239" y="73"/>
                    </a:lnTo>
                    <a:lnTo>
                      <a:pt x="235" y="73"/>
                    </a:lnTo>
                    <a:lnTo>
                      <a:pt x="235" y="73"/>
                    </a:lnTo>
                    <a:lnTo>
                      <a:pt x="231" y="73"/>
                    </a:lnTo>
                    <a:lnTo>
                      <a:pt x="227" y="73"/>
                    </a:lnTo>
                    <a:lnTo>
                      <a:pt x="225" y="73"/>
                    </a:lnTo>
                    <a:lnTo>
                      <a:pt x="218" y="75"/>
                    </a:lnTo>
                    <a:lnTo>
                      <a:pt x="214" y="75"/>
                    </a:lnTo>
                    <a:lnTo>
                      <a:pt x="214" y="75"/>
                    </a:lnTo>
                    <a:lnTo>
                      <a:pt x="218" y="73"/>
                    </a:lnTo>
                    <a:lnTo>
                      <a:pt x="218" y="73"/>
                    </a:lnTo>
                    <a:lnTo>
                      <a:pt x="222" y="71"/>
                    </a:lnTo>
                    <a:lnTo>
                      <a:pt x="224" y="69"/>
                    </a:lnTo>
                    <a:lnTo>
                      <a:pt x="227" y="66"/>
                    </a:lnTo>
                    <a:lnTo>
                      <a:pt x="227" y="64"/>
                    </a:lnTo>
                    <a:lnTo>
                      <a:pt x="225" y="62"/>
                    </a:lnTo>
                    <a:lnTo>
                      <a:pt x="225" y="60"/>
                    </a:lnTo>
                    <a:lnTo>
                      <a:pt x="224" y="60"/>
                    </a:lnTo>
                    <a:lnTo>
                      <a:pt x="218" y="56"/>
                    </a:lnTo>
                    <a:lnTo>
                      <a:pt x="214" y="54"/>
                    </a:lnTo>
                    <a:lnTo>
                      <a:pt x="210" y="51"/>
                    </a:lnTo>
                    <a:lnTo>
                      <a:pt x="210" y="51"/>
                    </a:lnTo>
                    <a:lnTo>
                      <a:pt x="205" y="51"/>
                    </a:lnTo>
                    <a:lnTo>
                      <a:pt x="205" y="49"/>
                    </a:lnTo>
                    <a:lnTo>
                      <a:pt x="201" y="47"/>
                    </a:lnTo>
                    <a:lnTo>
                      <a:pt x="199" y="47"/>
                    </a:lnTo>
                    <a:lnTo>
                      <a:pt x="199" y="51"/>
                    </a:lnTo>
                    <a:lnTo>
                      <a:pt x="195" y="47"/>
                    </a:lnTo>
                    <a:lnTo>
                      <a:pt x="195" y="43"/>
                    </a:lnTo>
                    <a:lnTo>
                      <a:pt x="190" y="41"/>
                    </a:lnTo>
                    <a:lnTo>
                      <a:pt x="190" y="39"/>
                    </a:lnTo>
                    <a:lnTo>
                      <a:pt x="193" y="37"/>
                    </a:lnTo>
                    <a:lnTo>
                      <a:pt x="201" y="37"/>
                    </a:lnTo>
                    <a:lnTo>
                      <a:pt x="203" y="36"/>
                    </a:lnTo>
                    <a:lnTo>
                      <a:pt x="209" y="36"/>
                    </a:lnTo>
                    <a:lnTo>
                      <a:pt x="210" y="32"/>
                    </a:lnTo>
                    <a:lnTo>
                      <a:pt x="205" y="34"/>
                    </a:lnTo>
                    <a:lnTo>
                      <a:pt x="195" y="32"/>
                    </a:lnTo>
                    <a:lnTo>
                      <a:pt x="190" y="32"/>
                    </a:lnTo>
                    <a:lnTo>
                      <a:pt x="186" y="32"/>
                    </a:lnTo>
                    <a:lnTo>
                      <a:pt x="178" y="36"/>
                    </a:lnTo>
                    <a:lnTo>
                      <a:pt x="175" y="34"/>
                    </a:lnTo>
                    <a:lnTo>
                      <a:pt x="171" y="34"/>
                    </a:lnTo>
                    <a:lnTo>
                      <a:pt x="165" y="39"/>
                    </a:lnTo>
                    <a:lnTo>
                      <a:pt x="161" y="39"/>
                    </a:lnTo>
                    <a:lnTo>
                      <a:pt x="156" y="43"/>
                    </a:lnTo>
                    <a:lnTo>
                      <a:pt x="156" y="45"/>
                    </a:lnTo>
                    <a:lnTo>
                      <a:pt x="150" y="45"/>
                    </a:lnTo>
                    <a:lnTo>
                      <a:pt x="148" y="47"/>
                    </a:lnTo>
                    <a:lnTo>
                      <a:pt x="146" y="45"/>
                    </a:lnTo>
                    <a:lnTo>
                      <a:pt x="137" y="39"/>
                    </a:lnTo>
                    <a:lnTo>
                      <a:pt x="135" y="36"/>
                    </a:lnTo>
                    <a:lnTo>
                      <a:pt x="135" y="36"/>
                    </a:lnTo>
                    <a:lnTo>
                      <a:pt x="126" y="36"/>
                    </a:lnTo>
                    <a:lnTo>
                      <a:pt x="107" y="39"/>
                    </a:lnTo>
                    <a:lnTo>
                      <a:pt x="99" y="39"/>
                    </a:lnTo>
                    <a:lnTo>
                      <a:pt x="96" y="37"/>
                    </a:lnTo>
                    <a:lnTo>
                      <a:pt x="94" y="36"/>
                    </a:lnTo>
                    <a:lnTo>
                      <a:pt x="94" y="32"/>
                    </a:lnTo>
                    <a:lnTo>
                      <a:pt x="97" y="32"/>
                    </a:lnTo>
                    <a:lnTo>
                      <a:pt x="96" y="30"/>
                    </a:lnTo>
                    <a:lnTo>
                      <a:pt x="92" y="24"/>
                    </a:lnTo>
                    <a:lnTo>
                      <a:pt x="88" y="20"/>
                    </a:lnTo>
                    <a:lnTo>
                      <a:pt x="81" y="24"/>
                    </a:lnTo>
                    <a:lnTo>
                      <a:pt x="77" y="20"/>
                    </a:lnTo>
                    <a:lnTo>
                      <a:pt x="73" y="20"/>
                    </a:lnTo>
                    <a:lnTo>
                      <a:pt x="71" y="20"/>
                    </a:lnTo>
                    <a:lnTo>
                      <a:pt x="67" y="17"/>
                    </a:lnTo>
                    <a:lnTo>
                      <a:pt x="67" y="11"/>
                    </a:lnTo>
                    <a:lnTo>
                      <a:pt x="67" y="5"/>
                    </a:lnTo>
                    <a:lnTo>
                      <a:pt x="65" y="4"/>
                    </a:lnTo>
                    <a:lnTo>
                      <a:pt x="60" y="5"/>
                    </a:lnTo>
                    <a:lnTo>
                      <a:pt x="56" y="13"/>
                    </a:lnTo>
                    <a:lnTo>
                      <a:pt x="56" y="17"/>
                    </a:lnTo>
                    <a:lnTo>
                      <a:pt x="56" y="19"/>
                    </a:lnTo>
                    <a:lnTo>
                      <a:pt x="60" y="17"/>
                    </a:lnTo>
                    <a:lnTo>
                      <a:pt x="64" y="17"/>
                    </a:lnTo>
                    <a:lnTo>
                      <a:pt x="67" y="20"/>
                    </a:lnTo>
                    <a:lnTo>
                      <a:pt x="67" y="20"/>
                    </a:lnTo>
                    <a:lnTo>
                      <a:pt x="64" y="24"/>
                    </a:lnTo>
                    <a:lnTo>
                      <a:pt x="60" y="20"/>
                    </a:lnTo>
                    <a:lnTo>
                      <a:pt x="58" y="20"/>
                    </a:lnTo>
                    <a:lnTo>
                      <a:pt x="56" y="20"/>
                    </a:lnTo>
                    <a:lnTo>
                      <a:pt x="56" y="24"/>
                    </a:lnTo>
                    <a:lnTo>
                      <a:pt x="52" y="26"/>
                    </a:lnTo>
                    <a:lnTo>
                      <a:pt x="43" y="26"/>
                    </a:lnTo>
                    <a:lnTo>
                      <a:pt x="37" y="30"/>
                    </a:lnTo>
                    <a:lnTo>
                      <a:pt x="33" y="32"/>
                    </a:lnTo>
                    <a:lnTo>
                      <a:pt x="33" y="36"/>
                    </a:lnTo>
                    <a:lnTo>
                      <a:pt x="35" y="39"/>
                    </a:lnTo>
                    <a:lnTo>
                      <a:pt x="35" y="49"/>
                    </a:lnTo>
                    <a:lnTo>
                      <a:pt x="37" y="51"/>
                    </a:lnTo>
                    <a:lnTo>
                      <a:pt x="39" y="56"/>
                    </a:lnTo>
                    <a:lnTo>
                      <a:pt x="35" y="62"/>
                    </a:lnTo>
                    <a:lnTo>
                      <a:pt x="30" y="66"/>
                    </a:lnTo>
                    <a:lnTo>
                      <a:pt x="26" y="66"/>
                    </a:lnTo>
                    <a:lnTo>
                      <a:pt x="26" y="60"/>
                    </a:lnTo>
                    <a:lnTo>
                      <a:pt x="22" y="56"/>
                    </a:lnTo>
                    <a:lnTo>
                      <a:pt x="22" y="51"/>
                    </a:lnTo>
                    <a:lnTo>
                      <a:pt x="24" y="51"/>
                    </a:lnTo>
                    <a:lnTo>
                      <a:pt x="24" y="47"/>
                    </a:lnTo>
                    <a:lnTo>
                      <a:pt x="32" y="39"/>
                    </a:lnTo>
                    <a:lnTo>
                      <a:pt x="32" y="34"/>
                    </a:lnTo>
                    <a:lnTo>
                      <a:pt x="30" y="30"/>
                    </a:lnTo>
                    <a:lnTo>
                      <a:pt x="30" y="30"/>
                    </a:lnTo>
                    <a:lnTo>
                      <a:pt x="30" y="26"/>
                    </a:lnTo>
                    <a:lnTo>
                      <a:pt x="26" y="26"/>
                    </a:lnTo>
                    <a:lnTo>
                      <a:pt x="24" y="20"/>
                    </a:lnTo>
                    <a:lnTo>
                      <a:pt x="26" y="19"/>
                    </a:lnTo>
                    <a:lnTo>
                      <a:pt x="30" y="17"/>
                    </a:lnTo>
                    <a:lnTo>
                      <a:pt x="35" y="17"/>
                    </a:lnTo>
                    <a:lnTo>
                      <a:pt x="39" y="11"/>
                    </a:lnTo>
                    <a:lnTo>
                      <a:pt x="37" y="11"/>
                    </a:lnTo>
                    <a:lnTo>
                      <a:pt x="35" y="13"/>
                    </a:lnTo>
                    <a:lnTo>
                      <a:pt x="26" y="17"/>
                    </a:lnTo>
                    <a:lnTo>
                      <a:pt x="22" y="24"/>
                    </a:lnTo>
                    <a:lnTo>
                      <a:pt x="18" y="26"/>
                    </a:lnTo>
                    <a:lnTo>
                      <a:pt x="17" y="26"/>
                    </a:lnTo>
                    <a:lnTo>
                      <a:pt x="13" y="32"/>
                    </a:lnTo>
                    <a:lnTo>
                      <a:pt x="11" y="34"/>
                    </a:lnTo>
                    <a:lnTo>
                      <a:pt x="5" y="43"/>
                    </a:lnTo>
                    <a:lnTo>
                      <a:pt x="3" y="47"/>
                    </a:lnTo>
                    <a:lnTo>
                      <a:pt x="5" y="51"/>
                    </a:lnTo>
                    <a:lnTo>
                      <a:pt x="3" y="56"/>
                    </a:lnTo>
                    <a:lnTo>
                      <a:pt x="1" y="60"/>
                    </a:lnTo>
                    <a:lnTo>
                      <a:pt x="0" y="64"/>
                    </a:lnTo>
                    <a:lnTo>
                      <a:pt x="3" y="62"/>
                    </a:lnTo>
                    <a:lnTo>
                      <a:pt x="7" y="62"/>
                    </a:lnTo>
                    <a:lnTo>
                      <a:pt x="13" y="77"/>
                    </a:lnTo>
                    <a:lnTo>
                      <a:pt x="18" y="83"/>
                    </a:lnTo>
                    <a:lnTo>
                      <a:pt x="18" y="86"/>
                    </a:lnTo>
                    <a:lnTo>
                      <a:pt x="17" y="90"/>
                    </a:lnTo>
                    <a:lnTo>
                      <a:pt x="17" y="94"/>
                    </a:lnTo>
                    <a:lnTo>
                      <a:pt x="17" y="94"/>
                    </a:lnTo>
                    <a:lnTo>
                      <a:pt x="17" y="96"/>
                    </a:lnTo>
                    <a:lnTo>
                      <a:pt x="18" y="100"/>
                    </a:lnTo>
                    <a:lnTo>
                      <a:pt x="24" y="101"/>
                    </a:lnTo>
                    <a:lnTo>
                      <a:pt x="28" y="103"/>
                    </a:lnTo>
                    <a:lnTo>
                      <a:pt x="32" y="105"/>
                    </a:lnTo>
                    <a:lnTo>
                      <a:pt x="35" y="103"/>
                    </a:lnTo>
                    <a:lnTo>
                      <a:pt x="39" y="103"/>
                    </a:lnTo>
                    <a:lnTo>
                      <a:pt x="43" y="105"/>
                    </a:lnTo>
                    <a:lnTo>
                      <a:pt x="47" y="103"/>
                    </a:lnTo>
                    <a:lnTo>
                      <a:pt x="50" y="103"/>
                    </a:lnTo>
                    <a:lnTo>
                      <a:pt x="56" y="103"/>
                    </a:lnTo>
                    <a:lnTo>
                      <a:pt x="60" y="105"/>
                    </a:lnTo>
                    <a:lnTo>
                      <a:pt x="73" y="120"/>
                    </a:lnTo>
                    <a:lnTo>
                      <a:pt x="81" y="118"/>
                    </a:lnTo>
                    <a:lnTo>
                      <a:pt x="81" y="120"/>
                    </a:lnTo>
                    <a:lnTo>
                      <a:pt x="81" y="120"/>
                    </a:lnTo>
                    <a:lnTo>
                      <a:pt x="84" y="120"/>
                    </a:lnTo>
                    <a:lnTo>
                      <a:pt x="88" y="120"/>
                    </a:lnTo>
                    <a:lnTo>
                      <a:pt x="92" y="120"/>
                    </a:lnTo>
                    <a:lnTo>
                      <a:pt x="96" y="120"/>
                    </a:lnTo>
                    <a:lnTo>
                      <a:pt x="101" y="120"/>
                    </a:lnTo>
                    <a:lnTo>
                      <a:pt x="101" y="118"/>
                    </a:lnTo>
                    <a:lnTo>
                      <a:pt x="105" y="118"/>
                    </a:lnTo>
                    <a:lnTo>
                      <a:pt x="107" y="120"/>
                    </a:lnTo>
                    <a:lnTo>
                      <a:pt x="107" y="126"/>
                    </a:lnTo>
                    <a:lnTo>
                      <a:pt x="107" y="130"/>
                    </a:lnTo>
                    <a:lnTo>
                      <a:pt x="107" y="134"/>
                    </a:lnTo>
                    <a:lnTo>
                      <a:pt x="105" y="135"/>
                    </a:lnTo>
                    <a:lnTo>
                      <a:pt x="101" y="139"/>
                    </a:lnTo>
                    <a:lnTo>
                      <a:pt x="99" y="139"/>
                    </a:lnTo>
                    <a:lnTo>
                      <a:pt x="101" y="147"/>
                    </a:lnTo>
                    <a:lnTo>
                      <a:pt x="101" y="149"/>
                    </a:lnTo>
                    <a:lnTo>
                      <a:pt x="99" y="154"/>
                    </a:lnTo>
                    <a:lnTo>
                      <a:pt x="99" y="160"/>
                    </a:lnTo>
                    <a:lnTo>
                      <a:pt x="101" y="164"/>
                    </a:lnTo>
                    <a:lnTo>
                      <a:pt x="101" y="164"/>
                    </a:lnTo>
                    <a:lnTo>
                      <a:pt x="105" y="175"/>
                    </a:lnTo>
                    <a:lnTo>
                      <a:pt x="99" y="186"/>
                    </a:lnTo>
                    <a:lnTo>
                      <a:pt x="101" y="190"/>
                    </a:lnTo>
                    <a:lnTo>
                      <a:pt x="101" y="190"/>
                    </a:lnTo>
                    <a:lnTo>
                      <a:pt x="105" y="188"/>
                    </a:lnTo>
                    <a:lnTo>
                      <a:pt x="105" y="190"/>
                    </a:lnTo>
                    <a:lnTo>
                      <a:pt x="105" y="190"/>
                    </a:lnTo>
                    <a:lnTo>
                      <a:pt x="107" y="194"/>
                    </a:lnTo>
                    <a:lnTo>
                      <a:pt x="109" y="196"/>
                    </a:lnTo>
                    <a:lnTo>
                      <a:pt x="107" y="199"/>
                    </a:lnTo>
                    <a:lnTo>
                      <a:pt x="109" y="203"/>
                    </a:lnTo>
                    <a:lnTo>
                      <a:pt x="114" y="213"/>
                    </a:lnTo>
                    <a:lnTo>
                      <a:pt x="114" y="216"/>
                    </a:lnTo>
                    <a:lnTo>
                      <a:pt x="114" y="216"/>
                    </a:lnTo>
                    <a:lnTo>
                      <a:pt x="114" y="216"/>
                    </a:lnTo>
                    <a:lnTo>
                      <a:pt x="114" y="216"/>
                    </a:lnTo>
                    <a:lnTo>
                      <a:pt x="114" y="216"/>
                    </a:lnTo>
                    <a:close/>
                    <a:moveTo>
                      <a:pt x="90" y="4"/>
                    </a:moveTo>
                    <a:lnTo>
                      <a:pt x="94" y="4"/>
                    </a:lnTo>
                    <a:lnTo>
                      <a:pt x="97" y="7"/>
                    </a:lnTo>
                    <a:lnTo>
                      <a:pt x="96" y="9"/>
                    </a:lnTo>
                    <a:lnTo>
                      <a:pt x="94" y="7"/>
                    </a:lnTo>
                    <a:lnTo>
                      <a:pt x="92" y="5"/>
                    </a:lnTo>
                    <a:lnTo>
                      <a:pt x="90" y="4"/>
                    </a:lnTo>
                    <a:lnTo>
                      <a:pt x="90" y="4"/>
                    </a:lnTo>
                    <a:lnTo>
                      <a:pt x="90" y="4"/>
                    </a:lnTo>
                    <a:lnTo>
                      <a:pt x="90" y="4"/>
                    </a:lnTo>
                    <a:close/>
                    <a:moveTo>
                      <a:pt x="77" y="2"/>
                    </a:moveTo>
                    <a:lnTo>
                      <a:pt x="81" y="5"/>
                    </a:lnTo>
                    <a:lnTo>
                      <a:pt x="84" y="5"/>
                    </a:lnTo>
                    <a:lnTo>
                      <a:pt x="82" y="7"/>
                    </a:lnTo>
                    <a:lnTo>
                      <a:pt x="77" y="7"/>
                    </a:lnTo>
                    <a:lnTo>
                      <a:pt x="77" y="4"/>
                    </a:lnTo>
                    <a:lnTo>
                      <a:pt x="77" y="2"/>
                    </a:lnTo>
                    <a:lnTo>
                      <a:pt x="77" y="2"/>
                    </a:lnTo>
                    <a:lnTo>
                      <a:pt x="77" y="2"/>
                    </a:lnTo>
                    <a:lnTo>
                      <a:pt x="77" y="2"/>
                    </a:lnTo>
                    <a:close/>
                    <a:moveTo>
                      <a:pt x="60" y="0"/>
                    </a:moveTo>
                    <a:lnTo>
                      <a:pt x="62" y="0"/>
                    </a:lnTo>
                    <a:lnTo>
                      <a:pt x="65" y="0"/>
                    </a:lnTo>
                    <a:lnTo>
                      <a:pt x="62" y="0"/>
                    </a:lnTo>
                    <a:lnTo>
                      <a:pt x="60" y="0"/>
                    </a:lnTo>
                    <a:lnTo>
                      <a:pt x="60" y="0"/>
                    </a:lnTo>
                    <a:lnTo>
                      <a:pt x="60" y="0"/>
                    </a:lnTo>
                    <a:lnTo>
                      <a:pt x="60" y="0"/>
                    </a:lnTo>
                    <a:close/>
                    <a:moveTo>
                      <a:pt x="163" y="30"/>
                    </a:moveTo>
                    <a:lnTo>
                      <a:pt x="167" y="26"/>
                    </a:lnTo>
                    <a:lnTo>
                      <a:pt x="169" y="30"/>
                    </a:lnTo>
                    <a:lnTo>
                      <a:pt x="175" y="26"/>
                    </a:lnTo>
                    <a:lnTo>
                      <a:pt x="177" y="26"/>
                    </a:lnTo>
                    <a:lnTo>
                      <a:pt x="173" y="30"/>
                    </a:lnTo>
                    <a:lnTo>
                      <a:pt x="169" y="30"/>
                    </a:lnTo>
                    <a:lnTo>
                      <a:pt x="165" y="30"/>
                    </a:lnTo>
                    <a:lnTo>
                      <a:pt x="165" y="30"/>
                    </a:lnTo>
                    <a:lnTo>
                      <a:pt x="163" y="30"/>
                    </a:lnTo>
                    <a:lnTo>
                      <a:pt x="163" y="30"/>
                    </a:lnTo>
                    <a:lnTo>
                      <a:pt x="163" y="30"/>
                    </a:lnTo>
                    <a:lnTo>
                      <a:pt x="163"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2" name="Freeform 174"/>
              <p:cNvSpPr>
                <a:spLocks noEditPoints="1"/>
              </p:cNvSpPr>
              <p:nvPr/>
            </p:nvSpPr>
            <p:spPr bwMode="auto">
              <a:xfrm>
                <a:off x="1298" y="3077"/>
                <a:ext cx="111" cy="120"/>
              </a:xfrm>
              <a:custGeom>
                <a:avLst/>
                <a:gdLst/>
                <a:ahLst/>
                <a:cxnLst>
                  <a:cxn ang="0">
                    <a:pos x="105" y="28"/>
                  </a:cxn>
                  <a:cxn ang="0">
                    <a:pos x="101" y="24"/>
                  </a:cxn>
                  <a:cxn ang="0">
                    <a:pos x="96" y="20"/>
                  </a:cxn>
                  <a:cxn ang="0">
                    <a:pos x="90" y="22"/>
                  </a:cxn>
                  <a:cxn ang="0">
                    <a:pos x="86" y="28"/>
                  </a:cxn>
                  <a:cxn ang="0">
                    <a:pos x="79" y="24"/>
                  </a:cxn>
                  <a:cxn ang="0">
                    <a:pos x="67" y="20"/>
                  </a:cxn>
                  <a:cxn ang="0">
                    <a:pos x="67" y="15"/>
                  </a:cxn>
                  <a:cxn ang="0">
                    <a:pos x="58" y="11"/>
                  </a:cxn>
                  <a:cxn ang="0">
                    <a:pos x="45" y="2"/>
                  </a:cxn>
                  <a:cxn ang="0">
                    <a:pos x="39" y="5"/>
                  </a:cxn>
                  <a:cxn ang="0">
                    <a:pos x="26" y="9"/>
                  </a:cxn>
                  <a:cxn ang="0">
                    <a:pos x="15" y="13"/>
                  </a:cxn>
                  <a:cxn ang="0">
                    <a:pos x="16" y="20"/>
                  </a:cxn>
                  <a:cxn ang="0">
                    <a:pos x="16" y="28"/>
                  </a:cxn>
                  <a:cxn ang="0">
                    <a:pos x="11" y="37"/>
                  </a:cxn>
                  <a:cxn ang="0">
                    <a:pos x="7" y="45"/>
                  </a:cxn>
                  <a:cxn ang="0">
                    <a:pos x="1" y="51"/>
                  </a:cxn>
                  <a:cxn ang="0">
                    <a:pos x="3" y="58"/>
                  </a:cxn>
                  <a:cxn ang="0">
                    <a:pos x="3" y="68"/>
                  </a:cxn>
                  <a:cxn ang="0">
                    <a:pos x="0" y="71"/>
                  </a:cxn>
                  <a:cxn ang="0">
                    <a:pos x="7" y="77"/>
                  </a:cxn>
                  <a:cxn ang="0">
                    <a:pos x="13" y="81"/>
                  </a:cxn>
                  <a:cxn ang="0">
                    <a:pos x="16" y="77"/>
                  </a:cxn>
                  <a:cxn ang="0">
                    <a:pos x="20" y="71"/>
                  </a:cxn>
                  <a:cxn ang="0">
                    <a:pos x="20" y="77"/>
                  </a:cxn>
                  <a:cxn ang="0">
                    <a:pos x="20" y="71"/>
                  </a:cxn>
                  <a:cxn ang="0">
                    <a:pos x="22" y="77"/>
                  </a:cxn>
                  <a:cxn ang="0">
                    <a:pos x="22" y="86"/>
                  </a:cxn>
                  <a:cxn ang="0">
                    <a:pos x="16" y="96"/>
                  </a:cxn>
                  <a:cxn ang="0">
                    <a:pos x="20" y="101"/>
                  </a:cxn>
                  <a:cxn ang="0">
                    <a:pos x="13" y="107"/>
                  </a:cxn>
                  <a:cxn ang="0">
                    <a:pos x="16" y="111"/>
                  </a:cxn>
                  <a:cxn ang="0">
                    <a:pos x="22" y="113"/>
                  </a:cxn>
                  <a:cxn ang="0">
                    <a:pos x="32" y="115"/>
                  </a:cxn>
                  <a:cxn ang="0">
                    <a:pos x="39" y="120"/>
                  </a:cxn>
                  <a:cxn ang="0">
                    <a:pos x="56" y="90"/>
                  </a:cxn>
                  <a:cxn ang="0">
                    <a:pos x="80" y="81"/>
                  </a:cxn>
                  <a:cxn ang="0">
                    <a:pos x="99" y="62"/>
                  </a:cxn>
                  <a:cxn ang="0">
                    <a:pos x="109" y="51"/>
                  </a:cxn>
                  <a:cxn ang="0">
                    <a:pos x="111" y="45"/>
                  </a:cxn>
                  <a:cxn ang="0">
                    <a:pos x="107" y="32"/>
                  </a:cxn>
                  <a:cxn ang="0">
                    <a:pos x="105" y="28"/>
                  </a:cxn>
                  <a:cxn ang="0">
                    <a:pos x="105" y="28"/>
                  </a:cxn>
                  <a:cxn ang="0">
                    <a:pos x="105" y="28"/>
                  </a:cxn>
                  <a:cxn ang="0">
                    <a:pos x="13" y="86"/>
                  </a:cxn>
                  <a:cxn ang="0">
                    <a:pos x="16" y="81"/>
                  </a:cxn>
                  <a:cxn ang="0">
                    <a:pos x="16" y="83"/>
                  </a:cxn>
                  <a:cxn ang="0">
                    <a:pos x="16" y="90"/>
                  </a:cxn>
                  <a:cxn ang="0">
                    <a:pos x="15" y="90"/>
                  </a:cxn>
                  <a:cxn ang="0">
                    <a:pos x="15" y="90"/>
                  </a:cxn>
                </a:cxnLst>
                <a:rect l="0" t="0" r="r" b="b"/>
                <a:pathLst>
                  <a:path w="111" h="120">
                    <a:moveTo>
                      <a:pt x="105" y="28"/>
                    </a:moveTo>
                    <a:lnTo>
                      <a:pt x="105" y="28"/>
                    </a:lnTo>
                    <a:lnTo>
                      <a:pt x="103" y="26"/>
                    </a:lnTo>
                    <a:lnTo>
                      <a:pt x="101" y="24"/>
                    </a:lnTo>
                    <a:lnTo>
                      <a:pt x="99" y="22"/>
                    </a:lnTo>
                    <a:lnTo>
                      <a:pt x="96" y="20"/>
                    </a:lnTo>
                    <a:lnTo>
                      <a:pt x="92" y="19"/>
                    </a:lnTo>
                    <a:lnTo>
                      <a:pt x="90" y="22"/>
                    </a:lnTo>
                    <a:lnTo>
                      <a:pt x="90" y="26"/>
                    </a:lnTo>
                    <a:lnTo>
                      <a:pt x="86" y="28"/>
                    </a:lnTo>
                    <a:lnTo>
                      <a:pt x="82" y="26"/>
                    </a:lnTo>
                    <a:lnTo>
                      <a:pt x="79" y="24"/>
                    </a:lnTo>
                    <a:lnTo>
                      <a:pt x="73" y="22"/>
                    </a:lnTo>
                    <a:lnTo>
                      <a:pt x="67" y="20"/>
                    </a:lnTo>
                    <a:lnTo>
                      <a:pt x="65" y="19"/>
                    </a:lnTo>
                    <a:lnTo>
                      <a:pt x="67" y="15"/>
                    </a:lnTo>
                    <a:lnTo>
                      <a:pt x="62" y="11"/>
                    </a:lnTo>
                    <a:lnTo>
                      <a:pt x="58" y="11"/>
                    </a:lnTo>
                    <a:lnTo>
                      <a:pt x="52" y="5"/>
                    </a:lnTo>
                    <a:lnTo>
                      <a:pt x="45" y="2"/>
                    </a:lnTo>
                    <a:lnTo>
                      <a:pt x="39" y="0"/>
                    </a:lnTo>
                    <a:lnTo>
                      <a:pt x="39" y="5"/>
                    </a:lnTo>
                    <a:lnTo>
                      <a:pt x="32" y="5"/>
                    </a:lnTo>
                    <a:lnTo>
                      <a:pt x="26" y="9"/>
                    </a:lnTo>
                    <a:lnTo>
                      <a:pt x="20" y="9"/>
                    </a:lnTo>
                    <a:lnTo>
                      <a:pt x="15" y="13"/>
                    </a:lnTo>
                    <a:lnTo>
                      <a:pt x="16" y="17"/>
                    </a:lnTo>
                    <a:lnTo>
                      <a:pt x="16" y="20"/>
                    </a:lnTo>
                    <a:lnTo>
                      <a:pt x="20" y="22"/>
                    </a:lnTo>
                    <a:lnTo>
                      <a:pt x="16" y="28"/>
                    </a:lnTo>
                    <a:lnTo>
                      <a:pt x="11" y="36"/>
                    </a:lnTo>
                    <a:lnTo>
                      <a:pt x="11" y="37"/>
                    </a:lnTo>
                    <a:lnTo>
                      <a:pt x="13" y="41"/>
                    </a:lnTo>
                    <a:lnTo>
                      <a:pt x="7" y="45"/>
                    </a:lnTo>
                    <a:lnTo>
                      <a:pt x="3" y="47"/>
                    </a:lnTo>
                    <a:lnTo>
                      <a:pt x="1" y="51"/>
                    </a:lnTo>
                    <a:lnTo>
                      <a:pt x="1" y="54"/>
                    </a:lnTo>
                    <a:lnTo>
                      <a:pt x="3" y="58"/>
                    </a:lnTo>
                    <a:lnTo>
                      <a:pt x="3" y="62"/>
                    </a:lnTo>
                    <a:lnTo>
                      <a:pt x="3" y="68"/>
                    </a:lnTo>
                    <a:lnTo>
                      <a:pt x="1" y="71"/>
                    </a:lnTo>
                    <a:lnTo>
                      <a:pt x="0" y="71"/>
                    </a:lnTo>
                    <a:lnTo>
                      <a:pt x="1" y="75"/>
                    </a:lnTo>
                    <a:lnTo>
                      <a:pt x="7" y="77"/>
                    </a:lnTo>
                    <a:lnTo>
                      <a:pt x="11" y="81"/>
                    </a:lnTo>
                    <a:lnTo>
                      <a:pt x="13" y="81"/>
                    </a:lnTo>
                    <a:lnTo>
                      <a:pt x="15" y="81"/>
                    </a:lnTo>
                    <a:lnTo>
                      <a:pt x="16" y="77"/>
                    </a:lnTo>
                    <a:lnTo>
                      <a:pt x="16" y="75"/>
                    </a:lnTo>
                    <a:lnTo>
                      <a:pt x="20" y="71"/>
                    </a:lnTo>
                    <a:lnTo>
                      <a:pt x="20" y="75"/>
                    </a:lnTo>
                    <a:lnTo>
                      <a:pt x="20" y="77"/>
                    </a:lnTo>
                    <a:lnTo>
                      <a:pt x="20" y="77"/>
                    </a:lnTo>
                    <a:lnTo>
                      <a:pt x="20" y="71"/>
                    </a:lnTo>
                    <a:lnTo>
                      <a:pt x="22" y="71"/>
                    </a:lnTo>
                    <a:lnTo>
                      <a:pt x="22" y="77"/>
                    </a:lnTo>
                    <a:lnTo>
                      <a:pt x="22" y="83"/>
                    </a:lnTo>
                    <a:lnTo>
                      <a:pt x="22" y="86"/>
                    </a:lnTo>
                    <a:lnTo>
                      <a:pt x="20" y="90"/>
                    </a:lnTo>
                    <a:lnTo>
                      <a:pt x="16" y="96"/>
                    </a:lnTo>
                    <a:lnTo>
                      <a:pt x="16" y="96"/>
                    </a:lnTo>
                    <a:lnTo>
                      <a:pt x="20" y="101"/>
                    </a:lnTo>
                    <a:lnTo>
                      <a:pt x="16" y="103"/>
                    </a:lnTo>
                    <a:lnTo>
                      <a:pt x="13" y="107"/>
                    </a:lnTo>
                    <a:lnTo>
                      <a:pt x="15" y="111"/>
                    </a:lnTo>
                    <a:lnTo>
                      <a:pt x="16" y="111"/>
                    </a:lnTo>
                    <a:lnTo>
                      <a:pt x="20" y="107"/>
                    </a:lnTo>
                    <a:lnTo>
                      <a:pt x="22" y="113"/>
                    </a:lnTo>
                    <a:lnTo>
                      <a:pt x="28" y="113"/>
                    </a:lnTo>
                    <a:lnTo>
                      <a:pt x="32" y="115"/>
                    </a:lnTo>
                    <a:lnTo>
                      <a:pt x="37" y="120"/>
                    </a:lnTo>
                    <a:lnTo>
                      <a:pt x="39" y="120"/>
                    </a:lnTo>
                    <a:lnTo>
                      <a:pt x="43" y="117"/>
                    </a:lnTo>
                    <a:lnTo>
                      <a:pt x="56" y="90"/>
                    </a:lnTo>
                    <a:lnTo>
                      <a:pt x="60" y="85"/>
                    </a:lnTo>
                    <a:lnTo>
                      <a:pt x="80" y="81"/>
                    </a:lnTo>
                    <a:lnTo>
                      <a:pt x="86" y="71"/>
                    </a:lnTo>
                    <a:lnTo>
                      <a:pt x="99" y="62"/>
                    </a:lnTo>
                    <a:lnTo>
                      <a:pt x="105" y="51"/>
                    </a:lnTo>
                    <a:lnTo>
                      <a:pt x="109" y="51"/>
                    </a:lnTo>
                    <a:lnTo>
                      <a:pt x="111" y="47"/>
                    </a:lnTo>
                    <a:lnTo>
                      <a:pt x="111" y="45"/>
                    </a:lnTo>
                    <a:lnTo>
                      <a:pt x="111" y="41"/>
                    </a:lnTo>
                    <a:lnTo>
                      <a:pt x="107" y="32"/>
                    </a:lnTo>
                    <a:lnTo>
                      <a:pt x="107" y="30"/>
                    </a:lnTo>
                    <a:lnTo>
                      <a:pt x="105" y="28"/>
                    </a:lnTo>
                    <a:lnTo>
                      <a:pt x="105" y="28"/>
                    </a:lnTo>
                    <a:lnTo>
                      <a:pt x="105" y="28"/>
                    </a:lnTo>
                    <a:lnTo>
                      <a:pt x="105" y="28"/>
                    </a:lnTo>
                    <a:lnTo>
                      <a:pt x="105" y="28"/>
                    </a:lnTo>
                    <a:close/>
                    <a:moveTo>
                      <a:pt x="15" y="90"/>
                    </a:moveTo>
                    <a:lnTo>
                      <a:pt x="13" y="86"/>
                    </a:lnTo>
                    <a:lnTo>
                      <a:pt x="16" y="83"/>
                    </a:lnTo>
                    <a:lnTo>
                      <a:pt x="16" y="81"/>
                    </a:lnTo>
                    <a:lnTo>
                      <a:pt x="20" y="81"/>
                    </a:lnTo>
                    <a:lnTo>
                      <a:pt x="16" y="83"/>
                    </a:lnTo>
                    <a:lnTo>
                      <a:pt x="16" y="86"/>
                    </a:lnTo>
                    <a:lnTo>
                      <a:pt x="16" y="90"/>
                    </a:lnTo>
                    <a:lnTo>
                      <a:pt x="15" y="90"/>
                    </a:lnTo>
                    <a:lnTo>
                      <a:pt x="15" y="90"/>
                    </a:lnTo>
                    <a:lnTo>
                      <a:pt x="15" y="90"/>
                    </a:lnTo>
                    <a:lnTo>
                      <a:pt x="15" y="9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3" name="Freeform 175"/>
              <p:cNvSpPr>
                <a:spLocks/>
              </p:cNvSpPr>
              <p:nvPr/>
            </p:nvSpPr>
            <p:spPr bwMode="auto">
              <a:xfrm>
                <a:off x="1292" y="3103"/>
                <a:ext cx="239" cy="354"/>
              </a:xfrm>
              <a:custGeom>
                <a:avLst/>
                <a:gdLst/>
                <a:ahLst/>
                <a:cxnLst>
                  <a:cxn ang="0">
                    <a:pos x="218" y="207"/>
                  </a:cxn>
                  <a:cxn ang="0">
                    <a:pos x="203" y="207"/>
                  </a:cxn>
                  <a:cxn ang="0">
                    <a:pos x="205" y="185"/>
                  </a:cxn>
                  <a:cxn ang="0">
                    <a:pos x="188" y="188"/>
                  </a:cxn>
                  <a:cxn ang="0">
                    <a:pos x="166" y="177"/>
                  </a:cxn>
                  <a:cxn ang="0">
                    <a:pos x="145" y="156"/>
                  </a:cxn>
                  <a:cxn ang="0">
                    <a:pos x="141" y="143"/>
                  </a:cxn>
                  <a:cxn ang="0">
                    <a:pos x="143" y="130"/>
                  </a:cxn>
                  <a:cxn ang="0">
                    <a:pos x="150" y="121"/>
                  </a:cxn>
                  <a:cxn ang="0">
                    <a:pos x="154" y="104"/>
                  </a:cxn>
                  <a:cxn ang="0">
                    <a:pos x="167" y="91"/>
                  </a:cxn>
                  <a:cxn ang="0">
                    <a:pos x="194" y="83"/>
                  </a:cxn>
                  <a:cxn ang="0">
                    <a:pos x="201" y="79"/>
                  </a:cxn>
                  <a:cxn ang="0">
                    <a:pos x="209" y="79"/>
                  </a:cxn>
                  <a:cxn ang="0">
                    <a:pos x="198" y="74"/>
                  </a:cxn>
                  <a:cxn ang="0">
                    <a:pos x="205" y="49"/>
                  </a:cxn>
                  <a:cxn ang="0">
                    <a:pos x="196" y="43"/>
                  </a:cxn>
                  <a:cxn ang="0">
                    <a:pos x="175" y="42"/>
                  </a:cxn>
                  <a:cxn ang="0">
                    <a:pos x="160" y="45"/>
                  </a:cxn>
                  <a:cxn ang="0">
                    <a:pos x="154" y="42"/>
                  </a:cxn>
                  <a:cxn ang="0">
                    <a:pos x="149" y="28"/>
                  </a:cxn>
                  <a:cxn ang="0">
                    <a:pos x="130" y="15"/>
                  </a:cxn>
                  <a:cxn ang="0">
                    <a:pos x="120" y="4"/>
                  </a:cxn>
                  <a:cxn ang="0">
                    <a:pos x="111" y="2"/>
                  </a:cxn>
                  <a:cxn ang="0">
                    <a:pos x="115" y="19"/>
                  </a:cxn>
                  <a:cxn ang="0">
                    <a:pos x="92" y="45"/>
                  </a:cxn>
                  <a:cxn ang="0">
                    <a:pos x="47" y="89"/>
                  </a:cxn>
                  <a:cxn ang="0">
                    <a:pos x="34" y="83"/>
                  </a:cxn>
                  <a:cxn ang="0">
                    <a:pos x="21" y="83"/>
                  </a:cxn>
                  <a:cxn ang="0">
                    <a:pos x="22" y="68"/>
                  </a:cxn>
                  <a:cxn ang="0">
                    <a:pos x="9" y="74"/>
                  </a:cxn>
                  <a:cxn ang="0">
                    <a:pos x="0" y="91"/>
                  </a:cxn>
                  <a:cxn ang="0">
                    <a:pos x="2" y="100"/>
                  </a:cxn>
                  <a:cxn ang="0">
                    <a:pos x="6" y="113"/>
                  </a:cxn>
                  <a:cxn ang="0">
                    <a:pos x="7" y="121"/>
                  </a:cxn>
                  <a:cxn ang="0">
                    <a:pos x="30" y="132"/>
                  </a:cxn>
                  <a:cxn ang="0">
                    <a:pos x="38" y="149"/>
                  </a:cxn>
                  <a:cxn ang="0">
                    <a:pos x="51" y="168"/>
                  </a:cxn>
                  <a:cxn ang="0">
                    <a:pos x="60" y="185"/>
                  </a:cxn>
                  <a:cxn ang="0">
                    <a:pos x="70" y="207"/>
                  </a:cxn>
                  <a:cxn ang="0">
                    <a:pos x="71" y="215"/>
                  </a:cxn>
                  <a:cxn ang="0">
                    <a:pos x="83" y="232"/>
                  </a:cxn>
                  <a:cxn ang="0">
                    <a:pos x="96" y="251"/>
                  </a:cxn>
                  <a:cxn ang="0">
                    <a:pos x="100" y="262"/>
                  </a:cxn>
                  <a:cxn ang="0">
                    <a:pos x="102" y="271"/>
                  </a:cxn>
                  <a:cxn ang="0">
                    <a:pos x="109" y="281"/>
                  </a:cxn>
                  <a:cxn ang="0">
                    <a:pos x="122" y="290"/>
                  </a:cxn>
                  <a:cxn ang="0">
                    <a:pos x="132" y="296"/>
                  </a:cxn>
                  <a:cxn ang="0">
                    <a:pos x="143" y="305"/>
                  </a:cxn>
                  <a:cxn ang="0">
                    <a:pos x="154" y="313"/>
                  </a:cxn>
                  <a:cxn ang="0">
                    <a:pos x="169" y="318"/>
                  </a:cxn>
                  <a:cxn ang="0">
                    <a:pos x="181" y="326"/>
                  </a:cxn>
                  <a:cxn ang="0">
                    <a:pos x="190" y="335"/>
                  </a:cxn>
                  <a:cxn ang="0">
                    <a:pos x="199" y="343"/>
                  </a:cxn>
                  <a:cxn ang="0">
                    <a:pos x="213" y="354"/>
                  </a:cxn>
                  <a:cxn ang="0">
                    <a:pos x="228" y="347"/>
                  </a:cxn>
                  <a:cxn ang="0">
                    <a:pos x="230" y="335"/>
                  </a:cxn>
                  <a:cxn ang="0">
                    <a:pos x="228" y="332"/>
                  </a:cxn>
                  <a:cxn ang="0">
                    <a:pos x="239" y="313"/>
                  </a:cxn>
                  <a:cxn ang="0">
                    <a:pos x="233" y="290"/>
                  </a:cxn>
                  <a:cxn ang="0">
                    <a:pos x="233" y="266"/>
                  </a:cxn>
                  <a:cxn ang="0">
                    <a:pos x="239" y="237"/>
                  </a:cxn>
                  <a:cxn ang="0">
                    <a:pos x="222" y="211"/>
                  </a:cxn>
                </a:cxnLst>
                <a:rect l="0" t="0" r="r" b="b"/>
                <a:pathLst>
                  <a:path w="239" h="354">
                    <a:moveTo>
                      <a:pt x="222" y="211"/>
                    </a:moveTo>
                    <a:lnTo>
                      <a:pt x="220" y="207"/>
                    </a:lnTo>
                    <a:lnTo>
                      <a:pt x="218" y="207"/>
                    </a:lnTo>
                    <a:lnTo>
                      <a:pt x="218" y="207"/>
                    </a:lnTo>
                    <a:lnTo>
                      <a:pt x="213" y="207"/>
                    </a:lnTo>
                    <a:lnTo>
                      <a:pt x="209" y="211"/>
                    </a:lnTo>
                    <a:lnTo>
                      <a:pt x="207" y="211"/>
                    </a:lnTo>
                    <a:lnTo>
                      <a:pt x="203" y="207"/>
                    </a:lnTo>
                    <a:lnTo>
                      <a:pt x="203" y="202"/>
                    </a:lnTo>
                    <a:lnTo>
                      <a:pt x="203" y="192"/>
                    </a:lnTo>
                    <a:lnTo>
                      <a:pt x="203" y="187"/>
                    </a:lnTo>
                    <a:lnTo>
                      <a:pt x="205" y="185"/>
                    </a:lnTo>
                    <a:lnTo>
                      <a:pt x="205" y="181"/>
                    </a:lnTo>
                    <a:lnTo>
                      <a:pt x="203" y="177"/>
                    </a:lnTo>
                    <a:lnTo>
                      <a:pt x="196" y="181"/>
                    </a:lnTo>
                    <a:lnTo>
                      <a:pt x="188" y="188"/>
                    </a:lnTo>
                    <a:lnTo>
                      <a:pt x="181" y="188"/>
                    </a:lnTo>
                    <a:lnTo>
                      <a:pt x="171" y="188"/>
                    </a:lnTo>
                    <a:lnTo>
                      <a:pt x="169" y="183"/>
                    </a:lnTo>
                    <a:lnTo>
                      <a:pt x="166" y="177"/>
                    </a:lnTo>
                    <a:lnTo>
                      <a:pt x="160" y="177"/>
                    </a:lnTo>
                    <a:lnTo>
                      <a:pt x="150" y="177"/>
                    </a:lnTo>
                    <a:lnTo>
                      <a:pt x="154" y="172"/>
                    </a:lnTo>
                    <a:lnTo>
                      <a:pt x="145" y="156"/>
                    </a:lnTo>
                    <a:lnTo>
                      <a:pt x="139" y="151"/>
                    </a:lnTo>
                    <a:lnTo>
                      <a:pt x="141" y="149"/>
                    </a:lnTo>
                    <a:lnTo>
                      <a:pt x="139" y="147"/>
                    </a:lnTo>
                    <a:lnTo>
                      <a:pt x="141" y="143"/>
                    </a:lnTo>
                    <a:lnTo>
                      <a:pt x="141" y="138"/>
                    </a:lnTo>
                    <a:lnTo>
                      <a:pt x="139" y="136"/>
                    </a:lnTo>
                    <a:lnTo>
                      <a:pt x="143" y="134"/>
                    </a:lnTo>
                    <a:lnTo>
                      <a:pt x="143" y="130"/>
                    </a:lnTo>
                    <a:lnTo>
                      <a:pt x="149" y="126"/>
                    </a:lnTo>
                    <a:lnTo>
                      <a:pt x="150" y="126"/>
                    </a:lnTo>
                    <a:lnTo>
                      <a:pt x="154" y="124"/>
                    </a:lnTo>
                    <a:lnTo>
                      <a:pt x="150" y="121"/>
                    </a:lnTo>
                    <a:lnTo>
                      <a:pt x="150" y="113"/>
                    </a:lnTo>
                    <a:lnTo>
                      <a:pt x="154" y="109"/>
                    </a:lnTo>
                    <a:lnTo>
                      <a:pt x="154" y="107"/>
                    </a:lnTo>
                    <a:lnTo>
                      <a:pt x="154" y="104"/>
                    </a:lnTo>
                    <a:lnTo>
                      <a:pt x="154" y="98"/>
                    </a:lnTo>
                    <a:lnTo>
                      <a:pt x="160" y="96"/>
                    </a:lnTo>
                    <a:lnTo>
                      <a:pt x="164" y="94"/>
                    </a:lnTo>
                    <a:lnTo>
                      <a:pt x="167" y="91"/>
                    </a:lnTo>
                    <a:lnTo>
                      <a:pt x="169" y="89"/>
                    </a:lnTo>
                    <a:lnTo>
                      <a:pt x="171" y="87"/>
                    </a:lnTo>
                    <a:lnTo>
                      <a:pt x="182" y="87"/>
                    </a:lnTo>
                    <a:lnTo>
                      <a:pt x="194" y="83"/>
                    </a:lnTo>
                    <a:lnTo>
                      <a:pt x="194" y="79"/>
                    </a:lnTo>
                    <a:lnTo>
                      <a:pt x="196" y="79"/>
                    </a:lnTo>
                    <a:lnTo>
                      <a:pt x="199" y="79"/>
                    </a:lnTo>
                    <a:lnTo>
                      <a:pt x="201" y="79"/>
                    </a:lnTo>
                    <a:lnTo>
                      <a:pt x="207" y="83"/>
                    </a:lnTo>
                    <a:lnTo>
                      <a:pt x="205" y="83"/>
                    </a:lnTo>
                    <a:lnTo>
                      <a:pt x="209" y="83"/>
                    </a:lnTo>
                    <a:lnTo>
                      <a:pt x="209" y="79"/>
                    </a:lnTo>
                    <a:lnTo>
                      <a:pt x="209" y="74"/>
                    </a:lnTo>
                    <a:lnTo>
                      <a:pt x="207" y="72"/>
                    </a:lnTo>
                    <a:lnTo>
                      <a:pt x="203" y="74"/>
                    </a:lnTo>
                    <a:lnTo>
                      <a:pt x="198" y="74"/>
                    </a:lnTo>
                    <a:lnTo>
                      <a:pt x="198" y="72"/>
                    </a:lnTo>
                    <a:lnTo>
                      <a:pt x="209" y="49"/>
                    </a:lnTo>
                    <a:lnTo>
                      <a:pt x="209" y="49"/>
                    </a:lnTo>
                    <a:lnTo>
                      <a:pt x="205" y="49"/>
                    </a:lnTo>
                    <a:lnTo>
                      <a:pt x="203" y="47"/>
                    </a:lnTo>
                    <a:lnTo>
                      <a:pt x="199" y="45"/>
                    </a:lnTo>
                    <a:lnTo>
                      <a:pt x="198" y="45"/>
                    </a:lnTo>
                    <a:lnTo>
                      <a:pt x="196" y="43"/>
                    </a:lnTo>
                    <a:lnTo>
                      <a:pt x="192" y="43"/>
                    </a:lnTo>
                    <a:lnTo>
                      <a:pt x="184" y="45"/>
                    </a:lnTo>
                    <a:lnTo>
                      <a:pt x="182" y="43"/>
                    </a:lnTo>
                    <a:lnTo>
                      <a:pt x="175" y="42"/>
                    </a:lnTo>
                    <a:lnTo>
                      <a:pt x="171" y="45"/>
                    </a:lnTo>
                    <a:lnTo>
                      <a:pt x="169" y="47"/>
                    </a:lnTo>
                    <a:lnTo>
                      <a:pt x="164" y="47"/>
                    </a:lnTo>
                    <a:lnTo>
                      <a:pt x="160" y="45"/>
                    </a:lnTo>
                    <a:lnTo>
                      <a:pt x="158" y="47"/>
                    </a:lnTo>
                    <a:lnTo>
                      <a:pt x="154" y="45"/>
                    </a:lnTo>
                    <a:lnTo>
                      <a:pt x="154" y="43"/>
                    </a:lnTo>
                    <a:lnTo>
                      <a:pt x="154" y="42"/>
                    </a:lnTo>
                    <a:lnTo>
                      <a:pt x="150" y="36"/>
                    </a:lnTo>
                    <a:lnTo>
                      <a:pt x="150" y="34"/>
                    </a:lnTo>
                    <a:lnTo>
                      <a:pt x="149" y="34"/>
                    </a:lnTo>
                    <a:lnTo>
                      <a:pt x="149" y="28"/>
                    </a:lnTo>
                    <a:lnTo>
                      <a:pt x="145" y="23"/>
                    </a:lnTo>
                    <a:lnTo>
                      <a:pt x="135" y="23"/>
                    </a:lnTo>
                    <a:lnTo>
                      <a:pt x="134" y="23"/>
                    </a:lnTo>
                    <a:lnTo>
                      <a:pt x="130" y="15"/>
                    </a:lnTo>
                    <a:lnTo>
                      <a:pt x="130" y="10"/>
                    </a:lnTo>
                    <a:lnTo>
                      <a:pt x="126" y="8"/>
                    </a:lnTo>
                    <a:lnTo>
                      <a:pt x="124" y="4"/>
                    </a:lnTo>
                    <a:lnTo>
                      <a:pt x="120" y="4"/>
                    </a:lnTo>
                    <a:lnTo>
                      <a:pt x="113" y="2"/>
                    </a:lnTo>
                    <a:lnTo>
                      <a:pt x="111" y="0"/>
                    </a:lnTo>
                    <a:lnTo>
                      <a:pt x="109" y="0"/>
                    </a:lnTo>
                    <a:lnTo>
                      <a:pt x="111" y="2"/>
                    </a:lnTo>
                    <a:lnTo>
                      <a:pt x="111" y="4"/>
                    </a:lnTo>
                    <a:lnTo>
                      <a:pt x="115" y="13"/>
                    </a:lnTo>
                    <a:lnTo>
                      <a:pt x="115" y="17"/>
                    </a:lnTo>
                    <a:lnTo>
                      <a:pt x="115" y="19"/>
                    </a:lnTo>
                    <a:lnTo>
                      <a:pt x="113" y="23"/>
                    </a:lnTo>
                    <a:lnTo>
                      <a:pt x="109" y="23"/>
                    </a:lnTo>
                    <a:lnTo>
                      <a:pt x="105" y="34"/>
                    </a:lnTo>
                    <a:lnTo>
                      <a:pt x="92" y="45"/>
                    </a:lnTo>
                    <a:lnTo>
                      <a:pt x="85" y="53"/>
                    </a:lnTo>
                    <a:lnTo>
                      <a:pt x="66" y="57"/>
                    </a:lnTo>
                    <a:lnTo>
                      <a:pt x="62" y="62"/>
                    </a:lnTo>
                    <a:lnTo>
                      <a:pt x="47" y="89"/>
                    </a:lnTo>
                    <a:lnTo>
                      <a:pt x="45" y="92"/>
                    </a:lnTo>
                    <a:lnTo>
                      <a:pt x="43" y="92"/>
                    </a:lnTo>
                    <a:lnTo>
                      <a:pt x="38" y="87"/>
                    </a:lnTo>
                    <a:lnTo>
                      <a:pt x="34" y="83"/>
                    </a:lnTo>
                    <a:lnTo>
                      <a:pt x="28" y="83"/>
                    </a:lnTo>
                    <a:lnTo>
                      <a:pt x="26" y="79"/>
                    </a:lnTo>
                    <a:lnTo>
                      <a:pt x="22" y="83"/>
                    </a:lnTo>
                    <a:lnTo>
                      <a:pt x="21" y="83"/>
                    </a:lnTo>
                    <a:lnTo>
                      <a:pt x="17" y="79"/>
                    </a:lnTo>
                    <a:lnTo>
                      <a:pt x="21" y="74"/>
                    </a:lnTo>
                    <a:lnTo>
                      <a:pt x="26" y="74"/>
                    </a:lnTo>
                    <a:lnTo>
                      <a:pt x="22" y="68"/>
                    </a:lnTo>
                    <a:lnTo>
                      <a:pt x="21" y="68"/>
                    </a:lnTo>
                    <a:lnTo>
                      <a:pt x="21" y="68"/>
                    </a:lnTo>
                    <a:lnTo>
                      <a:pt x="13" y="72"/>
                    </a:lnTo>
                    <a:lnTo>
                      <a:pt x="9" y="74"/>
                    </a:lnTo>
                    <a:lnTo>
                      <a:pt x="4" y="79"/>
                    </a:lnTo>
                    <a:lnTo>
                      <a:pt x="2" y="87"/>
                    </a:lnTo>
                    <a:lnTo>
                      <a:pt x="0" y="89"/>
                    </a:lnTo>
                    <a:lnTo>
                      <a:pt x="0" y="91"/>
                    </a:lnTo>
                    <a:lnTo>
                      <a:pt x="4" y="92"/>
                    </a:lnTo>
                    <a:lnTo>
                      <a:pt x="4" y="96"/>
                    </a:lnTo>
                    <a:lnTo>
                      <a:pt x="2" y="98"/>
                    </a:lnTo>
                    <a:lnTo>
                      <a:pt x="2" y="100"/>
                    </a:lnTo>
                    <a:lnTo>
                      <a:pt x="6" y="104"/>
                    </a:lnTo>
                    <a:lnTo>
                      <a:pt x="7" y="109"/>
                    </a:lnTo>
                    <a:lnTo>
                      <a:pt x="7" y="113"/>
                    </a:lnTo>
                    <a:lnTo>
                      <a:pt x="6" y="113"/>
                    </a:lnTo>
                    <a:lnTo>
                      <a:pt x="2" y="113"/>
                    </a:lnTo>
                    <a:lnTo>
                      <a:pt x="0" y="117"/>
                    </a:lnTo>
                    <a:lnTo>
                      <a:pt x="4" y="119"/>
                    </a:lnTo>
                    <a:lnTo>
                      <a:pt x="7" y="121"/>
                    </a:lnTo>
                    <a:lnTo>
                      <a:pt x="13" y="124"/>
                    </a:lnTo>
                    <a:lnTo>
                      <a:pt x="17" y="126"/>
                    </a:lnTo>
                    <a:lnTo>
                      <a:pt x="26" y="130"/>
                    </a:lnTo>
                    <a:lnTo>
                      <a:pt x="30" y="132"/>
                    </a:lnTo>
                    <a:lnTo>
                      <a:pt x="30" y="136"/>
                    </a:lnTo>
                    <a:lnTo>
                      <a:pt x="34" y="141"/>
                    </a:lnTo>
                    <a:lnTo>
                      <a:pt x="36" y="147"/>
                    </a:lnTo>
                    <a:lnTo>
                      <a:pt x="38" y="149"/>
                    </a:lnTo>
                    <a:lnTo>
                      <a:pt x="45" y="153"/>
                    </a:lnTo>
                    <a:lnTo>
                      <a:pt x="47" y="158"/>
                    </a:lnTo>
                    <a:lnTo>
                      <a:pt x="51" y="164"/>
                    </a:lnTo>
                    <a:lnTo>
                      <a:pt x="51" y="168"/>
                    </a:lnTo>
                    <a:lnTo>
                      <a:pt x="51" y="173"/>
                    </a:lnTo>
                    <a:lnTo>
                      <a:pt x="54" y="177"/>
                    </a:lnTo>
                    <a:lnTo>
                      <a:pt x="56" y="181"/>
                    </a:lnTo>
                    <a:lnTo>
                      <a:pt x="60" y="185"/>
                    </a:lnTo>
                    <a:lnTo>
                      <a:pt x="62" y="190"/>
                    </a:lnTo>
                    <a:lnTo>
                      <a:pt x="60" y="192"/>
                    </a:lnTo>
                    <a:lnTo>
                      <a:pt x="64" y="198"/>
                    </a:lnTo>
                    <a:lnTo>
                      <a:pt x="70" y="207"/>
                    </a:lnTo>
                    <a:lnTo>
                      <a:pt x="71" y="211"/>
                    </a:lnTo>
                    <a:lnTo>
                      <a:pt x="71" y="211"/>
                    </a:lnTo>
                    <a:lnTo>
                      <a:pt x="71" y="215"/>
                    </a:lnTo>
                    <a:lnTo>
                      <a:pt x="71" y="215"/>
                    </a:lnTo>
                    <a:lnTo>
                      <a:pt x="79" y="222"/>
                    </a:lnTo>
                    <a:lnTo>
                      <a:pt x="81" y="224"/>
                    </a:lnTo>
                    <a:lnTo>
                      <a:pt x="81" y="230"/>
                    </a:lnTo>
                    <a:lnTo>
                      <a:pt x="83" y="232"/>
                    </a:lnTo>
                    <a:lnTo>
                      <a:pt x="88" y="236"/>
                    </a:lnTo>
                    <a:lnTo>
                      <a:pt x="88" y="237"/>
                    </a:lnTo>
                    <a:lnTo>
                      <a:pt x="94" y="247"/>
                    </a:lnTo>
                    <a:lnTo>
                      <a:pt x="96" y="251"/>
                    </a:lnTo>
                    <a:lnTo>
                      <a:pt x="102" y="260"/>
                    </a:lnTo>
                    <a:lnTo>
                      <a:pt x="102" y="262"/>
                    </a:lnTo>
                    <a:lnTo>
                      <a:pt x="102" y="266"/>
                    </a:lnTo>
                    <a:lnTo>
                      <a:pt x="100" y="262"/>
                    </a:lnTo>
                    <a:lnTo>
                      <a:pt x="100" y="266"/>
                    </a:lnTo>
                    <a:lnTo>
                      <a:pt x="100" y="268"/>
                    </a:lnTo>
                    <a:lnTo>
                      <a:pt x="100" y="271"/>
                    </a:lnTo>
                    <a:lnTo>
                      <a:pt x="102" y="271"/>
                    </a:lnTo>
                    <a:lnTo>
                      <a:pt x="105" y="271"/>
                    </a:lnTo>
                    <a:lnTo>
                      <a:pt x="105" y="275"/>
                    </a:lnTo>
                    <a:lnTo>
                      <a:pt x="105" y="275"/>
                    </a:lnTo>
                    <a:lnTo>
                      <a:pt x="109" y="281"/>
                    </a:lnTo>
                    <a:lnTo>
                      <a:pt x="115" y="283"/>
                    </a:lnTo>
                    <a:lnTo>
                      <a:pt x="117" y="286"/>
                    </a:lnTo>
                    <a:lnTo>
                      <a:pt x="118" y="290"/>
                    </a:lnTo>
                    <a:lnTo>
                      <a:pt x="122" y="290"/>
                    </a:lnTo>
                    <a:lnTo>
                      <a:pt x="124" y="292"/>
                    </a:lnTo>
                    <a:lnTo>
                      <a:pt x="126" y="296"/>
                    </a:lnTo>
                    <a:lnTo>
                      <a:pt x="126" y="296"/>
                    </a:lnTo>
                    <a:lnTo>
                      <a:pt x="132" y="296"/>
                    </a:lnTo>
                    <a:lnTo>
                      <a:pt x="134" y="294"/>
                    </a:lnTo>
                    <a:lnTo>
                      <a:pt x="134" y="296"/>
                    </a:lnTo>
                    <a:lnTo>
                      <a:pt x="135" y="301"/>
                    </a:lnTo>
                    <a:lnTo>
                      <a:pt x="143" y="305"/>
                    </a:lnTo>
                    <a:lnTo>
                      <a:pt x="145" y="305"/>
                    </a:lnTo>
                    <a:lnTo>
                      <a:pt x="145" y="309"/>
                    </a:lnTo>
                    <a:lnTo>
                      <a:pt x="149" y="311"/>
                    </a:lnTo>
                    <a:lnTo>
                      <a:pt x="154" y="313"/>
                    </a:lnTo>
                    <a:lnTo>
                      <a:pt x="154" y="311"/>
                    </a:lnTo>
                    <a:lnTo>
                      <a:pt x="158" y="313"/>
                    </a:lnTo>
                    <a:lnTo>
                      <a:pt x="164" y="317"/>
                    </a:lnTo>
                    <a:lnTo>
                      <a:pt x="169" y="318"/>
                    </a:lnTo>
                    <a:lnTo>
                      <a:pt x="173" y="320"/>
                    </a:lnTo>
                    <a:lnTo>
                      <a:pt x="175" y="320"/>
                    </a:lnTo>
                    <a:lnTo>
                      <a:pt x="175" y="322"/>
                    </a:lnTo>
                    <a:lnTo>
                      <a:pt x="181" y="326"/>
                    </a:lnTo>
                    <a:lnTo>
                      <a:pt x="184" y="330"/>
                    </a:lnTo>
                    <a:lnTo>
                      <a:pt x="188" y="332"/>
                    </a:lnTo>
                    <a:lnTo>
                      <a:pt x="190" y="332"/>
                    </a:lnTo>
                    <a:lnTo>
                      <a:pt x="190" y="335"/>
                    </a:lnTo>
                    <a:lnTo>
                      <a:pt x="190" y="337"/>
                    </a:lnTo>
                    <a:lnTo>
                      <a:pt x="190" y="339"/>
                    </a:lnTo>
                    <a:lnTo>
                      <a:pt x="196" y="341"/>
                    </a:lnTo>
                    <a:lnTo>
                      <a:pt x="199" y="343"/>
                    </a:lnTo>
                    <a:lnTo>
                      <a:pt x="205" y="349"/>
                    </a:lnTo>
                    <a:lnTo>
                      <a:pt x="209" y="352"/>
                    </a:lnTo>
                    <a:lnTo>
                      <a:pt x="213" y="354"/>
                    </a:lnTo>
                    <a:lnTo>
                      <a:pt x="213" y="354"/>
                    </a:lnTo>
                    <a:lnTo>
                      <a:pt x="218" y="352"/>
                    </a:lnTo>
                    <a:lnTo>
                      <a:pt x="222" y="349"/>
                    </a:lnTo>
                    <a:lnTo>
                      <a:pt x="224" y="350"/>
                    </a:lnTo>
                    <a:lnTo>
                      <a:pt x="228" y="347"/>
                    </a:lnTo>
                    <a:lnTo>
                      <a:pt x="230" y="345"/>
                    </a:lnTo>
                    <a:lnTo>
                      <a:pt x="226" y="341"/>
                    </a:lnTo>
                    <a:lnTo>
                      <a:pt x="228" y="337"/>
                    </a:lnTo>
                    <a:lnTo>
                      <a:pt x="230" y="335"/>
                    </a:lnTo>
                    <a:lnTo>
                      <a:pt x="231" y="335"/>
                    </a:lnTo>
                    <a:lnTo>
                      <a:pt x="231" y="332"/>
                    </a:lnTo>
                    <a:lnTo>
                      <a:pt x="230" y="332"/>
                    </a:lnTo>
                    <a:lnTo>
                      <a:pt x="228" y="332"/>
                    </a:lnTo>
                    <a:lnTo>
                      <a:pt x="230" y="326"/>
                    </a:lnTo>
                    <a:lnTo>
                      <a:pt x="233" y="322"/>
                    </a:lnTo>
                    <a:lnTo>
                      <a:pt x="239" y="317"/>
                    </a:lnTo>
                    <a:lnTo>
                      <a:pt x="239" y="313"/>
                    </a:lnTo>
                    <a:lnTo>
                      <a:pt x="233" y="301"/>
                    </a:lnTo>
                    <a:lnTo>
                      <a:pt x="233" y="296"/>
                    </a:lnTo>
                    <a:lnTo>
                      <a:pt x="233" y="292"/>
                    </a:lnTo>
                    <a:lnTo>
                      <a:pt x="233" y="290"/>
                    </a:lnTo>
                    <a:lnTo>
                      <a:pt x="233" y="286"/>
                    </a:lnTo>
                    <a:lnTo>
                      <a:pt x="233" y="285"/>
                    </a:lnTo>
                    <a:lnTo>
                      <a:pt x="237" y="277"/>
                    </a:lnTo>
                    <a:lnTo>
                      <a:pt x="233" y="266"/>
                    </a:lnTo>
                    <a:lnTo>
                      <a:pt x="233" y="260"/>
                    </a:lnTo>
                    <a:lnTo>
                      <a:pt x="237" y="254"/>
                    </a:lnTo>
                    <a:lnTo>
                      <a:pt x="237" y="241"/>
                    </a:lnTo>
                    <a:lnTo>
                      <a:pt x="239" y="237"/>
                    </a:lnTo>
                    <a:lnTo>
                      <a:pt x="239" y="232"/>
                    </a:lnTo>
                    <a:lnTo>
                      <a:pt x="222" y="211"/>
                    </a:lnTo>
                    <a:lnTo>
                      <a:pt x="222" y="211"/>
                    </a:lnTo>
                    <a:lnTo>
                      <a:pt x="222" y="21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4" name="Freeform 176"/>
              <p:cNvSpPr>
                <a:spLocks/>
              </p:cNvSpPr>
              <p:nvPr/>
            </p:nvSpPr>
            <p:spPr bwMode="auto">
              <a:xfrm>
                <a:off x="1514" y="3288"/>
                <a:ext cx="228" cy="260"/>
              </a:xfrm>
              <a:custGeom>
                <a:avLst/>
                <a:gdLst/>
                <a:ahLst/>
                <a:cxnLst>
                  <a:cxn ang="0">
                    <a:pos x="218" y="190"/>
                  </a:cxn>
                  <a:cxn ang="0">
                    <a:pos x="216" y="147"/>
                  </a:cxn>
                  <a:cxn ang="0">
                    <a:pos x="207" y="124"/>
                  </a:cxn>
                  <a:cxn ang="0">
                    <a:pos x="168" y="103"/>
                  </a:cxn>
                  <a:cxn ang="0">
                    <a:pos x="169" y="83"/>
                  </a:cxn>
                  <a:cxn ang="0">
                    <a:pos x="151" y="77"/>
                  </a:cxn>
                  <a:cxn ang="0">
                    <a:pos x="141" y="68"/>
                  </a:cxn>
                  <a:cxn ang="0">
                    <a:pos x="124" y="64"/>
                  </a:cxn>
                  <a:cxn ang="0">
                    <a:pos x="107" y="52"/>
                  </a:cxn>
                  <a:cxn ang="0">
                    <a:pos x="94" y="52"/>
                  </a:cxn>
                  <a:cxn ang="0">
                    <a:pos x="83" y="39"/>
                  </a:cxn>
                  <a:cxn ang="0">
                    <a:pos x="77" y="28"/>
                  </a:cxn>
                  <a:cxn ang="0">
                    <a:pos x="75" y="7"/>
                  </a:cxn>
                  <a:cxn ang="0">
                    <a:pos x="70" y="3"/>
                  </a:cxn>
                  <a:cxn ang="0">
                    <a:pos x="56" y="3"/>
                  </a:cxn>
                  <a:cxn ang="0">
                    <a:pos x="40" y="19"/>
                  </a:cxn>
                  <a:cxn ang="0">
                    <a:pos x="24" y="24"/>
                  </a:cxn>
                  <a:cxn ang="0">
                    <a:pos x="11" y="24"/>
                  </a:cxn>
                  <a:cxn ang="0">
                    <a:pos x="15" y="54"/>
                  </a:cxn>
                  <a:cxn ang="0">
                    <a:pos x="11" y="77"/>
                  </a:cxn>
                  <a:cxn ang="0">
                    <a:pos x="11" y="101"/>
                  </a:cxn>
                  <a:cxn ang="0">
                    <a:pos x="11" y="109"/>
                  </a:cxn>
                  <a:cxn ang="0">
                    <a:pos x="15" y="130"/>
                  </a:cxn>
                  <a:cxn ang="0">
                    <a:pos x="8" y="143"/>
                  </a:cxn>
                  <a:cxn ang="0">
                    <a:pos x="9" y="149"/>
                  </a:cxn>
                  <a:cxn ang="0">
                    <a:pos x="11" y="156"/>
                  </a:cxn>
                  <a:cxn ang="0">
                    <a:pos x="15" y="165"/>
                  </a:cxn>
                  <a:cxn ang="0">
                    <a:pos x="17" y="177"/>
                  </a:cxn>
                  <a:cxn ang="0">
                    <a:pos x="30" y="192"/>
                  </a:cxn>
                  <a:cxn ang="0">
                    <a:pos x="24" y="209"/>
                  </a:cxn>
                  <a:cxn ang="0">
                    <a:pos x="49" y="260"/>
                  </a:cxn>
                  <a:cxn ang="0">
                    <a:pos x="58" y="256"/>
                  </a:cxn>
                  <a:cxn ang="0">
                    <a:pos x="64" y="246"/>
                  </a:cxn>
                  <a:cxn ang="0">
                    <a:pos x="81" y="241"/>
                  </a:cxn>
                  <a:cxn ang="0">
                    <a:pos x="92" y="241"/>
                  </a:cxn>
                  <a:cxn ang="0">
                    <a:pos x="104" y="245"/>
                  </a:cxn>
                  <a:cxn ang="0">
                    <a:pos x="109" y="254"/>
                  </a:cxn>
                  <a:cxn ang="0">
                    <a:pos x="109" y="243"/>
                  </a:cxn>
                  <a:cxn ang="0">
                    <a:pos x="134" y="237"/>
                  </a:cxn>
                  <a:cxn ang="0">
                    <a:pos x="143" y="226"/>
                  </a:cxn>
                  <a:cxn ang="0">
                    <a:pos x="141" y="213"/>
                  </a:cxn>
                  <a:cxn ang="0">
                    <a:pos x="149" y="192"/>
                  </a:cxn>
                  <a:cxn ang="0">
                    <a:pos x="200" y="184"/>
                  </a:cxn>
                  <a:cxn ang="0">
                    <a:pos x="216" y="197"/>
                  </a:cxn>
                </a:cxnLst>
                <a:rect l="0" t="0" r="r" b="b"/>
                <a:pathLst>
                  <a:path w="228" h="260">
                    <a:moveTo>
                      <a:pt x="216" y="197"/>
                    </a:moveTo>
                    <a:lnTo>
                      <a:pt x="218" y="192"/>
                    </a:lnTo>
                    <a:lnTo>
                      <a:pt x="218" y="190"/>
                    </a:lnTo>
                    <a:lnTo>
                      <a:pt x="228" y="171"/>
                    </a:lnTo>
                    <a:lnTo>
                      <a:pt x="228" y="164"/>
                    </a:lnTo>
                    <a:lnTo>
                      <a:pt x="216" y="147"/>
                    </a:lnTo>
                    <a:lnTo>
                      <a:pt x="207" y="143"/>
                    </a:lnTo>
                    <a:lnTo>
                      <a:pt x="207" y="137"/>
                    </a:lnTo>
                    <a:lnTo>
                      <a:pt x="207" y="124"/>
                    </a:lnTo>
                    <a:lnTo>
                      <a:pt x="175" y="124"/>
                    </a:lnTo>
                    <a:lnTo>
                      <a:pt x="175" y="116"/>
                    </a:lnTo>
                    <a:lnTo>
                      <a:pt x="168" y="103"/>
                    </a:lnTo>
                    <a:lnTo>
                      <a:pt x="169" y="100"/>
                    </a:lnTo>
                    <a:lnTo>
                      <a:pt x="169" y="92"/>
                    </a:lnTo>
                    <a:lnTo>
                      <a:pt x="169" y="83"/>
                    </a:lnTo>
                    <a:lnTo>
                      <a:pt x="168" y="79"/>
                    </a:lnTo>
                    <a:lnTo>
                      <a:pt x="162" y="77"/>
                    </a:lnTo>
                    <a:lnTo>
                      <a:pt x="151" y="77"/>
                    </a:lnTo>
                    <a:lnTo>
                      <a:pt x="145" y="75"/>
                    </a:lnTo>
                    <a:lnTo>
                      <a:pt x="141" y="73"/>
                    </a:lnTo>
                    <a:lnTo>
                      <a:pt x="141" y="68"/>
                    </a:lnTo>
                    <a:lnTo>
                      <a:pt x="137" y="66"/>
                    </a:lnTo>
                    <a:lnTo>
                      <a:pt x="128" y="64"/>
                    </a:lnTo>
                    <a:lnTo>
                      <a:pt x="124" y="64"/>
                    </a:lnTo>
                    <a:lnTo>
                      <a:pt x="119" y="58"/>
                    </a:lnTo>
                    <a:lnTo>
                      <a:pt x="113" y="58"/>
                    </a:lnTo>
                    <a:lnTo>
                      <a:pt x="107" y="52"/>
                    </a:lnTo>
                    <a:lnTo>
                      <a:pt x="100" y="54"/>
                    </a:lnTo>
                    <a:lnTo>
                      <a:pt x="98" y="54"/>
                    </a:lnTo>
                    <a:lnTo>
                      <a:pt x="94" y="52"/>
                    </a:lnTo>
                    <a:lnTo>
                      <a:pt x="88" y="49"/>
                    </a:lnTo>
                    <a:lnTo>
                      <a:pt x="85" y="47"/>
                    </a:lnTo>
                    <a:lnTo>
                      <a:pt x="83" y="39"/>
                    </a:lnTo>
                    <a:lnTo>
                      <a:pt x="79" y="37"/>
                    </a:lnTo>
                    <a:lnTo>
                      <a:pt x="75" y="30"/>
                    </a:lnTo>
                    <a:lnTo>
                      <a:pt x="77" y="28"/>
                    </a:lnTo>
                    <a:lnTo>
                      <a:pt x="75" y="19"/>
                    </a:lnTo>
                    <a:lnTo>
                      <a:pt x="77" y="13"/>
                    </a:lnTo>
                    <a:lnTo>
                      <a:pt x="75" y="7"/>
                    </a:lnTo>
                    <a:lnTo>
                      <a:pt x="75" y="3"/>
                    </a:lnTo>
                    <a:lnTo>
                      <a:pt x="73" y="0"/>
                    </a:lnTo>
                    <a:lnTo>
                      <a:pt x="70" y="3"/>
                    </a:lnTo>
                    <a:lnTo>
                      <a:pt x="66" y="0"/>
                    </a:lnTo>
                    <a:lnTo>
                      <a:pt x="60" y="0"/>
                    </a:lnTo>
                    <a:lnTo>
                      <a:pt x="56" y="3"/>
                    </a:lnTo>
                    <a:lnTo>
                      <a:pt x="51" y="3"/>
                    </a:lnTo>
                    <a:lnTo>
                      <a:pt x="41" y="11"/>
                    </a:lnTo>
                    <a:lnTo>
                      <a:pt x="40" y="19"/>
                    </a:lnTo>
                    <a:lnTo>
                      <a:pt x="34" y="20"/>
                    </a:lnTo>
                    <a:lnTo>
                      <a:pt x="28" y="20"/>
                    </a:lnTo>
                    <a:lnTo>
                      <a:pt x="24" y="24"/>
                    </a:lnTo>
                    <a:lnTo>
                      <a:pt x="21" y="24"/>
                    </a:lnTo>
                    <a:lnTo>
                      <a:pt x="15" y="28"/>
                    </a:lnTo>
                    <a:lnTo>
                      <a:pt x="11" y="24"/>
                    </a:lnTo>
                    <a:lnTo>
                      <a:pt x="0" y="28"/>
                    </a:lnTo>
                    <a:lnTo>
                      <a:pt x="15" y="49"/>
                    </a:lnTo>
                    <a:lnTo>
                      <a:pt x="15" y="54"/>
                    </a:lnTo>
                    <a:lnTo>
                      <a:pt x="15" y="58"/>
                    </a:lnTo>
                    <a:lnTo>
                      <a:pt x="15" y="71"/>
                    </a:lnTo>
                    <a:lnTo>
                      <a:pt x="11" y="77"/>
                    </a:lnTo>
                    <a:lnTo>
                      <a:pt x="11" y="83"/>
                    </a:lnTo>
                    <a:lnTo>
                      <a:pt x="15" y="94"/>
                    </a:lnTo>
                    <a:lnTo>
                      <a:pt x="11" y="101"/>
                    </a:lnTo>
                    <a:lnTo>
                      <a:pt x="11" y="103"/>
                    </a:lnTo>
                    <a:lnTo>
                      <a:pt x="11" y="107"/>
                    </a:lnTo>
                    <a:lnTo>
                      <a:pt x="11" y="109"/>
                    </a:lnTo>
                    <a:lnTo>
                      <a:pt x="11" y="113"/>
                    </a:lnTo>
                    <a:lnTo>
                      <a:pt x="11" y="116"/>
                    </a:lnTo>
                    <a:lnTo>
                      <a:pt x="15" y="130"/>
                    </a:lnTo>
                    <a:lnTo>
                      <a:pt x="15" y="133"/>
                    </a:lnTo>
                    <a:lnTo>
                      <a:pt x="11" y="137"/>
                    </a:lnTo>
                    <a:lnTo>
                      <a:pt x="8" y="143"/>
                    </a:lnTo>
                    <a:lnTo>
                      <a:pt x="6" y="147"/>
                    </a:lnTo>
                    <a:lnTo>
                      <a:pt x="8" y="149"/>
                    </a:lnTo>
                    <a:lnTo>
                      <a:pt x="9" y="149"/>
                    </a:lnTo>
                    <a:lnTo>
                      <a:pt x="9" y="152"/>
                    </a:lnTo>
                    <a:lnTo>
                      <a:pt x="11" y="152"/>
                    </a:lnTo>
                    <a:lnTo>
                      <a:pt x="11" y="156"/>
                    </a:lnTo>
                    <a:lnTo>
                      <a:pt x="15" y="160"/>
                    </a:lnTo>
                    <a:lnTo>
                      <a:pt x="15" y="162"/>
                    </a:lnTo>
                    <a:lnTo>
                      <a:pt x="15" y="165"/>
                    </a:lnTo>
                    <a:lnTo>
                      <a:pt x="15" y="167"/>
                    </a:lnTo>
                    <a:lnTo>
                      <a:pt x="15" y="171"/>
                    </a:lnTo>
                    <a:lnTo>
                      <a:pt x="17" y="177"/>
                    </a:lnTo>
                    <a:lnTo>
                      <a:pt x="19" y="181"/>
                    </a:lnTo>
                    <a:lnTo>
                      <a:pt x="28" y="188"/>
                    </a:lnTo>
                    <a:lnTo>
                      <a:pt x="30" y="192"/>
                    </a:lnTo>
                    <a:lnTo>
                      <a:pt x="26" y="197"/>
                    </a:lnTo>
                    <a:lnTo>
                      <a:pt x="28" y="201"/>
                    </a:lnTo>
                    <a:lnTo>
                      <a:pt x="24" y="209"/>
                    </a:lnTo>
                    <a:lnTo>
                      <a:pt x="26" y="214"/>
                    </a:lnTo>
                    <a:lnTo>
                      <a:pt x="36" y="222"/>
                    </a:lnTo>
                    <a:lnTo>
                      <a:pt x="49" y="260"/>
                    </a:lnTo>
                    <a:lnTo>
                      <a:pt x="55" y="260"/>
                    </a:lnTo>
                    <a:lnTo>
                      <a:pt x="56" y="256"/>
                    </a:lnTo>
                    <a:lnTo>
                      <a:pt x="58" y="256"/>
                    </a:lnTo>
                    <a:lnTo>
                      <a:pt x="58" y="256"/>
                    </a:lnTo>
                    <a:lnTo>
                      <a:pt x="60" y="254"/>
                    </a:lnTo>
                    <a:lnTo>
                      <a:pt x="64" y="246"/>
                    </a:lnTo>
                    <a:lnTo>
                      <a:pt x="70" y="239"/>
                    </a:lnTo>
                    <a:lnTo>
                      <a:pt x="75" y="237"/>
                    </a:lnTo>
                    <a:lnTo>
                      <a:pt x="81" y="241"/>
                    </a:lnTo>
                    <a:lnTo>
                      <a:pt x="85" y="241"/>
                    </a:lnTo>
                    <a:lnTo>
                      <a:pt x="88" y="239"/>
                    </a:lnTo>
                    <a:lnTo>
                      <a:pt x="92" y="241"/>
                    </a:lnTo>
                    <a:lnTo>
                      <a:pt x="100" y="239"/>
                    </a:lnTo>
                    <a:lnTo>
                      <a:pt x="104" y="239"/>
                    </a:lnTo>
                    <a:lnTo>
                      <a:pt x="104" y="245"/>
                    </a:lnTo>
                    <a:lnTo>
                      <a:pt x="107" y="254"/>
                    </a:lnTo>
                    <a:lnTo>
                      <a:pt x="107" y="256"/>
                    </a:lnTo>
                    <a:lnTo>
                      <a:pt x="109" y="254"/>
                    </a:lnTo>
                    <a:lnTo>
                      <a:pt x="109" y="250"/>
                    </a:lnTo>
                    <a:lnTo>
                      <a:pt x="109" y="246"/>
                    </a:lnTo>
                    <a:lnTo>
                      <a:pt x="109" y="243"/>
                    </a:lnTo>
                    <a:lnTo>
                      <a:pt x="113" y="237"/>
                    </a:lnTo>
                    <a:lnTo>
                      <a:pt x="124" y="237"/>
                    </a:lnTo>
                    <a:lnTo>
                      <a:pt x="134" y="237"/>
                    </a:lnTo>
                    <a:lnTo>
                      <a:pt x="137" y="241"/>
                    </a:lnTo>
                    <a:lnTo>
                      <a:pt x="137" y="235"/>
                    </a:lnTo>
                    <a:lnTo>
                      <a:pt x="143" y="226"/>
                    </a:lnTo>
                    <a:lnTo>
                      <a:pt x="143" y="220"/>
                    </a:lnTo>
                    <a:lnTo>
                      <a:pt x="143" y="214"/>
                    </a:lnTo>
                    <a:lnTo>
                      <a:pt x="141" y="213"/>
                    </a:lnTo>
                    <a:lnTo>
                      <a:pt x="147" y="205"/>
                    </a:lnTo>
                    <a:lnTo>
                      <a:pt x="149" y="197"/>
                    </a:lnTo>
                    <a:lnTo>
                      <a:pt x="149" y="192"/>
                    </a:lnTo>
                    <a:lnTo>
                      <a:pt x="154" y="192"/>
                    </a:lnTo>
                    <a:lnTo>
                      <a:pt x="179" y="184"/>
                    </a:lnTo>
                    <a:lnTo>
                      <a:pt x="200" y="184"/>
                    </a:lnTo>
                    <a:lnTo>
                      <a:pt x="211" y="192"/>
                    </a:lnTo>
                    <a:lnTo>
                      <a:pt x="215" y="192"/>
                    </a:lnTo>
                    <a:lnTo>
                      <a:pt x="216" y="197"/>
                    </a:lnTo>
                    <a:lnTo>
                      <a:pt x="216" y="197"/>
                    </a:lnTo>
                    <a:lnTo>
                      <a:pt x="216" y="19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5" name="Freeform 177"/>
              <p:cNvSpPr>
                <a:spLocks/>
              </p:cNvSpPr>
              <p:nvPr/>
            </p:nvSpPr>
            <p:spPr bwMode="auto">
              <a:xfrm>
                <a:off x="1651" y="3472"/>
                <a:ext cx="159" cy="164"/>
              </a:xfrm>
              <a:custGeom>
                <a:avLst/>
                <a:gdLst/>
                <a:ahLst/>
                <a:cxnLst>
                  <a:cxn ang="0">
                    <a:pos x="2" y="51"/>
                  </a:cxn>
                  <a:cxn ang="0">
                    <a:pos x="6" y="36"/>
                  </a:cxn>
                  <a:cxn ang="0">
                    <a:pos x="6" y="29"/>
                  </a:cxn>
                  <a:cxn ang="0">
                    <a:pos x="12" y="13"/>
                  </a:cxn>
                  <a:cxn ang="0">
                    <a:pos x="17" y="8"/>
                  </a:cxn>
                  <a:cxn ang="0">
                    <a:pos x="64" y="0"/>
                  </a:cxn>
                  <a:cxn ang="0">
                    <a:pos x="79" y="10"/>
                  </a:cxn>
                  <a:cxn ang="0">
                    <a:pos x="81" y="17"/>
                  </a:cxn>
                  <a:cxn ang="0">
                    <a:pos x="85" y="27"/>
                  </a:cxn>
                  <a:cxn ang="0">
                    <a:pos x="89" y="46"/>
                  </a:cxn>
                  <a:cxn ang="0">
                    <a:pos x="89" y="51"/>
                  </a:cxn>
                  <a:cxn ang="0">
                    <a:pos x="95" y="55"/>
                  </a:cxn>
                  <a:cxn ang="0">
                    <a:pos x="108" y="57"/>
                  </a:cxn>
                  <a:cxn ang="0">
                    <a:pos x="121" y="55"/>
                  </a:cxn>
                  <a:cxn ang="0">
                    <a:pos x="128" y="59"/>
                  </a:cxn>
                  <a:cxn ang="0">
                    <a:pos x="136" y="83"/>
                  </a:cxn>
                  <a:cxn ang="0">
                    <a:pos x="140" y="91"/>
                  </a:cxn>
                  <a:cxn ang="0">
                    <a:pos x="153" y="89"/>
                  </a:cxn>
                  <a:cxn ang="0">
                    <a:pos x="159" y="91"/>
                  </a:cxn>
                  <a:cxn ang="0">
                    <a:pos x="157" y="113"/>
                  </a:cxn>
                  <a:cxn ang="0">
                    <a:pos x="155" y="115"/>
                  </a:cxn>
                  <a:cxn ang="0">
                    <a:pos x="155" y="119"/>
                  </a:cxn>
                  <a:cxn ang="0">
                    <a:pos x="153" y="121"/>
                  </a:cxn>
                  <a:cxn ang="0">
                    <a:pos x="153" y="128"/>
                  </a:cxn>
                  <a:cxn ang="0">
                    <a:pos x="149" y="140"/>
                  </a:cxn>
                  <a:cxn ang="0">
                    <a:pos x="147" y="145"/>
                  </a:cxn>
                  <a:cxn ang="0">
                    <a:pos x="136" y="157"/>
                  </a:cxn>
                  <a:cxn ang="0">
                    <a:pos x="128" y="160"/>
                  </a:cxn>
                  <a:cxn ang="0">
                    <a:pos x="123" y="164"/>
                  </a:cxn>
                  <a:cxn ang="0">
                    <a:pos x="119" y="164"/>
                  </a:cxn>
                  <a:cxn ang="0">
                    <a:pos x="108" y="162"/>
                  </a:cxn>
                  <a:cxn ang="0">
                    <a:pos x="83" y="160"/>
                  </a:cxn>
                  <a:cxn ang="0">
                    <a:pos x="81" y="157"/>
                  </a:cxn>
                  <a:cxn ang="0">
                    <a:pos x="89" y="143"/>
                  </a:cxn>
                  <a:cxn ang="0">
                    <a:pos x="89" y="136"/>
                  </a:cxn>
                  <a:cxn ang="0">
                    <a:pos x="96" y="128"/>
                  </a:cxn>
                  <a:cxn ang="0">
                    <a:pos x="95" y="121"/>
                  </a:cxn>
                  <a:cxn ang="0">
                    <a:pos x="85" y="111"/>
                  </a:cxn>
                  <a:cxn ang="0">
                    <a:pos x="66" y="106"/>
                  </a:cxn>
                  <a:cxn ang="0">
                    <a:pos x="55" y="100"/>
                  </a:cxn>
                  <a:cxn ang="0">
                    <a:pos x="36" y="91"/>
                  </a:cxn>
                  <a:cxn ang="0">
                    <a:pos x="31" y="83"/>
                  </a:cxn>
                  <a:cxn ang="0">
                    <a:pos x="12" y="70"/>
                  </a:cxn>
                  <a:cxn ang="0">
                    <a:pos x="6" y="62"/>
                  </a:cxn>
                  <a:cxn ang="0">
                    <a:pos x="0" y="57"/>
                  </a:cxn>
                  <a:cxn ang="0">
                    <a:pos x="0" y="57"/>
                  </a:cxn>
                </a:cxnLst>
                <a:rect l="0" t="0" r="r" b="b"/>
                <a:pathLst>
                  <a:path w="159" h="164">
                    <a:moveTo>
                      <a:pt x="0" y="57"/>
                    </a:moveTo>
                    <a:lnTo>
                      <a:pt x="2" y="51"/>
                    </a:lnTo>
                    <a:lnTo>
                      <a:pt x="6" y="42"/>
                    </a:lnTo>
                    <a:lnTo>
                      <a:pt x="6" y="36"/>
                    </a:lnTo>
                    <a:lnTo>
                      <a:pt x="6" y="30"/>
                    </a:lnTo>
                    <a:lnTo>
                      <a:pt x="6" y="29"/>
                    </a:lnTo>
                    <a:lnTo>
                      <a:pt x="10" y="21"/>
                    </a:lnTo>
                    <a:lnTo>
                      <a:pt x="12" y="13"/>
                    </a:lnTo>
                    <a:lnTo>
                      <a:pt x="12" y="10"/>
                    </a:lnTo>
                    <a:lnTo>
                      <a:pt x="17" y="8"/>
                    </a:lnTo>
                    <a:lnTo>
                      <a:pt x="42" y="0"/>
                    </a:lnTo>
                    <a:lnTo>
                      <a:pt x="64" y="0"/>
                    </a:lnTo>
                    <a:lnTo>
                      <a:pt x="76" y="10"/>
                    </a:lnTo>
                    <a:lnTo>
                      <a:pt x="79" y="10"/>
                    </a:lnTo>
                    <a:lnTo>
                      <a:pt x="83" y="13"/>
                    </a:lnTo>
                    <a:lnTo>
                      <a:pt x="81" y="17"/>
                    </a:lnTo>
                    <a:lnTo>
                      <a:pt x="85" y="21"/>
                    </a:lnTo>
                    <a:lnTo>
                      <a:pt x="85" y="27"/>
                    </a:lnTo>
                    <a:lnTo>
                      <a:pt x="89" y="32"/>
                    </a:lnTo>
                    <a:lnTo>
                      <a:pt x="89" y="46"/>
                    </a:lnTo>
                    <a:lnTo>
                      <a:pt x="89" y="47"/>
                    </a:lnTo>
                    <a:lnTo>
                      <a:pt x="89" y="51"/>
                    </a:lnTo>
                    <a:lnTo>
                      <a:pt x="89" y="57"/>
                    </a:lnTo>
                    <a:lnTo>
                      <a:pt x="95" y="55"/>
                    </a:lnTo>
                    <a:lnTo>
                      <a:pt x="98" y="57"/>
                    </a:lnTo>
                    <a:lnTo>
                      <a:pt x="108" y="57"/>
                    </a:lnTo>
                    <a:lnTo>
                      <a:pt x="113" y="59"/>
                    </a:lnTo>
                    <a:lnTo>
                      <a:pt x="121" y="55"/>
                    </a:lnTo>
                    <a:lnTo>
                      <a:pt x="125" y="59"/>
                    </a:lnTo>
                    <a:lnTo>
                      <a:pt x="128" y="59"/>
                    </a:lnTo>
                    <a:lnTo>
                      <a:pt x="130" y="62"/>
                    </a:lnTo>
                    <a:lnTo>
                      <a:pt x="136" y="83"/>
                    </a:lnTo>
                    <a:lnTo>
                      <a:pt x="140" y="91"/>
                    </a:lnTo>
                    <a:lnTo>
                      <a:pt x="140" y="91"/>
                    </a:lnTo>
                    <a:lnTo>
                      <a:pt x="149" y="87"/>
                    </a:lnTo>
                    <a:lnTo>
                      <a:pt x="153" y="89"/>
                    </a:lnTo>
                    <a:lnTo>
                      <a:pt x="157" y="91"/>
                    </a:lnTo>
                    <a:lnTo>
                      <a:pt x="159" y="91"/>
                    </a:lnTo>
                    <a:lnTo>
                      <a:pt x="157" y="94"/>
                    </a:lnTo>
                    <a:lnTo>
                      <a:pt x="157" y="113"/>
                    </a:lnTo>
                    <a:lnTo>
                      <a:pt x="155" y="115"/>
                    </a:lnTo>
                    <a:lnTo>
                      <a:pt x="155" y="115"/>
                    </a:lnTo>
                    <a:lnTo>
                      <a:pt x="155" y="115"/>
                    </a:lnTo>
                    <a:lnTo>
                      <a:pt x="155" y="119"/>
                    </a:lnTo>
                    <a:lnTo>
                      <a:pt x="155" y="121"/>
                    </a:lnTo>
                    <a:lnTo>
                      <a:pt x="153" y="121"/>
                    </a:lnTo>
                    <a:lnTo>
                      <a:pt x="153" y="127"/>
                    </a:lnTo>
                    <a:lnTo>
                      <a:pt x="153" y="128"/>
                    </a:lnTo>
                    <a:lnTo>
                      <a:pt x="153" y="136"/>
                    </a:lnTo>
                    <a:lnTo>
                      <a:pt x="149" y="140"/>
                    </a:lnTo>
                    <a:lnTo>
                      <a:pt x="147" y="143"/>
                    </a:lnTo>
                    <a:lnTo>
                      <a:pt x="147" y="145"/>
                    </a:lnTo>
                    <a:lnTo>
                      <a:pt x="138" y="153"/>
                    </a:lnTo>
                    <a:lnTo>
                      <a:pt x="136" y="157"/>
                    </a:lnTo>
                    <a:lnTo>
                      <a:pt x="134" y="162"/>
                    </a:lnTo>
                    <a:lnTo>
                      <a:pt x="128" y="160"/>
                    </a:lnTo>
                    <a:lnTo>
                      <a:pt x="127" y="162"/>
                    </a:lnTo>
                    <a:lnTo>
                      <a:pt x="123" y="164"/>
                    </a:lnTo>
                    <a:lnTo>
                      <a:pt x="121" y="164"/>
                    </a:lnTo>
                    <a:lnTo>
                      <a:pt x="119" y="164"/>
                    </a:lnTo>
                    <a:lnTo>
                      <a:pt x="115" y="164"/>
                    </a:lnTo>
                    <a:lnTo>
                      <a:pt x="108" y="162"/>
                    </a:lnTo>
                    <a:lnTo>
                      <a:pt x="96" y="159"/>
                    </a:lnTo>
                    <a:lnTo>
                      <a:pt x="83" y="160"/>
                    </a:lnTo>
                    <a:lnTo>
                      <a:pt x="81" y="160"/>
                    </a:lnTo>
                    <a:lnTo>
                      <a:pt x="81" y="157"/>
                    </a:lnTo>
                    <a:lnTo>
                      <a:pt x="85" y="149"/>
                    </a:lnTo>
                    <a:lnTo>
                      <a:pt x="89" y="143"/>
                    </a:lnTo>
                    <a:lnTo>
                      <a:pt x="89" y="140"/>
                    </a:lnTo>
                    <a:lnTo>
                      <a:pt x="89" y="136"/>
                    </a:lnTo>
                    <a:lnTo>
                      <a:pt x="95" y="134"/>
                    </a:lnTo>
                    <a:lnTo>
                      <a:pt x="96" y="128"/>
                    </a:lnTo>
                    <a:lnTo>
                      <a:pt x="96" y="125"/>
                    </a:lnTo>
                    <a:lnTo>
                      <a:pt x="95" y="121"/>
                    </a:lnTo>
                    <a:lnTo>
                      <a:pt x="89" y="115"/>
                    </a:lnTo>
                    <a:lnTo>
                      <a:pt x="85" y="111"/>
                    </a:lnTo>
                    <a:lnTo>
                      <a:pt x="74" y="110"/>
                    </a:lnTo>
                    <a:lnTo>
                      <a:pt x="66" y="106"/>
                    </a:lnTo>
                    <a:lnTo>
                      <a:pt x="59" y="100"/>
                    </a:lnTo>
                    <a:lnTo>
                      <a:pt x="55" y="100"/>
                    </a:lnTo>
                    <a:lnTo>
                      <a:pt x="47" y="94"/>
                    </a:lnTo>
                    <a:lnTo>
                      <a:pt x="36" y="91"/>
                    </a:lnTo>
                    <a:lnTo>
                      <a:pt x="34" y="87"/>
                    </a:lnTo>
                    <a:lnTo>
                      <a:pt x="31" y="83"/>
                    </a:lnTo>
                    <a:lnTo>
                      <a:pt x="25" y="83"/>
                    </a:lnTo>
                    <a:lnTo>
                      <a:pt x="12" y="70"/>
                    </a:lnTo>
                    <a:lnTo>
                      <a:pt x="10" y="62"/>
                    </a:lnTo>
                    <a:lnTo>
                      <a:pt x="6" y="62"/>
                    </a:lnTo>
                    <a:lnTo>
                      <a:pt x="2" y="59"/>
                    </a:lnTo>
                    <a:lnTo>
                      <a:pt x="0" y="57"/>
                    </a:lnTo>
                    <a:lnTo>
                      <a:pt x="0" y="57"/>
                    </a:lnTo>
                    <a:lnTo>
                      <a:pt x="0" y="5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6" name="Freeform 178"/>
              <p:cNvSpPr>
                <a:spLocks/>
              </p:cNvSpPr>
              <p:nvPr/>
            </p:nvSpPr>
            <p:spPr bwMode="auto">
              <a:xfrm>
                <a:off x="1746" y="3685"/>
                <a:ext cx="96" cy="111"/>
              </a:xfrm>
              <a:custGeom>
                <a:avLst/>
                <a:gdLst/>
                <a:ahLst/>
                <a:cxnLst>
                  <a:cxn ang="0">
                    <a:pos x="13" y="2"/>
                  </a:cxn>
                  <a:cxn ang="0">
                    <a:pos x="26" y="0"/>
                  </a:cxn>
                  <a:cxn ang="0">
                    <a:pos x="33" y="10"/>
                  </a:cxn>
                  <a:cxn ang="0">
                    <a:pos x="39" y="17"/>
                  </a:cxn>
                  <a:cxn ang="0">
                    <a:pos x="45" y="25"/>
                  </a:cxn>
                  <a:cxn ang="0">
                    <a:pos x="52" y="21"/>
                  </a:cxn>
                  <a:cxn ang="0">
                    <a:pos x="62" y="30"/>
                  </a:cxn>
                  <a:cxn ang="0">
                    <a:pos x="69" y="34"/>
                  </a:cxn>
                  <a:cxn ang="0">
                    <a:pos x="75" y="40"/>
                  </a:cxn>
                  <a:cxn ang="0">
                    <a:pos x="84" y="49"/>
                  </a:cxn>
                  <a:cxn ang="0">
                    <a:pos x="94" y="59"/>
                  </a:cxn>
                  <a:cxn ang="0">
                    <a:pos x="90" y="68"/>
                  </a:cxn>
                  <a:cxn ang="0">
                    <a:pos x="92" y="76"/>
                  </a:cxn>
                  <a:cxn ang="0">
                    <a:pos x="96" y="79"/>
                  </a:cxn>
                  <a:cxn ang="0">
                    <a:pos x="94" y="83"/>
                  </a:cxn>
                  <a:cxn ang="0">
                    <a:pos x="92" y="91"/>
                  </a:cxn>
                  <a:cxn ang="0">
                    <a:pos x="88" y="98"/>
                  </a:cxn>
                  <a:cxn ang="0">
                    <a:pos x="84" y="100"/>
                  </a:cxn>
                  <a:cxn ang="0">
                    <a:pos x="75" y="108"/>
                  </a:cxn>
                  <a:cxn ang="0">
                    <a:pos x="69" y="108"/>
                  </a:cxn>
                  <a:cxn ang="0">
                    <a:pos x="69" y="111"/>
                  </a:cxn>
                  <a:cxn ang="0">
                    <a:pos x="64" y="111"/>
                  </a:cxn>
                  <a:cxn ang="0">
                    <a:pos x="60" y="108"/>
                  </a:cxn>
                  <a:cxn ang="0">
                    <a:pos x="52" y="108"/>
                  </a:cxn>
                  <a:cxn ang="0">
                    <a:pos x="43" y="111"/>
                  </a:cxn>
                  <a:cxn ang="0">
                    <a:pos x="43" y="108"/>
                  </a:cxn>
                  <a:cxn ang="0">
                    <a:pos x="39" y="108"/>
                  </a:cxn>
                  <a:cxn ang="0">
                    <a:pos x="32" y="102"/>
                  </a:cxn>
                  <a:cxn ang="0">
                    <a:pos x="18" y="102"/>
                  </a:cxn>
                  <a:cxn ang="0">
                    <a:pos x="13" y="98"/>
                  </a:cxn>
                  <a:cxn ang="0">
                    <a:pos x="3" y="89"/>
                  </a:cxn>
                  <a:cxn ang="0">
                    <a:pos x="0" y="74"/>
                  </a:cxn>
                  <a:cxn ang="0">
                    <a:pos x="0" y="72"/>
                  </a:cxn>
                  <a:cxn ang="0">
                    <a:pos x="7" y="66"/>
                  </a:cxn>
                  <a:cxn ang="0">
                    <a:pos x="3" y="51"/>
                  </a:cxn>
                  <a:cxn ang="0">
                    <a:pos x="3" y="43"/>
                  </a:cxn>
                  <a:cxn ang="0">
                    <a:pos x="3" y="34"/>
                  </a:cxn>
                  <a:cxn ang="0">
                    <a:pos x="7" y="25"/>
                  </a:cxn>
                  <a:cxn ang="0">
                    <a:pos x="7" y="19"/>
                  </a:cxn>
                  <a:cxn ang="0">
                    <a:pos x="9" y="8"/>
                  </a:cxn>
                  <a:cxn ang="0">
                    <a:pos x="13" y="2"/>
                  </a:cxn>
                  <a:cxn ang="0">
                    <a:pos x="13" y="2"/>
                  </a:cxn>
                </a:cxnLst>
                <a:rect l="0" t="0" r="r" b="b"/>
                <a:pathLst>
                  <a:path w="96" h="111">
                    <a:moveTo>
                      <a:pt x="13" y="2"/>
                    </a:moveTo>
                    <a:lnTo>
                      <a:pt x="13" y="2"/>
                    </a:lnTo>
                    <a:lnTo>
                      <a:pt x="15" y="4"/>
                    </a:lnTo>
                    <a:lnTo>
                      <a:pt x="26" y="0"/>
                    </a:lnTo>
                    <a:lnTo>
                      <a:pt x="30" y="4"/>
                    </a:lnTo>
                    <a:lnTo>
                      <a:pt x="33" y="10"/>
                    </a:lnTo>
                    <a:lnTo>
                      <a:pt x="37" y="10"/>
                    </a:lnTo>
                    <a:lnTo>
                      <a:pt x="39" y="17"/>
                    </a:lnTo>
                    <a:lnTo>
                      <a:pt x="43" y="25"/>
                    </a:lnTo>
                    <a:lnTo>
                      <a:pt x="45" y="25"/>
                    </a:lnTo>
                    <a:lnTo>
                      <a:pt x="48" y="21"/>
                    </a:lnTo>
                    <a:lnTo>
                      <a:pt x="52" y="21"/>
                    </a:lnTo>
                    <a:lnTo>
                      <a:pt x="56" y="28"/>
                    </a:lnTo>
                    <a:lnTo>
                      <a:pt x="62" y="30"/>
                    </a:lnTo>
                    <a:lnTo>
                      <a:pt x="65" y="30"/>
                    </a:lnTo>
                    <a:lnTo>
                      <a:pt x="69" y="34"/>
                    </a:lnTo>
                    <a:lnTo>
                      <a:pt x="69" y="40"/>
                    </a:lnTo>
                    <a:lnTo>
                      <a:pt x="75" y="40"/>
                    </a:lnTo>
                    <a:lnTo>
                      <a:pt x="82" y="43"/>
                    </a:lnTo>
                    <a:lnTo>
                      <a:pt x="84" y="49"/>
                    </a:lnTo>
                    <a:lnTo>
                      <a:pt x="90" y="55"/>
                    </a:lnTo>
                    <a:lnTo>
                      <a:pt x="94" y="59"/>
                    </a:lnTo>
                    <a:lnTo>
                      <a:pt x="94" y="64"/>
                    </a:lnTo>
                    <a:lnTo>
                      <a:pt x="90" y="68"/>
                    </a:lnTo>
                    <a:lnTo>
                      <a:pt x="92" y="74"/>
                    </a:lnTo>
                    <a:lnTo>
                      <a:pt x="92" y="76"/>
                    </a:lnTo>
                    <a:lnTo>
                      <a:pt x="92" y="77"/>
                    </a:lnTo>
                    <a:lnTo>
                      <a:pt x="96" y="79"/>
                    </a:lnTo>
                    <a:lnTo>
                      <a:pt x="96" y="81"/>
                    </a:lnTo>
                    <a:lnTo>
                      <a:pt x="94" y="83"/>
                    </a:lnTo>
                    <a:lnTo>
                      <a:pt x="92" y="87"/>
                    </a:lnTo>
                    <a:lnTo>
                      <a:pt x="92" y="91"/>
                    </a:lnTo>
                    <a:lnTo>
                      <a:pt x="88" y="94"/>
                    </a:lnTo>
                    <a:lnTo>
                      <a:pt x="88" y="98"/>
                    </a:lnTo>
                    <a:lnTo>
                      <a:pt x="88" y="98"/>
                    </a:lnTo>
                    <a:lnTo>
                      <a:pt x="84" y="100"/>
                    </a:lnTo>
                    <a:lnTo>
                      <a:pt x="82" y="106"/>
                    </a:lnTo>
                    <a:lnTo>
                      <a:pt x="75" y="108"/>
                    </a:lnTo>
                    <a:lnTo>
                      <a:pt x="73" y="108"/>
                    </a:lnTo>
                    <a:lnTo>
                      <a:pt x="69" y="108"/>
                    </a:lnTo>
                    <a:lnTo>
                      <a:pt x="69" y="111"/>
                    </a:lnTo>
                    <a:lnTo>
                      <a:pt x="69" y="111"/>
                    </a:lnTo>
                    <a:lnTo>
                      <a:pt x="67" y="111"/>
                    </a:lnTo>
                    <a:lnTo>
                      <a:pt x="64" y="111"/>
                    </a:lnTo>
                    <a:lnTo>
                      <a:pt x="62" y="111"/>
                    </a:lnTo>
                    <a:lnTo>
                      <a:pt x="60" y="108"/>
                    </a:lnTo>
                    <a:lnTo>
                      <a:pt x="56" y="108"/>
                    </a:lnTo>
                    <a:lnTo>
                      <a:pt x="52" y="108"/>
                    </a:lnTo>
                    <a:lnTo>
                      <a:pt x="45" y="111"/>
                    </a:lnTo>
                    <a:lnTo>
                      <a:pt x="43" y="111"/>
                    </a:lnTo>
                    <a:lnTo>
                      <a:pt x="43" y="108"/>
                    </a:lnTo>
                    <a:lnTo>
                      <a:pt x="43" y="108"/>
                    </a:lnTo>
                    <a:lnTo>
                      <a:pt x="43" y="108"/>
                    </a:lnTo>
                    <a:lnTo>
                      <a:pt x="39" y="108"/>
                    </a:lnTo>
                    <a:lnTo>
                      <a:pt x="37" y="106"/>
                    </a:lnTo>
                    <a:lnTo>
                      <a:pt x="32" y="102"/>
                    </a:lnTo>
                    <a:lnTo>
                      <a:pt x="28" y="102"/>
                    </a:lnTo>
                    <a:lnTo>
                      <a:pt x="18" y="102"/>
                    </a:lnTo>
                    <a:lnTo>
                      <a:pt x="15" y="102"/>
                    </a:lnTo>
                    <a:lnTo>
                      <a:pt x="13" y="98"/>
                    </a:lnTo>
                    <a:lnTo>
                      <a:pt x="9" y="96"/>
                    </a:lnTo>
                    <a:lnTo>
                      <a:pt x="3" y="89"/>
                    </a:lnTo>
                    <a:lnTo>
                      <a:pt x="0" y="81"/>
                    </a:lnTo>
                    <a:lnTo>
                      <a:pt x="0" y="74"/>
                    </a:lnTo>
                    <a:lnTo>
                      <a:pt x="0" y="74"/>
                    </a:lnTo>
                    <a:lnTo>
                      <a:pt x="0" y="72"/>
                    </a:lnTo>
                    <a:lnTo>
                      <a:pt x="3" y="68"/>
                    </a:lnTo>
                    <a:lnTo>
                      <a:pt x="7" y="66"/>
                    </a:lnTo>
                    <a:lnTo>
                      <a:pt x="3" y="60"/>
                    </a:lnTo>
                    <a:lnTo>
                      <a:pt x="3" y="51"/>
                    </a:lnTo>
                    <a:lnTo>
                      <a:pt x="3" y="49"/>
                    </a:lnTo>
                    <a:lnTo>
                      <a:pt x="3" y="43"/>
                    </a:lnTo>
                    <a:lnTo>
                      <a:pt x="3" y="40"/>
                    </a:lnTo>
                    <a:lnTo>
                      <a:pt x="3" y="34"/>
                    </a:lnTo>
                    <a:lnTo>
                      <a:pt x="7" y="34"/>
                    </a:lnTo>
                    <a:lnTo>
                      <a:pt x="7" y="25"/>
                    </a:lnTo>
                    <a:lnTo>
                      <a:pt x="3" y="21"/>
                    </a:lnTo>
                    <a:lnTo>
                      <a:pt x="7" y="19"/>
                    </a:lnTo>
                    <a:lnTo>
                      <a:pt x="7" y="10"/>
                    </a:lnTo>
                    <a:lnTo>
                      <a:pt x="9" y="8"/>
                    </a:lnTo>
                    <a:lnTo>
                      <a:pt x="9" y="4"/>
                    </a:lnTo>
                    <a:lnTo>
                      <a:pt x="13" y="2"/>
                    </a:lnTo>
                    <a:lnTo>
                      <a:pt x="13" y="2"/>
                    </a:lnTo>
                    <a:lnTo>
                      <a:pt x="13"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7" name="Freeform 179"/>
              <p:cNvSpPr>
                <a:spLocks noEditPoints="1"/>
              </p:cNvSpPr>
              <p:nvPr/>
            </p:nvSpPr>
            <p:spPr bwMode="auto">
              <a:xfrm>
                <a:off x="5027" y="2267"/>
                <a:ext cx="79" cy="137"/>
              </a:xfrm>
              <a:custGeom>
                <a:avLst/>
                <a:gdLst/>
                <a:ahLst/>
                <a:cxnLst>
                  <a:cxn ang="0">
                    <a:pos x="50" y="100"/>
                  </a:cxn>
                  <a:cxn ang="0">
                    <a:pos x="48" y="98"/>
                  </a:cxn>
                  <a:cxn ang="0">
                    <a:pos x="22" y="113"/>
                  </a:cxn>
                  <a:cxn ang="0">
                    <a:pos x="22" y="109"/>
                  </a:cxn>
                  <a:cxn ang="0">
                    <a:pos x="24" y="111"/>
                  </a:cxn>
                  <a:cxn ang="0">
                    <a:pos x="22" y="113"/>
                  </a:cxn>
                  <a:cxn ang="0">
                    <a:pos x="64" y="92"/>
                  </a:cxn>
                  <a:cxn ang="0">
                    <a:pos x="62" y="100"/>
                  </a:cxn>
                  <a:cxn ang="0">
                    <a:pos x="64" y="92"/>
                  </a:cxn>
                  <a:cxn ang="0">
                    <a:pos x="64" y="92"/>
                  </a:cxn>
                  <a:cxn ang="0">
                    <a:pos x="73" y="115"/>
                  </a:cxn>
                  <a:cxn ang="0">
                    <a:pos x="77" y="115"/>
                  </a:cxn>
                  <a:cxn ang="0">
                    <a:pos x="75" y="117"/>
                  </a:cxn>
                  <a:cxn ang="0">
                    <a:pos x="77" y="109"/>
                  </a:cxn>
                  <a:cxn ang="0">
                    <a:pos x="75" y="105"/>
                  </a:cxn>
                  <a:cxn ang="0">
                    <a:pos x="79" y="105"/>
                  </a:cxn>
                  <a:cxn ang="0">
                    <a:pos x="77" y="109"/>
                  </a:cxn>
                  <a:cxn ang="0">
                    <a:pos x="26" y="137"/>
                  </a:cxn>
                  <a:cxn ang="0">
                    <a:pos x="35" y="130"/>
                  </a:cxn>
                  <a:cxn ang="0">
                    <a:pos x="35" y="137"/>
                  </a:cxn>
                  <a:cxn ang="0">
                    <a:pos x="26" y="137"/>
                  </a:cxn>
                  <a:cxn ang="0">
                    <a:pos x="0" y="24"/>
                  </a:cxn>
                  <a:cxn ang="0">
                    <a:pos x="7" y="22"/>
                  </a:cxn>
                  <a:cxn ang="0">
                    <a:pos x="16" y="36"/>
                  </a:cxn>
                  <a:cxn ang="0">
                    <a:pos x="20" y="45"/>
                  </a:cxn>
                  <a:cxn ang="0">
                    <a:pos x="15" y="41"/>
                  </a:cxn>
                  <a:cxn ang="0">
                    <a:pos x="7" y="51"/>
                  </a:cxn>
                  <a:cxn ang="0">
                    <a:pos x="16" y="58"/>
                  </a:cxn>
                  <a:cxn ang="0">
                    <a:pos x="22" y="66"/>
                  </a:cxn>
                  <a:cxn ang="0">
                    <a:pos x="20" y="79"/>
                  </a:cxn>
                  <a:cxn ang="0">
                    <a:pos x="20" y="86"/>
                  </a:cxn>
                  <a:cxn ang="0">
                    <a:pos x="20" y="92"/>
                  </a:cxn>
                  <a:cxn ang="0">
                    <a:pos x="26" y="107"/>
                  </a:cxn>
                  <a:cxn ang="0">
                    <a:pos x="32" y="109"/>
                  </a:cxn>
                  <a:cxn ang="0">
                    <a:pos x="35" y="101"/>
                  </a:cxn>
                  <a:cxn ang="0">
                    <a:pos x="47" y="96"/>
                  </a:cxn>
                  <a:cxn ang="0">
                    <a:pos x="54" y="96"/>
                  </a:cxn>
                  <a:cxn ang="0">
                    <a:pos x="58" y="96"/>
                  </a:cxn>
                  <a:cxn ang="0">
                    <a:pos x="67" y="90"/>
                  </a:cxn>
                  <a:cxn ang="0">
                    <a:pos x="71" y="81"/>
                  </a:cxn>
                  <a:cxn ang="0">
                    <a:pos x="67" y="68"/>
                  </a:cxn>
                  <a:cxn ang="0">
                    <a:pos x="64" y="45"/>
                  </a:cxn>
                  <a:cxn ang="0">
                    <a:pos x="43" y="13"/>
                  </a:cxn>
                  <a:cxn ang="0">
                    <a:pos x="16" y="5"/>
                  </a:cxn>
                  <a:cxn ang="0">
                    <a:pos x="0" y="20"/>
                  </a:cxn>
                  <a:cxn ang="0">
                    <a:pos x="0" y="24"/>
                  </a:cxn>
                </a:cxnLst>
                <a:rect l="0" t="0" r="r" b="b"/>
                <a:pathLst>
                  <a:path w="79" h="137">
                    <a:moveTo>
                      <a:pt x="48" y="98"/>
                    </a:moveTo>
                    <a:lnTo>
                      <a:pt x="50" y="98"/>
                    </a:lnTo>
                    <a:lnTo>
                      <a:pt x="50" y="100"/>
                    </a:lnTo>
                    <a:lnTo>
                      <a:pt x="48" y="100"/>
                    </a:lnTo>
                    <a:lnTo>
                      <a:pt x="48" y="98"/>
                    </a:lnTo>
                    <a:lnTo>
                      <a:pt x="48" y="98"/>
                    </a:lnTo>
                    <a:lnTo>
                      <a:pt x="48" y="98"/>
                    </a:lnTo>
                    <a:lnTo>
                      <a:pt x="48" y="98"/>
                    </a:lnTo>
                    <a:close/>
                    <a:moveTo>
                      <a:pt x="22" y="113"/>
                    </a:moveTo>
                    <a:lnTo>
                      <a:pt x="20" y="109"/>
                    </a:lnTo>
                    <a:lnTo>
                      <a:pt x="20" y="109"/>
                    </a:lnTo>
                    <a:lnTo>
                      <a:pt x="22" y="109"/>
                    </a:lnTo>
                    <a:lnTo>
                      <a:pt x="24" y="105"/>
                    </a:lnTo>
                    <a:lnTo>
                      <a:pt x="24" y="109"/>
                    </a:lnTo>
                    <a:lnTo>
                      <a:pt x="24" y="111"/>
                    </a:lnTo>
                    <a:lnTo>
                      <a:pt x="24" y="111"/>
                    </a:lnTo>
                    <a:lnTo>
                      <a:pt x="22" y="113"/>
                    </a:lnTo>
                    <a:lnTo>
                      <a:pt x="22" y="113"/>
                    </a:lnTo>
                    <a:lnTo>
                      <a:pt x="22" y="113"/>
                    </a:lnTo>
                    <a:lnTo>
                      <a:pt x="22" y="113"/>
                    </a:lnTo>
                    <a:close/>
                    <a:moveTo>
                      <a:pt x="64" y="92"/>
                    </a:moveTo>
                    <a:lnTo>
                      <a:pt x="60" y="96"/>
                    </a:lnTo>
                    <a:lnTo>
                      <a:pt x="60" y="96"/>
                    </a:lnTo>
                    <a:lnTo>
                      <a:pt x="62" y="100"/>
                    </a:lnTo>
                    <a:lnTo>
                      <a:pt x="64" y="98"/>
                    </a:lnTo>
                    <a:lnTo>
                      <a:pt x="64" y="96"/>
                    </a:lnTo>
                    <a:lnTo>
                      <a:pt x="64" y="92"/>
                    </a:lnTo>
                    <a:lnTo>
                      <a:pt x="64" y="92"/>
                    </a:lnTo>
                    <a:lnTo>
                      <a:pt x="64" y="92"/>
                    </a:lnTo>
                    <a:lnTo>
                      <a:pt x="64" y="92"/>
                    </a:lnTo>
                    <a:lnTo>
                      <a:pt x="64" y="92"/>
                    </a:lnTo>
                    <a:close/>
                    <a:moveTo>
                      <a:pt x="75" y="117"/>
                    </a:moveTo>
                    <a:lnTo>
                      <a:pt x="73" y="115"/>
                    </a:lnTo>
                    <a:lnTo>
                      <a:pt x="75" y="113"/>
                    </a:lnTo>
                    <a:lnTo>
                      <a:pt x="79" y="113"/>
                    </a:lnTo>
                    <a:lnTo>
                      <a:pt x="77" y="115"/>
                    </a:lnTo>
                    <a:lnTo>
                      <a:pt x="75" y="117"/>
                    </a:lnTo>
                    <a:lnTo>
                      <a:pt x="75" y="117"/>
                    </a:lnTo>
                    <a:lnTo>
                      <a:pt x="75" y="117"/>
                    </a:lnTo>
                    <a:lnTo>
                      <a:pt x="75" y="117"/>
                    </a:lnTo>
                    <a:lnTo>
                      <a:pt x="75" y="117"/>
                    </a:lnTo>
                    <a:close/>
                    <a:moveTo>
                      <a:pt x="77" y="109"/>
                    </a:moveTo>
                    <a:lnTo>
                      <a:pt x="75" y="111"/>
                    </a:lnTo>
                    <a:lnTo>
                      <a:pt x="75" y="107"/>
                    </a:lnTo>
                    <a:lnTo>
                      <a:pt x="75" y="105"/>
                    </a:lnTo>
                    <a:lnTo>
                      <a:pt x="77" y="101"/>
                    </a:lnTo>
                    <a:lnTo>
                      <a:pt x="79" y="101"/>
                    </a:lnTo>
                    <a:lnTo>
                      <a:pt x="79" y="105"/>
                    </a:lnTo>
                    <a:lnTo>
                      <a:pt x="79" y="105"/>
                    </a:lnTo>
                    <a:lnTo>
                      <a:pt x="77" y="109"/>
                    </a:lnTo>
                    <a:lnTo>
                      <a:pt x="77" y="109"/>
                    </a:lnTo>
                    <a:lnTo>
                      <a:pt x="77" y="109"/>
                    </a:lnTo>
                    <a:lnTo>
                      <a:pt x="77" y="109"/>
                    </a:lnTo>
                    <a:close/>
                    <a:moveTo>
                      <a:pt x="26" y="137"/>
                    </a:moveTo>
                    <a:lnTo>
                      <a:pt x="26" y="135"/>
                    </a:lnTo>
                    <a:lnTo>
                      <a:pt x="28" y="132"/>
                    </a:lnTo>
                    <a:lnTo>
                      <a:pt x="35" y="130"/>
                    </a:lnTo>
                    <a:lnTo>
                      <a:pt x="39" y="132"/>
                    </a:lnTo>
                    <a:lnTo>
                      <a:pt x="39" y="132"/>
                    </a:lnTo>
                    <a:lnTo>
                      <a:pt x="35" y="137"/>
                    </a:lnTo>
                    <a:lnTo>
                      <a:pt x="32" y="137"/>
                    </a:lnTo>
                    <a:lnTo>
                      <a:pt x="26" y="137"/>
                    </a:lnTo>
                    <a:lnTo>
                      <a:pt x="26" y="137"/>
                    </a:lnTo>
                    <a:lnTo>
                      <a:pt x="26" y="137"/>
                    </a:lnTo>
                    <a:lnTo>
                      <a:pt x="26" y="137"/>
                    </a:lnTo>
                    <a:close/>
                    <a:moveTo>
                      <a:pt x="0" y="24"/>
                    </a:moveTo>
                    <a:lnTo>
                      <a:pt x="0" y="24"/>
                    </a:lnTo>
                    <a:lnTo>
                      <a:pt x="3" y="22"/>
                    </a:lnTo>
                    <a:lnTo>
                      <a:pt x="7" y="22"/>
                    </a:lnTo>
                    <a:lnTo>
                      <a:pt x="3" y="24"/>
                    </a:lnTo>
                    <a:lnTo>
                      <a:pt x="11" y="30"/>
                    </a:lnTo>
                    <a:lnTo>
                      <a:pt x="16" y="36"/>
                    </a:lnTo>
                    <a:lnTo>
                      <a:pt x="20" y="39"/>
                    </a:lnTo>
                    <a:lnTo>
                      <a:pt x="16" y="41"/>
                    </a:lnTo>
                    <a:lnTo>
                      <a:pt x="20" y="45"/>
                    </a:lnTo>
                    <a:lnTo>
                      <a:pt x="20" y="47"/>
                    </a:lnTo>
                    <a:lnTo>
                      <a:pt x="16" y="45"/>
                    </a:lnTo>
                    <a:lnTo>
                      <a:pt x="15" y="41"/>
                    </a:lnTo>
                    <a:lnTo>
                      <a:pt x="13" y="45"/>
                    </a:lnTo>
                    <a:lnTo>
                      <a:pt x="11" y="45"/>
                    </a:lnTo>
                    <a:lnTo>
                      <a:pt x="7" y="51"/>
                    </a:lnTo>
                    <a:lnTo>
                      <a:pt x="15" y="54"/>
                    </a:lnTo>
                    <a:lnTo>
                      <a:pt x="16" y="54"/>
                    </a:lnTo>
                    <a:lnTo>
                      <a:pt x="16" y="58"/>
                    </a:lnTo>
                    <a:lnTo>
                      <a:pt x="20" y="66"/>
                    </a:lnTo>
                    <a:lnTo>
                      <a:pt x="20" y="68"/>
                    </a:lnTo>
                    <a:lnTo>
                      <a:pt x="22" y="66"/>
                    </a:lnTo>
                    <a:lnTo>
                      <a:pt x="24" y="73"/>
                    </a:lnTo>
                    <a:lnTo>
                      <a:pt x="20" y="77"/>
                    </a:lnTo>
                    <a:lnTo>
                      <a:pt x="20" y="79"/>
                    </a:lnTo>
                    <a:lnTo>
                      <a:pt x="20" y="83"/>
                    </a:lnTo>
                    <a:lnTo>
                      <a:pt x="20" y="85"/>
                    </a:lnTo>
                    <a:lnTo>
                      <a:pt x="20" y="86"/>
                    </a:lnTo>
                    <a:lnTo>
                      <a:pt x="20" y="90"/>
                    </a:lnTo>
                    <a:lnTo>
                      <a:pt x="20" y="92"/>
                    </a:lnTo>
                    <a:lnTo>
                      <a:pt x="20" y="92"/>
                    </a:lnTo>
                    <a:lnTo>
                      <a:pt x="22" y="101"/>
                    </a:lnTo>
                    <a:lnTo>
                      <a:pt x="26" y="101"/>
                    </a:lnTo>
                    <a:lnTo>
                      <a:pt x="26" y="107"/>
                    </a:lnTo>
                    <a:lnTo>
                      <a:pt x="28" y="107"/>
                    </a:lnTo>
                    <a:lnTo>
                      <a:pt x="28" y="111"/>
                    </a:lnTo>
                    <a:lnTo>
                      <a:pt x="32" y="109"/>
                    </a:lnTo>
                    <a:lnTo>
                      <a:pt x="32" y="105"/>
                    </a:lnTo>
                    <a:lnTo>
                      <a:pt x="33" y="105"/>
                    </a:lnTo>
                    <a:lnTo>
                      <a:pt x="35" y="101"/>
                    </a:lnTo>
                    <a:lnTo>
                      <a:pt x="43" y="96"/>
                    </a:lnTo>
                    <a:lnTo>
                      <a:pt x="47" y="96"/>
                    </a:lnTo>
                    <a:lnTo>
                      <a:pt x="47" y="96"/>
                    </a:lnTo>
                    <a:lnTo>
                      <a:pt x="50" y="92"/>
                    </a:lnTo>
                    <a:lnTo>
                      <a:pt x="50" y="92"/>
                    </a:lnTo>
                    <a:lnTo>
                      <a:pt x="54" y="96"/>
                    </a:lnTo>
                    <a:lnTo>
                      <a:pt x="56" y="96"/>
                    </a:lnTo>
                    <a:lnTo>
                      <a:pt x="56" y="98"/>
                    </a:lnTo>
                    <a:lnTo>
                      <a:pt x="58" y="96"/>
                    </a:lnTo>
                    <a:lnTo>
                      <a:pt x="58" y="92"/>
                    </a:lnTo>
                    <a:lnTo>
                      <a:pt x="62" y="90"/>
                    </a:lnTo>
                    <a:lnTo>
                      <a:pt x="67" y="90"/>
                    </a:lnTo>
                    <a:lnTo>
                      <a:pt x="69" y="85"/>
                    </a:lnTo>
                    <a:lnTo>
                      <a:pt x="69" y="83"/>
                    </a:lnTo>
                    <a:lnTo>
                      <a:pt x="71" y="81"/>
                    </a:lnTo>
                    <a:lnTo>
                      <a:pt x="71" y="66"/>
                    </a:lnTo>
                    <a:lnTo>
                      <a:pt x="69" y="66"/>
                    </a:lnTo>
                    <a:lnTo>
                      <a:pt x="67" y="68"/>
                    </a:lnTo>
                    <a:lnTo>
                      <a:pt x="67" y="62"/>
                    </a:lnTo>
                    <a:lnTo>
                      <a:pt x="67" y="51"/>
                    </a:lnTo>
                    <a:lnTo>
                      <a:pt x="64" y="45"/>
                    </a:lnTo>
                    <a:lnTo>
                      <a:pt x="64" y="39"/>
                    </a:lnTo>
                    <a:lnTo>
                      <a:pt x="54" y="24"/>
                    </a:lnTo>
                    <a:lnTo>
                      <a:pt x="43" y="13"/>
                    </a:lnTo>
                    <a:lnTo>
                      <a:pt x="35" y="0"/>
                    </a:lnTo>
                    <a:lnTo>
                      <a:pt x="30" y="5"/>
                    </a:lnTo>
                    <a:lnTo>
                      <a:pt x="16" y="5"/>
                    </a:lnTo>
                    <a:lnTo>
                      <a:pt x="11" y="13"/>
                    </a:lnTo>
                    <a:lnTo>
                      <a:pt x="7" y="13"/>
                    </a:lnTo>
                    <a:lnTo>
                      <a:pt x="0" y="20"/>
                    </a:lnTo>
                    <a:lnTo>
                      <a:pt x="0" y="24"/>
                    </a:lnTo>
                    <a:lnTo>
                      <a:pt x="0" y="24"/>
                    </a:lnTo>
                    <a:lnTo>
                      <a:pt x="0"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8" name="Freeform 180"/>
              <p:cNvSpPr>
                <a:spLocks/>
              </p:cNvSpPr>
              <p:nvPr/>
            </p:nvSpPr>
            <p:spPr bwMode="auto">
              <a:xfrm>
                <a:off x="4983" y="2146"/>
                <a:ext cx="91" cy="153"/>
              </a:xfrm>
              <a:custGeom>
                <a:avLst/>
                <a:gdLst/>
                <a:ahLst/>
                <a:cxnLst>
                  <a:cxn ang="0">
                    <a:pos x="0" y="85"/>
                  </a:cxn>
                  <a:cxn ang="0">
                    <a:pos x="8" y="76"/>
                  </a:cxn>
                  <a:cxn ang="0">
                    <a:pos x="13" y="70"/>
                  </a:cxn>
                  <a:cxn ang="0">
                    <a:pos x="21" y="62"/>
                  </a:cxn>
                  <a:cxn ang="0">
                    <a:pos x="25" y="49"/>
                  </a:cxn>
                  <a:cxn ang="0">
                    <a:pos x="25" y="40"/>
                  </a:cxn>
                  <a:cxn ang="0">
                    <a:pos x="32" y="44"/>
                  </a:cxn>
                  <a:cxn ang="0">
                    <a:pos x="38" y="45"/>
                  </a:cxn>
                  <a:cxn ang="0">
                    <a:pos x="45" y="45"/>
                  </a:cxn>
                  <a:cxn ang="0">
                    <a:pos x="57" y="45"/>
                  </a:cxn>
                  <a:cxn ang="0">
                    <a:pos x="60" y="40"/>
                  </a:cxn>
                  <a:cxn ang="0">
                    <a:pos x="53" y="30"/>
                  </a:cxn>
                  <a:cxn ang="0">
                    <a:pos x="59" y="30"/>
                  </a:cxn>
                  <a:cxn ang="0">
                    <a:pos x="66" y="19"/>
                  </a:cxn>
                  <a:cxn ang="0">
                    <a:pos x="74" y="15"/>
                  </a:cxn>
                  <a:cxn ang="0">
                    <a:pos x="74" y="10"/>
                  </a:cxn>
                  <a:cxn ang="0">
                    <a:pos x="74" y="0"/>
                  </a:cxn>
                  <a:cxn ang="0">
                    <a:pos x="79" y="4"/>
                  </a:cxn>
                  <a:cxn ang="0">
                    <a:pos x="79" y="10"/>
                  </a:cxn>
                  <a:cxn ang="0">
                    <a:pos x="91" y="15"/>
                  </a:cxn>
                  <a:cxn ang="0">
                    <a:pos x="83" y="23"/>
                  </a:cxn>
                  <a:cxn ang="0">
                    <a:pos x="83" y="27"/>
                  </a:cxn>
                  <a:cxn ang="0">
                    <a:pos x="79" y="40"/>
                  </a:cxn>
                  <a:cxn ang="0">
                    <a:pos x="83" y="53"/>
                  </a:cxn>
                  <a:cxn ang="0">
                    <a:pos x="85" y="60"/>
                  </a:cxn>
                  <a:cxn ang="0">
                    <a:pos x="83" y="66"/>
                  </a:cxn>
                  <a:cxn ang="0">
                    <a:pos x="74" y="77"/>
                  </a:cxn>
                  <a:cxn ang="0">
                    <a:pos x="70" y="83"/>
                  </a:cxn>
                  <a:cxn ang="0">
                    <a:pos x="62" y="85"/>
                  </a:cxn>
                  <a:cxn ang="0">
                    <a:pos x="55" y="93"/>
                  </a:cxn>
                  <a:cxn ang="0">
                    <a:pos x="57" y="100"/>
                  </a:cxn>
                  <a:cxn ang="0">
                    <a:pos x="57" y="108"/>
                  </a:cxn>
                  <a:cxn ang="0">
                    <a:pos x="64" y="113"/>
                  </a:cxn>
                  <a:cxn ang="0">
                    <a:pos x="79" y="125"/>
                  </a:cxn>
                  <a:cxn ang="0">
                    <a:pos x="60" y="130"/>
                  </a:cxn>
                  <a:cxn ang="0">
                    <a:pos x="47" y="138"/>
                  </a:cxn>
                  <a:cxn ang="0">
                    <a:pos x="40" y="147"/>
                  </a:cxn>
                  <a:cxn ang="0">
                    <a:pos x="34" y="143"/>
                  </a:cxn>
                  <a:cxn ang="0">
                    <a:pos x="32" y="151"/>
                  </a:cxn>
                  <a:cxn ang="0">
                    <a:pos x="25" y="153"/>
                  </a:cxn>
                  <a:cxn ang="0">
                    <a:pos x="27" y="143"/>
                  </a:cxn>
                  <a:cxn ang="0">
                    <a:pos x="19" y="145"/>
                  </a:cxn>
                  <a:cxn ang="0">
                    <a:pos x="19" y="140"/>
                  </a:cxn>
                  <a:cxn ang="0">
                    <a:pos x="23" y="128"/>
                  </a:cxn>
                  <a:cxn ang="0">
                    <a:pos x="30" y="125"/>
                  </a:cxn>
                  <a:cxn ang="0">
                    <a:pos x="21" y="126"/>
                  </a:cxn>
                  <a:cxn ang="0">
                    <a:pos x="19" y="115"/>
                  </a:cxn>
                  <a:cxn ang="0">
                    <a:pos x="21" y="104"/>
                  </a:cxn>
                  <a:cxn ang="0">
                    <a:pos x="25" y="100"/>
                  </a:cxn>
                  <a:cxn ang="0">
                    <a:pos x="19" y="104"/>
                  </a:cxn>
                  <a:cxn ang="0">
                    <a:pos x="13" y="100"/>
                  </a:cxn>
                  <a:cxn ang="0">
                    <a:pos x="8" y="100"/>
                  </a:cxn>
                  <a:cxn ang="0">
                    <a:pos x="4" y="96"/>
                  </a:cxn>
                  <a:cxn ang="0">
                    <a:pos x="0" y="96"/>
                  </a:cxn>
                  <a:cxn ang="0">
                    <a:pos x="0" y="96"/>
                  </a:cxn>
                </a:cxnLst>
                <a:rect l="0" t="0" r="r" b="b"/>
                <a:pathLst>
                  <a:path w="91" h="153">
                    <a:moveTo>
                      <a:pt x="0" y="96"/>
                    </a:moveTo>
                    <a:lnTo>
                      <a:pt x="0" y="85"/>
                    </a:lnTo>
                    <a:lnTo>
                      <a:pt x="8" y="81"/>
                    </a:lnTo>
                    <a:lnTo>
                      <a:pt x="8" y="76"/>
                    </a:lnTo>
                    <a:lnTo>
                      <a:pt x="8" y="74"/>
                    </a:lnTo>
                    <a:lnTo>
                      <a:pt x="13" y="70"/>
                    </a:lnTo>
                    <a:lnTo>
                      <a:pt x="17" y="64"/>
                    </a:lnTo>
                    <a:lnTo>
                      <a:pt x="21" y="62"/>
                    </a:lnTo>
                    <a:lnTo>
                      <a:pt x="23" y="53"/>
                    </a:lnTo>
                    <a:lnTo>
                      <a:pt x="25" y="49"/>
                    </a:lnTo>
                    <a:lnTo>
                      <a:pt x="25" y="47"/>
                    </a:lnTo>
                    <a:lnTo>
                      <a:pt x="25" y="40"/>
                    </a:lnTo>
                    <a:lnTo>
                      <a:pt x="28" y="38"/>
                    </a:lnTo>
                    <a:lnTo>
                      <a:pt x="32" y="44"/>
                    </a:lnTo>
                    <a:lnTo>
                      <a:pt x="34" y="44"/>
                    </a:lnTo>
                    <a:lnTo>
                      <a:pt x="38" y="45"/>
                    </a:lnTo>
                    <a:lnTo>
                      <a:pt x="40" y="45"/>
                    </a:lnTo>
                    <a:lnTo>
                      <a:pt x="45" y="45"/>
                    </a:lnTo>
                    <a:lnTo>
                      <a:pt x="53" y="45"/>
                    </a:lnTo>
                    <a:lnTo>
                      <a:pt x="57" y="45"/>
                    </a:lnTo>
                    <a:lnTo>
                      <a:pt x="60" y="44"/>
                    </a:lnTo>
                    <a:lnTo>
                      <a:pt x="60" y="40"/>
                    </a:lnTo>
                    <a:lnTo>
                      <a:pt x="55" y="34"/>
                    </a:lnTo>
                    <a:lnTo>
                      <a:pt x="53" y="30"/>
                    </a:lnTo>
                    <a:lnTo>
                      <a:pt x="55" y="30"/>
                    </a:lnTo>
                    <a:lnTo>
                      <a:pt x="59" y="30"/>
                    </a:lnTo>
                    <a:lnTo>
                      <a:pt x="66" y="23"/>
                    </a:lnTo>
                    <a:lnTo>
                      <a:pt x="66" y="19"/>
                    </a:lnTo>
                    <a:lnTo>
                      <a:pt x="70" y="15"/>
                    </a:lnTo>
                    <a:lnTo>
                      <a:pt x="74" y="15"/>
                    </a:lnTo>
                    <a:lnTo>
                      <a:pt x="74" y="13"/>
                    </a:lnTo>
                    <a:lnTo>
                      <a:pt x="74" y="10"/>
                    </a:lnTo>
                    <a:lnTo>
                      <a:pt x="74" y="4"/>
                    </a:lnTo>
                    <a:lnTo>
                      <a:pt x="74" y="0"/>
                    </a:lnTo>
                    <a:lnTo>
                      <a:pt x="77" y="0"/>
                    </a:lnTo>
                    <a:lnTo>
                      <a:pt x="79" y="4"/>
                    </a:lnTo>
                    <a:lnTo>
                      <a:pt x="79" y="6"/>
                    </a:lnTo>
                    <a:lnTo>
                      <a:pt x="79" y="10"/>
                    </a:lnTo>
                    <a:lnTo>
                      <a:pt x="87" y="10"/>
                    </a:lnTo>
                    <a:lnTo>
                      <a:pt x="91" y="15"/>
                    </a:lnTo>
                    <a:lnTo>
                      <a:pt x="91" y="15"/>
                    </a:lnTo>
                    <a:lnTo>
                      <a:pt x="83" y="23"/>
                    </a:lnTo>
                    <a:lnTo>
                      <a:pt x="83" y="21"/>
                    </a:lnTo>
                    <a:lnTo>
                      <a:pt x="83" y="27"/>
                    </a:lnTo>
                    <a:lnTo>
                      <a:pt x="79" y="34"/>
                    </a:lnTo>
                    <a:lnTo>
                      <a:pt x="79" y="40"/>
                    </a:lnTo>
                    <a:lnTo>
                      <a:pt x="83" y="44"/>
                    </a:lnTo>
                    <a:lnTo>
                      <a:pt x="83" y="53"/>
                    </a:lnTo>
                    <a:lnTo>
                      <a:pt x="87" y="57"/>
                    </a:lnTo>
                    <a:lnTo>
                      <a:pt x="85" y="60"/>
                    </a:lnTo>
                    <a:lnTo>
                      <a:pt x="79" y="64"/>
                    </a:lnTo>
                    <a:lnTo>
                      <a:pt x="83" y="66"/>
                    </a:lnTo>
                    <a:lnTo>
                      <a:pt x="70" y="76"/>
                    </a:lnTo>
                    <a:lnTo>
                      <a:pt x="74" y="77"/>
                    </a:lnTo>
                    <a:lnTo>
                      <a:pt x="70" y="81"/>
                    </a:lnTo>
                    <a:lnTo>
                      <a:pt x="70" y="83"/>
                    </a:lnTo>
                    <a:lnTo>
                      <a:pt x="66" y="83"/>
                    </a:lnTo>
                    <a:lnTo>
                      <a:pt x="62" y="85"/>
                    </a:lnTo>
                    <a:lnTo>
                      <a:pt x="60" y="89"/>
                    </a:lnTo>
                    <a:lnTo>
                      <a:pt x="55" y="93"/>
                    </a:lnTo>
                    <a:lnTo>
                      <a:pt x="55" y="98"/>
                    </a:lnTo>
                    <a:lnTo>
                      <a:pt x="57" y="100"/>
                    </a:lnTo>
                    <a:lnTo>
                      <a:pt x="55" y="104"/>
                    </a:lnTo>
                    <a:lnTo>
                      <a:pt x="57" y="108"/>
                    </a:lnTo>
                    <a:lnTo>
                      <a:pt x="62" y="109"/>
                    </a:lnTo>
                    <a:lnTo>
                      <a:pt x="64" y="113"/>
                    </a:lnTo>
                    <a:lnTo>
                      <a:pt x="79" y="121"/>
                    </a:lnTo>
                    <a:lnTo>
                      <a:pt x="79" y="125"/>
                    </a:lnTo>
                    <a:lnTo>
                      <a:pt x="74" y="130"/>
                    </a:lnTo>
                    <a:lnTo>
                      <a:pt x="60" y="130"/>
                    </a:lnTo>
                    <a:lnTo>
                      <a:pt x="53" y="138"/>
                    </a:lnTo>
                    <a:lnTo>
                      <a:pt x="47" y="138"/>
                    </a:lnTo>
                    <a:lnTo>
                      <a:pt x="40" y="143"/>
                    </a:lnTo>
                    <a:lnTo>
                      <a:pt x="40" y="147"/>
                    </a:lnTo>
                    <a:lnTo>
                      <a:pt x="34" y="143"/>
                    </a:lnTo>
                    <a:lnTo>
                      <a:pt x="34" y="143"/>
                    </a:lnTo>
                    <a:lnTo>
                      <a:pt x="34" y="145"/>
                    </a:lnTo>
                    <a:lnTo>
                      <a:pt x="32" y="151"/>
                    </a:lnTo>
                    <a:lnTo>
                      <a:pt x="28" y="149"/>
                    </a:lnTo>
                    <a:lnTo>
                      <a:pt x="25" y="153"/>
                    </a:lnTo>
                    <a:lnTo>
                      <a:pt x="23" y="149"/>
                    </a:lnTo>
                    <a:lnTo>
                      <a:pt x="27" y="143"/>
                    </a:lnTo>
                    <a:lnTo>
                      <a:pt x="23" y="143"/>
                    </a:lnTo>
                    <a:lnTo>
                      <a:pt x="19" y="145"/>
                    </a:lnTo>
                    <a:lnTo>
                      <a:pt x="17" y="143"/>
                    </a:lnTo>
                    <a:lnTo>
                      <a:pt x="19" y="140"/>
                    </a:lnTo>
                    <a:lnTo>
                      <a:pt x="19" y="134"/>
                    </a:lnTo>
                    <a:lnTo>
                      <a:pt x="23" y="128"/>
                    </a:lnTo>
                    <a:lnTo>
                      <a:pt x="27" y="128"/>
                    </a:lnTo>
                    <a:lnTo>
                      <a:pt x="30" y="125"/>
                    </a:lnTo>
                    <a:lnTo>
                      <a:pt x="27" y="126"/>
                    </a:lnTo>
                    <a:lnTo>
                      <a:pt x="21" y="126"/>
                    </a:lnTo>
                    <a:lnTo>
                      <a:pt x="19" y="125"/>
                    </a:lnTo>
                    <a:lnTo>
                      <a:pt x="19" y="115"/>
                    </a:lnTo>
                    <a:lnTo>
                      <a:pt x="23" y="108"/>
                    </a:lnTo>
                    <a:lnTo>
                      <a:pt x="21" y="104"/>
                    </a:lnTo>
                    <a:lnTo>
                      <a:pt x="23" y="104"/>
                    </a:lnTo>
                    <a:lnTo>
                      <a:pt x="25" y="100"/>
                    </a:lnTo>
                    <a:lnTo>
                      <a:pt x="21" y="100"/>
                    </a:lnTo>
                    <a:lnTo>
                      <a:pt x="19" y="104"/>
                    </a:lnTo>
                    <a:lnTo>
                      <a:pt x="13" y="104"/>
                    </a:lnTo>
                    <a:lnTo>
                      <a:pt x="13" y="100"/>
                    </a:lnTo>
                    <a:lnTo>
                      <a:pt x="8" y="98"/>
                    </a:lnTo>
                    <a:lnTo>
                      <a:pt x="8" y="100"/>
                    </a:lnTo>
                    <a:lnTo>
                      <a:pt x="4" y="104"/>
                    </a:lnTo>
                    <a:lnTo>
                      <a:pt x="4" y="96"/>
                    </a:lnTo>
                    <a:lnTo>
                      <a:pt x="4" y="98"/>
                    </a:lnTo>
                    <a:lnTo>
                      <a:pt x="0" y="96"/>
                    </a:lnTo>
                    <a:lnTo>
                      <a:pt x="0" y="96"/>
                    </a:lnTo>
                    <a:lnTo>
                      <a:pt x="0" y="9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9" name="Freeform 181"/>
              <p:cNvSpPr>
                <a:spLocks noEditPoints="1"/>
              </p:cNvSpPr>
              <p:nvPr/>
            </p:nvSpPr>
            <p:spPr bwMode="auto">
              <a:xfrm>
                <a:off x="5079" y="3273"/>
                <a:ext cx="57" cy="15"/>
              </a:xfrm>
              <a:custGeom>
                <a:avLst/>
                <a:gdLst/>
                <a:ahLst/>
                <a:cxnLst>
                  <a:cxn ang="0">
                    <a:pos x="0" y="11"/>
                  </a:cxn>
                  <a:cxn ang="0">
                    <a:pos x="4" y="15"/>
                  </a:cxn>
                  <a:cxn ang="0">
                    <a:pos x="8" y="13"/>
                  </a:cxn>
                  <a:cxn ang="0">
                    <a:pos x="10" y="13"/>
                  </a:cxn>
                  <a:cxn ang="0">
                    <a:pos x="10" y="9"/>
                  </a:cxn>
                  <a:cxn ang="0">
                    <a:pos x="8" y="9"/>
                  </a:cxn>
                  <a:cxn ang="0">
                    <a:pos x="4" y="11"/>
                  </a:cxn>
                  <a:cxn ang="0">
                    <a:pos x="0" y="11"/>
                  </a:cxn>
                  <a:cxn ang="0">
                    <a:pos x="0" y="11"/>
                  </a:cxn>
                  <a:cxn ang="0">
                    <a:pos x="0" y="11"/>
                  </a:cxn>
                  <a:cxn ang="0">
                    <a:pos x="0" y="11"/>
                  </a:cxn>
                  <a:cxn ang="0">
                    <a:pos x="15" y="7"/>
                  </a:cxn>
                  <a:cxn ang="0">
                    <a:pos x="19" y="11"/>
                  </a:cxn>
                  <a:cxn ang="0">
                    <a:pos x="23" y="15"/>
                  </a:cxn>
                  <a:cxn ang="0">
                    <a:pos x="23" y="15"/>
                  </a:cxn>
                  <a:cxn ang="0">
                    <a:pos x="27" y="11"/>
                  </a:cxn>
                  <a:cxn ang="0">
                    <a:pos x="30" y="11"/>
                  </a:cxn>
                  <a:cxn ang="0">
                    <a:pos x="32" y="11"/>
                  </a:cxn>
                  <a:cxn ang="0">
                    <a:pos x="42" y="11"/>
                  </a:cxn>
                  <a:cxn ang="0">
                    <a:pos x="45" y="7"/>
                  </a:cxn>
                  <a:cxn ang="0">
                    <a:pos x="51" y="5"/>
                  </a:cxn>
                  <a:cxn ang="0">
                    <a:pos x="53" y="5"/>
                  </a:cxn>
                  <a:cxn ang="0">
                    <a:pos x="55" y="5"/>
                  </a:cxn>
                  <a:cxn ang="0">
                    <a:pos x="57" y="2"/>
                  </a:cxn>
                  <a:cxn ang="0">
                    <a:pos x="57" y="0"/>
                  </a:cxn>
                  <a:cxn ang="0">
                    <a:pos x="57" y="0"/>
                  </a:cxn>
                  <a:cxn ang="0">
                    <a:pos x="49" y="0"/>
                  </a:cxn>
                  <a:cxn ang="0">
                    <a:pos x="44" y="0"/>
                  </a:cxn>
                  <a:cxn ang="0">
                    <a:pos x="42" y="2"/>
                  </a:cxn>
                  <a:cxn ang="0">
                    <a:pos x="38" y="2"/>
                  </a:cxn>
                  <a:cxn ang="0">
                    <a:pos x="32" y="2"/>
                  </a:cxn>
                  <a:cxn ang="0">
                    <a:pos x="25" y="2"/>
                  </a:cxn>
                  <a:cxn ang="0">
                    <a:pos x="19" y="5"/>
                  </a:cxn>
                  <a:cxn ang="0">
                    <a:pos x="15" y="7"/>
                  </a:cxn>
                  <a:cxn ang="0">
                    <a:pos x="15" y="7"/>
                  </a:cxn>
                  <a:cxn ang="0">
                    <a:pos x="15" y="7"/>
                  </a:cxn>
                </a:cxnLst>
                <a:rect l="0" t="0" r="r" b="b"/>
                <a:pathLst>
                  <a:path w="57" h="15">
                    <a:moveTo>
                      <a:pt x="0" y="11"/>
                    </a:moveTo>
                    <a:lnTo>
                      <a:pt x="4" y="15"/>
                    </a:lnTo>
                    <a:lnTo>
                      <a:pt x="8" y="13"/>
                    </a:lnTo>
                    <a:lnTo>
                      <a:pt x="10" y="13"/>
                    </a:lnTo>
                    <a:lnTo>
                      <a:pt x="10" y="9"/>
                    </a:lnTo>
                    <a:lnTo>
                      <a:pt x="8" y="9"/>
                    </a:lnTo>
                    <a:lnTo>
                      <a:pt x="4" y="11"/>
                    </a:lnTo>
                    <a:lnTo>
                      <a:pt x="0" y="11"/>
                    </a:lnTo>
                    <a:lnTo>
                      <a:pt x="0" y="11"/>
                    </a:lnTo>
                    <a:lnTo>
                      <a:pt x="0" y="11"/>
                    </a:lnTo>
                    <a:lnTo>
                      <a:pt x="0" y="11"/>
                    </a:lnTo>
                    <a:close/>
                    <a:moveTo>
                      <a:pt x="15" y="7"/>
                    </a:moveTo>
                    <a:lnTo>
                      <a:pt x="19" y="11"/>
                    </a:lnTo>
                    <a:lnTo>
                      <a:pt x="23" y="15"/>
                    </a:lnTo>
                    <a:lnTo>
                      <a:pt x="23" y="15"/>
                    </a:lnTo>
                    <a:lnTo>
                      <a:pt x="27" y="11"/>
                    </a:lnTo>
                    <a:lnTo>
                      <a:pt x="30" y="11"/>
                    </a:lnTo>
                    <a:lnTo>
                      <a:pt x="32" y="11"/>
                    </a:lnTo>
                    <a:lnTo>
                      <a:pt x="42" y="11"/>
                    </a:lnTo>
                    <a:lnTo>
                      <a:pt x="45" y="7"/>
                    </a:lnTo>
                    <a:lnTo>
                      <a:pt x="51" y="5"/>
                    </a:lnTo>
                    <a:lnTo>
                      <a:pt x="53" y="5"/>
                    </a:lnTo>
                    <a:lnTo>
                      <a:pt x="55" y="5"/>
                    </a:lnTo>
                    <a:lnTo>
                      <a:pt x="57" y="2"/>
                    </a:lnTo>
                    <a:lnTo>
                      <a:pt x="57" y="0"/>
                    </a:lnTo>
                    <a:lnTo>
                      <a:pt x="57" y="0"/>
                    </a:lnTo>
                    <a:lnTo>
                      <a:pt x="49" y="0"/>
                    </a:lnTo>
                    <a:lnTo>
                      <a:pt x="44" y="0"/>
                    </a:lnTo>
                    <a:lnTo>
                      <a:pt x="42" y="2"/>
                    </a:lnTo>
                    <a:lnTo>
                      <a:pt x="38" y="2"/>
                    </a:lnTo>
                    <a:lnTo>
                      <a:pt x="32" y="2"/>
                    </a:lnTo>
                    <a:lnTo>
                      <a:pt x="25" y="2"/>
                    </a:lnTo>
                    <a:lnTo>
                      <a:pt x="19" y="5"/>
                    </a:lnTo>
                    <a:lnTo>
                      <a:pt x="15" y="7"/>
                    </a:lnTo>
                    <a:lnTo>
                      <a:pt x="15" y="7"/>
                    </a:lnTo>
                    <a:lnTo>
                      <a:pt x="15"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0" name="Freeform 182"/>
              <p:cNvSpPr>
                <a:spLocks noEditPoints="1"/>
              </p:cNvSpPr>
              <p:nvPr/>
            </p:nvSpPr>
            <p:spPr bwMode="auto">
              <a:xfrm>
                <a:off x="4899" y="3007"/>
                <a:ext cx="22" cy="17"/>
              </a:xfrm>
              <a:custGeom>
                <a:avLst/>
                <a:gdLst/>
                <a:ahLst/>
                <a:cxnLst>
                  <a:cxn ang="0">
                    <a:pos x="0" y="8"/>
                  </a:cxn>
                  <a:cxn ang="0">
                    <a:pos x="5" y="11"/>
                  </a:cxn>
                  <a:cxn ang="0">
                    <a:pos x="5" y="11"/>
                  </a:cxn>
                  <a:cxn ang="0">
                    <a:pos x="9" y="15"/>
                  </a:cxn>
                  <a:cxn ang="0">
                    <a:pos x="13" y="17"/>
                  </a:cxn>
                  <a:cxn ang="0">
                    <a:pos x="15" y="17"/>
                  </a:cxn>
                  <a:cxn ang="0">
                    <a:pos x="13" y="8"/>
                  </a:cxn>
                  <a:cxn ang="0">
                    <a:pos x="15" y="6"/>
                  </a:cxn>
                  <a:cxn ang="0">
                    <a:pos x="16" y="6"/>
                  </a:cxn>
                  <a:cxn ang="0">
                    <a:pos x="16" y="6"/>
                  </a:cxn>
                  <a:cxn ang="0">
                    <a:pos x="16" y="0"/>
                  </a:cxn>
                  <a:cxn ang="0">
                    <a:pos x="13" y="2"/>
                  </a:cxn>
                  <a:cxn ang="0">
                    <a:pos x="7" y="6"/>
                  </a:cxn>
                  <a:cxn ang="0">
                    <a:pos x="1" y="8"/>
                  </a:cxn>
                  <a:cxn ang="0">
                    <a:pos x="0" y="8"/>
                  </a:cxn>
                  <a:cxn ang="0">
                    <a:pos x="0" y="8"/>
                  </a:cxn>
                  <a:cxn ang="0">
                    <a:pos x="0" y="8"/>
                  </a:cxn>
                  <a:cxn ang="0">
                    <a:pos x="0" y="8"/>
                  </a:cxn>
                  <a:cxn ang="0">
                    <a:pos x="16" y="8"/>
                  </a:cxn>
                  <a:cxn ang="0">
                    <a:pos x="18" y="11"/>
                  </a:cxn>
                  <a:cxn ang="0">
                    <a:pos x="18" y="13"/>
                  </a:cxn>
                  <a:cxn ang="0">
                    <a:pos x="20" y="15"/>
                  </a:cxn>
                  <a:cxn ang="0">
                    <a:pos x="22" y="11"/>
                  </a:cxn>
                  <a:cxn ang="0">
                    <a:pos x="20" y="8"/>
                  </a:cxn>
                  <a:cxn ang="0">
                    <a:pos x="20" y="6"/>
                  </a:cxn>
                  <a:cxn ang="0">
                    <a:pos x="18" y="6"/>
                  </a:cxn>
                  <a:cxn ang="0">
                    <a:pos x="16" y="8"/>
                  </a:cxn>
                  <a:cxn ang="0">
                    <a:pos x="16" y="8"/>
                  </a:cxn>
                  <a:cxn ang="0">
                    <a:pos x="16" y="8"/>
                  </a:cxn>
                </a:cxnLst>
                <a:rect l="0" t="0" r="r" b="b"/>
                <a:pathLst>
                  <a:path w="22" h="17">
                    <a:moveTo>
                      <a:pt x="0" y="8"/>
                    </a:moveTo>
                    <a:lnTo>
                      <a:pt x="5" y="11"/>
                    </a:lnTo>
                    <a:lnTo>
                      <a:pt x="5" y="11"/>
                    </a:lnTo>
                    <a:lnTo>
                      <a:pt x="9" y="15"/>
                    </a:lnTo>
                    <a:lnTo>
                      <a:pt x="13" y="17"/>
                    </a:lnTo>
                    <a:lnTo>
                      <a:pt x="15" y="17"/>
                    </a:lnTo>
                    <a:lnTo>
                      <a:pt x="13" y="8"/>
                    </a:lnTo>
                    <a:lnTo>
                      <a:pt x="15" y="6"/>
                    </a:lnTo>
                    <a:lnTo>
                      <a:pt x="16" y="6"/>
                    </a:lnTo>
                    <a:lnTo>
                      <a:pt x="16" y="6"/>
                    </a:lnTo>
                    <a:lnTo>
                      <a:pt x="16" y="0"/>
                    </a:lnTo>
                    <a:lnTo>
                      <a:pt x="13" y="2"/>
                    </a:lnTo>
                    <a:lnTo>
                      <a:pt x="7" y="6"/>
                    </a:lnTo>
                    <a:lnTo>
                      <a:pt x="1" y="8"/>
                    </a:lnTo>
                    <a:lnTo>
                      <a:pt x="0" y="8"/>
                    </a:lnTo>
                    <a:lnTo>
                      <a:pt x="0" y="8"/>
                    </a:lnTo>
                    <a:lnTo>
                      <a:pt x="0" y="8"/>
                    </a:lnTo>
                    <a:lnTo>
                      <a:pt x="0" y="8"/>
                    </a:lnTo>
                    <a:close/>
                    <a:moveTo>
                      <a:pt x="16" y="8"/>
                    </a:moveTo>
                    <a:lnTo>
                      <a:pt x="18" y="11"/>
                    </a:lnTo>
                    <a:lnTo>
                      <a:pt x="18" y="13"/>
                    </a:lnTo>
                    <a:lnTo>
                      <a:pt x="20" y="15"/>
                    </a:lnTo>
                    <a:lnTo>
                      <a:pt x="22" y="11"/>
                    </a:lnTo>
                    <a:lnTo>
                      <a:pt x="20" y="8"/>
                    </a:lnTo>
                    <a:lnTo>
                      <a:pt x="20" y="6"/>
                    </a:lnTo>
                    <a:lnTo>
                      <a:pt x="18" y="6"/>
                    </a:lnTo>
                    <a:lnTo>
                      <a:pt x="16" y="8"/>
                    </a:lnTo>
                    <a:lnTo>
                      <a:pt x="16" y="8"/>
                    </a:lnTo>
                    <a:lnTo>
                      <a:pt x="16" y="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1" name="Freeform 183"/>
              <p:cNvSpPr>
                <a:spLocks/>
              </p:cNvSpPr>
              <p:nvPr/>
            </p:nvSpPr>
            <p:spPr bwMode="auto">
              <a:xfrm>
                <a:off x="4673" y="2822"/>
                <a:ext cx="99" cy="80"/>
              </a:xfrm>
              <a:custGeom>
                <a:avLst/>
                <a:gdLst/>
                <a:ahLst/>
                <a:cxnLst>
                  <a:cxn ang="0">
                    <a:pos x="47" y="78"/>
                  </a:cxn>
                  <a:cxn ang="0">
                    <a:pos x="54" y="70"/>
                  </a:cxn>
                  <a:cxn ang="0">
                    <a:pos x="60" y="72"/>
                  </a:cxn>
                  <a:cxn ang="0">
                    <a:pos x="71" y="72"/>
                  </a:cxn>
                  <a:cxn ang="0">
                    <a:pos x="81" y="74"/>
                  </a:cxn>
                  <a:cxn ang="0">
                    <a:pos x="77" y="68"/>
                  </a:cxn>
                  <a:cxn ang="0">
                    <a:pos x="71" y="64"/>
                  </a:cxn>
                  <a:cxn ang="0">
                    <a:pos x="75" y="55"/>
                  </a:cxn>
                  <a:cxn ang="0">
                    <a:pos x="82" y="51"/>
                  </a:cxn>
                  <a:cxn ang="0">
                    <a:pos x="92" y="46"/>
                  </a:cxn>
                  <a:cxn ang="0">
                    <a:pos x="98" y="44"/>
                  </a:cxn>
                  <a:cxn ang="0">
                    <a:pos x="99" y="34"/>
                  </a:cxn>
                  <a:cxn ang="0">
                    <a:pos x="99" y="25"/>
                  </a:cxn>
                  <a:cxn ang="0">
                    <a:pos x="96" y="12"/>
                  </a:cxn>
                  <a:cxn ang="0">
                    <a:pos x="90" y="6"/>
                  </a:cxn>
                  <a:cxn ang="0">
                    <a:pos x="82" y="2"/>
                  </a:cxn>
                  <a:cxn ang="0">
                    <a:pos x="81" y="0"/>
                  </a:cxn>
                  <a:cxn ang="0">
                    <a:pos x="71" y="2"/>
                  </a:cxn>
                  <a:cxn ang="0">
                    <a:pos x="71" y="10"/>
                  </a:cxn>
                  <a:cxn ang="0">
                    <a:pos x="75" y="17"/>
                  </a:cxn>
                  <a:cxn ang="0">
                    <a:pos x="66" y="10"/>
                  </a:cxn>
                  <a:cxn ang="0">
                    <a:pos x="56" y="6"/>
                  </a:cxn>
                  <a:cxn ang="0">
                    <a:pos x="50" y="6"/>
                  </a:cxn>
                  <a:cxn ang="0">
                    <a:pos x="41" y="2"/>
                  </a:cxn>
                  <a:cxn ang="0">
                    <a:pos x="34" y="2"/>
                  </a:cxn>
                  <a:cxn ang="0">
                    <a:pos x="26" y="2"/>
                  </a:cxn>
                  <a:cxn ang="0">
                    <a:pos x="13" y="6"/>
                  </a:cxn>
                  <a:cxn ang="0">
                    <a:pos x="5" y="10"/>
                  </a:cxn>
                  <a:cxn ang="0">
                    <a:pos x="0" y="19"/>
                  </a:cxn>
                  <a:cxn ang="0">
                    <a:pos x="2" y="34"/>
                  </a:cxn>
                  <a:cxn ang="0">
                    <a:pos x="7" y="40"/>
                  </a:cxn>
                  <a:cxn ang="0">
                    <a:pos x="5" y="48"/>
                  </a:cxn>
                  <a:cxn ang="0">
                    <a:pos x="9" y="51"/>
                  </a:cxn>
                  <a:cxn ang="0">
                    <a:pos x="11" y="57"/>
                  </a:cxn>
                  <a:cxn ang="0">
                    <a:pos x="15" y="64"/>
                  </a:cxn>
                  <a:cxn ang="0">
                    <a:pos x="18" y="64"/>
                  </a:cxn>
                  <a:cxn ang="0">
                    <a:pos x="18" y="70"/>
                  </a:cxn>
                  <a:cxn ang="0">
                    <a:pos x="20" y="74"/>
                  </a:cxn>
                  <a:cxn ang="0">
                    <a:pos x="24" y="70"/>
                  </a:cxn>
                  <a:cxn ang="0">
                    <a:pos x="26" y="68"/>
                  </a:cxn>
                  <a:cxn ang="0">
                    <a:pos x="30" y="72"/>
                  </a:cxn>
                  <a:cxn ang="0">
                    <a:pos x="26" y="78"/>
                  </a:cxn>
                  <a:cxn ang="0">
                    <a:pos x="30" y="80"/>
                  </a:cxn>
                  <a:cxn ang="0">
                    <a:pos x="32" y="78"/>
                  </a:cxn>
                  <a:cxn ang="0">
                    <a:pos x="35" y="80"/>
                  </a:cxn>
                  <a:cxn ang="0">
                    <a:pos x="39" y="80"/>
                  </a:cxn>
                  <a:cxn ang="0">
                    <a:pos x="43" y="80"/>
                  </a:cxn>
                </a:cxnLst>
                <a:rect l="0" t="0" r="r" b="b"/>
                <a:pathLst>
                  <a:path w="99" h="80">
                    <a:moveTo>
                      <a:pt x="43" y="80"/>
                    </a:moveTo>
                    <a:lnTo>
                      <a:pt x="47" y="78"/>
                    </a:lnTo>
                    <a:lnTo>
                      <a:pt x="52" y="76"/>
                    </a:lnTo>
                    <a:lnTo>
                      <a:pt x="54" y="70"/>
                    </a:lnTo>
                    <a:lnTo>
                      <a:pt x="56" y="70"/>
                    </a:lnTo>
                    <a:lnTo>
                      <a:pt x="60" y="72"/>
                    </a:lnTo>
                    <a:lnTo>
                      <a:pt x="69" y="70"/>
                    </a:lnTo>
                    <a:lnTo>
                      <a:pt x="71" y="72"/>
                    </a:lnTo>
                    <a:lnTo>
                      <a:pt x="75" y="76"/>
                    </a:lnTo>
                    <a:lnTo>
                      <a:pt x="81" y="74"/>
                    </a:lnTo>
                    <a:lnTo>
                      <a:pt x="77" y="70"/>
                    </a:lnTo>
                    <a:lnTo>
                      <a:pt x="77" y="68"/>
                    </a:lnTo>
                    <a:lnTo>
                      <a:pt x="75" y="64"/>
                    </a:lnTo>
                    <a:lnTo>
                      <a:pt x="71" y="64"/>
                    </a:lnTo>
                    <a:lnTo>
                      <a:pt x="71" y="57"/>
                    </a:lnTo>
                    <a:lnTo>
                      <a:pt x="75" y="55"/>
                    </a:lnTo>
                    <a:lnTo>
                      <a:pt x="81" y="55"/>
                    </a:lnTo>
                    <a:lnTo>
                      <a:pt x="82" y="51"/>
                    </a:lnTo>
                    <a:lnTo>
                      <a:pt x="90" y="48"/>
                    </a:lnTo>
                    <a:lnTo>
                      <a:pt x="92" y="46"/>
                    </a:lnTo>
                    <a:lnTo>
                      <a:pt x="94" y="44"/>
                    </a:lnTo>
                    <a:lnTo>
                      <a:pt x="98" y="44"/>
                    </a:lnTo>
                    <a:lnTo>
                      <a:pt x="99" y="38"/>
                    </a:lnTo>
                    <a:lnTo>
                      <a:pt x="99" y="34"/>
                    </a:lnTo>
                    <a:lnTo>
                      <a:pt x="99" y="29"/>
                    </a:lnTo>
                    <a:lnTo>
                      <a:pt x="99" y="25"/>
                    </a:lnTo>
                    <a:lnTo>
                      <a:pt x="99" y="21"/>
                    </a:lnTo>
                    <a:lnTo>
                      <a:pt x="96" y="12"/>
                    </a:lnTo>
                    <a:lnTo>
                      <a:pt x="92" y="10"/>
                    </a:lnTo>
                    <a:lnTo>
                      <a:pt x="90" y="6"/>
                    </a:lnTo>
                    <a:lnTo>
                      <a:pt x="90" y="6"/>
                    </a:lnTo>
                    <a:lnTo>
                      <a:pt x="82" y="2"/>
                    </a:lnTo>
                    <a:lnTo>
                      <a:pt x="81" y="2"/>
                    </a:lnTo>
                    <a:lnTo>
                      <a:pt x="81" y="0"/>
                    </a:lnTo>
                    <a:lnTo>
                      <a:pt x="71" y="2"/>
                    </a:lnTo>
                    <a:lnTo>
                      <a:pt x="71" y="2"/>
                    </a:lnTo>
                    <a:lnTo>
                      <a:pt x="75" y="8"/>
                    </a:lnTo>
                    <a:lnTo>
                      <a:pt x="71" y="10"/>
                    </a:lnTo>
                    <a:lnTo>
                      <a:pt x="75" y="14"/>
                    </a:lnTo>
                    <a:lnTo>
                      <a:pt x="75" y="17"/>
                    </a:lnTo>
                    <a:lnTo>
                      <a:pt x="69" y="16"/>
                    </a:lnTo>
                    <a:lnTo>
                      <a:pt x="66" y="10"/>
                    </a:lnTo>
                    <a:lnTo>
                      <a:pt x="60" y="8"/>
                    </a:lnTo>
                    <a:lnTo>
                      <a:pt x="56" y="6"/>
                    </a:lnTo>
                    <a:lnTo>
                      <a:pt x="52" y="2"/>
                    </a:lnTo>
                    <a:lnTo>
                      <a:pt x="50" y="6"/>
                    </a:lnTo>
                    <a:lnTo>
                      <a:pt x="47" y="2"/>
                    </a:lnTo>
                    <a:lnTo>
                      <a:pt x="41" y="2"/>
                    </a:lnTo>
                    <a:lnTo>
                      <a:pt x="39" y="2"/>
                    </a:lnTo>
                    <a:lnTo>
                      <a:pt x="34" y="2"/>
                    </a:lnTo>
                    <a:lnTo>
                      <a:pt x="30" y="2"/>
                    </a:lnTo>
                    <a:lnTo>
                      <a:pt x="26" y="2"/>
                    </a:lnTo>
                    <a:lnTo>
                      <a:pt x="20" y="2"/>
                    </a:lnTo>
                    <a:lnTo>
                      <a:pt x="13" y="6"/>
                    </a:lnTo>
                    <a:lnTo>
                      <a:pt x="9" y="6"/>
                    </a:lnTo>
                    <a:lnTo>
                      <a:pt x="5" y="10"/>
                    </a:lnTo>
                    <a:lnTo>
                      <a:pt x="3" y="16"/>
                    </a:lnTo>
                    <a:lnTo>
                      <a:pt x="0" y="19"/>
                    </a:lnTo>
                    <a:lnTo>
                      <a:pt x="0" y="27"/>
                    </a:lnTo>
                    <a:lnTo>
                      <a:pt x="2" y="34"/>
                    </a:lnTo>
                    <a:lnTo>
                      <a:pt x="5" y="36"/>
                    </a:lnTo>
                    <a:lnTo>
                      <a:pt x="7" y="40"/>
                    </a:lnTo>
                    <a:lnTo>
                      <a:pt x="7" y="46"/>
                    </a:lnTo>
                    <a:lnTo>
                      <a:pt x="5" y="48"/>
                    </a:lnTo>
                    <a:lnTo>
                      <a:pt x="5" y="48"/>
                    </a:lnTo>
                    <a:lnTo>
                      <a:pt x="9" y="51"/>
                    </a:lnTo>
                    <a:lnTo>
                      <a:pt x="9" y="55"/>
                    </a:lnTo>
                    <a:lnTo>
                      <a:pt x="11" y="57"/>
                    </a:lnTo>
                    <a:lnTo>
                      <a:pt x="11" y="61"/>
                    </a:lnTo>
                    <a:lnTo>
                      <a:pt x="15" y="64"/>
                    </a:lnTo>
                    <a:lnTo>
                      <a:pt x="15" y="64"/>
                    </a:lnTo>
                    <a:lnTo>
                      <a:pt x="18" y="64"/>
                    </a:lnTo>
                    <a:lnTo>
                      <a:pt x="15" y="68"/>
                    </a:lnTo>
                    <a:lnTo>
                      <a:pt x="18" y="70"/>
                    </a:lnTo>
                    <a:lnTo>
                      <a:pt x="18" y="74"/>
                    </a:lnTo>
                    <a:lnTo>
                      <a:pt x="20" y="74"/>
                    </a:lnTo>
                    <a:lnTo>
                      <a:pt x="24" y="74"/>
                    </a:lnTo>
                    <a:lnTo>
                      <a:pt x="24" y="70"/>
                    </a:lnTo>
                    <a:lnTo>
                      <a:pt x="26" y="68"/>
                    </a:lnTo>
                    <a:lnTo>
                      <a:pt x="26" y="68"/>
                    </a:lnTo>
                    <a:lnTo>
                      <a:pt x="26" y="70"/>
                    </a:lnTo>
                    <a:lnTo>
                      <a:pt x="30" y="72"/>
                    </a:lnTo>
                    <a:lnTo>
                      <a:pt x="30" y="76"/>
                    </a:lnTo>
                    <a:lnTo>
                      <a:pt x="26" y="78"/>
                    </a:lnTo>
                    <a:lnTo>
                      <a:pt x="26" y="80"/>
                    </a:lnTo>
                    <a:lnTo>
                      <a:pt x="30" y="80"/>
                    </a:lnTo>
                    <a:lnTo>
                      <a:pt x="30" y="80"/>
                    </a:lnTo>
                    <a:lnTo>
                      <a:pt x="32" y="78"/>
                    </a:lnTo>
                    <a:lnTo>
                      <a:pt x="34" y="78"/>
                    </a:lnTo>
                    <a:lnTo>
                      <a:pt x="35" y="80"/>
                    </a:lnTo>
                    <a:lnTo>
                      <a:pt x="39" y="80"/>
                    </a:lnTo>
                    <a:lnTo>
                      <a:pt x="39" y="80"/>
                    </a:lnTo>
                    <a:lnTo>
                      <a:pt x="43" y="80"/>
                    </a:lnTo>
                    <a:lnTo>
                      <a:pt x="43" y="80"/>
                    </a:lnTo>
                    <a:lnTo>
                      <a:pt x="43" y="8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2" name="Freeform 184"/>
              <p:cNvSpPr>
                <a:spLocks/>
              </p:cNvSpPr>
              <p:nvPr/>
            </p:nvSpPr>
            <p:spPr bwMode="auto">
              <a:xfrm>
                <a:off x="4620" y="2664"/>
                <a:ext cx="147" cy="175"/>
              </a:xfrm>
              <a:custGeom>
                <a:avLst/>
                <a:gdLst/>
                <a:ahLst/>
                <a:cxnLst>
                  <a:cxn ang="0">
                    <a:pos x="21" y="25"/>
                  </a:cxn>
                  <a:cxn ang="0">
                    <a:pos x="26" y="19"/>
                  </a:cxn>
                  <a:cxn ang="0">
                    <a:pos x="24" y="6"/>
                  </a:cxn>
                  <a:cxn ang="0">
                    <a:pos x="34" y="0"/>
                  </a:cxn>
                  <a:cxn ang="0">
                    <a:pos x="45" y="10"/>
                  </a:cxn>
                  <a:cxn ang="0">
                    <a:pos x="47" y="19"/>
                  </a:cxn>
                  <a:cxn ang="0">
                    <a:pos x="66" y="30"/>
                  </a:cxn>
                  <a:cxn ang="0">
                    <a:pos x="79" y="30"/>
                  </a:cxn>
                  <a:cxn ang="0">
                    <a:pos x="87" y="40"/>
                  </a:cxn>
                  <a:cxn ang="0">
                    <a:pos x="92" y="45"/>
                  </a:cxn>
                  <a:cxn ang="0">
                    <a:pos x="85" y="57"/>
                  </a:cxn>
                  <a:cxn ang="0">
                    <a:pos x="73" y="59"/>
                  </a:cxn>
                  <a:cxn ang="0">
                    <a:pos x="75" y="70"/>
                  </a:cxn>
                  <a:cxn ang="0">
                    <a:pos x="83" y="76"/>
                  </a:cxn>
                  <a:cxn ang="0">
                    <a:pos x="96" y="81"/>
                  </a:cxn>
                  <a:cxn ang="0">
                    <a:pos x="109" y="94"/>
                  </a:cxn>
                  <a:cxn ang="0">
                    <a:pos x="117" y="108"/>
                  </a:cxn>
                  <a:cxn ang="0">
                    <a:pos x="126" y="113"/>
                  </a:cxn>
                  <a:cxn ang="0">
                    <a:pos x="132" y="119"/>
                  </a:cxn>
                  <a:cxn ang="0">
                    <a:pos x="134" y="125"/>
                  </a:cxn>
                  <a:cxn ang="0">
                    <a:pos x="143" y="128"/>
                  </a:cxn>
                  <a:cxn ang="0">
                    <a:pos x="145" y="132"/>
                  </a:cxn>
                  <a:cxn ang="0">
                    <a:pos x="147" y="140"/>
                  </a:cxn>
                  <a:cxn ang="0">
                    <a:pos x="143" y="153"/>
                  </a:cxn>
                  <a:cxn ang="0">
                    <a:pos x="141" y="162"/>
                  </a:cxn>
                  <a:cxn ang="0">
                    <a:pos x="132" y="158"/>
                  </a:cxn>
                  <a:cxn ang="0">
                    <a:pos x="122" y="160"/>
                  </a:cxn>
                  <a:cxn ang="0">
                    <a:pos x="126" y="170"/>
                  </a:cxn>
                  <a:cxn ang="0">
                    <a:pos x="117" y="168"/>
                  </a:cxn>
                  <a:cxn ang="0">
                    <a:pos x="103" y="160"/>
                  </a:cxn>
                  <a:cxn ang="0">
                    <a:pos x="109" y="149"/>
                  </a:cxn>
                  <a:cxn ang="0">
                    <a:pos x="109" y="141"/>
                  </a:cxn>
                  <a:cxn ang="0">
                    <a:pos x="107" y="132"/>
                  </a:cxn>
                  <a:cxn ang="0">
                    <a:pos x="98" y="128"/>
                  </a:cxn>
                  <a:cxn ang="0">
                    <a:pos x="94" y="119"/>
                  </a:cxn>
                  <a:cxn ang="0">
                    <a:pos x="94" y="108"/>
                  </a:cxn>
                  <a:cxn ang="0">
                    <a:pos x="87" y="96"/>
                  </a:cxn>
                  <a:cxn ang="0">
                    <a:pos x="70" y="83"/>
                  </a:cxn>
                  <a:cxn ang="0">
                    <a:pos x="53" y="94"/>
                  </a:cxn>
                  <a:cxn ang="0">
                    <a:pos x="38" y="85"/>
                  </a:cxn>
                  <a:cxn ang="0">
                    <a:pos x="28" y="94"/>
                  </a:cxn>
                  <a:cxn ang="0">
                    <a:pos x="23" y="81"/>
                  </a:cxn>
                  <a:cxn ang="0">
                    <a:pos x="23" y="70"/>
                  </a:cxn>
                  <a:cxn ang="0">
                    <a:pos x="23" y="60"/>
                  </a:cxn>
                  <a:cxn ang="0">
                    <a:pos x="9" y="60"/>
                  </a:cxn>
                  <a:cxn ang="0">
                    <a:pos x="9" y="47"/>
                  </a:cxn>
                  <a:cxn ang="0">
                    <a:pos x="0" y="40"/>
                  </a:cxn>
                  <a:cxn ang="0">
                    <a:pos x="6" y="34"/>
                  </a:cxn>
                  <a:cxn ang="0">
                    <a:pos x="6" y="25"/>
                  </a:cxn>
                  <a:cxn ang="0">
                    <a:pos x="15" y="19"/>
                  </a:cxn>
                </a:cxnLst>
                <a:rect l="0" t="0" r="r" b="b"/>
                <a:pathLst>
                  <a:path w="147" h="175">
                    <a:moveTo>
                      <a:pt x="15" y="19"/>
                    </a:moveTo>
                    <a:lnTo>
                      <a:pt x="19" y="21"/>
                    </a:lnTo>
                    <a:lnTo>
                      <a:pt x="21" y="25"/>
                    </a:lnTo>
                    <a:lnTo>
                      <a:pt x="24" y="23"/>
                    </a:lnTo>
                    <a:lnTo>
                      <a:pt x="28" y="25"/>
                    </a:lnTo>
                    <a:lnTo>
                      <a:pt x="26" y="19"/>
                    </a:lnTo>
                    <a:lnTo>
                      <a:pt x="26" y="15"/>
                    </a:lnTo>
                    <a:lnTo>
                      <a:pt x="26" y="10"/>
                    </a:lnTo>
                    <a:lnTo>
                      <a:pt x="24" y="6"/>
                    </a:lnTo>
                    <a:lnTo>
                      <a:pt x="28" y="2"/>
                    </a:lnTo>
                    <a:lnTo>
                      <a:pt x="28" y="0"/>
                    </a:lnTo>
                    <a:lnTo>
                      <a:pt x="34" y="0"/>
                    </a:lnTo>
                    <a:lnTo>
                      <a:pt x="36" y="2"/>
                    </a:lnTo>
                    <a:lnTo>
                      <a:pt x="41" y="6"/>
                    </a:lnTo>
                    <a:lnTo>
                      <a:pt x="45" y="10"/>
                    </a:lnTo>
                    <a:lnTo>
                      <a:pt x="49" y="12"/>
                    </a:lnTo>
                    <a:lnTo>
                      <a:pt x="49" y="17"/>
                    </a:lnTo>
                    <a:lnTo>
                      <a:pt x="47" y="19"/>
                    </a:lnTo>
                    <a:lnTo>
                      <a:pt x="55" y="27"/>
                    </a:lnTo>
                    <a:lnTo>
                      <a:pt x="58" y="30"/>
                    </a:lnTo>
                    <a:lnTo>
                      <a:pt x="66" y="30"/>
                    </a:lnTo>
                    <a:lnTo>
                      <a:pt x="70" y="34"/>
                    </a:lnTo>
                    <a:lnTo>
                      <a:pt x="73" y="30"/>
                    </a:lnTo>
                    <a:lnTo>
                      <a:pt x="79" y="30"/>
                    </a:lnTo>
                    <a:lnTo>
                      <a:pt x="83" y="36"/>
                    </a:lnTo>
                    <a:lnTo>
                      <a:pt x="87" y="36"/>
                    </a:lnTo>
                    <a:lnTo>
                      <a:pt x="87" y="40"/>
                    </a:lnTo>
                    <a:lnTo>
                      <a:pt x="87" y="42"/>
                    </a:lnTo>
                    <a:lnTo>
                      <a:pt x="92" y="44"/>
                    </a:lnTo>
                    <a:lnTo>
                      <a:pt x="92" y="45"/>
                    </a:lnTo>
                    <a:lnTo>
                      <a:pt x="88" y="47"/>
                    </a:lnTo>
                    <a:lnTo>
                      <a:pt x="87" y="55"/>
                    </a:lnTo>
                    <a:lnTo>
                      <a:pt x="85" y="57"/>
                    </a:lnTo>
                    <a:lnTo>
                      <a:pt x="83" y="57"/>
                    </a:lnTo>
                    <a:lnTo>
                      <a:pt x="77" y="59"/>
                    </a:lnTo>
                    <a:lnTo>
                      <a:pt x="73" y="59"/>
                    </a:lnTo>
                    <a:lnTo>
                      <a:pt x="75" y="60"/>
                    </a:lnTo>
                    <a:lnTo>
                      <a:pt x="79" y="66"/>
                    </a:lnTo>
                    <a:lnTo>
                      <a:pt x="75" y="70"/>
                    </a:lnTo>
                    <a:lnTo>
                      <a:pt x="77" y="72"/>
                    </a:lnTo>
                    <a:lnTo>
                      <a:pt x="79" y="72"/>
                    </a:lnTo>
                    <a:lnTo>
                      <a:pt x="83" y="76"/>
                    </a:lnTo>
                    <a:lnTo>
                      <a:pt x="87" y="77"/>
                    </a:lnTo>
                    <a:lnTo>
                      <a:pt x="92" y="79"/>
                    </a:lnTo>
                    <a:lnTo>
                      <a:pt x="96" y="81"/>
                    </a:lnTo>
                    <a:lnTo>
                      <a:pt x="102" y="85"/>
                    </a:lnTo>
                    <a:lnTo>
                      <a:pt x="107" y="91"/>
                    </a:lnTo>
                    <a:lnTo>
                      <a:pt x="109" y="94"/>
                    </a:lnTo>
                    <a:lnTo>
                      <a:pt x="109" y="96"/>
                    </a:lnTo>
                    <a:lnTo>
                      <a:pt x="115" y="104"/>
                    </a:lnTo>
                    <a:lnTo>
                      <a:pt x="117" y="108"/>
                    </a:lnTo>
                    <a:lnTo>
                      <a:pt x="120" y="109"/>
                    </a:lnTo>
                    <a:lnTo>
                      <a:pt x="122" y="109"/>
                    </a:lnTo>
                    <a:lnTo>
                      <a:pt x="126" y="113"/>
                    </a:lnTo>
                    <a:lnTo>
                      <a:pt x="126" y="115"/>
                    </a:lnTo>
                    <a:lnTo>
                      <a:pt x="128" y="119"/>
                    </a:lnTo>
                    <a:lnTo>
                      <a:pt x="132" y="119"/>
                    </a:lnTo>
                    <a:lnTo>
                      <a:pt x="132" y="119"/>
                    </a:lnTo>
                    <a:lnTo>
                      <a:pt x="132" y="121"/>
                    </a:lnTo>
                    <a:lnTo>
                      <a:pt x="134" y="125"/>
                    </a:lnTo>
                    <a:lnTo>
                      <a:pt x="137" y="125"/>
                    </a:lnTo>
                    <a:lnTo>
                      <a:pt x="139" y="128"/>
                    </a:lnTo>
                    <a:lnTo>
                      <a:pt x="143" y="128"/>
                    </a:lnTo>
                    <a:lnTo>
                      <a:pt x="147" y="128"/>
                    </a:lnTo>
                    <a:lnTo>
                      <a:pt x="147" y="128"/>
                    </a:lnTo>
                    <a:lnTo>
                      <a:pt x="145" y="132"/>
                    </a:lnTo>
                    <a:lnTo>
                      <a:pt x="143" y="136"/>
                    </a:lnTo>
                    <a:lnTo>
                      <a:pt x="145" y="140"/>
                    </a:lnTo>
                    <a:lnTo>
                      <a:pt x="147" y="140"/>
                    </a:lnTo>
                    <a:lnTo>
                      <a:pt x="147" y="143"/>
                    </a:lnTo>
                    <a:lnTo>
                      <a:pt x="143" y="149"/>
                    </a:lnTo>
                    <a:lnTo>
                      <a:pt x="143" y="153"/>
                    </a:lnTo>
                    <a:lnTo>
                      <a:pt x="145" y="155"/>
                    </a:lnTo>
                    <a:lnTo>
                      <a:pt x="145" y="160"/>
                    </a:lnTo>
                    <a:lnTo>
                      <a:pt x="141" y="162"/>
                    </a:lnTo>
                    <a:lnTo>
                      <a:pt x="139" y="162"/>
                    </a:lnTo>
                    <a:lnTo>
                      <a:pt x="134" y="160"/>
                    </a:lnTo>
                    <a:lnTo>
                      <a:pt x="132" y="158"/>
                    </a:lnTo>
                    <a:lnTo>
                      <a:pt x="132" y="158"/>
                    </a:lnTo>
                    <a:lnTo>
                      <a:pt x="122" y="158"/>
                    </a:lnTo>
                    <a:lnTo>
                      <a:pt x="122" y="160"/>
                    </a:lnTo>
                    <a:lnTo>
                      <a:pt x="126" y="166"/>
                    </a:lnTo>
                    <a:lnTo>
                      <a:pt x="122" y="168"/>
                    </a:lnTo>
                    <a:lnTo>
                      <a:pt x="126" y="170"/>
                    </a:lnTo>
                    <a:lnTo>
                      <a:pt x="126" y="175"/>
                    </a:lnTo>
                    <a:lnTo>
                      <a:pt x="120" y="174"/>
                    </a:lnTo>
                    <a:lnTo>
                      <a:pt x="117" y="168"/>
                    </a:lnTo>
                    <a:lnTo>
                      <a:pt x="111" y="166"/>
                    </a:lnTo>
                    <a:lnTo>
                      <a:pt x="109" y="164"/>
                    </a:lnTo>
                    <a:lnTo>
                      <a:pt x="103" y="160"/>
                    </a:lnTo>
                    <a:lnTo>
                      <a:pt x="107" y="160"/>
                    </a:lnTo>
                    <a:lnTo>
                      <a:pt x="109" y="158"/>
                    </a:lnTo>
                    <a:lnTo>
                      <a:pt x="109" y="149"/>
                    </a:lnTo>
                    <a:lnTo>
                      <a:pt x="107" y="149"/>
                    </a:lnTo>
                    <a:lnTo>
                      <a:pt x="109" y="145"/>
                    </a:lnTo>
                    <a:lnTo>
                      <a:pt x="109" y="141"/>
                    </a:lnTo>
                    <a:lnTo>
                      <a:pt x="111" y="138"/>
                    </a:lnTo>
                    <a:lnTo>
                      <a:pt x="109" y="136"/>
                    </a:lnTo>
                    <a:lnTo>
                      <a:pt x="107" y="132"/>
                    </a:lnTo>
                    <a:lnTo>
                      <a:pt x="107" y="130"/>
                    </a:lnTo>
                    <a:lnTo>
                      <a:pt x="103" y="128"/>
                    </a:lnTo>
                    <a:lnTo>
                      <a:pt x="98" y="128"/>
                    </a:lnTo>
                    <a:lnTo>
                      <a:pt x="96" y="125"/>
                    </a:lnTo>
                    <a:lnTo>
                      <a:pt x="92" y="121"/>
                    </a:lnTo>
                    <a:lnTo>
                      <a:pt x="94" y="119"/>
                    </a:lnTo>
                    <a:lnTo>
                      <a:pt x="94" y="115"/>
                    </a:lnTo>
                    <a:lnTo>
                      <a:pt x="92" y="109"/>
                    </a:lnTo>
                    <a:lnTo>
                      <a:pt x="94" y="108"/>
                    </a:lnTo>
                    <a:lnTo>
                      <a:pt x="94" y="104"/>
                    </a:lnTo>
                    <a:lnTo>
                      <a:pt x="92" y="100"/>
                    </a:lnTo>
                    <a:lnTo>
                      <a:pt x="87" y="96"/>
                    </a:lnTo>
                    <a:lnTo>
                      <a:pt x="79" y="91"/>
                    </a:lnTo>
                    <a:lnTo>
                      <a:pt x="77" y="85"/>
                    </a:lnTo>
                    <a:lnTo>
                      <a:pt x="70" y="83"/>
                    </a:lnTo>
                    <a:lnTo>
                      <a:pt x="62" y="85"/>
                    </a:lnTo>
                    <a:lnTo>
                      <a:pt x="58" y="94"/>
                    </a:lnTo>
                    <a:lnTo>
                      <a:pt x="53" y="94"/>
                    </a:lnTo>
                    <a:lnTo>
                      <a:pt x="49" y="91"/>
                    </a:lnTo>
                    <a:lnTo>
                      <a:pt x="45" y="91"/>
                    </a:lnTo>
                    <a:lnTo>
                      <a:pt x="38" y="85"/>
                    </a:lnTo>
                    <a:lnTo>
                      <a:pt x="34" y="91"/>
                    </a:lnTo>
                    <a:lnTo>
                      <a:pt x="34" y="94"/>
                    </a:lnTo>
                    <a:lnTo>
                      <a:pt x="28" y="94"/>
                    </a:lnTo>
                    <a:lnTo>
                      <a:pt x="23" y="96"/>
                    </a:lnTo>
                    <a:lnTo>
                      <a:pt x="23" y="89"/>
                    </a:lnTo>
                    <a:lnTo>
                      <a:pt x="23" y="81"/>
                    </a:lnTo>
                    <a:lnTo>
                      <a:pt x="21" y="76"/>
                    </a:lnTo>
                    <a:lnTo>
                      <a:pt x="23" y="74"/>
                    </a:lnTo>
                    <a:lnTo>
                      <a:pt x="23" y="70"/>
                    </a:lnTo>
                    <a:lnTo>
                      <a:pt x="21" y="66"/>
                    </a:lnTo>
                    <a:lnTo>
                      <a:pt x="23" y="64"/>
                    </a:lnTo>
                    <a:lnTo>
                      <a:pt x="23" y="60"/>
                    </a:lnTo>
                    <a:lnTo>
                      <a:pt x="15" y="60"/>
                    </a:lnTo>
                    <a:lnTo>
                      <a:pt x="13" y="60"/>
                    </a:lnTo>
                    <a:lnTo>
                      <a:pt x="9" y="60"/>
                    </a:lnTo>
                    <a:lnTo>
                      <a:pt x="6" y="57"/>
                    </a:lnTo>
                    <a:lnTo>
                      <a:pt x="9" y="55"/>
                    </a:lnTo>
                    <a:lnTo>
                      <a:pt x="9" y="47"/>
                    </a:lnTo>
                    <a:lnTo>
                      <a:pt x="6" y="44"/>
                    </a:lnTo>
                    <a:lnTo>
                      <a:pt x="2" y="45"/>
                    </a:lnTo>
                    <a:lnTo>
                      <a:pt x="0" y="40"/>
                    </a:lnTo>
                    <a:lnTo>
                      <a:pt x="2" y="36"/>
                    </a:lnTo>
                    <a:lnTo>
                      <a:pt x="4" y="36"/>
                    </a:lnTo>
                    <a:lnTo>
                      <a:pt x="6" y="34"/>
                    </a:lnTo>
                    <a:lnTo>
                      <a:pt x="6" y="30"/>
                    </a:lnTo>
                    <a:lnTo>
                      <a:pt x="6" y="27"/>
                    </a:lnTo>
                    <a:lnTo>
                      <a:pt x="6" y="25"/>
                    </a:lnTo>
                    <a:lnTo>
                      <a:pt x="11" y="23"/>
                    </a:lnTo>
                    <a:lnTo>
                      <a:pt x="15" y="19"/>
                    </a:lnTo>
                    <a:lnTo>
                      <a:pt x="15" y="19"/>
                    </a:lnTo>
                    <a:lnTo>
                      <a:pt x="15"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3" name="Freeform 185"/>
              <p:cNvSpPr>
                <a:spLocks noEditPoints="1"/>
              </p:cNvSpPr>
              <p:nvPr/>
            </p:nvSpPr>
            <p:spPr bwMode="auto">
              <a:xfrm>
                <a:off x="4573" y="2702"/>
                <a:ext cx="158" cy="296"/>
              </a:xfrm>
              <a:custGeom>
                <a:avLst/>
                <a:gdLst/>
                <a:ahLst/>
                <a:cxnLst>
                  <a:cxn ang="0">
                    <a:pos x="51" y="15"/>
                  </a:cxn>
                  <a:cxn ang="0">
                    <a:pos x="66" y="26"/>
                  </a:cxn>
                  <a:cxn ang="0">
                    <a:pos x="68" y="56"/>
                  </a:cxn>
                  <a:cxn ang="0">
                    <a:pos x="94" y="49"/>
                  </a:cxn>
                  <a:cxn ang="0">
                    <a:pos x="126" y="51"/>
                  </a:cxn>
                  <a:cxn ang="0">
                    <a:pos x="139" y="75"/>
                  </a:cxn>
                  <a:cxn ang="0">
                    <a:pos x="152" y="90"/>
                  </a:cxn>
                  <a:cxn ang="0">
                    <a:pos x="154" y="109"/>
                  </a:cxn>
                  <a:cxn ang="0">
                    <a:pos x="139" y="120"/>
                  </a:cxn>
                  <a:cxn ang="0">
                    <a:pos x="113" y="122"/>
                  </a:cxn>
                  <a:cxn ang="0">
                    <a:pos x="100" y="154"/>
                  </a:cxn>
                  <a:cxn ang="0">
                    <a:pos x="103" y="169"/>
                  </a:cxn>
                  <a:cxn ang="0">
                    <a:pos x="94" y="164"/>
                  </a:cxn>
                  <a:cxn ang="0">
                    <a:pos x="85" y="160"/>
                  </a:cxn>
                  <a:cxn ang="0">
                    <a:pos x="73" y="154"/>
                  </a:cxn>
                  <a:cxn ang="0">
                    <a:pos x="68" y="143"/>
                  </a:cxn>
                  <a:cxn ang="0">
                    <a:pos x="56" y="145"/>
                  </a:cxn>
                  <a:cxn ang="0">
                    <a:pos x="56" y="151"/>
                  </a:cxn>
                  <a:cxn ang="0">
                    <a:pos x="54" y="171"/>
                  </a:cxn>
                  <a:cxn ang="0">
                    <a:pos x="43" y="207"/>
                  </a:cxn>
                  <a:cxn ang="0">
                    <a:pos x="45" y="218"/>
                  </a:cxn>
                  <a:cxn ang="0">
                    <a:pos x="51" y="224"/>
                  </a:cxn>
                  <a:cxn ang="0">
                    <a:pos x="58" y="239"/>
                  </a:cxn>
                  <a:cxn ang="0">
                    <a:pos x="66" y="241"/>
                  </a:cxn>
                  <a:cxn ang="0">
                    <a:pos x="70" y="260"/>
                  </a:cxn>
                  <a:cxn ang="0">
                    <a:pos x="73" y="264"/>
                  </a:cxn>
                  <a:cxn ang="0">
                    <a:pos x="88" y="275"/>
                  </a:cxn>
                  <a:cxn ang="0">
                    <a:pos x="100" y="288"/>
                  </a:cxn>
                  <a:cxn ang="0">
                    <a:pos x="81" y="294"/>
                  </a:cxn>
                  <a:cxn ang="0">
                    <a:pos x="75" y="279"/>
                  </a:cxn>
                  <a:cxn ang="0">
                    <a:pos x="54" y="275"/>
                  </a:cxn>
                  <a:cxn ang="0">
                    <a:pos x="51" y="265"/>
                  </a:cxn>
                  <a:cxn ang="0">
                    <a:pos x="38" y="245"/>
                  </a:cxn>
                  <a:cxn ang="0">
                    <a:pos x="30" y="245"/>
                  </a:cxn>
                  <a:cxn ang="0">
                    <a:pos x="32" y="224"/>
                  </a:cxn>
                  <a:cxn ang="0">
                    <a:pos x="32" y="211"/>
                  </a:cxn>
                  <a:cxn ang="0">
                    <a:pos x="45" y="179"/>
                  </a:cxn>
                  <a:cxn ang="0">
                    <a:pos x="43" y="154"/>
                  </a:cxn>
                  <a:cxn ang="0">
                    <a:pos x="34" y="126"/>
                  </a:cxn>
                  <a:cxn ang="0">
                    <a:pos x="26" y="102"/>
                  </a:cxn>
                  <a:cxn ang="0">
                    <a:pos x="24" y="79"/>
                  </a:cxn>
                  <a:cxn ang="0">
                    <a:pos x="6" y="53"/>
                  </a:cxn>
                  <a:cxn ang="0">
                    <a:pos x="6" y="34"/>
                  </a:cxn>
                  <a:cxn ang="0">
                    <a:pos x="21" y="17"/>
                  </a:cxn>
                  <a:cxn ang="0">
                    <a:pos x="36" y="6"/>
                  </a:cxn>
                  <a:cxn ang="0">
                    <a:pos x="45" y="0"/>
                  </a:cxn>
                  <a:cxn ang="0">
                    <a:pos x="56" y="279"/>
                  </a:cxn>
                  <a:cxn ang="0">
                    <a:pos x="43" y="258"/>
                  </a:cxn>
                  <a:cxn ang="0">
                    <a:pos x="43" y="258"/>
                  </a:cxn>
                  <a:cxn ang="0">
                    <a:pos x="32" y="254"/>
                  </a:cxn>
                  <a:cxn ang="0">
                    <a:pos x="30" y="249"/>
                  </a:cxn>
                  <a:cxn ang="0">
                    <a:pos x="96" y="168"/>
                  </a:cxn>
                  <a:cxn ang="0">
                    <a:pos x="60" y="215"/>
                  </a:cxn>
                  <a:cxn ang="0">
                    <a:pos x="58" y="220"/>
                  </a:cxn>
                </a:cxnLst>
                <a:rect l="0" t="0" r="r" b="b"/>
                <a:pathLst>
                  <a:path w="158" h="296">
                    <a:moveTo>
                      <a:pt x="45" y="0"/>
                    </a:moveTo>
                    <a:lnTo>
                      <a:pt x="47" y="4"/>
                    </a:lnTo>
                    <a:lnTo>
                      <a:pt x="51" y="4"/>
                    </a:lnTo>
                    <a:lnTo>
                      <a:pt x="54" y="6"/>
                    </a:lnTo>
                    <a:lnTo>
                      <a:pt x="54" y="13"/>
                    </a:lnTo>
                    <a:lnTo>
                      <a:pt x="51" y="15"/>
                    </a:lnTo>
                    <a:lnTo>
                      <a:pt x="54" y="21"/>
                    </a:lnTo>
                    <a:lnTo>
                      <a:pt x="58" y="21"/>
                    </a:lnTo>
                    <a:lnTo>
                      <a:pt x="60" y="19"/>
                    </a:lnTo>
                    <a:lnTo>
                      <a:pt x="68" y="19"/>
                    </a:lnTo>
                    <a:lnTo>
                      <a:pt x="68" y="22"/>
                    </a:lnTo>
                    <a:lnTo>
                      <a:pt x="66" y="26"/>
                    </a:lnTo>
                    <a:lnTo>
                      <a:pt x="68" y="30"/>
                    </a:lnTo>
                    <a:lnTo>
                      <a:pt x="68" y="34"/>
                    </a:lnTo>
                    <a:lnTo>
                      <a:pt x="66" y="34"/>
                    </a:lnTo>
                    <a:lnTo>
                      <a:pt x="68" y="39"/>
                    </a:lnTo>
                    <a:lnTo>
                      <a:pt x="68" y="47"/>
                    </a:lnTo>
                    <a:lnTo>
                      <a:pt x="68" y="56"/>
                    </a:lnTo>
                    <a:lnTo>
                      <a:pt x="73" y="55"/>
                    </a:lnTo>
                    <a:lnTo>
                      <a:pt x="79" y="53"/>
                    </a:lnTo>
                    <a:lnTo>
                      <a:pt x="79" y="49"/>
                    </a:lnTo>
                    <a:lnTo>
                      <a:pt x="85" y="45"/>
                    </a:lnTo>
                    <a:lnTo>
                      <a:pt x="90" y="49"/>
                    </a:lnTo>
                    <a:lnTo>
                      <a:pt x="94" y="49"/>
                    </a:lnTo>
                    <a:lnTo>
                      <a:pt x="98" y="53"/>
                    </a:lnTo>
                    <a:lnTo>
                      <a:pt x="105" y="53"/>
                    </a:lnTo>
                    <a:lnTo>
                      <a:pt x="109" y="43"/>
                    </a:lnTo>
                    <a:lnTo>
                      <a:pt x="115" y="43"/>
                    </a:lnTo>
                    <a:lnTo>
                      <a:pt x="122" y="45"/>
                    </a:lnTo>
                    <a:lnTo>
                      <a:pt x="126" y="51"/>
                    </a:lnTo>
                    <a:lnTo>
                      <a:pt x="134" y="56"/>
                    </a:lnTo>
                    <a:lnTo>
                      <a:pt x="137" y="60"/>
                    </a:lnTo>
                    <a:lnTo>
                      <a:pt x="139" y="64"/>
                    </a:lnTo>
                    <a:lnTo>
                      <a:pt x="139" y="68"/>
                    </a:lnTo>
                    <a:lnTo>
                      <a:pt x="137" y="70"/>
                    </a:lnTo>
                    <a:lnTo>
                      <a:pt x="139" y="75"/>
                    </a:lnTo>
                    <a:lnTo>
                      <a:pt x="139" y="79"/>
                    </a:lnTo>
                    <a:lnTo>
                      <a:pt x="137" y="81"/>
                    </a:lnTo>
                    <a:lnTo>
                      <a:pt x="143" y="85"/>
                    </a:lnTo>
                    <a:lnTo>
                      <a:pt x="145" y="88"/>
                    </a:lnTo>
                    <a:lnTo>
                      <a:pt x="149" y="88"/>
                    </a:lnTo>
                    <a:lnTo>
                      <a:pt x="152" y="90"/>
                    </a:lnTo>
                    <a:lnTo>
                      <a:pt x="152" y="92"/>
                    </a:lnTo>
                    <a:lnTo>
                      <a:pt x="154" y="96"/>
                    </a:lnTo>
                    <a:lnTo>
                      <a:pt x="158" y="98"/>
                    </a:lnTo>
                    <a:lnTo>
                      <a:pt x="154" y="102"/>
                    </a:lnTo>
                    <a:lnTo>
                      <a:pt x="154" y="105"/>
                    </a:lnTo>
                    <a:lnTo>
                      <a:pt x="154" y="109"/>
                    </a:lnTo>
                    <a:lnTo>
                      <a:pt x="154" y="109"/>
                    </a:lnTo>
                    <a:lnTo>
                      <a:pt x="154" y="119"/>
                    </a:lnTo>
                    <a:lnTo>
                      <a:pt x="154" y="120"/>
                    </a:lnTo>
                    <a:lnTo>
                      <a:pt x="149" y="122"/>
                    </a:lnTo>
                    <a:lnTo>
                      <a:pt x="145" y="119"/>
                    </a:lnTo>
                    <a:lnTo>
                      <a:pt x="139" y="120"/>
                    </a:lnTo>
                    <a:lnTo>
                      <a:pt x="137" y="119"/>
                    </a:lnTo>
                    <a:lnTo>
                      <a:pt x="134" y="119"/>
                    </a:lnTo>
                    <a:lnTo>
                      <a:pt x="128" y="120"/>
                    </a:lnTo>
                    <a:lnTo>
                      <a:pt x="126" y="119"/>
                    </a:lnTo>
                    <a:lnTo>
                      <a:pt x="120" y="119"/>
                    </a:lnTo>
                    <a:lnTo>
                      <a:pt x="113" y="122"/>
                    </a:lnTo>
                    <a:lnTo>
                      <a:pt x="109" y="122"/>
                    </a:lnTo>
                    <a:lnTo>
                      <a:pt x="105" y="128"/>
                    </a:lnTo>
                    <a:lnTo>
                      <a:pt x="103" y="134"/>
                    </a:lnTo>
                    <a:lnTo>
                      <a:pt x="100" y="137"/>
                    </a:lnTo>
                    <a:lnTo>
                      <a:pt x="100" y="145"/>
                    </a:lnTo>
                    <a:lnTo>
                      <a:pt x="100" y="154"/>
                    </a:lnTo>
                    <a:lnTo>
                      <a:pt x="105" y="154"/>
                    </a:lnTo>
                    <a:lnTo>
                      <a:pt x="105" y="158"/>
                    </a:lnTo>
                    <a:lnTo>
                      <a:pt x="105" y="166"/>
                    </a:lnTo>
                    <a:lnTo>
                      <a:pt x="105" y="168"/>
                    </a:lnTo>
                    <a:lnTo>
                      <a:pt x="105" y="168"/>
                    </a:lnTo>
                    <a:lnTo>
                      <a:pt x="103" y="169"/>
                    </a:lnTo>
                    <a:lnTo>
                      <a:pt x="103" y="171"/>
                    </a:lnTo>
                    <a:lnTo>
                      <a:pt x="103" y="169"/>
                    </a:lnTo>
                    <a:lnTo>
                      <a:pt x="100" y="166"/>
                    </a:lnTo>
                    <a:lnTo>
                      <a:pt x="98" y="166"/>
                    </a:lnTo>
                    <a:lnTo>
                      <a:pt x="98" y="164"/>
                    </a:lnTo>
                    <a:lnTo>
                      <a:pt x="94" y="164"/>
                    </a:lnTo>
                    <a:lnTo>
                      <a:pt x="90" y="158"/>
                    </a:lnTo>
                    <a:lnTo>
                      <a:pt x="86" y="158"/>
                    </a:lnTo>
                    <a:lnTo>
                      <a:pt x="85" y="158"/>
                    </a:lnTo>
                    <a:lnTo>
                      <a:pt x="85" y="160"/>
                    </a:lnTo>
                    <a:lnTo>
                      <a:pt x="85" y="160"/>
                    </a:lnTo>
                    <a:lnTo>
                      <a:pt x="85" y="160"/>
                    </a:lnTo>
                    <a:lnTo>
                      <a:pt x="79" y="158"/>
                    </a:lnTo>
                    <a:lnTo>
                      <a:pt x="75" y="160"/>
                    </a:lnTo>
                    <a:lnTo>
                      <a:pt x="73" y="158"/>
                    </a:lnTo>
                    <a:lnTo>
                      <a:pt x="71" y="158"/>
                    </a:lnTo>
                    <a:lnTo>
                      <a:pt x="71" y="158"/>
                    </a:lnTo>
                    <a:lnTo>
                      <a:pt x="73" y="154"/>
                    </a:lnTo>
                    <a:lnTo>
                      <a:pt x="71" y="151"/>
                    </a:lnTo>
                    <a:lnTo>
                      <a:pt x="71" y="145"/>
                    </a:lnTo>
                    <a:lnTo>
                      <a:pt x="73" y="145"/>
                    </a:lnTo>
                    <a:lnTo>
                      <a:pt x="71" y="143"/>
                    </a:lnTo>
                    <a:lnTo>
                      <a:pt x="68" y="143"/>
                    </a:lnTo>
                    <a:lnTo>
                      <a:pt x="68" y="143"/>
                    </a:lnTo>
                    <a:lnTo>
                      <a:pt x="66" y="143"/>
                    </a:lnTo>
                    <a:lnTo>
                      <a:pt x="66" y="141"/>
                    </a:lnTo>
                    <a:lnTo>
                      <a:pt x="62" y="143"/>
                    </a:lnTo>
                    <a:lnTo>
                      <a:pt x="60" y="143"/>
                    </a:lnTo>
                    <a:lnTo>
                      <a:pt x="58" y="143"/>
                    </a:lnTo>
                    <a:lnTo>
                      <a:pt x="56" y="145"/>
                    </a:lnTo>
                    <a:lnTo>
                      <a:pt x="54" y="145"/>
                    </a:lnTo>
                    <a:lnTo>
                      <a:pt x="54" y="143"/>
                    </a:lnTo>
                    <a:lnTo>
                      <a:pt x="54" y="145"/>
                    </a:lnTo>
                    <a:lnTo>
                      <a:pt x="54" y="145"/>
                    </a:lnTo>
                    <a:lnTo>
                      <a:pt x="56" y="149"/>
                    </a:lnTo>
                    <a:lnTo>
                      <a:pt x="56" y="151"/>
                    </a:lnTo>
                    <a:lnTo>
                      <a:pt x="54" y="154"/>
                    </a:lnTo>
                    <a:lnTo>
                      <a:pt x="54" y="158"/>
                    </a:lnTo>
                    <a:lnTo>
                      <a:pt x="54" y="160"/>
                    </a:lnTo>
                    <a:lnTo>
                      <a:pt x="54" y="164"/>
                    </a:lnTo>
                    <a:lnTo>
                      <a:pt x="54" y="168"/>
                    </a:lnTo>
                    <a:lnTo>
                      <a:pt x="54" y="171"/>
                    </a:lnTo>
                    <a:lnTo>
                      <a:pt x="51" y="175"/>
                    </a:lnTo>
                    <a:lnTo>
                      <a:pt x="51" y="179"/>
                    </a:lnTo>
                    <a:lnTo>
                      <a:pt x="49" y="194"/>
                    </a:lnTo>
                    <a:lnTo>
                      <a:pt x="45" y="200"/>
                    </a:lnTo>
                    <a:lnTo>
                      <a:pt x="45" y="201"/>
                    </a:lnTo>
                    <a:lnTo>
                      <a:pt x="43" y="207"/>
                    </a:lnTo>
                    <a:lnTo>
                      <a:pt x="45" y="207"/>
                    </a:lnTo>
                    <a:lnTo>
                      <a:pt x="45" y="207"/>
                    </a:lnTo>
                    <a:lnTo>
                      <a:pt x="43" y="211"/>
                    </a:lnTo>
                    <a:lnTo>
                      <a:pt x="43" y="211"/>
                    </a:lnTo>
                    <a:lnTo>
                      <a:pt x="45" y="217"/>
                    </a:lnTo>
                    <a:lnTo>
                      <a:pt x="45" y="218"/>
                    </a:lnTo>
                    <a:lnTo>
                      <a:pt x="49" y="224"/>
                    </a:lnTo>
                    <a:lnTo>
                      <a:pt x="47" y="226"/>
                    </a:lnTo>
                    <a:lnTo>
                      <a:pt x="49" y="230"/>
                    </a:lnTo>
                    <a:lnTo>
                      <a:pt x="51" y="230"/>
                    </a:lnTo>
                    <a:lnTo>
                      <a:pt x="51" y="226"/>
                    </a:lnTo>
                    <a:lnTo>
                      <a:pt x="51" y="224"/>
                    </a:lnTo>
                    <a:lnTo>
                      <a:pt x="51" y="226"/>
                    </a:lnTo>
                    <a:lnTo>
                      <a:pt x="54" y="226"/>
                    </a:lnTo>
                    <a:lnTo>
                      <a:pt x="56" y="226"/>
                    </a:lnTo>
                    <a:lnTo>
                      <a:pt x="56" y="230"/>
                    </a:lnTo>
                    <a:lnTo>
                      <a:pt x="58" y="233"/>
                    </a:lnTo>
                    <a:lnTo>
                      <a:pt x="58" y="239"/>
                    </a:lnTo>
                    <a:lnTo>
                      <a:pt x="60" y="239"/>
                    </a:lnTo>
                    <a:lnTo>
                      <a:pt x="62" y="241"/>
                    </a:lnTo>
                    <a:lnTo>
                      <a:pt x="64" y="241"/>
                    </a:lnTo>
                    <a:lnTo>
                      <a:pt x="64" y="239"/>
                    </a:lnTo>
                    <a:lnTo>
                      <a:pt x="64" y="239"/>
                    </a:lnTo>
                    <a:lnTo>
                      <a:pt x="66" y="241"/>
                    </a:lnTo>
                    <a:lnTo>
                      <a:pt x="68" y="245"/>
                    </a:lnTo>
                    <a:lnTo>
                      <a:pt x="68" y="247"/>
                    </a:lnTo>
                    <a:lnTo>
                      <a:pt x="70" y="249"/>
                    </a:lnTo>
                    <a:lnTo>
                      <a:pt x="71" y="256"/>
                    </a:lnTo>
                    <a:lnTo>
                      <a:pt x="71" y="258"/>
                    </a:lnTo>
                    <a:lnTo>
                      <a:pt x="70" y="260"/>
                    </a:lnTo>
                    <a:lnTo>
                      <a:pt x="70" y="258"/>
                    </a:lnTo>
                    <a:lnTo>
                      <a:pt x="66" y="260"/>
                    </a:lnTo>
                    <a:lnTo>
                      <a:pt x="66" y="264"/>
                    </a:lnTo>
                    <a:lnTo>
                      <a:pt x="71" y="265"/>
                    </a:lnTo>
                    <a:lnTo>
                      <a:pt x="71" y="260"/>
                    </a:lnTo>
                    <a:lnTo>
                      <a:pt x="73" y="264"/>
                    </a:lnTo>
                    <a:lnTo>
                      <a:pt x="73" y="265"/>
                    </a:lnTo>
                    <a:lnTo>
                      <a:pt x="75" y="269"/>
                    </a:lnTo>
                    <a:lnTo>
                      <a:pt x="79" y="275"/>
                    </a:lnTo>
                    <a:lnTo>
                      <a:pt x="85" y="275"/>
                    </a:lnTo>
                    <a:lnTo>
                      <a:pt x="85" y="275"/>
                    </a:lnTo>
                    <a:lnTo>
                      <a:pt x="88" y="275"/>
                    </a:lnTo>
                    <a:lnTo>
                      <a:pt x="92" y="275"/>
                    </a:lnTo>
                    <a:lnTo>
                      <a:pt x="94" y="281"/>
                    </a:lnTo>
                    <a:lnTo>
                      <a:pt x="96" y="282"/>
                    </a:lnTo>
                    <a:lnTo>
                      <a:pt x="100" y="286"/>
                    </a:lnTo>
                    <a:lnTo>
                      <a:pt x="100" y="288"/>
                    </a:lnTo>
                    <a:lnTo>
                      <a:pt x="100" y="288"/>
                    </a:lnTo>
                    <a:lnTo>
                      <a:pt x="100" y="292"/>
                    </a:lnTo>
                    <a:lnTo>
                      <a:pt x="96" y="294"/>
                    </a:lnTo>
                    <a:lnTo>
                      <a:pt x="94" y="292"/>
                    </a:lnTo>
                    <a:lnTo>
                      <a:pt x="90" y="292"/>
                    </a:lnTo>
                    <a:lnTo>
                      <a:pt x="86" y="296"/>
                    </a:lnTo>
                    <a:lnTo>
                      <a:pt x="81" y="294"/>
                    </a:lnTo>
                    <a:lnTo>
                      <a:pt x="81" y="292"/>
                    </a:lnTo>
                    <a:lnTo>
                      <a:pt x="85" y="288"/>
                    </a:lnTo>
                    <a:lnTo>
                      <a:pt x="85" y="282"/>
                    </a:lnTo>
                    <a:lnTo>
                      <a:pt x="81" y="281"/>
                    </a:lnTo>
                    <a:lnTo>
                      <a:pt x="79" y="281"/>
                    </a:lnTo>
                    <a:lnTo>
                      <a:pt x="75" y="279"/>
                    </a:lnTo>
                    <a:lnTo>
                      <a:pt x="71" y="279"/>
                    </a:lnTo>
                    <a:lnTo>
                      <a:pt x="68" y="275"/>
                    </a:lnTo>
                    <a:lnTo>
                      <a:pt x="66" y="279"/>
                    </a:lnTo>
                    <a:lnTo>
                      <a:pt x="64" y="281"/>
                    </a:lnTo>
                    <a:lnTo>
                      <a:pt x="64" y="279"/>
                    </a:lnTo>
                    <a:lnTo>
                      <a:pt x="54" y="275"/>
                    </a:lnTo>
                    <a:lnTo>
                      <a:pt x="54" y="271"/>
                    </a:lnTo>
                    <a:lnTo>
                      <a:pt x="56" y="269"/>
                    </a:lnTo>
                    <a:lnTo>
                      <a:pt x="56" y="269"/>
                    </a:lnTo>
                    <a:lnTo>
                      <a:pt x="54" y="269"/>
                    </a:lnTo>
                    <a:lnTo>
                      <a:pt x="54" y="265"/>
                    </a:lnTo>
                    <a:lnTo>
                      <a:pt x="51" y="265"/>
                    </a:lnTo>
                    <a:lnTo>
                      <a:pt x="51" y="260"/>
                    </a:lnTo>
                    <a:lnTo>
                      <a:pt x="47" y="256"/>
                    </a:lnTo>
                    <a:lnTo>
                      <a:pt x="43" y="256"/>
                    </a:lnTo>
                    <a:lnTo>
                      <a:pt x="41" y="249"/>
                    </a:lnTo>
                    <a:lnTo>
                      <a:pt x="38" y="249"/>
                    </a:lnTo>
                    <a:lnTo>
                      <a:pt x="38" y="245"/>
                    </a:lnTo>
                    <a:lnTo>
                      <a:pt x="36" y="243"/>
                    </a:lnTo>
                    <a:lnTo>
                      <a:pt x="36" y="241"/>
                    </a:lnTo>
                    <a:lnTo>
                      <a:pt x="32" y="243"/>
                    </a:lnTo>
                    <a:lnTo>
                      <a:pt x="32" y="247"/>
                    </a:lnTo>
                    <a:lnTo>
                      <a:pt x="30" y="247"/>
                    </a:lnTo>
                    <a:lnTo>
                      <a:pt x="30" y="245"/>
                    </a:lnTo>
                    <a:lnTo>
                      <a:pt x="26" y="239"/>
                    </a:lnTo>
                    <a:lnTo>
                      <a:pt x="30" y="235"/>
                    </a:lnTo>
                    <a:lnTo>
                      <a:pt x="26" y="230"/>
                    </a:lnTo>
                    <a:lnTo>
                      <a:pt x="30" y="230"/>
                    </a:lnTo>
                    <a:lnTo>
                      <a:pt x="30" y="224"/>
                    </a:lnTo>
                    <a:lnTo>
                      <a:pt x="32" y="224"/>
                    </a:lnTo>
                    <a:lnTo>
                      <a:pt x="32" y="220"/>
                    </a:lnTo>
                    <a:lnTo>
                      <a:pt x="30" y="220"/>
                    </a:lnTo>
                    <a:lnTo>
                      <a:pt x="34" y="217"/>
                    </a:lnTo>
                    <a:lnTo>
                      <a:pt x="32" y="215"/>
                    </a:lnTo>
                    <a:lnTo>
                      <a:pt x="36" y="211"/>
                    </a:lnTo>
                    <a:lnTo>
                      <a:pt x="32" y="211"/>
                    </a:lnTo>
                    <a:lnTo>
                      <a:pt x="34" y="203"/>
                    </a:lnTo>
                    <a:lnTo>
                      <a:pt x="34" y="201"/>
                    </a:lnTo>
                    <a:lnTo>
                      <a:pt x="36" y="200"/>
                    </a:lnTo>
                    <a:lnTo>
                      <a:pt x="38" y="194"/>
                    </a:lnTo>
                    <a:lnTo>
                      <a:pt x="41" y="190"/>
                    </a:lnTo>
                    <a:lnTo>
                      <a:pt x="45" y="179"/>
                    </a:lnTo>
                    <a:lnTo>
                      <a:pt x="49" y="177"/>
                    </a:lnTo>
                    <a:lnTo>
                      <a:pt x="49" y="171"/>
                    </a:lnTo>
                    <a:lnTo>
                      <a:pt x="45" y="168"/>
                    </a:lnTo>
                    <a:lnTo>
                      <a:pt x="47" y="164"/>
                    </a:lnTo>
                    <a:lnTo>
                      <a:pt x="45" y="158"/>
                    </a:lnTo>
                    <a:lnTo>
                      <a:pt x="43" y="154"/>
                    </a:lnTo>
                    <a:lnTo>
                      <a:pt x="41" y="151"/>
                    </a:lnTo>
                    <a:lnTo>
                      <a:pt x="41" y="145"/>
                    </a:lnTo>
                    <a:lnTo>
                      <a:pt x="41" y="143"/>
                    </a:lnTo>
                    <a:lnTo>
                      <a:pt x="43" y="139"/>
                    </a:lnTo>
                    <a:lnTo>
                      <a:pt x="39" y="132"/>
                    </a:lnTo>
                    <a:lnTo>
                      <a:pt x="34" y="126"/>
                    </a:lnTo>
                    <a:lnTo>
                      <a:pt x="30" y="122"/>
                    </a:lnTo>
                    <a:lnTo>
                      <a:pt x="24" y="115"/>
                    </a:lnTo>
                    <a:lnTo>
                      <a:pt x="24" y="113"/>
                    </a:lnTo>
                    <a:lnTo>
                      <a:pt x="21" y="105"/>
                    </a:lnTo>
                    <a:lnTo>
                      <a:pt x="26" y="103"/>
                    </a:lnTo>
                    <a:lnTo>
                      <a:pt x="26" y="102"/>
                    </a:lnTo>
                    <a:lnTo>
                      <a:pt x="24" y="92"/>
                    </a:lnTo>
                    <a:lnTo>
                      <a:pt x="26" y="88"/>
                    </a:lnTo>
                    <a:lnTo>
                      <a:pt x="30" y="88"/>
                    </a:lnTo>
                    <a:lnTo>
                      <a:pt x="30" y="83"/>
                    </a:lnTo>
                    <a:lnTo>
                      <a:pt x="26" y="81"/>
                    </a:lnTo>
                    <a:lnTo>
                      <a:pt x="24" y="79"/>
                    </a:lnTo>
                    <a:lnTo>
                      <a:pt x="21" y="73"/>
                    </a:lnTo>
                    <a:lnTo>
                      <a:pt x="19" y="70"/>
                    </a:lnTo>
                    <a:lnTo>
                      <a:pt x="15" y="62"/>
                    </a:lnTo>
                    <a:lnTo>
                      <a:pt x="9" y="58"/>
                    </a:lnTo>
                    <a:lnTo>
                      <a:pt x="9" y="55"/>
                    </a:lnTo>
                    <a:lnTo>
                      <a:pt x="6" y="53"/>
                    </a:lnTo>
                    <a:lnTo>
                      <a:pt x="2" y="47"/>
                    </a:lnTo>
                    <a:lnTo>
                      <a:pt x="0" y="45"/>
                    </a:lnTo>
                    <a:lnTo>
                      <a:pt x="0" y="43"/>
                    </a:lnTo>
                    <a:lnTo>
                      <a:pt x="4" y="43"/>
                    </a:lnTo>
                    <a:lnTo>
                      <a:pt x="7" y="39"/>
                    </a:lnTo>
                    <a:lnTo>
                      <a:pt x="6" y="34"/>
                    </a:lnTo>
                    <a:lnTo>
                      <a:pt x="6" y="30"/>
                    </a:lnTo>
                    <a:lnTo>
                      <a:pt x="9" y="28"/>
                    </a:lnTo>
                    <a:lnTo>
                      <a:pt x="7" y="21"/>
                    </a:lnTo>
                    <a:lnTo>
                      <a:pt x="11" y="17"/>
                    </a:lnTo>
                    <a:lnTo>
                      <a:pt x="19" y="21"/>
                    </a:lnTo>
                    <a:lnTo>
                      <a:pt x="21" y="17"/>
                    </a:lnTo>
                    <a:lnTo>
                      <a:pt x="26" y="17"/>
                    </a:lnTo>
                    <a:lnTo>
                      <a:pt x="26" y="15"/>
                    </a:lnTo>
                    <a:lnTo>
                      <a:pt x="26" y="9"/>
                    </a:lnTo>
                    <a:lnTo>
                      <a:pt x="30" y="7"/>
                    </a:lnTo>
                    <a:lnTo>
                      <a:pt x="34" y="7"/>
                    </a:lnTo>
                    <a:lnTo>
                      <a:pt x="36" y="6"/>
                    </a:lnTo>
                    <a:lnTo>
                      <a:pt x="34" y="4"/>
                    </a:lnTo>
                    <a:lnTo>
                      <a:pt x="34" y="0"/>
                    </a:lnTo>
                    <a:lnTo>
                      <a:pt x="38" y="0"/>
                    </a:lnTo>
                    <a:lnTo>
                      <a:pt x="43" y="0"/>
                    </a:lnTo>
                    <a:lnTo>
                      <a:pt x="45" y="0"/>
                    </a:lnTo>
                    <a:lnTo>
                      <a:pt x="45" y="0"/>
                    </a:lnTo>
                    <a:lnTo>
                      <a:pt x="45" y="0"/>
                    </a:lnTo>
                    <a:lnTo>
                      <a:pt x="45" y="0"/>
                    </a:lnTo>
                    <a:close/>
                    <a:moveTo>
                      <a:pt x="54" y="275"/>
                    </a:moveTo>
                    <a:lnTo>
                      <a:pt x="54" y="279"/>
                    </a:lnTo>
                    <a:lnTo>
                      <a:pt x="56" y="279"/>
                    </a:lnTo>
                    <a:lnTo>
                      <a:pt x="56" y="279"/>
                    </a:lnTo>
                    <a:lnTo>
                      <a:pt x="54" y="275"/>
                    </a:lnTo>
                    <a:lnTo>
                      <a:pt x="54" y="275"/>
                    </a:lnTo>
                    <a:lnTo>
                      <a:pt x="54" y="275"/>
                    </a:lnTo>
                    <a:lnTo>
                      <a:pt x="54" y="275"/>
                    </a:lnTo>
                    <a:lnTo>
                      <a:pt x="54" y="275"/>
                    </a:lnTo>
                    <a:close/>
                    <a:moveTo>
                      <a:pt x="43" y="258"/>
                    </a:moveTo>
                    <a:lnTo>
                      <a:pt x="43" y="260"/>
                    </a:lnTo>
                    <a:lnTo>
                      <a:pt x="43" y="260"/>
                    </a:lnTo>
                    <a:lnTo>
                      <a:pt x="43" y="258"/>
                    </a:lnTo>
                    <a:lnTo>
                      <a:pt x="43" y="258"/>
                    </a:lnTo>
                    <a:lnTo>
                      <a:pt x="43" y="258"/>
                    </a:lnTo>
                    <a:lnTo>
                      <a:pt x="43" y="258"/>
                    </a:lnTo>
                    <a:lnTo>
                      <a:pt x="43" y="258"/>
                    </a:lnTo>
                    <a:close/>
                    <a:moveTo>
                      <a:pt x="30" y="249"/>
                    </a:moveTo>
                    <a:lnTo>
                      <a:pt x="30" y="250"/>
                    </a:lnTo>
                    <a:lnTo>
                      <a:pt x="30" y="252"/>
                    </a:lnTo>
                    <a:lnTo>
                      <a:pt x="30" y="256"/>
                    </a:lnTo>
                    <a:lnTo>
                      <a:pt x="32" y="254"/>
                    </a:lnTo>
                    <a:lnTo>
                      <a:pt x="32" y="249"/>
                    </a:lnTo>
                    <a:lnTo>
                      <a:pt x="32" y="249"/>
                    </a:lnTo>
                    <a:lnTo>
                      <a:pt x="30" y="249"/>
                    </a:lnTo>
                    <a:lnTo>
                      <a:pt x="30" y="249"/>
                    </a:lnTo>
                    <a:lnTo>
                      <a:pt x="30" y="249"/>
                    </a:lnTo>
                    <a:lnTo>
                      <a:pt x="30" y="249"/>
                    </a:lnTo>
                    <a:close/>
                    <a:moveTo>
                      <a:pt x="96" y="168"/>
                    </a:moveTo>
                    <a:lnTo>
                      <a:pt x="98" y="171"/>
                    </a:lnTo>
                    <a:lnTo>
                      <a:pt x="100" y="173"/>
                    </a:lnTo>
                    <a:lnTo>
                      <a:pt x="100" y="173"/>
                    </a:lnTo>
                    <a:lnTo>
                      <a:pt x="96" y="168"/>
                    </a:lnTo>
                    <a:lnTo>
                      <a:pt x="96" y="168"/>
                    </a:lnTo>
                    <a:lnTo>
                      <a:pt x="96" y="168"/>
                    </a:lnTo>
                    <a:lnTo>
                      <a:pt x="96" y="168"/>
                    </a:lnTo>
                    <a:close/>
                    <a:moveTo>
                      <a:pt x="60" y="215"/>
                    </a:moveTo>
                    <a:lnTo>
                      <a:pt x="56" y="215"/>
                    </a:lnTo>
                    <a:lnTo>
                      <a:pt x="58" y="217"/>
                    </a:lnTo>
                    <a:lnTo>
                      <a:pt x="60" y="215"/>
                    </a:lnTo>
                    <a:lnTo>
                      <a:pt x="60" y="215"/>
                    </a:lnTo>
                    <a:lnTo>
                      <a:pt x="60" y="215"/>
                    </a:lnTo>
                    <a:lnTo>
                      <a:pt x="60" y="215"/>
                    </a:lnTo>
                    <a:close/>
                    <a:moveTo>
                      <a:pt x="60" y="218"/>
                    </a:moveTo>
                    <a:lnTo>
                      <a:pt x="58" y="220"/>
                    </a:lnTo>
                    <a:lnTo>
                      <a:pt x="58" y="220"/>
                    </a:lnTo>
                    <a:lnTo>
                      <a:pt x="60" y="226"/>
                    </a:lnTo>
                    <a:lnTo>
                      <a:pt x="62" y="220"/>
                    </a:lnTo>
                    <a:lnTo>
                      <a:pt x="60" y="218"/>
                    </a:lnTo>
                    <a:lnTo>
                      <a:pt x="60" y="218"/>
                    </a:lnTo>
                    <a:lnTo>
                      <a:pt x="60" y="21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4" name="Freeform 186"/>
              <p:cNvSpPr>
                <a:spLocks noEditPoints="1"/>
              </p:cNvSpPr>
              <p:nvPr/>
            </p:nvSpPr>
            <p:spPr bwMode="auto">
              <a:xfrm>
                <a:off x="4473" y="2542"/>
                <a:ext cx="162" cy="371"/>
              </a:xfrm>
              <a:custGeom>
                <a:avLst/>
                <a:gdLst/>
                <a:ahLst/>
                <a:cxnLst>
                  <a:cxn ang="0">
                    <a:pos x="90" y="5"/>
                  </a:cxn>
                  <a:cxn ang="0">
                    <a:pos x="106" y="28"/>
                  </a:cxn>
                  <a:cxn ang="0">
                    <a:pos x="100" y="53"/>
                  </a:cxn>
                  <a:cxn ang="0">
                    <a:pos x="90" y="64"/>
                  </a:cxn>
                  <a:cxn ang="0">
                    <a:pos x="94" y="79"/>
                  </a:cxn>
                  <a:cxn ang="0">
                    <a:pos x="111" y="88"/>
                  </a:cxn>
                  <a:cxn ang="0">
                    <a:pos x="121" y="102"/>
                  </a:cxn>
                  <a:cxn ang="0">
                    <a:pos x="136" y="105"/>
                  </a:cxn>
                  <a:cxn ang="0">
                    <a:pos x="126" y="126"/>
                  </a:cxn>
                  <a:cxn ang="0">
                    <a:pos x="141" y="134"/>
                  </a:cxn>
                  <a:cxn ang="0">
                    <a:pos x="162" y="135"/>
                  </a:cxn>
                  <a:cxn ang="0">
                    <a:pos x="153" y="152"/>
                  </a:cxn>
                  <a:cxn ang="0">
                    <a:pos x="136" y="164"/>
                  </a:cxn>
                  <a:cxn ang="0">
                    <a:pos x="128" y="177"/>
                  </a:cxn>
                  <a:cxn ang="0">
                    <a:pos x="107" y="190"/>
                  </a:cxn>
                  <a:cxn ang="0">
                    <a:pos x="104" y="207"/>
                  </a:cxn>
                  <a:cxn ang="0">
                    <a:pos x="122" y="231"/>
                  </a:cxn>
                  <a:cxn ang="0">
                    <a:pos x="124" y="252"/>
                  </a:cxn>
                  <a:cxn ang="0">
                    <a:pos x="130" y="282"/>
                  </a:cxn>
                  <a:cxn ang="0">
                    <a:pos x="141" y="309"/>
                  </a:cxn>
                  <a:cxn ang="0">
                    <a:pos x="149" y="333"/>
                  </a:cxn>
                  <a:cxn ang="0">
                    <a:pos x="136" y="361"/>
                  </a:cxn>
                  <a:cxn ang="0">
                    <a:pos x="130" y="358"/>
                  </a:cxn>
                  <a:cxn ang="0">
                    <a:pos x="134" y="346"/>
                  </a:cxn>
                  <a:cxn ang="0">
                    <a:pos x="136" y="329"/>
                  </a:cxn>
                  <a:cxn ang="0">
                    <a:pos x="130" y="305"/>
                  </a:cxn>
                  <a:cxn ang="0">
                    <a:pos x="121" y="297"/>
                  </a:cxn>
                  <a:cxn ang="0">
                    <a:pos x="113" y="275"/>
                  </a:cxn>
                  <a:cxn ang="0">
                    <a:pos x="111" y="248"/>
                  </a:cxn>
                  <a:cxn ang="0">
                    <a:pos x="106" y="241"/>
                  </a:cxn>
                  <a:cxn ang="0">
                    <a:pos x="92" y="224"/>
                  </a:cxn>
                  <a:cxn ang="0">
                    <a:pos x="92" y="228"/>
                  </a:cxn>
                  <a:cxn ang="0">
                    <a:pos x="83" y="237"/>
                  </a:cxn>
                  <a:cxn ang="0">
                    <a:pos x="77" y="245"/>
                  </a:cxn>
                  <a:cxn ang="0">
                    <a:pos x="62" y="252"/>
                  </a:cxn>
                  <a:cxn ang="0">
                    <a:pos x="51" y="258"/>
                  </a:cxn>
                  <a:cxn ang="0">
                    <a:pos x="49" y="248"/>
                  </a:cxn>
                  <a:cxn ang="0">
                    <a:pos x="53" y="224"/>
                  </a:cxn>
                  <a:cxn ang="0">
                    <a:pos x="45" y="205"/>
                  </a:cxn>
                  <a:cxn ang="0">
                    <a:pos x="32" y="186"/>
                  </a:cxn>
                  <a:cxn ang="0">
                    <a:pos x="21" y="184"/>
                  </a:cxn>
                  <a:cxn ang="0">
                    <a:pos x="28" y="184"/>
                  </a:cxn>
                  <a:cxn ang="0">
                    <a:pos x="28" y="173"/>
                  </a:cxn>
                  <a:cxn ang="0">
                    <a:pos x="13" y="169"/>
                  </a:cxn>
                  <a:cxn ang="0">
                    <a:pos x="11" y="169"/>
                  </a:cxn>
                  <a:cxn ang="0">
                    <a:pos x="0" y="147"/>
                  </a:cxn>
                  <a:cxn ang="0">
                    <a:pos x="10" y="130"/>
                  </a:cxn>
                  <a:cxn ang="0">
                    <a:pos x="17" y="109"/>
                  </a:cxn>
                  <a:cxn ang="0">
                    <a:pos x="28" y="90"/>
                  </a:cxn>
                  <a:cxn ang="0">
                    <a:pos x="38" y="53"/>
                  </a:cxn>
                  <a:cxn ang="0">
                    <a:pos x="53" y="22"/>
                  </a:cxn>
                  <a:cxn ang="0">
                    <a:pos x="72" y="13"/>
                  </a:cxn>
                  <a:cxn ang="0">
                    <a:pos x="74" y="2"/>
                  </a:cxn>
                  <a:cxn ang="0">
                    <a:pos x="26" y="194"/>
                  </a:cxn>
                </a:cxnLst>
                <a:rect l="0" t="0" r="r" b="b"/>
                <a:pathLst>
                  <a:path w="162" h="371">
                    <a:moveTo>
                      <a:pt x="74" y="2"/>
                    </a:moveTo>
                    <a:lnTo>
                      <a:pt x="77" y="0"/>
                    </a:lnTo>
                    <a:lnTo>
                      <a:pt x="81" y="2"/>
                    </a:lnTo>
                    <a:lnTo>
                      <a:pt x="83" y="0"/>
                    </a:lnTo>
                    <a:lnTo>
                      <a:pt x="87" y="0"/>
                    </a:lnTo>
                    <a:lnTo>
                      <a:pt x="90" y="5"/>
                    </a:lnTo>
                    <a:lnTo>
                      <a:pt x="94" y="7"/>
                    </a:lnTo>
                    <a:lnTo>
                      <a:pt x="94" y="15"/>
                    </a:lnTo>
                    <a:lnTo>
                      <a:pt x="98" y="15"/>
                    </a:lnTo>
                    <a:lnTo>
                      <a:pt x="102" y="17"/>
                    </a:lnTo>
                    <a:lnTo>
                      <a:pt x="102" y="22"/>
                    </a:lnTo>
                    <a:lnTo>
                      <a:pt x="106" y="28"/>
                    </a:lnTo>
                    <a:lnTo>
                      <a:pt x="106" y="36"/>
                    </a:lnTo>
                    <a:lnTo>
                      <a:pt x="104" y="41"/>
                    </a:lnTo>
                    <a:lnTo>
                      <a:pt x="104" y="47"/>
                    </a:lnTo>
                    <a:lnTo>
                      <a:pt x="104" y="47"/>
                    </a:lnTo>
                    <a:lnTo>
                      <a:pt x="100" y="51"/>
                    </a:lnTo>
                    <a:lnTo>
                      <a:pt x="100" y="53"/>
                    </a:lnTo>
                    <a:lnTo>
                      <a:pt x="98" y="54"/>
                    </a:lnTo>
                    <a:lnTo>
                      <a:pt x="96" y="56"/>
                    </a:lnTo>
                    <a:lnTo>
                      <a:pt x="98" y="60"/>
                    </a:lnTo>
                    <a:lnTo>
                      <a:pt x="96" y="62"/>
                    </a:lnTo>
                    <a:lnTo>
                      <a:pt x="94" y="62"/>
                    </a:lnTo>
                    <a:lnTo>
                      <a:pt x="90" y="64"/>
                    </a:lnTo>
                    <a:lnTo>
                      <a:pt x="90" y="68"/>
                    </a:lnTo>
                    <a:lnTo>
                      <a:pt x="92" y="69"/>
                    </a:lnTo>
                    <a:lnTo>
                      <a:pt x="90" y="71"/>
                    </a:lnTo>
                    <a:lnTo>
                      <a:pt x="90" y="75"/>
                    </a:lnTo>
                    <a:lnTo>
                      <a:pt x="92" y="75"/>
                    </a:lnTo>
                    <a:lnTo>
                      <a:pt x="94" y="79"/>
                    </a:lnTo>
                    <a:lnTo>
                      <a:pt x="98" y="81"/>
                    </a:lnTo>
                    <a:lnTo>
                      <a:pt x="96" y="86"/>
                    </a:lnTo>
                    <a:lnTo>
                      <a:pt x="98" y="90"/>
                    </a:lnTo>
                    <a:lnTo>
                      <a:pt x="104" y="86"/>
                    </a:lnTo>
                    <a:lnTo>
                      <a:pt x="111" y="85"/>
                    </a:lnTo>
                    <a:lnTo>
                      <a:pt x="111" y="88"/>
                    </a:lnTo>
                    <a:lnTo>
                      <a:pt x="111" y="90"/>
                    </a:lnTo>
                    <a:lnTo>
                      <a:pt x="113" y="92"/>
                    </a:lnTo>
                    <a:lnTo>
                      <a:pt x="117" y="92"/>
                    </a:lnTo>
                    <a:lnTo>
                      <a:pt x="121" y="94"/>
                    </a:lnTo>
                    <a:lnTo>
                      <a:pt x="117" y="96"/>
                    </a:lnTo>
                    <a:lnTo>
                      <a:pt x="121" y="102"/>
                    </a:lnTo>
                    <a:lnTo>
                      <a:pt x="124" y="102"/>
                    </a:lnTo>
                    <a:lnTo>
                      <a:pt x="124" y="102"/>
                    </a:lnTo>
                    <a:lnTo>
                      <a:pt x="124" y="105"/>
                    </a:lnTo>
                    <a:lnTo>
                      <a:pt x="126" y="105"/>
                    </a:lnTo>
                    <a:lnTo>
                      <a:pt x="132" y="105"/>
                    </a:lnTo>
                    <a:lnTo>
                      <a:pt x="136" y="105"/>
                    </a:lnTo>
                    <a:lnTo>
                      <a:pt x="136" y="109"/>
                    </a:lnTo>
                    <a:lnTo>
                      <a:pt x="134" y="111"/>
                    </a:lnTo>
                    <a:lnTo>
                      <a:pt x="134" y="115"/>
                    </a:lnTo>
                    <a:lnTo>
                      <a:pt x="130" y="120"/>
                    </a:lnTo>
                    <a:lnTo>
                      <a:pt x="126" y="124"/>
                    </a:lnTo>
                    <a:lnTo>
                      <a:pt x="126" y="126"/>
                    </a:lnTo>
                    <a:lnTo>
                      <a:pt x="130" y="126"/>
                    </a:lnTo>
                    <a:lnTo>
                      <a:pt x="136" y="126"/>
                    </a:lnTo>
                    <a:lnTo>
                      <a:pt x="136" y="126"/>
                    </a:lnTo>
                    <a:lnTo>
                      <a:pt x="138" y="124"/>
                    </a:lnTo>
                    <a:lnTo>
                      <a:pt x="141" y="126"/>
                    </a:lnTo>
                    <a:lnTo>
                      <a:pt x="141" y="134"/>
                    </a:lnTo>
                    <a:lnTo>
                      <a:pt x="141" y="135"/>
                    </a:lnTo>
                    <a:lnTo>
                      <a:pt x="145" y="139"/>
                    </a:lnTo>
                    <a:lnTo>
                      <a:pt x="147" y="135"/>
                    </a:lnTo>
                    <a:lnTo>
                      <a:pt x="153" y="135"/>
                    </a:lnTo>
                    <a:lnTo>
                      <a:pt x="160" y="134"/>
                    </a:lnTo>
                    <a:lnTo>
                      <a:pt x="162" y="135"/>
                    </a:lnTo>
                    <a:lnTo>
                      <a:pt x="162" y="139"/>
                    </a:lnTo>
                    <a:lnTo>
                      <a:pt x="158" y="141"/>
                    </a:lnTo>
                    <a:lnTo>
                      <a:pt x="153" y="143"/>
                    </a:lnTo>
                    <a:lnTo>
                      <a:pt x="153" y="147"/>
                    </a:lnTo>
                    <a:lnTo>
                      <a:pt x="151" y="149"/>
                    </a:lnTo>
                    <a:lnTo>
                      <a:pt x="153" y="152"/>
                    </a:lnTo>
                    <a:lnTo>
                      <a:pt x="149" y="154"/>
                    </a:lnTo>
                    <a:lnTo>
                      <a:pt x="147" y="154"/>
                    </a:lnTo>
                    <a:lnTo>
                      <a:pt x="145" y="160"/>
                    </a:lnTo>
                    <a:lnTo>
                      <a:pt x="138" y="160"/>
                    </a:lnTo>
                    <a:lnTo>
                      <a:pt x="136" y="160"/>
                    </a:lnTo>
                    <a:lnTo>
                      <a:pt x="136" y="164"/>
                    </a:lnTo>
                    <a:lnTo>
                      <a:pt x="138" y="166"/>
                    </a:lnTo>
                    <a:lnTo>
                      <a:pt x="136" y="169"/>
                    </a:lnTo>
                    <a:lnTo>
                      <a:pt x="132" y="169"/>
                    </a:lnTo>
                    <a:lnTo>
                      <a:pt x="128" y="169"/>
                    </a:lnTo>
                    <a:lnTo>
                      <a:pt x="128" y="175"/>
                    </a:lnTo>
                    <a:lnTo>
                      <a:pt x="128" y="177"/>
                    </a:lnTo>
                    <a:lnTo>
                      <a:pt x="122" y="177"/>
                    </a:lnTo>
                    <a:lnTo>
                      <a:pt x="121" y="181"/>
                    </a:lnTo>
                    <a:lnTo>
                      <a:pt x="111" y="177"/>
                    </a:lnTo>
                    <a:lnTo>
                      <a:pt x="107" y="181"/>
                    </a:lnTo>
                    <a:lnTo>
                      <a:pt x="111" y="188"/>
                    </a:lnTo>
                    <a:lnTo>
                      <a:pt x="107" y="190"/>
                    </a:lnTo>
                    <a:lnTo>
                      <a:pt x="107" y="194"/>
                    </a:lnTo>
                    <a:lnTo>
                      <a:pt x="107" y="198"/>
                    </a:lnTo>
                    <a:lnTo>
                      <a:pt x="106" y="203"/>
                    </a:lnTo>
                    <a:lnTo>
                      <a:pt x="100" y="203"/>
                    </a:lnTo>
                    <a:lnTo>
                      <a:pt x="102" y="205"/>
                    </a:lnTo>
                    <a:lnTo>
                      <a:pt x="104" y="207"/>
                    </a:lnTo>
                    <a:lnTo>
                      <a:pt x="107" y="213"/>
                    </a:lnTo>
                    <a:lnTo>
                      <a:pt x="111" y="215"/>
                    </a:lnTo>
                    <a:lnTo>
                      <a:pt x="111" y="218"/>
                    </a:lnTo>
                    <a:lnTo>
                      <a:pt x="117" y="222"/>
                    </a:lnTo>
                    <a:lnTo>
                      <a:pt x="121" y="230"/>
                    </a:lnTo>
                    <a:lnTo>
                      <a:pt x="122" y="231"/>
                    </a:lnTo>
                    <a:lnTo>
                      <a:pt x="124" y="237"/>
                    </a:lnTo>
                    <a:lnTo>
                      <a:pt x="126" y="241"/>
                    </a:lnTo>
                    <a:lnTo>
                      <a:pt x="130" y="243"/>
                    </a:lnTo>
                    <a:lnTo>
                      <a:pt x="130" y="247"/>
                    </a:lnTo>
                    <a:lnTo>
                      <a:pt x="126" y="248"/>
                    </a:lnTo>
                    <a:lnTo>
                      <a:pt x="124" y="252"/>
                    </a:lnTo>
                    <a:lnTo>
                      <a:pt x="126" y="260"/>
                    </a:lnTo>
                    <a:lnTo>
                      <a:pt x="126" y="262"/>
                    </a:lnTo>
                    <a:lnTo>
                      <a:pt x="122" y="265"/>
                    </a:lnTo>
                    <a:lnTo>
                      <a:pt x="124" y="271"/>
                    </a:lnTo>
                    <a:lnTo>
                      <a:pt x="124" y="275"/>
                    </a:lnTo>
                    <a:lnTo>
                      <a:pt x="130" y="282"/>
                    </a:lnTo>
                    <a:lnTo>
                      <a:pt x="136" y="284"/>
                    </a:lnTo>
                    <a:lnTo>
                      <a:pt x="141" y="290"/>
                    </a:lnTo>
                    <a:lnTo>
                      <a:pt x="145" y="297"/>
                    </a:lnTo>
                    <a:lnTo>
                      <a:pt x="141" y="301"/>
                    </a:lnTo>
                    <a:lnTo>
                      <a:pt x="141" y="305"/>
                    </a:lnTo>
                    <a:lnTo>
                      <a:pt x="141" y="309"/>
                    </a:lnTo>
                    <a:lnTo>
                      <a:pt x="145" y="312"/>
                    </a:lnTo>
                    <a:lnTo>
                      <a:pt x="145" y="316"/>
                    </a:lnTo>
                    <a:lnTo>
                      <a:pt x="147" y="322"/>
                    </a:lnTo>
                    <a:lnTo>
                      <a:pt x="145" y="326"/>
                    </a:lnTo>
                    <a:lnTo>
                      <a:pt x="149" y="329"/>
                    </a:lnTo>
                    <a:lnTo>
                      <a:pt x="149" y="333"/>
                    </a:lnTo>
                    <a:lnTo>
                      <a:pt x="145" y="337"/>
                    </a:lnTo>
                    <a:lnTo>
                      <a:pt x="141" y="348"/>
                    </a:lnTo>
                    <a:lnTo>
                      <a:pt x="138" y="352"/>
                    </a:lnTo>
                    <a:lnTo>
                      <a:pt x="138" y="356"/>
                    </a:lnTo>
                    <a:lnTo>
                      <a:pt x="136" y="360"/>
                    </a:lnTo>
                    <a:lnTo>
                      <a:pt x="136" y="361"/>
                    </a:lnTo>
                    <a:lnTo>
                      <a:pt x="136" y="361"/>
                    </a:lnTo>
                    <a:lnTo>
                      <a:pt x="134" y="365"/>
                    </a:lnTo>
                    <a:lnTo>
                      <a:pt x="134" y="371"/>
                    </a:lnTo>
                    <a:lnTo>
                      <a:pt x="132" y="365"/>
                    </a:lnTo>
                    <a:lnTo>
                      <a:pt x="132" y="360"/>
                    </a:lnTo>
                    <a:lnTo>
                      <a:pt x="130" y="358"/>
                    </a:lnTo>
                    <a:lnTo>
                      <a:pt x="130" y="356"/>
                    </a:lnTo>
                    <a:lnTo>
                      <a:pt x="132" y="356"/>
                    </a:lnTo>
                    <a:lnTo>
                      <a:pt x="132" y="354"/>
                    </a:lnTo>
                    <a:lnTo>
                      <a:pt x="136" y="350"/>
                    </a:lnTo>
                    <a:lnTo>
                      <a:pt x="136" y="348"/>
                    </a:lnTo>
                    <a:lnTo>
                      <a:pt x="134" y="346"/>
                    </a:lnTo>
                    <a:lnTo>
                      <a:pt x="134" y="343"/>
                    </a:lnTo>
                    <a:lnTo>
                      <a:pt x="136" y="343"/>
                    </a:lnTo>
                    <a:lnTo>
                      <a:pt x="138" y="341"/>
                    </a:lnTo>
                    <a:lnTo>
                      <a:pt x="136" y="333"/>
                    </a:lnTo>
                    <a:lnTo>
                      <a:pt x="138" y="333"/>
                    </a:lnTo>
                    <a:lnTo>
                      <a:pt x="136" y="329"/>
                    </a:lnTo>
                    <a:lnTo>
                      <a:pt x="134" y="326"/>
                    </a:lnTo>
                    <a:lnTo>
                      <a:pt x="132" y="322"/>
                    </a:lnTo>
                    <a:lnTo>
                      <a:pt x="134" y="322"/>
                    </a:lnTo>
                    <a:lnTo>
                      <a:pt x="134" y="316"/>
                    </a:lnTo>
                    <a:lnTo>
                      <a:pt x="130" y="316"/>
                    </a:lnTo>
                    <a:lnTo>
                      <a:pt x="130" y="305"/>
                    </a:lnTo>
                    <a:lnTo>
                      <a:pt x="126" y="301"/>
                    </a:lnTo>
                    <a:lnTo>
                      <a:pt x="126" y="297"/>
                    </a:lnTo>
                    <a:lnTo>
                      <a:pt x="122" y="294"/>
                    </a:lnTo>
                    <a:lnTo>
                      <a:pt x="122" y="299"/>
                    </a:lnTo>
                    <a:lnTo>
                      <a:pt x="121" y="299"/>
                    </a:lnTo>
                    <a:lnTo>
                      <a:pt x="121" y="297"/>
                    </a:lnTo>
                    <a:lnTo>
                      <a:pt x="121" y="294"/>
                    </a:lnTo>
                    <a:lnTo>
                      <a:pt x="121" y="284"/>
                    </a:lnTo>
                    <a:lnTo>
                      <a:pt x="117" y="282"/>
                    </a:lnTo>
                    <a:lnTo>
                      <a:pt x="117" y="279"/>
                    </a:lnTo>
                    <a:lnTo>
                      <a:pt x="121" y="277"/>
                    </a:lnTo>
                    <a:lnTo>
                      <a:pt x="113" y="275"/>
                    </a:lnTo>
                    <a:lnTo>
                      <a:pt x="113" y="267"/>
                    </a:lnTo>
                    <a:lnTo>
                      <a:pt x="111" y="267"/>
                    </a:lnTo>
                    <a:lnTo>
                      <a:pt x="111" y="254"/>
                    </a:lnTo>
                    <a:lnTo>
                      <a:pt x="107" y="254"/>
                    </a:lnTo>
                    <a:lnTo>
                      <a:pt x="107" y="248"/>
                    </a:lnTo>
                    <a:lnTo>
                      <a:pt x="111" y="248"/>
                    </a:lnTo>
                    <a:lnTo>
                      <a:pt x="111" y="247"/>
                    </a:lnTo>
                    <a:lnTo>
                      <a:pt x="107" y="243"/>
                    </a:lnTo>
                    <a:lnTo>
                      <a:pt x="107" y="241"/>
                    </a:lnTo>
                    <a:lnTo>
                      <a:pt x="107" y="237"/>
                    </a:lnTo>
                    <a:lnTo>
                      <a:pt x="107" y="241"/>
                    </a:lnTo>
                    <a:lnTo>
                      <a:pt x="106" y="241"/>
                    </a:lnTo>
                    <a:lnTo>
                      <a:pt x="102" y="241"/>
                    </a:lnTo>
                    <a:lnTo>
                      <a:pt x="100" y="237"/>
                    </a:lnTo>
                    <a:lnTo>
                      <a:pt x="100" y="235"/>
                    </a:lnTo>
                    <a:lnTo>
                      <a:pt x="96" y="228"/>
                    </a:lnTo>
                    <a:lnTo>
                      <a:pt x="94" y="224"/>
                    </a:lnTo>
                    <a:lnTo>
                      <a:pt x="92" y="224"/>
                    </a:lnTo>
                    <a:lnTo>
                      <a:pt x="92" y="224"/>
                    </a:lnTo>
                    <a:lnTo>
                      <a:pt x="89" y="222"/>
                    </a:lnTo>
                    <a:lnTo>
                      <a:pt x="90" y="224"/>
                    </a:lnTo>
                    <a:lnTo>
                      <a:pt x="90" y="224"/>
                    </a:lnTo>
                    <a:lnTo>
                      <a:pt x="90" y="228"/>
                    </a:lnTo>
                    <a:lnTo>
                      <a:pt x="92" y="228"/>
                    </a:lnTo>
                    <a:lnTo>
                      <a:pt x="92" y="231"/>
                    </a:lnTo>
                    <a:lnTo>
                      <a:pt x="90" y="233"/>
                    </a:lnTo>
                    <a:lnTo>
                      <a:pt x="90" y="237"/>
                    </a:lnTo>
                    <a:lnTo>
                      <a:pt x="87" y="241"/>
                    </a:lnTo>
                    <a:lnTo>
                      <a:pt x="83" y="239"/>
                    </a:lnTo>
                    <a:lnTo>
                      <a:pt x="83" y="237"/>
                    </a:lnTo>
                    <a:lnTo>
                      <a:pt x="81" y="237"/>
                    </a:lnTo>
                    <a:lnTo>
                      <a:pt x="83" y="241"/>
                    </a:lnTo>
                    <a:lnTo>
                      <a:pt x="83" y="241"/>
                    </a:lnTo>
                    <a:lnTo>
                      <a:pt x="83" y="243"/>
                    </a:lnTo>
                    <a:lnTo>
                      <a:pt x="81" y="245"/>
                    </a:lnTo>
                    <a:lnTo>
                      <a:pt x="77" y="245"/>
                    </a:lnTo>
                    <a:lnTo>
                      <a:pt x="75" y="243"/>
                    </a:lnTo>
                    <a:lnTo>
                      <a:pt x="75" y="247"/>
                    </a:lnTo>
                    <a:lnTo>
                      <a:pt x="68" y="252"/>
                    </a:lnTo>
                    <a:lnTo>
                      <a:pt x="64" y="252"/>
                    </a:lnTo>
                    <a:lnTo>
                      <a:pt x="62" y="252"/>
                    </a:lnTo>
                    <a:lnTo>
                      <a:pt x="62" y="252"/>
                    </a:lnTo>
                    <a:lnTo>
                      <a:pt x="62" y="252"/>
                    </a:lnTo>
                    <a:lnTo>
                      <a:pt x="62" y="254"/>
                    </a:lnTo>
                    <a:lnTo>
                      <a:pt x="58" y="254"/>
                    </a:lnTo>
                    <a:lnTo>
                      <a:pt x="58" y="252"/>
                    </a:lnTo>
                    <a:lnTo>
                      <a:pt x="53" y="254"/>
                    </a:lnTo>
                    <a:lnTo>
                      <a:pt x="51" y="258"/>
                    </a:lnTo>
                    <a:lnTo>
                      <a:pt x="49" y="258"/>
                    </a:lnTo>
                    <a:lnTo>
                      <a:pt x="49" y="252"/>
                    </a:lnTo>
                    <a:lnTo>
                      <a:pt x="53" y="247"/>
                    </a:lnTo>
                    <a:lnTo>
                      <a:pt x="53" y="241"/>
                    </a:lnTo>
                    <a:lnTo>
                      <a:pt x="53" y="247"/>
                    </a:lnTo>
                    <a:lnTo>
                      <a:pt x="49" y="248"/>
                    </a:lnTo>
                    <a:lnTo>
                      <a:pt x="45" y="254"/>
                    </a:lnTo>
                    <a:lnTo>
                      <a:pt x="45" y="252"/>
                    </a:lnTo>
                    <a:lnTo>
                      <a:pt x="45" y="252"/>
                    </a:lnTo>
                    <a:lnTo>
                      <a:pt x="45" y="247"/>
                    </a:lnTo>
                    <a:lnTo>
                      <a:pt x="47" y="228"/>
                    </a:lnTo>
                    <a:lnTo>
                      <a:pt x="53" y="224"/>
                    </a:lnTo>
                    <a:lnTo>
                      <a:pt x="51" y="224"/>
                    </a:lnTo>
                    <a:lnTo>
                      <a:pt x="47" y="215"/>
                    </a:lnTo>
                    <a:lnTo>
                      <a:pt x="47" y="209"/>
                    </a:lnTo>
                    <a:lnTo>
                      <a:pt x="45" y="207"/>
                    </a:lnTo>
                    <a:lnTo>
                      <a:pt x="43" y="205"/>
                    </a:lnTo>
                    <a:lnTo>
                      <a:pt x="45" y="205"/>
                    </a:lnTo>
                    <a:lnTo>
                      <a:pt x="42" y="203"/>
                    </a:lnTo>
                    <a:lnTo>
                      <a:pt x="40" y="198"/>
                    </a:lnTo>
                    <a:lnTo>
                      <a:pt x="38" y="194"/>
                    </a:lnTo>
                    <a:lnTo>
                      <a:pt x="38" y="190"/>
                    </a:lnTo>
                    <a:lnTo>
                      <a:pt x="38" y="190"/>
                    </a:lnTo>
                    <a:lnTo>
                      <a:pt x="32" y="186"/>
                    </a:lnTo>
                    <a:lnTo>
                      <a:pt x="34" y="190"/>
                    </a:lnTo>
                    <a:lnTo>
                      <a:pt x="34" y="194"/>
                    </a:lnTo>
                    <a:lnTo>
                      <a:pt x="28" y="194"/>
                    </a:lnTo>
                    <a:lnTo>
                      <a:pt x="25" y="190"/>
                    </a:lnTo>
                    <a:lnTo>
                      <a:pt x="25" y="188"/>
                    </a:lnTo>
                    <a:lnTo>
                      <a:pt x="21" y="184"/>
                    </a:lnTo>
                    <a:lnTo>
                      <a:pt x="21" y="182"/>
                    </a:lnTo>
                    <a:lnTo>
                      <a:pt x="25" y="182"/>
                    </a:lnTo>
                    <a:lnTo>
                      <a:pt x="26" y="186"/>
                    </a:lnTo>
                    <a:lnTo>
                      <a:pt x="28" y="186"/>
                    </a:lnTo>
                    <a:lnTo>
                      <a:pt x="28" y="186"/>
                    </a:lnTo>
                    <a:lnTo>
                      <a:pt x="28" y="184"/>
                    </a:lnTo>
                    <a:lnTo>
                      <a:pt x="26" y="182"/>
                    </a:lnTo>
                    <a:lnTo>
                      <a:pt x="28" y="181"/>
                    </a:lnTo>
                    <a:lnTo>
                      <a:pt x="28" y="182"/>
                    </a:lnTo>
                    <a:lnTo>
                      <a:pt x="32" y="182"/>
                    </a:lnTo>
                    <a:lnTo>
                      <a:pt x="32" y="179"/>
                    </a:lnTo>
                    <a:lnTo>
                      <a:pt x="28" y="173"/>
                    </a:lnTo>
                    <a:lnTo>
                      <a:pt x="23" y="171"/>
                    </a:lnTo>
                    <a:lnTo>
                      <a:pt x="23" y="169"/>
                    </a:lnTo>
                    <a:lnTo>
                      <a:pt x="19" y="169"/>
                    </a:lnTo>
                    <a:lnTo>
                      <a:pt x="17" y="166"/>
                    </a:lnTo>
                    <a:lnTo>
                      <a:pt x="17" y="169"/>
                    </a:lnTo>
                    <a:lnTo>
                      <a:pt x="13" y="169"/>
                    </a:lnTo>
                    <a:lnTo>
                      <a:pt x="13" y="169"/>
                    </a:lnTo>
                    <a:lnTo>
                      <a:pt x="15" y="164"/>
                    </a:lnTo>
                    <a:lnTo>
                      <a:pt x="13" y="164"/>
                    </a:lnTo>
                    <a:lnTo>
                      <a:pt x="10" y="164"/>
                    </a:lnTo>
                    <a:lnTo>
                      <a:pt x="10" y="164"/>
                    </a:lnTo>
                    <a:lnTo>
                      <a:pt x="11" y="169"/>
                    </a:lnTo>
                    <a:lnTo>
                      <a:pt x="4" y="160"/>
                    </a:lnTo>
                    <a:lnTo>
                      <a:pt x="0" y="156"/>
                    </a:lnTo>
                    <a:lnTo>
                      <a:pt x="0" y="152"/>
                    </a:lnTo>
                    <a:lnTo>
                      <a:pt x="0" y="152"/>
                    </a:lnTo>
                    <a:lnTo>
                      <a:pt x="0" y="150"/>
                    </a:lnTo>
                    <a:lnTo>
                      <a:pt x="0" y="147"/>
                    </a:lnTo>
                    <a:lnTo>
                      <a:pt x="4" y="143"/>
                    </a:lnTo>
                    <a:lnTo>
                      <a:pt x="4" y="143"/>
                    </a:lnTo>
                    <a:lnTo>
                      <a:pt x="8" y="139"/>
                    </a:lnTo>
                    <a:lnTo>
                      <a:pt x="8" y="134"/>
                    </a:lnTo>
                    <a:lnTo>
                      <a:pt x="8" y="130"/>
                    </a:lnTo>
                    <a:lnTo>
                      <a:pt x="10" y="130"/>
                    </a:lnTo>
                    <a:lnTo>
                      <a:pt x="11" y="130"/>
                    </a:lnTo>
                    <a:lnTo>
                      <a:pt x="13" y="122"/>
                    </a:lnTo>
                    <a:lnTo>
                      <a:pt x="13" y="118"/>
                    </a:lnTo>
                    <a:lnTo>
                      <a:pt x="13" y="115"/>
                    </a:lnTo>
                    <a:lnTo>
                      <a:pt x="13" y="109"/>
                    </a:lnTo>
                    <a:lnTo>
                      <a:pt x="17" y="109"/>
                    </a:lnTo>
                    <a:lnTo>
                      <a:pt x="17" y="102"/>
                    </a:lnTo>
                    <a:lnTo>
                      <a:pt x="17" y="100"/>
                    </a:lnTo>
                    <a:lnTo>
                      <a:pt x="15" y="90"/>
                    </a:lnTo>
                    <a:lnTo>
                      <a:pt x="19" y="90"/>
                    </a:lnTo>
                    <a:lnTo>
                      <a:pt x="23" y="90"/>
                    </a:lnTo>
                    <a:lnTo>
                      <a:pt x="28" y="90"/>
                    </a:lnTo>
                    <a:lnTo>
                      <a:pt x="28" y="85"/>
                    </a:lnTo>
                    <a:lnTo>
                      <a:pt x="32" y="75"/>
                    </a:lnTo>
                    <a:lnTo>
                      <a:pt x="38" y="66"/>
                    </a:lnTo>
                    <a:lnTo>
                      <a:pt x="32" y="64"/>
                    </a:lnTo>
                    <a:lnTo>
                      <a:pt x="32" y="62"/>
                    </a:lnTo>
                    <a:lnTo>
                      <a:pt x="38" y="53"/>
                    </a:lnTo>
                    <a:lnTo>
                      <a:pt x="38" y="47"/>
                    </a:lnTo>
                    <a:lnTo>
                      <a:pt x="38" y="41"/>
                    </a:lnTo>
                    <a:lnTo>
                      <a:pt x="38" y="39"/>
                    </a:lnTo>
                    <a:lnTo>
                      <a:pt x="43" y="28"/>
                    </a:lnTo>
                    <a:lnTo>
                      <a:pt x="49" y="28"/>
                    </a:lnTo>
                    <a:lnTo>
                      <a:pt x="53" y="22"/>
                    </a:lnTo>
                    <a:lnTo>
                      <a:pt x="53" y="17"/>
                    </a:lnTo>
                    <a:lnTo>
                      <a:pt x="62" y="17"/>
                    </a:lnTo>
                    <a:lnTo>
                      <a:pt x="66" y="13"/>
                    </a:lnTo>
                    <a:lnTo>
                      <a:pt x="68" y="15"/>
                    </a:lnTo>
                    <a:lnTo>
                      <a:pt x="72" y="17"/>
                    </a:lnTo>
                    <a:lnTo>
                      <a:pt x="72" y="13"/>
                    </a:lnTo>
                    <a:lnTo>
                      <a:pt x="72" y="7"/>
                    </a:lnTo>
                    <a:lnTo>
                      <a:pt x="75" y="5"/>
                    </a:lnTo>
                    <a:lnTo>
                      <a:pt x="75" y="2"/>
                    </a:lnTo>
                    <a:lnTo>
                      <a:pt x="74" y="2"/>
                    </a:lnTo>
                    <a:lnTo>
                      <a:pt x="74" y="2"/>
                    </a:lnTo>
                    <a:lnTo>
                      <a:pt x="74" y="2"/>
                    </a:lnTo>
                    <a:lnTo>
                      <a:pt x="74" y="2"/>
                    </a:lnTo>
                    <a:close/>
                    <a:moveTo>
                      <a:pt x="25" y="196"/>
                    </a:moveTo>
                    <a:lnTo>
                      <a:pt x="25" y="199"/>
                    </a:lnTo>
                    <a:lnTo>
                      <a:pt x="28" y="203"/>
                    </a:lnTo>
                    <a:lnTo>
                      <a:pt x="28" y="198"/>
                    </a:lnTo>
                    <a:lnTo>
                      <a:pt x="26" y="194"/>
                    </a:lnTo>
                    <a:lnTo>
                      <a:pt x="25" y="196"/>
                    </a:lnTo>
                    <a:lnTo>
                      <a:pt x="25" y="196"/>
                    </a:lnTo>
                    <a:lnTo>
                      <a:pt x="25" y="19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5" name="Freeform 187"/>
              <p:cNvSpPr>
                <a:spLocks noEditPoints="1"/>
              </p:cNvSpPr>
              <p:nvPr/>
            </p:nvSpPr>
            <p:spPr bwMode="auto">
              <a:xfrm>
                <a:off x="4351" y="2574"/>
                <a:ext cx="100" cy="128"/>
              </a:xfrm>
              <a:custGeom>
                <a:avLst/>
                <a:gdLst/>
                <a:ahLst/>
                <a:cxnLst>
                  <a:cxn ang="0">
                    <a:pos x="96" y="113"/>
                  </a:cxn>
                  <a:cxn ang="0">
                    <a:pos x="90" y="122"/>
                  </a:cxn>
                  <a:cxn ang="0">
                    <a:pos x="84" y="113"/>
                  </a:cxn>
                  <a:cxn ang="0">
                    <a:pos x="84" y="109"/>
                  </a:cxn>
                  <a:cxn ang="0">
                    <a:pos x="81" y="103"/>
                  </a:cxn>
                  <a:cxn ang="0">
                    <a:pos x="73" y="83"/>
                  </a:cxn>
                  <a:cxn ang="0">
                    <a:pos x="66" y="85"/>
                  </a:cxn>
                  <a:cxn ang="0">
                    <a:pos x="54" y="79"/>
                  </a:cxn>
                  <a:cxn ang="0">
                    <a:pos x="54" y="83"/>
                  </a:cxn>
                  <a:cxn ang="0">
                    <a:pos x="54" y="96"/>
                  </a:cxn>
                  <a:cxn ang="0">
                    <a:pos x="49" y="98"/>
                  </a:cxn>
                  <a:cxn ang="0">
                    <a:pos x="43" y="100"/>
                  </a:cxn>
                  <a:cxn ang="0">
                    <a:pos x="43" y="86"/>
                  </a:cxn>
                  <a:cxn ang="0">
                    <a:pos x="39" y="96"/>
                  </a:cxn>
                  <a:cxn ang="0">
                    <a:pos x="39" y="103"/>
                  </a:cxn>
                  <a:cxn ang="0">
                    <a:pos x="34" y="105"/>
                  </a:cxn>
                  <a:cxn ang="0">
                    <a:pos x="28" y="96"/>
                  </a:cxn>
                  <a:cxn ang="0">
                    <a:pos x="19" y="73"/>
                  </a:cxn>
                  <a:cxn ang="0">
                    <a:pos x="13" y="53"/>
                  </a:cxn>
                  <a:cxn ang="0">
                    <a:pos x="7" y="37"/>
                  </a:cxn>
                  <a:cxn ang="0">
                    <a:pos x="19" y="30"/>
                  </a:cxn>
                  <a:cxn ang="0">
                    <a:pos x="7" y="24"/>
                  </a:cxn>
                  <a:cxn ang="0">
                    <a:pos x="5" y="7"/>
                  </a:cxn>
                  <a:cxn ang="0">
                    <a:pos x="7" y="0"/>
                  </a:cxn>
                  <a:cxn ang="0">
                    <a:pos x="13" y="11"/>
                  </a:cxn>
                  <a:cxn ang="0">
                    <a:pos x="19" y="7"/>
                  </a:cxn>
                  <a:cxn ang="0">
                    <a:pos x="28" y="11"/>
                  </a:cxn>
                  <a:cxn ang="0">
                    <a:pos x="34" y="21"/>
                  </a:cxn>
                  <a:cxn ang="0">
                    <a:pos x="39" y="30"/>
                  </a:cxn>
                  <a:cxn ang="0">
                    <a:pos x="58" y="32"/>
                  </a:cxn>
                  <a:cxn ang="0">
                    <a:pos x="75" y="32"/>
                  </a:cxn>
                  <a:cxn ang="0">
                    <a:pos x="81" y="39"/>
                  </a:cxn>
                  <a:cxn ang="0">
                    <a:pos x="75" y="54"/>
                  </a:cxn>
                  <a:cxn ang="0">
                    <a:pos x="69" y="56"/>
                  </a:cxn>
                  <a:cxn ang="0">
                    <a:pos x="69" y="68"/>
                  </a:cxn>
                  <a:cxn ang="0">
                    <a:pos x="75" y="79"/>
                  </a:cxn>
                  <a:cxn ang="0">
                    <a:pos x="79" y="70"/>
                  </a:cxn>
                  <a:cxn ang="0">
                    <a:pos x="81" y="66"/>
                  </a:cxn>
                  <a:cxn ang="0">
                    <a:pos x="88" y="70"/>
                  </a:cxn>
                  <a:cxn ang="0">
                    <a:pos x="94" y="90"/>
                  </a:cxn>
                  <a:cxn ang="0">
                    <a:pos x="100" y="102"/>
                  </a:cxn>
                  <a:cxn ang="0">
                    <a:pos x="100" y="103"/>
                  </a:cxn>
                  <a:cxn ang="0">
                    <a:pos x="69" y="88"/>
                  </a:cxn>
                  <a:cxn ang="0">
                    <a:pos x="73" y="88"/>
                  </a:cxn>
                  <a:cxn ang="0">
                    <a:pos x="64" y="90"/>
                  </a:cxn>
                  <a:cxn ang="0">
                    <a:pos x="69" y="88"/>
                  </a:cxn>
                  <a:cxn ang="0">
                    <a:pos x="64" y="86"/>
                  </a:cxn>
                  <a:cxn ang="0">
                    <a:pos x="54" y="86"/>
                  </a:cxn>
                  <a:cxn ang="0">
                    <a:pos x="60" y="88"/>
                  </a:cxn>
                </a:cxnLst>
                <a:rect l="0" t="0" r="r" b="b"/>
                <a:pathLst>
                  <a:path w="100" h="128">
                    <a:moveTo>
                      <a:pt x="100" y="103"/>
                    </a:moveTo>
                    <a:lnTo>
                      <a:pt x="100" y="109"/>
                    </a:lnTo>
                    <a:lnTo>
                      <a:pt x="96" y="113"/>
                    </a:lnTo>
                    <a:lnTo>
                      <a:pt x="96" y="113"/>
                    </a:lnTo>
                    <a:lnTo>
                      <a:pt x="92" y="115"/>
                    </a:lnTo>
                    <a:lnTo>
                      <a:pt x="90" y="118"/>
                    </a:lnTo>
                    <a:lnTo>
                      <a:pt x="90" y="122"/>
                    </a:lnTo>
                    <a:lnTo>
                      <a:pt x="90" y="122"/>
                    </a:lnTo>
                    <a:lnTo>
                      <a:pt x="92" y="128"/>
                    </a:lnTo>
                    <a:lnTo>
                      <a:pt x="90" y="128"/>
                    </a:lnTo>
                    <a:lnTo>
                      <a:pt x="88" y="118"/>
                    </a:lnTo>
                    <a:lnTo>
                      <a:pt x="84" y="113"/>
                    </a:lnTo>
                    <a:lnTo>
                      <a:pt x="84" y="113"/>
                    </a:lnTo>
                    <a:lnTo>
                      <a:pt x="84" y="109"/>
                    </a:lnTo>
                    <a:lnTo>
                      <a:pt x="84" y="107"/>
                    </a:lnTo>
                    <a:lnTo>
                      <a:pt x="84" y="109"/>
                    </a:lnTo>
                    <a:lnTo>
                      <a:pt x="81" y="109"/>
                    </a:lnTo>
                    <a:lnTo>
                      <a:pt x="81" y="109"/>
                    </a:lnTo>
                    <a:lnTo>
                      <a:pt x="81" y="105"/>
                    </a:lnTo>
                    <a:lnTo>
                      <a:pt x="81" y="103"/>
                    </a:lnTo>
                    <a:lnTo>
                      <a:pt x="81" y="100"/>
                    </a:lnTo>
                    <a:lnTo>
                      <a:pt x="81" y="96"/>
                    </a:lnTo>
                    <a:lnTo>
                      <a:pt x="79" y="94"/>
                    </a:lnTo>
                    <a:lnTo>
                      <a:pt x="73" y="83"/>
                    </a:lnTo>
                    <a:lnTo>
                      <a:pt x="73" y="83"/>
                    </a:lnTo>
                    <a:lnTo>
                      <a:pt x="73" y="83"/>
                    </a:lnTo>
                    <a:lnTo>
                      <a:pt x="69" y="83"/>
                    </a:lnTo>
                    <a:lnTo>
                      <a:pt x="66" y="85"/>
                    </a:lnTo>
                    <a:lnTo>
                      <a:pt x="58" y="83"/>
                    </a:lnTo>
                    <a:lnTo>
                      <a:pt x="58" y="79"/>
                    </a:lnTo>
                    <a:lnTo>
                      <a:pt x="58" y="79"/>
                    </a:lnTo>
                    <a:lnTo>
                      <a:pt x="54" y="79"/>
                    </a:lnTo>
                    <a:lnTo>
                      <a:pt x="52" y="73"/>
                    </a:lnTo>
                    <a:lnTo>
                      <a:pt x="52" y="79"/>
                    </a:lnTo>
                    <a:lnTo>
                      <a:pt x="54" y="83"/>
                    </a:lnTo>
                    <a:lnTo>
                      <a:pt x="54" y="83"/>
                    </a:lnTo>
                    <a:lnTo>
                      <a:pt x="49" y="85"/>
                    </a:lnTo>
                    <a:lnTo>
                      <a:pt x="54" y="86"/>
                    </a:lnTo>
                    <a:lnTo>
                      <a:pt x="54" y="90"/>
                    </a:lnTo>
                    <a:lnTo>
                      <a:pt x="54" y="96"/>
                    </a:lnTo>
                    <a:lnTo>
                      <a:pt x="52" y="98"/>
                    </a:lnTo>
                    <a:lnTo>
                      <a:pt x="49" y="103"/>
                    </a:lnTo>
                    <a:lnTo>
                      <a:pt x="47" y="102"/>
                    </a:lnTo>
                    <a:lnTo>
                      <a:pt x="49" y="98"/>
                    </a:lnTo>
                    <a:lnTo>
                      <a:pt x="49" y="98"/>
                    </a:lnTo>
                    <a:lnTo>
                      <a:pt x="49" y="96"/>
                    </a:lnTo>
                    <a:lnTo>
                      <a:pt x="47" y="96"/>
                    </a:lnTo>
                    <a:lnTo>
                      <a:pt x="43" y="100"/>
                    </a:lnTo>
                    <a:lnTo>
                      <a:pt x="43" y="96"/>
                    </a:lnTo>
                    <a:lnTo>
                      <a:pt x="43" y="90"/>
                    </a:lnTo>
                    <a:lnTo>
                      <a:pt x="43" y="88"/>
                    </a:lnTo>
                    <a:lnTo>
                      <a:pt x="43" y="86"/>
                    </a:lnTo>
                    <a:lnTo>
                      <a:pt x="43" y="88"/>
                    </a:lnTo>
                    <a:lnTo>
                      <a:pt x="43" y="92"/>
                    </a:lnTo>
                    <a:lnTo>
                      <a:pt x="39" y="96"/>
                    </a:lnTo>
                    <a:lnTo>
                      <a:pt x="39" y="96"/>
                    </a:lnTo>
                    <a:lnTo>
                      <a:pt x="43" y="100"/>
                    </a:lnTo>
                    <a:lnTo>
                      <a:pt x="43" y="103"/>
                    </a:lnTo>
                    <a:lnTo>
                      <a:pt x="39" y="105"/>
                    </a:lnTo>
                    <a:lnTo>
                      <a:pt x="39" y="103"/>
                    </a:lnTo>
                    <a:lnTo>
                      <a:pt x="37" y="103"/>
                    </a:lnTo>
                    <a:lnTo>
                      <a:pt x="34" y="103"/>
                    </a:lnTo>
                    <a:lnTo>
                      <a:pt x="34" y="105"/>
                    </a:lnTo>
                    <a:lnTo>
                      <a:pt x="34" y="105"/>
                    </a:lnTo>
                    <a:lnTo>
                      <a:pt x="32" y="103"/>
                    </a:lnTo>
                    <a:lnTo>
                      <a:pt x="28" y="100"/>
                    </a:lnTo>
                    <a:lnTo>
                      <a:pt x="28" y="102"/>
                    </a:lnTo>
                    <a:lnTo>
                      <a:pt x="28" y="96"/>
                    </a:lnTo>
                    <a:lnTo>
                      <a:pt x="26" y="92"/>
                    </a:lnTo>
                    <a:lnTo>
                      <a:pt x="26" y="86"/>
                    </a:lnTo>
                    <a:lnTo>
                      <a:pt x="19" y="79"/>
                    </a:lnTo>
                    <a:lnTo>
                      <a:pt x="19" y="73"/>
                    </a:lnTo>
                    <a:lnTo>
                      <a:pt x="19" y="70"/>
                    </a:lnTo>
                    <a:lnTo>
                      <a:pt x="19" y="66"/>
                    </a:lnTo>
                    <a:lnTo>
                      <a:pt x="19" y="58"/>
                    </a:lnTo>
                    <a:lnTo>
                      <a:pt x="13" y="53"/>
                    </a:lnTo>
                    <a:lnTo>
                      <a:pt x="7" y="53"/>
                    </a:lnTo>
                    <a:lnTo>
                      <a:pt x="5" y="45"/>
                    </a:lnTo>
                    <a:lnTo>
                      <a:pt x="5" y="37"/>
                    </a:lnTo>
                    <a:lnTo>
                      <a:pt x="7" y="37"/>
                    </a:lnTo>
                    <a:lnTo>
                      <a:pt x="7" y="34"/>
                    </a:lnTo>
                    <a:lnTo>
                      <a:pt x="13" y="32"/>
                    </a:lnTo>
                    <a:lnTo>
                      <a:pt x="13" y="34"/>
                    </a:lnTo>
                    <a:lnTo>
                      <a:pt x="19" y="30"/>
                    </a:lnTo>
                    <a:lnTo>
                      <a:pt x="17" y="26"/>
                    </a:lnTo>
                    <a:lnTo>
                      <a:pt x="17" y="22"/>
                    </a:lnTo>
                    <a:lnTo>
                      <a:pt x="13" y="22"/>
                    </a:lnTo>
                    <a:lnTo>
                      <a:pt x="7" y="24"/>
                    </a:lnTo>
                    <a:lnTo>
                      <a:pt x="0" y="21"/>
                    </a:lnTo>
                    <a:lnTo>
                      <a:pt x="0" y="17"/>
                    </a:lnTo>
                    <a:lnTo>
                      <a:pt x="4" y="11"/>
                    </a:lnTo>
                    <a:lnTo>
                      <a:pt x="5" y="7"/>
                    </a:lnTo>
                    <a:lnTo>
                      <a:pt x="4" y="7"/>
                    </a:lnTo>
                    <a:lnTo>
                      <a:pt x="4" y="4"/>
                    </a:lnTo>
                    <a:lnTo>
                      <a:pt x="5" y="4"/>
                    </a:lnTo>
                    <a:lnTo>
                      <a:pt x="7" y="0"/>
                    </a:lnTo>
                    <a:lnTo>
                      <a:pt x="7" y="4"/>
                    </a:lnTo>
                    <a:lnTo>
                      <a:pt x="11" y="7"/>
                    </a:lnTo>
                    <a:lnTo>
                      <a:pt x="11" y="7"/>
                    </a:lnTo>
                    <a:lnTo>
                      <a:pt x="13" y="11"/>
                    </a:lnTo>
                    <a:lnTo>
                      <a:pt x="19" y="11"/>
                    </a:lnTo>
                    <a:lnTo>
                      <a:pt x="19" y="9"/>
                    </a:lnTo>
                    <a:lnTo>
                      <a:pt x="17" y="9"/>
                    </a:lnTo>
                    <a:lnTo>
                      <a:pt x="19" y="7"/>
                    </a:lnTo>
                    <a:lnTo>
                      <a:pt x="19" y="7"/>
                    </a:lnTo>
                    <a:lnTo>
                      <a:pt x="22" y="9"/>
                    </a:lnTo>
                    <a:lnTo>
                      <a:pt x="22" y="11"/>
                    </a:lnTo>
                    <a:lnTo>
                      <a:pt x="28" y="11"/>
                    </a:lnTo>
                    <a:lnTo>
                      <a:pt x="28" y="11"/>
                    </a:lnTo>
                    <a:lnTo>
                      <a:pt x="28" y="9"/>
                    </a:lnTo>
                    <a:lnTo>
                      <a:pt x="34" y="15"/>
                    </a:lnTo>
                    <a:lnTo>
                      <a:pt x="34" y="21"/>
                    </a:lnTo>
                    <a:lnTo>
                      <a:pt x="34" y="22"/>
                    </a:lnTo>
                    <a:lnTo>
                      <a:pt x="34" y="26"/>
                    </a:lnTo>
                    <a:lnTo>
                      <a:pt x="34" y="30"/>
                    </a:lnTo>
                    <a:lnTo>
                      <a:pt x="39" y="30"/>
                    </a:lnTo>
                    <a:lnTo>
                      <a:pt x="43" y="30"/>
                    </a:lnTo>
                    <a:lnTo>
                      <a:pt x="47" y="32"/>
                    </a:lnTo>
                    <a:lnTo>
                      <a:pt x="52" y="32"/>
                    </a:lnTo>
                    <a:lnTo>
                      <a:pt x="58" y="32"/>
                    </a:lnTo>
                    <a:lnTo>
                      <a:pt x="64" y="32"/>
                    </a:lnTo>
                    <a:lnTo>
                      <a:pt x="73" y="32"/>
                    </a:lnTo>
                    <a:lnTo>
                      <a:pt x="75" y="32"/>
                    </a:lnTo>
                    <a:lnTo>
                      <a:pt x="75" y="32"/>
                    </a:lnTo>
                    <a:lnTo>
                      <a:pt x="79" y="32"/>
                    </a:lnTo>
                    <a:lnTo>
                      <a:pt x="81" y="34"/>
                    </a:lnTo>
                    <a:lnTo>
                      <a:pt x="84" y="34"/>
                    </a:lnTo>
                    <a:lnTo>
                      <a:pt x="81" y="39"/>
                    </a:lnTo>
                    <a:lnTo>
                      <a:pt x="81" y="43"/>
                    </a:lnTo>
                    <a:lnTo>
                      <a:pt x="79" y="53"/>
                    </a:lnTo>
                    <a:lnTo>
                      <a:pt x="75" y="53"/>
                    </a:lnTo>
                    <a:lnTo>
                      <a:pt x="75" y="54"/>
                    </a:lnTo>
                    <a:lnTo>
                      <a:pt x="75" y="56"/>
                    </a:lnTo>
                    <a:lnTo>
                      <a:pt x="73" y="56"/>
                    </a:lnTo>
                    <a:lnTo>
                      <a:pt x="73" y="54"/>
                    </a:lnTo>
                    <a:lnTo>
                      <a:pt x="69" y="56"/>
                    </a:lnTo>
                    <a:lnTo>
                      <a:pt x="66" y="60"/>
                    </a:lnTo>
                    <a:lnTo>
                      <a:pt x="64" y="60"/>
                    </a:lnTo>
                    <a:lnTo>
                      <a:pt x="64" y="64"/>
                    </a:lnTo>
                    <a:lnTo>
                      <a:pt x="69" y="68"/>
                    </a:lnTo>
                    <a:lnTo>
                      <a:pt x="69" y="70"/>
                    </a:lnTo>
                    <a:lnTo>
                      <a:pt x="69" y="70"/>
                    </a:lnTo>
                    <a:lnTo>
                      <a:pt x="73" y="73"/>
                    </a:lnTo>
                    <a:lnTo>
                      <a:pt x="75" y="79"/>
                    </a:lnTo>
                    <a:lnTo>
                      <a:pt x="79" y="79"/>
                    </a:lnTo>
                    <a:lnTo>
                      <a:pt x="79" y="73"/>
                    </a:lnTo>
                    <a:lnTo>
                      <a:pt x="79" y="73"/>
                    </a:lnTo>
                    <a:lnTo>
                      <a:pt x="79" y="70"/>
                    </a:lnTo>
                    <a:lnTo>
                      <a:pt x="79" y="70"/>
                    </a:lnTo>
                    <a:lnTo>
                      <a:pt x="81" y="68"/>
                    </a:lnTo>
                    <a:lnTo>
                      <a:pt x="79" y="66"/>
                    </a:lnTo>
                    <a:lnTo>
                      <a:pt x="81" y="66"/>
                    </a:lnTo>
                    <a:lnTo>
                      <a:pt x="84" y="66"/>
                    </a:lnTo>
                    <a:lnTo>
                      <a:pt x="86" y="66"/>
                    </a:lnTo>
                    <a:lnTo>
                      <a:pt x="88" y="68"/>
                    </a:lnTo>
                    <a:lnTo>
                      <a:pt x="88" y="70"/>
                    </a:lnTo>
                    <a:lnTo>
                      <a:pt x="90" y="77"/>
                    </a:lnTo>
                    <a:lnTo>
                      <a:pt x="90" y="79"/>
                    </a:lnTo>
                    <a:lnTo>
                      <a:pt x="92" y="83"/>
                    </a:lnTo>
                    <a:lnTo>
                      <a:pt x="94" y="90"/>
                    </a:lnTo>
                    <a:lnTo>
                      <a:pt x="94" y="94"/>
                    </a:lnTo>
                    <a:lnTo>
                      <a:pt x="96" y="98"/>
                    </a:lnTo>
                    <a:lnTo>
                      <a:pt x="100" y="100"/>
                    </a:lnTo>
                    <a:lnTo>
                      <a:pt x="100" y="102"/>
                    </a:lnTo>
                    <a:lnTo>
                      <a:pt x="100" y="103"/>
                    </a:lnTo>
                    <a:lnTo>
                      <a:pt x="100" y="103"/>
                    </a:lnTo>
                    <a:lnTo>
                      <a:pt x="100" y="103"/>
                    </a:lnTo>
                    <a:lnTo>
                      <a:pt x="100" y="103"/>
                    </a:lnTo>
                    <a:lnTo>
                      <a:pt x="100" y="103"/>
                    </a:lnTo>
                    <a:close/>
                    <a:moveTo>
                      <a:pt x="73" y="88"/>
                    </a:moveTo>
                    <a:lnTo>
                      <a:pt x="73" y="86"/>
                    </a:lnTo>
                    <a:lnTo>
                      <a:pt x="69" y="88"/>
                    </a:lnTo>
                    <a:lnTo>
                      <a:pt x="69" y="92"/>
                    </a:lnTo>
                    <a:lnTo>
                      <a:pt x="73" y="90"/>
                    </a:lnTo>
                    <a:lnTo>
                      <a:pt x="73" y="88"/>
                    </a:lnTo>
                    <a:lnTo>
                      <a:pt x="73" y="88"/>
                    </a:lnTo>
                    <a:lnTo>
                      <a:pt x="73" y="88"/>
                    </a:lnTo>
                    <a:lnTo>
                      <a:pt x="73" y="88"/>
                    </a:lnTo>
                    <a:close/>
                    <a:moveTo>
                      <a:pt x="64" y="86"/>
                    </a:moveTo>
                    <a:lnTo>
                      <a:pt x="64" y="90"/>
                    </a:lnTo>
                    <a:lnTo>
                      <a:pt x="64" y="94"/>
                    </a:lnTo>
                    <a:lnTo>
                      <a:pt x="66" y="96"/>
                    </a:lnTo>
                    <a:lnTo>
                      <a:pt x="69" y="92"/>
                    </a:lnTo>
                    <a:lnTo>
                      <a:pt x="69" y="88"/>
                    </a:lnTo>
                    <a:lnTo>
                      <a:pt x="64" y="85"/>
                    </a:lnTo>
                    <a:lnTo>
                      <a:pt x="64" y="85"/>
                    </a:lnTo>
                    <a:lnTo>
                      <a:pt x="64" y="86"/>
                    </a:lnTo>
                    <a:lnTo>
                      <a:pt x="64" y="86"/>
                    </a:lnTo>
                    <a:lnTo>
                      <a:pt x="64" y="86"/>
                    </a:lnTo>
                    <a:lnTo>
                      <a:pt x="64" y="86"/>
                    </a:lnTo>
                    <a:close/>
                    <a:moveTo>
                      <a:pt x="58" y="85"/>
                    </a:moveTo>
                    <a:lnTo>
                      <a:pt x="54" y="86"/>
                    </a:lnTo>
                    <a:lnTo>
                      <a:pt x="54" y="86"/>
                    </a:lnTo>
                    <a:lnTo>
                      <a:pt x="58" y="94"/>
                    </a:lnTo>
                    <a:lnTo>
                      <a:pt x="60" y="94"/>
                    </a:lnTo>
                    <a:lnTo>
                      <a:pt x="60" y="88"/>
                    </a:lnTo>
                    <a:lnTo>
                      <a:pt x="58" y="85"/>
                    </a:lnTo>
                    <a:lnTo>
                      <a:pt x="58" y="85"/>
                    </a:lnTo>
                    <a:lnTo>
                      <a:pt x="58" y="8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6" name="Freeform 188"/>
              <p:cNvSpPr>
                <a:spLocks/>
              </p:cNvSpPr>
              <p:nvPr/>
            </p:nvSpPr>
            <p:spPr bwMode="auto">
              <a:xfrm>
                <a:off x="4366" y="2547"/>
                <a:ext cx="58" cy="38"/>
              </a:xfrm>
              <a:custGeom>
                <a:avLst/>
                <a:gdLst/>
                <a:ahLst/>
                <a:cxnLst>
                  <a:cxn ang="0">
                    <a:pos x="4" y="17"/>
                  </a:cxn>
                  <a:cxn ang="0">
                    <a:pos x="5" y="16"/>
                  </a:cxn>
                  <a:cxn ang="0">
                    <a:pos x="9" y="8"/>
                  </a:cxn>
                  <a:cxn ang="0">
                    <a:pos x="21" y="2"/>
                  </a:cxn>
                  <a:cxn ang="0">
                    <a:pos x="26" y="0"/>
                  </a:cxn>
                  <a:cxn ang="0">
                    <a:pos x="28" y="4"/>
                  </a:cxn>
                  <a:cxn ang="0">
                    <a:pos x="37" y="6"/>
                  </a:cxn>
                  <a:cxn ang="0">
                    <a:pos x="41" y="8"/>
                  </a:cxn>
                  <a:cxn ang="0">
                    <a:pos x="45" y="4"/>
                  </a:cxn>
                  <a:cxn ang="0">
                    <a:pos x="49" y="6"/>
                  </a:cxn>
                  <a:cxn ang="0">
                    <a:pos x="54" y="8"/>
                  </a:cxn>
                  <a:cxn ang="0">
                    <a:pos x="54" y="8"/>
                  </a:cxn>
                  <a:cxn ang="0">
                    <a:pos x="54" y="14"/>
                  </a:cxn>
                  <a:cxn ang="0">
                    <a:pos x="54" y="17"/>
                  </a:cxn>
                  <a:cxn ang="0">
                    <a:pos x="58" y="21"/>
                  </a:cxn>
                  <a:cxn ang="0">
                    <a:pos x="58" y="27"/>
                  </a:cxn>
                  <a:cxn ang="0">
                    <a:pos x="58" y="29"/>
                  </a:cxn>
                  <a:cxn ang="0">
                    <a:pos x="51" y="32"/>
                  </a:cxn>
                  <a:cxn ang="0">
                    <a:pos x="45" y="32"/>
                  </a:cxn>
                  <a:cxn ang="0">
                    <a:pos x="41" y="34"/>
                  </a:cxn>
                  <a:cxn ang="0">
                    <a:pos x="36" y="32"/>
                  </a:cxn>
                  <a:cxn ang="0">
                    <a:pos x="32" y="32"/>
                  </a:cxn>
                  <a:cxn ang="0">
                    <a:pos x="28" y="38"/>
                  </a:cxn>
                  <a:cxn ang="0">
                    <a:pos x="22" y="38"/>
                  </a:cxn>
                  <a:cxn ang="0">
                    <a:pos x="15" y="32"/>
                  </a:cxn>
                  <a:cxn ang="0">
                    <a:pos x="11" y="34"/>
                  </a:cxn>
                  <a:cxn ang="0">
                    <a:pos x="5" y="32"/>
                  </a:cxn>
                  <a:cxn ang="0">
                    <a:pos x="0" y="27"/>
                  </a:cxn>
                  <a:cxn ang="0">
                    <a:pos x="4" y="23"/>
                  </a:cxn>
                  <a:cxn ang="0">
                    <a:pos x="4" y="17"/>
                  </a:cxn>
                  <a:cxn ang="0">
                    <a:pos x="4" y="17"/>
                  </a:cxn>
                  <a:cxn ang="0">
                    <a:pos x="4" y="17"/>
                  </a:cxn>
                </a:cxnLst>
                <a:rect l="0" t="0" r="r" b="b"/>
                <a:pathLst>
                  <a:path w="58" h="38">
                    <a:moveTo>
                      <a:pt x="4" y="17"/>
                    </a:moveTo>
                    <a:lnTo>
                      <a:pt x="5" y="16"/>
                    </a:lnTo>
                    <a:lnTo>
                      <a:pt x="9" y="8"/>
                    </a:lnTo>
                    <a:lnTo>
                      <a:pt x="21" y="2"/>
                    </a:lnTo>
                    <a:lnTo>
                      <a:pt x="26" y="0"/>
                    </a:lnTo>
                    <a:lnTo>
                      <a:pt x="28" y="4"/>
                    </a:lnTo>
                    <a:lnTo>
                      <a:pt x="37" y="6"/>
                    </a:lnTo>
                    <a:lnTo>
                      <a:pt x="41" y="8"/>
                    </a:lnTo>
                    <a:lnTo>
                      <a:pt x="45" y="4"/>
                    </a:lnTo>
                    <a:lnTo>
                      <a:pt x="49" y="6"/>
                    </a:lnTo>
                    <a:lnTo>
                      <a:pt x="54" y="8"/>
                    </a:lnTo>
                    <a:lnTo>
                      <a:pt x="54" y="8"/>
                    </a:lnTo>
                    <a:lnTo>
                      <a:pt x="54" y="14"/>
                    </a:lnTo>
                    <a:lnTo>
                      <a:pt x="54" y="17"/>
                    </a:lnTo>
                    <a:lnTo>
                      <a:pt x="58" y="21"/>
                    </a:lnTo>
                    <a:lnTo>
                      <a:pt x="58" y="27"/>
                    </a:lnTo>
                    <a:lnTo>
                      <a:pt x="58" y="29"/>
                    </a:lnTo>
                    <a:lnTo>
                      <a:pt x="51" y="32"/>
                    </a:lnTo>
                    <a:lnTo>
                      <a:pt x="45" y="32"/>
                    </a:lnTo>
                    <a:lnTo>
                      <a:pt x="41" y="34"/>
                    </a:lnTo>
                    <a:lnTo>
                      <a:pt x="36" y="32"/>
                    </a:lnTo>
                    <a:lnTo>
                      <a:pt x="32" y="32"/>
                    </a:lnTo>
                    <a:lnTo>
                      <a:pt x="28" y="38"/>
                    </a:lnTo>
                    <a:lnTo>
                      <a:pt x="22" y="38"/>
                    </a:lnTo>
                    <a:lnTo>
                      <a:pt x="15" y="32"/>
                    </a:lnTo>
                    <a:lnTo>
                      <a:pt x="11" y="34"/>
                    </a:lnTo>
                    <a:lnTo>
                      <a:pt x="5" y="32"/>
                    </a:lnTo>
                    <a:lnTo>
                      <a:pt x="0" y="27"/>
                    </a:lnTo>
                    <a:lnTo>
                      <a:pt x="4" y="23"/>
                    </a:lnTo>
                    <a:lnTo>
                      <a:pt x="4" y="17"/>
                    </a:lnTo>
                    <a:lnTo>
                      <a:pt x="4" y="17"/>
                    </a:lnTo>
                    <a:lnTo>
                      <a:pt x="4"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7" name="Freeform 189"/>
              <p:cNvSpPr>
                <a:spLocks noEditPoints="1"/>
              </p:cNvSpPr>
              <p:nvPr/>
            </p:nvSpPr>
            <p:spPr bwMode="auto">
              <a:xfrm>
                <a:off x="5859" y="3399"/>
                <a:ext cx="43" cy="105"/>
              </a:xfrm>
              <a:custGeom>
                <a:avLst/>
                <a:gdLst/>
                <a:ahLst/>
                <a:cxnLst>
                  <a:cxn ang="0">
                    <a:pos x="43" y="102"/>
                  </a:cxn>
                  <a:cxn ang="0">
                    <a:pos x="41" y="102"/>
                  </a:cxn>
                  <a:cxn ang="0">
                    <a:pos x="41" y="98"/>
                  </a:cxn>
                  <a:cxn ang="0">
                    <a:pos x="41" y="98"/>
                  </a:cxn>
                  <a:cxn ang="0">
                    <a:pos x="41" y="85"/>
                  </a:cxn>
                  <a:cxn ang="0">
                    <a:pos x="37" y="88"/>
                  </a:cxn>
                  <a:cxn ang="0">
                    <a:pos x="39" y="83"/>
                  </a:cxn>
                  <a:cxn ang="0">
                    <a:pos x="39" y="83"/>
                  </a:cxn>
                  <a:cxn ang="0">
                    <a:pos x="26" y="60"/>
                  </a:cxn>
                  <a:cxn ang="0">
                    <a:pos x="32" y="60"/>
                  </a:cxn>
                  <a:cxn ang="0">
                    <a:pos x="30" y="66"/>
                  </a:cxn>
                  <a:cxn ang="0">
                    <a:pos x="26" y="60"/>
                  </a:cxn>
                  <a:cxn ang="0">
                    <a:pos x="26" y="60"/>
                  </a:cxn>
                  <a:cxn ang="0">
                    <a:pos x="30" y="2"/>
                  </a:cxn>
                  <a:cxn ang="0">
                    <a:pos x="30" y="13"/>
                  </a:cxn>
                  <a:cxn ang="0">
                    <a:pos x="30" y="2"/>
                  </a:cxn>
                  <a:cxn ang="0">
                    <a:pos x="30" y="2"/>
                  </a:cxn>
                  <a:cxn ang="0">
                    <a:pos x="20" y="15"/>
                  </a:cxn>
                  <a:cxn ang="0">
                    <a:pos x="26" y="13"/>
                  </a:cxn>
                  <a:cxn ang="0">
                    <a:pos x="22" y="13"/>
                  </a:cxn>
                  <a:cxn ang="0">
                    <a:pos x="20" y="15"/>
                  </a:cxn>
                  <a:cxn ang="0">
                    <a:pos x="20" y="15"/>
                  </a:cxn>
                  <a:cxn ang="0">
                    <a:pos x="30" y="17"/>
                  </a:cxn>
                  <a:cxn ang="0">
                    <a:pos x="32" y="24"/>
                  </a:cxn>
                  <a:cxn ang="0">
                    <a:pos x="30" y="26"/>
                  </a:cxn>
                  <a:cxn ang="0">
                    <a:pos x="30" y="21"/>
                  </a:cxn>
                  <a:cxn ang="0">
                    <a:pos x="30" y="17"/>
                  </a:cxn>
                  <a:cxn ang="0">
                    <a:pos x="30" y="17"/>
                  </a:cxn>
                  <a:cxn ang="0">
                    <a:pos x="28" y="41"/>
                  </a:cxn>
                  <a:cxn ang="0">
                    <a:pos x="33" y="45"/>
                  </a:cxn>
                  <a:cxn ang="0">
                    <a:pos x="26" y="45"/>
                  </a:cxn>
                  <a:cxn ang="0">
                    <a:pos x="26" y="45"/>
                  </a:cxn>
                  <a:cxn ang="0">
                    <a:pos x="26" y="34"/>
                  </a:cxn>
                  <a:cxn ang="0">
                    <a:pos x="30" y="34"/>
                  </a:cxn>
                  <a:cxn ang="0">
                    <a:pos x="32" y="38"/>
                  </a:cxn>
                  <a:cxn ang="0">
                    <a:pos x="28" y="39"/>
                  </a:cxn>
                  <a:cxn ang="0">
                    <a:pos x="22" y="38"/>
                  </a:cxn>
                  <a:cxn ang="0">
                    <a:pos x="26" y="34"/>
                  </a:cxn>
                  <a:cxn ang="0">
                    <a:pos x="26" y="34"/>
                  </a:cxn>
                  <a:cxn ang="0">
                    <a:pos x="13" y="26"/>
                  </a:cxn>
                  <a:cxn ang="0">
                    <a:pos x="16" y="32"/>
                  </a:cxn>
                  <a:cxn ang="0">
                    <a:pos x="20" y="39"/>
                  </a:cxn>
                  <a:cxn ang="0">
                    <a:pos x="13" y="41"/>
                  </a:cxn>
                  <a:cxn ang="0">
                    <a:pos x="13" y="34"/>
                  </a:cxn>
                  <a:cxn ang="0">
                    <a:pos x="13" y="30"/>
                  </a:cxn>
                  <a:cxn ang="0">
                    <a:pos x="11" y="26"/>
                  </a:cxn>
                  <a:cxn ang="0">
                    <a:pos x="11" y="26"/>
                  </a:cxn>
                  <a:cxn ang="0">
                    <a:pos x="11" y="26"/>
                  </a:cxn>
                  <a:cxn ang="0">
                    <a:pos x="0" y="5"/>
                  </a:cxn>
                  <a:cxn ang="0">
                    <a:pos x="1" y="15"/>
                  </a:cxn>
                  <a:cxn ang="0">
                    <a:pos x="7" y="21"/>
                  </a:cxn>
                  <a:cxn ang="0">
                    <a:pos x="11" y="17"/>
                  </a:cxn>
                  <a:cxn ang="0">
                    <a:pos x="13" y="13"/>
                  </a:cxn>
                  <a:cxn ang="0">
                    <a:pos x="13" y="5"/>
                  </a:cxn>
                  <a:cxn ang="0">
                    <a:pos x="7" y="5"/>
                  </a:cxn>
                  <a:cxn ang="0">
                    <a:pos x="7" y="9"/>
                  </a:cxn>
                  <a:cxn ang="0">
                    <a:pos x="5" y="2"/>
                  </a:cxn>
                  <a:cxn ang="0">
                    <a:pos x="1" y="0"/>
                  </a:cxn>
                  <a:cxn ang="0">
                    <a:pos x="1" y="0"/>
                  </a:cxn>
                </a:cxnLst>
                <a:rect l="0" t="0" r="r" b="b"/>
                <a:pathLst>
                  <a:path w="43" h="105">
                    <a:moveTo>
                      <a:pt x="41" y="98"/>
                    </a:moveTo>
                    <a:lnTo>
                      <a:pt x="43" y="102"/>
                    </a:lnTo>
                    <a:lnTo>
                      <a:pt x="43" y="105"/>
                    </a:lnTo>
                    <a:lnTo>
                      <a:pt x="41" y="102"/>
                    </a:lnTo>
                    <a:lnTo>
                      <a:pt x="41" y="98"/>
                    </a:lnTo>
                    <a:lnTo>
                      <a:pt x="41" y="98"/>
                    </a:lnTo>
                    <a:lnTo>
                      <a:pt x="41" y="98"/>
                    </a:lnTo>
                    <a:lnTo>
                      <a:pt x="41" y="98"/>
                    </a:lnTo>
                    <a:close/>
                    <a:moveTo>
                      <a:pt x="39" y="83"/>
                    </a:moveTo>
                    <a:lnTo>
                      <a:pt x="41" y="85"/>
                    </a:lnTo>
                    <a:lnTo>
                      <a:pt x="41" y="92"/>
                    </a:lnTo>
                    <a:lnTo>
                      <a:pt x="37" y="88"/>
                    </a:lnTo>
                    <a:lnTo>
                      <a:pt x="37" y="85"/>
                    </a:lnTo>
                    <a:lnTo>
                      <a:pt x="39" y="83"/>
                    </a:lnTo>
                    <a:lnTo>
                      <a:pt x="39" y="83"/>
                    </a:lnTo>
                    <a:lnTo>
                      <a:pt x="39" y="83"/>
                    </a:lnTo>
                    <a:lnTo>
                      <a:pt x="39" y="83"/>
                    </a:lnTo>
                    <a:close/>
                    <a:moveTo>
                      <a:pt x="26" y="60"/>
                    </a:moveTo>
                    <a:lnTo>
                      <a:pt x="30" y="60"/>
                    </a:lnTo>
                    <a:lnTo>
                      <a:pt x="32" y="60"/>
                    </a:lnTo>
                    <a:lnTo>
                      <a:pt x="32" y="64"/>
                    </a:lnTo>
                    <a:lnTo>
                      <a:pt x="30" y="66"/>
                    </a:lnTo>
                    <a:lnTo>
                      <a:pt x="26" y="64"/>
                    </a:lnTo>
                    <a:lnTo>
                      <a:pt x="26" y="60"/>
                    </a:lnTo>
                    <a:lnTo>
                      <a:pt x="26" y="60"/>
                    </a:lnTo>
                    <a:lnTo>
                      <a:pt x="26" y="60"/>
                    </a:lnTo>
                    <a:lnTo>
                      <a:pt x="26" y="60"/>
                    </a:lnTo>
                    <a:close/>
                    <a:moveTo>
                      <a:pt x="30" y="2"/>
                    </a:moveTo>
                    <a:lnTo>
                      <a:pt x="33" y="9"/>
                    </a:lnTo>
                    <a:lnTo>
                      <a:pt x="30" y="13"/>
                    </a:lnTo>
                    <a:lnTo>
                      <a:pt x="32" y="9"/>
                    </a:lnTo>
                    <a:lnTo>
                      <a:pt x="30" y="2"/>
                    </a:lnTo>
                    <a:lnTo>
                      <a:pt x="30" y="2"/>
                    </a:lnTo>
                    <a:lnTo>
                      <a:pt x="30" y="2"/>
                    </a:lnTo>
                    <a:lnTo>
                      <a:pt x="30" y="2"/>
                    </a:lnTo>
                    <a:close/>
                    <a:moveTo>
                      <a:pt x="20" y="15"/>
                    </a:moveTo>
                    <a:lnTo>
                      <a:pt x="26" y="17"/>
                    </a:lnTo>
                    <a:lnTo>
                      <a:pt x="26" y="13"/>
                    </a:lnTo>
                    <a:lnTo>
                      <a:pt x="28" y="11"/>
                    </a:lnTo>
                    <a:lnTo>
                      <a:pt x="22" y="13"/>
                    </a:lnTo>
                    <a:lnTo>
                      <a:pt x="22" y="13"/>
                    </a:lnTo>
                    <a:lnTo>
                      <a:pt x="20" y="15"/>
                    </a:lnTo>
                    <a:lnTo>
                      <a:pt x="20" y="15"/>
                    </a:lnTo>
                    <a:lnTo>
                      <a:pt x="20" y="15"/>
                    </a:lnTo>
                    <a:lnTo>
                      <a:pt x="20" y="15"/>
                    </a:lnTo>
                    <a:close/>
                    <a:moveTo>
                      <a:pt x="30" y="17"/>
                    </a:moveTo>
                    <a:lnTo>
                      <a:pt x="32" y="21"/>
                    </a:lnTo>
                    <a:lnTo>
                      <a:pt x="32" y="24"/>
                    </a:lnTo>
                    <a:lnTo>
                      <a:pt x="32" y="26"/>
                    </a:lnTo>
                    <a:lnTo>
                      <a:pt x="30" y="26"/>
                    </a:lnTo>
                    <a:lnTo>
                      <a:pt x="30" y="21"/>
                    </a:lnTo>
                    <a:lnTo>
                      <a:pt x="30" y="21"/>
                    </a:lnTo>
                    <a:lnTo>
                      <a:pt x="30" y="17"/>
                    </a:lnTo>
                    <a:lnTo>
                      <a:pt x="30" y="17"/>
                    </a:lnTo>
                    <a:lnTo>
                      <a:pt x="30" y="17"/>
                    </a:lnTo>
                    <a:lnTo>
                      <a:pt x="30" y="17"/>
                    </a:lnTo>
                    <a:close/>
                    <a:moveTo>
                      <a:pt x="26" y="45"/>
                    </a:moveTo>
                    <a:lnTo>
                      <a:pt x="28" y="41"/>
                    </a:lnTo>
                    <a:lnTo>
                      <a:pt x="32" y="45"/>
                    </a:lnTo>
                    <a:lnTo>
                      <a:pt x="33" y="45"/>
                    </a:lnTo>
                    <a:lnTo>
                      <a:pt x="28" y="45"/>
                    </a:lnTo>
                    <a:lnTo>
                      <a:pt x="26" y="45"/>
                    </a:lnTo>
                    <a:lnTo>
                      <a:pt x="26" y="45"/>
                    </a:lnTo>
                    <a:lnTo>
                      <a:pt x="26" y="45"/>
                    </a:lnTo>
                    <a:lnTo>
                      <a:pt x="26" y="45"/>
                    </a:lnTo>
                    <a:close/>
                    <a:moveTo>
                      <a:pt x="26" y="34"/>
                    </a:moveTo>
                    <a:lnTo>
                      <a:pt x="28" y="32"/>
                    </a:lnTo>
                    <a:lnTo>
                      <a:pt x="30" y="34"/>
                    </a:lnTo>
                    <a:lnTo>
                      <a:pt x="32" y="34"/>
                    </a:lnTo>
                    <a:lnTo>
                      <a:pt x="32" y="38"/>
                    </a:lnTo>
                    <a:lnTo>
                      <a:pt x="30" y="38"/>
                    </a:lnTo>
                    <a:lnTo>
                      <a:pt x="28" y="39"/>
                    </a:lnTo>
                    <a:lnTo>
                      <a:pt x="26" y="39"/>
                    </a:lnTo>
                    <a:lnTo>
                      <a:pt x="22" y="38"/>
                    </a:lnTo>
                    <a:lnTo>
                      <a:pt x="26" y="34"/>
                    </a:lnTo>
                    <a:lnTo>
                      <a:pt x="26" y="34"/>
                    </a:lnTo>
                    <a:lnTo>
                      <a:pt x="26" y="34"/>
                    </a:lnTo>
                    <a:lnTo>
                      <a:pt x="26" y="34"/>
                    </a:lnTo>
                    <a:close/>
                    <a:moveTo>
                      <a:pt x="11" y="26"/>
                    </a:moveTo>
                    <a:lnTo>
                      <a:pt x="13" y="26"/>
                    </a:lnTo>
                    <a:lnTo>
                      <a:pt x="16" y="30"/>
                    </a:lnTo>
                    <a:lnTo>
                      <a:pt x="16" y="32"/>
                    </a:lnTo>
                    <a:lnTo>
                      <a:pt x="20" y="36"/>
                    </a:lnTo>
                    <a:lnTo>
                      <a:pt x="20" y="39"/>
                    </a:lnTo>
                    <a:lnTo>
                      <a:pt x="16" y="39"/>
                    </a:lnTo>
                    <a:lnTo>
                      <a:pt x="13" y="41"/>
                    </a:lnTo>
                    <a:lnTo>
                      <a:pt x="13" y="39"/>
                    </a:lnTo>
                    <a:lnTo>
                      <a:pt x="13" y="34"/>
                    </a:lnTo>
                    <a:lnTo>
                      <a:pt x="16" y="32"/>
                    </a:lnTo>
                    <a:lnTo>
                      <a:pt x="13" y="30"/>
                    </a:lnTo>
                    <a:lnTo>
                      <a:pt x="11" y="30"/>
                    </a:lnTo>
                    <a:lnTo>
                      <a:pt x="11" y="26"/>
                    </a:lnTo>
                    <a:lnTo>
                      <a:pt x="11" y="26"/>
                    </a:lnTo>
                    <a:lnTo>
                      <a:pt x="11" y="26"/>
                    </a:lnTo>
                    <a:lnTo>
                      <a:pt x="11" y="26"/>
                    </a:lnTo>
                    <a:lnTo>
                      <a:pt x="11" y="26"/>
                    </a:lnTo>
                    <a:close/>
                    <a:moveTo>
                      <a:pt x="1" y="0"/>
                    </a:moveTo>
                    <a:lnTo>
                      <a:pt x="0" y="5"/>
                    </a:lnTo>
                    <a:lnTo>
                      <a:pt x="1" y="11"/>
                    </a:lnTo>
                    <a:lnTo>
                      <a:pt x="1" y="15"/>
                    </a:lnTo>
                    <a:lnTo>
                      <a:pt x="3" y="21"/>
                    </a:lnTo>
                    <a:lnTo>
                      <a:pt x="7" y="21"/>
                    </a:lnTo>
                    <a:lnTo>
                      <a:pt x="7" y="17"/>
                    </a:lnTo>
                    <a:lnTo>
                      <a:pt x="11" y="17"/>
                    </a:lnTo>
                    <a:lnTo>
                      <a:pt x="13" y="17"/>
                    </a:lnTo>
                    <a:lnTo>
                      <a:pt x="13" y="13"/>
                    </a:lnTo>
                    <a:lnTo>
                      <a:pt x="11" y="9"/>
                    </a:lnTo>
                    <a:lnTo>
                      <a:pt x="13" y="5"/>
                    </a:lnTo>
                    <a:lnTo>
                      <a:pt x="11" y="5"/>
                    </a:lnTo>
                    <a:lnTo>
                      <a:pt x="7" y="5"/>
                    </a:lnTo>
                    <a:lnTo>
                      <a:pt x="7" y="9"/>
                    </a:lnTo>
                    <a:lnTo>
                      <a:pt x="7" y="9"/>
                    </a:lnTo>
                    <a:lnTo>
                      <a:pt x="5" y="7"/>
                    </a:lnTo>
                    <a:lnTo>
                      <a:pt x="5" y="2"/>
                    </a:lnTo>
                    <a:lnTo>
                      <a:pt x="5" y="2"/>
                    </a:lnTo>
                    <a:lnTo>
                      <a:pt x="1" y="0"/>
                    </a:lnTo>
                    <a:lnTo>
                      <a:pt x="1" y="0"/>
                    </a:lnTo>
                    <a:lnTo>
                      <a:pt x="1" y="0"/>
                    </a:lnTo>
                    <a:lnTo>
                      <a:pt x="1"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8" name="Freeform 190"/>
              <p:cNvSpPr>
                <a:spLocks noEditPoints="1"/>
              </p:cNvSpPr>
              <p:nvPr/>
            </p:nvSpPr>
            <p:spPr bwMode="auto">
              <a:xfrm>
                <a:off x="5859" y="3399"/>
                <a:ext cx="43" cy="105"/>
              </a:xfrm>
              <a:custGeom>
                <a:avLst/>
                <a:gdLst/>
                <a:ahLst/>
                <a:cxnLst>
                  <a:cxn ang="0">
                    <a:pos x="43" y="102"/>
                  </a:cxn>
                  <a:cxn ang="0">
                    <a:pos x="41" y="102"/>
                  </a:cxn>
                  <a:cxn ang="0">
                    <a:pos x="41" y="98"/>
                  </a:cxn>
                  <a:cxn ang="0">
                    <a:pos x="41" y="98"/>
                  </a:cxn>
                  <a:cxn ang="0">
                    <a:pos x="41" y="85"/>
                  </a:cxn>
                  <a:cxn ang="0">
                    <a:pos x="37" y="88"/>
                  </a:cxn>
                  <a:cxn ang="0">
                    <a:pos x="39" y="83"/>
                  </a:cxn>
                  <a:cxn ang="0">
                    <a:pos x="39" y="83"/>
                  </a:cxn>
                  <a:cxn ang="0">
                    <a:pos x="26" y="60"/>
                  </a:cxn>
                  <a:cxn ang="0">
                    <a:pos x="32" y="60"/>
                  </a:cxn>
                  <a:cxn ang="0">
                    <a:pos x="30" y="66"/>
                  </a:cxn>
                  <a:cxn ang="0">
                    <a:pos x="26" y="60"/>
                  </a:cxn>
                  <a:cxn ang="0">
                    <a:pos x="26" y="60"/>
                  </a:cxn>
                  <a:cxn ang="0">
                    <a:pos x="30" y="2"/>
                  </a:cxn>
                  <a:cxn ang="0">
                    <a:pos x="30" y="13"/>
                  </a:cxn>
                  <a:cxn ang="0">
                    <a:pos x="30" y="2"/>
                  </a:cxn>
                  <a:cxn ang="0">
                    <a:pos x="30" y="2"/>
                  </a:cxn>
                  <a:cxn ang="0">
                    <a:pos x="20" y="15"/>
                  </a:cxn>
                  <a:cxn ang="0">
                    <a:pos x="26" y="13"/>
                  </a:cxn>
                  <a:cxn ang="0">
                    <a:pos x="22" y="13"/>
                  </a:cxn>
                  <a:cxn ang="0">
                    <a:pos x="20" y="15"/>
                  </a:cxn>
                  <a:cxn ang="0">
                    <a:pos x="20" y="15"/>
                  </a:cxn>
                  <a:cxn ang="0">
                    <a:pos x="30" y="17"/>
                  </a:cxn>
                  <a:cxn ang="0">
                    <a:pos x="32" y="24"/>
                  </a:cxn>
                  <a:cxn ang="0">
                    <a:pos x="30" y="26"/>
                  </a:cxn>
                  <a:cxn ang="0">
                    <a:pos x="30" y="21"/>
                  </a:cxn>
                  <a:cxn ang="0">
                    <a:pos x="30" y="17"/>
                  </a:cxn>
                  <a:cxn ang="0">
                    <a:pos x="30" y="17"/>
                  </a:cxn>
                  <a:cxn ang="0">
                    <a:pos x="28" y="41"/>
                  </a:cxn>
                  <a:cxn ang="0">
                    <a:pos x="33" y="45"/>
                  </a:cxn>
                  <a:cxn ang="0">
                    <a:pos x="26" y="45"/>
                  </a:cxn>
                  <a:cxn ang="0">
                    <a:pos x="26" y="45"/>
                  </a:cxn>
                  <a:cxn ang="0">
                    <a:pos x="26" y="34"/>
                  </a:cxn>
                  <a:cxn ang="0">
                    <a:pos x="30" y="34"/>
                  </a:cxn>
                  <a:cxn ang="0">
                    <a:pos x="32" y="38"/>
                  </a:cxn>
                  <a:cxn ang="0">
                    <a:pos x="28" y="39"/>
                  </a:cxn>
                  <a:cxn ang="0">
                    <a:pos x="22" y="38"/>
                  </a:cxn>
                  <a:cxn ang="0">
                    <a:pos x="26" y="34"/>
                  </a:cxn>
                  <a:cxn ang="0">
                    <a:pos x="26" y="34"/>
                  </a:cxn>
                  <a:cxn ang="0">
                    <a:pos x="13" y="26"/>
                  </a:cxn>
                  <a:cxn ang="0">
                    <a:pos x="16" y="32"/>
                  </a:cxn>
                  <a:cxn ang="0">
                    <a:pos x="20" y="39"/>
                  </a:cxn>
                  <a:cxn ang="0">
                    <a:pos x="13" y="41"/>
                  </a:cxn>
                  <a:cxn ang="0">
                    <a:pos x="13" y="34"/>
                  </a:cxn>
                  <a:cxn ang="0">
                    <a:pos x="13" y="30"/>
                  </a:cxn>
                  <a:cxn ang="0">
                    <a:pos x="11" y="26"/>
                  </a:cxn>
                  <a:cxn ang="0">
                    <a:pos x="11" y="26"/>
                  </a:cxn>
                  <a:cxn ang="0">
                    <a:pos x="11" y="26"/>
                  </a:cxn>
                  <a:cxn ang="0">
                    <a:pos x="0" y="5"/>
                  </a:cxn>
                  <a:cxn ang="0">
                    <a:pos x="1" y="15"/>
                  </a:cxn>
                  <a:cxn ang="0">
                    <a:pos x="7" y="21"/>
                  </a:cxn>
                  <a:cxn ang="0">
                    <a:pos x="11" y="17"/>
                  </a:cxn>
                  <a:cxn ang="0">
                    <a:pos x="13" y="13"/>
                  </a:cxn>
                  <a:cxn ang="0">
                    <a:pos x="13" y="5"/>
                  </a:cxn>
                  <a:cxn ang="0">
                    <a:pos x="7" y="5"/>
                  </a:cxn>
                  <a:cxn ang="0">
                    <a:pos x="7" y="9"/>
                  </a:cxn>
                  <a:cxn ang="0">
                    <a:pos x="5" y="2"/>
                  </a:cxn>
                  <a:cxn ang="0">
                    <a:pos x="1" y="0"/>
                  </a:cxn>
                  <a:cxn ang="0">
                    <a:pos x="1" y="0"/>
                  </a:cxn>
                </a:cxnLst>
                <a:rect l="0" t="0" r="r" b="b"/>
                <a:pathLst>
                  <a:path w="43" h="105">
                    <a:moveTo>
                      <a:pt x="41" y="98"/>
                    </a:moveTo>
                    <a:lnTo>
                      <a:pt x="43" y="102"/>
                    </a:lnTo>
                    <a:lnTo>
                      <a:pt x="43" y="105"/>
                    </a:lnTo>
                    <a:lnTo>
                      <a:pt x="41" y="102"/>
                    </a:lnTo>
                    <a:lnTo>
                      <a:pt x="41" y="98"/>
                    </a:lnTo>
                    <a:lnTo>
                      <a:pt x="41" y="98"/>
                    </a:lnTo>
                    <a:lnTo>
                      <a:pt x="41" y="98"/>
                    </a:lnTo>
                    <a:lnTo>
                      <a:pt x="41" y="98"/>
                    </a:lnTo>
                    <a:close/>
                    <a:moveTo>
                      <a:pt x="39" y="83"/>
                    </a:moveTo>
                    <a:lnTo>
                      <a:pt x="41" y="85"/>
                    </a:lnTo>
                    <a:lnTo>
                      <a:pt x="41" y="92"/>
                    </a:lnTo>
                    <a:lnTo>
                      <a:pt x="37" y="88"/>
                    </a:lnTo>
                    <a:lnTo>
                      <a:pt x="37" y="85"/>
                    </a:lnTo>
                    <a:lnTo>
                      <a:pt x="39" y="83"/>
                    </a:lnTo>
                    <a:lnTo>
                      <a:pt x="39" y="83"/>
                    </a:lnTo>
                    <a:lnTo>
                      <a:pt x="39" y="83"/>
                    </a:lnTo>
                    <a:lnTo>
                      <a:pt x="39" y="83"/>
                    </a:lnTo>
                    <a:close/>
                    <a:moveTo>
                      <a:pt x="26" y="60"/>
                    </a:moveTo>
                    <a:lnTo>
                      <a:pt x="30" y="60"/>
                    </a:lnTo>
                    <a:lnTo>
                      <a:pt x="32" y="60"/>
                    </a:lnTo>
                    <a:lnTo>
                      <a:pt x="32" y="64"/>
                    </a:lnTo>
                    <a:lnTo>
                      <a:pt x="30" y="66"/>
                    </a:lnTo>
                    <a:lnTo>
                      <a:pt x="26" y="64"/>
                    </a:lnTo>
                    <a:lnTo>
                      <a:pt x="26" y="60"/>
                    </a:lnTo>
                    <a:lnTo>
                      <a:pt x="26" y="60"/>
                    </a:lnTo>
                    <a:lnTo>
                      <a:pt x="26" y="60"/>
                    </a:lnTo>
                    <a:lnTo>
                      <a:pt x="26" y="60"/>
                    </a:lnTo>
                    <a:close/>
                    <a:moveTo>
                      <a:pt x="30" y="2"/>
                    </a:moveTo>
                    <a:lnTo>
                      <a:pt x="33" y="9"/>
                    </a:lnTo>
                    <a:lnTo>
                      <a:pt x="30" y="13"/>
                    </a:lnTo>
                    <a:lnTo>
                      <a:pt x="32" y="9"/>
                    </a:lnTo>
                    <a:lnTo>
                      <a:pt x="30" y="2"/>
                    </a:lnTo>
                    <a:lnTo>
                      <a:pt x="30" y="2"/>
                    </a:lnTo>
                    <a:lnTo>
                      <a:pt x="30" y="2"/>
                    </a:lnTo>
                    <a:lnTo>
                      <a:pt x="30" y="2"/>
                    </a:lnTo>
                    <a:close/>
                    <a:moveTo>
                      <a:pt x="20" y="15"/>
                    </a:moveTo>
                    <a:lnTo>
                      <a:pt x="26" y="17"/>
                    </a:lnTo>
                    <a:lnTo>
                      <a:pt x="26" y="13"/>
                    </a:lnTo>
                    <a:lnTo>
                      <a:pt x="28" y="11"/>
                    </a:lnTo>
                    <a:lnTo>
                      <a:pt x="22" y="13"/>
                    </a:lnTo>
                    <a:lnTo>
                      <a:pt x="22" y="13"/>
                    </a:lnTo>
                    <a:lnTo>
                      <a:pt x="20" y="15"/>
                    </a:lnTo>
                    <a:lnTo>
                      <a:pt x="20" y="15"/>
                    </a:lnTo>
                    <a:lnTo>
                      <a:pt x="20" y="15"/>
                    </a:lnTo>
                    <a:lnTo>
                      <a:pt x="20" y="15"/>
                    </a:lnTo>
                    <a:close/>
                    <a:moveTo>
                      <a:pt x="30" y="17"/>
                    </a:moveTo>
                    <a:lnTo>
                      <a:pt x="32" y="21"/>
                    </a:lnTo>
                    <a:lnTo>
                      <a:pt x="32" y="24"/>
                    </a:lnTo>
                    <a:lnTo>
                      <a:pt x="32" y="26"/>
                    </a:lnTo>
                    <a:lnTo>
                      <a:pt x="30" y="26"/>
                    </a:lnTo>
                    <a:lnTo>
                      <a:pt x="30" y="21"/>
                    </a:lnTo>
                    <a:lnTo>
                      <a:pt x="30" y="21"/>
                    </a:lnTo>
                    <a:lnTo>
                      <a:pt x="30" y="17"/>
                    </a:lnTo>
                    <a:lnTo>
                      <a:pt x="30" y="17"/>
                    </a:lnTo>
                    <a:lnTo>
                      <a:pt x="30" y="17"/>
                    </a:lnTo>
                    <a:lnTo>
                      <a:pt x="30" y="17"/>
                    </a:lnTo>
                    <a:close/>
                    <a:moveTo>
                      <a:pt x="26" y="45"/>
                    </a:moveTo>
                    <a:lnTo>
                      <a:pt x="28" y="41"/>
                    </a:lnTo>
                    <a:lnTo>
                      <a:pt x="32" y="45"/>
                    </a:lnTo>
                    <a:lnTo>
                      <a:pt x="33" y="45"/>
                    </a:lnTo>
                    <a:lnTo>
                      <a:pt x="28" y="45"/>
                    </a:lnTo>
                    <a:lnTo>
                      <a:pt x="26" y="45"/>
                    </a:lnTo>
                    <a:lnTo>
                      <a:pt x="26" y="45"/>
                    </a:lnTo>
                    <a:lnTo>
                      <a:pt x="26" y="45"/>
                    </a:lnTo>
                    <a:lnTo>
                      <a:pt x="26" y="45"/>
                    </a:lnTo>
                    <a:close/>
                    <a:moveTo>
                      <a:pt x="26" y="34"/>
                    </a:moveTo>
                    <a:lnTo>
                      <a:pt x="28" y="32"/>
                    </a:lnTo>
                    <a:lnTo>
                      <a:pt x="30" y="34"/>
                    </a:lnTo>
                    <a:lnTo>
                      <a:pt x="32" y="34"/>
                    </a:lnTo>
                    <a:lnTo>
                      <a:pt x="32" y="38"/>
                    </a:lnTo>
                    <a:lnTo>
                      <a:pt x="30" y="38"/>
                    </a:lnTo>
                    <a:lnTo>
                      <a:pt x="28" y="39"/>
                    </a:lnTo>
                    <a:lnTo>
                      <a:pt x="26" y="39"/>
                    </a:lnTo>
                    <a:lnTo>
                      <a:pt x="22" y="38"/>
                    </a:lnTo>
                    <a:lnTo>
                      <a:pt x="26" y="34"/>
                    </a:lnTo>
                    <a:lnTo>
                      <a:pt x="26" y="34"/>
                    </a:lnTo>
                    <a:lnTo>
                      <a:pt x="26" y="34"/>
                    </a:lnTo>
                    <a:lnTo>
                      <a:pt x="26" y="34"/>
                    </a:lnTo>
                    <a:close/>
                    <a:moveTo>
                      <a:pt x="11" y="26"/>
                    </a:moveTo>
                    <a:lnTo>
                      <a:pt x="13" y="26"/>
                    </a:lnTo>
                    <a:lnTo>
                      <a:pt x="16" y="30"/>
                    </a:lnTo>
                    <a:lnTo>
                      <a:pt x="16" y="32"/>
                    </a:lnTo>
                    <a:lnTo>
                      <a:pt x="20" y="36"/>
                    </a:lnTo>
                    <a:lnTo>
                      <a:pt x="20" y="39"/>
                    </a:lnTo>
                    <a:lnTo>
                      <a:pt x="16" y="39"/>
                    </a:lnTo>
                    <a:lnTo>
                      <a:pt x="13" y="41"/>
                    </a:lnTo>
                    <a:lnTo>
                      <a:pt x="13" y="39"/>
                    </a:lnTo>
                    <a:lnTo>
                      <a:pt x="13" y="34"/>
                    </a:lnTo>
                    <a:lnTo>
                      <a:pt x="16" y="32"/>
                    </a:lnTo>
                    <a:lnTo>
                      <a:pt x="13" y="30"/>
                    </a:lnTo>
                    <a:lnTo>
                      <a:pt x="11" y="30"/>
                    </a:lnTo>
                    <a:lnTo>
                      <a:pt x="11" y="26"/>
                    </a:lnTo>
                    <a:lnTo>
                      <a:pt x="11" y="26"/>
                    </a:lnTo>
                    <a:lnTo>
                      <a:pt x="11" y="26"/>
                    </a:lnTo>
                    <a:lnTo>
                      <a:pt x="11" y="26"/>
                    </a:lnTo>
                    <a:lnTo>
                      <a:pt x="11" y="26"/>
                    </a:lnTo>
                    <a:close/>
                    <a:moveTo>
                      <a:pt x="1" y="0"/>
                    </a:moveTo>
                    <a:lnTo>
                      <a:pt x="0" y="5"/>
                    </a:lnTo>
                    <a:lnTo>
                      <a:pt x="1" y="11"/>
                    </a:lnTo>
                    <a:lnTo>
                      <a:pt x="1" y="15"/>
                    </a:lnTo>
                    <a:lnTo>
                      <a:pt x="3" y="21"/>
                    </a:lnTo>
                    <a:lnTo>
                      <a:pt x="7" y="21"/>
                    </a:lnTo>
                    <a:lnTo>
                      <a:pt x="7" y="17"/>
                    </a:lnTo>
                    <a:lnTo>
                      <a:pt x="11" y="17"/>
                    </a:lnTo>
                    <a:lnTo>
                      <a:pt x="13" y="17"/>
                    </a:lnTo>
                    <a:lnTo>
                      <a:pt x="13" y="13"/>
                    </a:lnTo>
                    <a:lnTo>
                      <a:pt x="11" y="9"/>
                    </a:lnTo>
                    <a:lnTo>
                      <a:pt x="13" y="5"/>
                    </a:lnTo>
                    <a:lnTo>
                      <a:pt x="11" y="5"/>
                    </a:lnTo>
                    <a:lnTo>
                      <a:pt x="7" y="5"/>
                    </a:lnTo>
                    <a:lnTo>
                      <a:pt x="7" y="9"/>
                    </a:lnTo>
                    <a:lnTo>
                      <a:pt x="7" y="9"/>
                    </a:lnTo>
                    <a:lnTo>
                      <a:pt x="5" y="7"/>
                    </a:lnTo>
                    <a:lnTo>
                      <a:pt x="5" y="2"/>
                    </a:lnTo>
                    <a:lnTo>
                      <a:pt x="5" y="2"/>
                    </a:lnTo>
                    <a:lnTo>
                      <a:pt x="1" y="0"/>
                    </a:lnTo>
                    <a:lnTo>
                      <a:pt x="1" y="0"/>
                    </a:lnTo>
                    <a:lnTo>
                      <a:pt x="1" y="0"/>
                    </a:lnTo>
                    <a:lnTo>
                      <a:pt x="1"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9" name="Freeform 191"/>
              <p:cNvSpPr>
                <a:spLocks noEditPoints="1"/>
              </p:cNvSpPr>
              <p:nvPr/>
            </p:nvSpPr>
            <p:spPr bwMode="auto">
              <a:xfrm>
                <a:off x="5674" y="3224"/>
                <a:ext cx="185" cy="111"/>
              </a:xfrm>
              <a:custGeom>
                <a:avLst/>
                <a:gdLst/>
                <a:ahLst/>
                <a:cxnLst>
                  <a:cxn ang="0">
                    <a:pos x="183" y="92"/>
                  </a:cxn>
                  <a:cxn ang="0">
                    <a:pos x="177" y="94"/>
                  </a:cxn>
                  <a:cxn ang="0">
                    <a:pos x="177" y="92"/>
                  </a:cxn>
                  <a:cxn ang="0">
                    <a:pos x="72" y="107"/>
                  </a:cxn>
                  <a:cxn ang="0">
                    <a:pos x="77" y="111"/>
                  </a:cxn>
                  <a:cxn ang="0">
                    <a:pos x="70" y="109"/>
                  </a:cxn>
                  <a:cxn ang="0">
                    <a:pos x="70" y="107"/>
                  </a:cxn>
                  <a:cxn ang="0">
                    <a:pos x="100" y="83"/>
                  </a:cxn>
                  <a:cxn ang="0">
                    <a:pos x="111" y="92"/>
                  </a:cxn>
                  <a:cxn ang="0">
                    <a:pos x="109" y="94"/>
                  </a:cxn>
                  <a:cxn ang="0">
                    <a:pos x="98" y="86"/>
                  </a:cxn>
                  <a:cxn ang="0">
                    <a:pos x="96" y="83"/>
                  </a:cxn>
                  <a:cxn ang="0">
                    <a:pos x="72" y="64"/>
                  </a:cxn>
                  <a:cxn ang="0">
                    <a:pos x="85" y="69"/>
                  </a:cxn>
                  <a:cxn ang="0">
                    <a:pos x="85" y="75"/>
                  </a:cxn>
                  <a:cxn ang="0">
                    <a:pos x="75" y="73"/>
                  </a:cxn>
                  <a:cxn ang="0">
                    <a:pos x="66" y="60"/>
                  </a:cxn>
                  <a:cxn ang="0">
                    <a:pos x="70" y="60"/>
                  </a:cxn>
                  <a:cxn ang="0">
                    <a:pos x="75" y="54"/>
                  </a:cxn>
                  <a:cxn ang="0">
                    <a:pos x="81" y="56"/>
                  </a:cxn>
                  <a:cxn ang="0">
                    <a:pos x="81" y="56"/>
                  </a:cxn>
                  <a:cxn ang="0">
                    <a:pos x="85" y="47"/>
                  </a:cxn>
                  <a:cxn ang="0">
                    <a:pos x="89" y="56"/>
                  </a:cxn>
                  <a:cxn ang="0">
                    <a:pos x="100" y="69"/>
                  </a:cxn>
                  <a:cxn ang="0">
                    <a:pos x="100" y="62"/>
                  </a:cxn>
                  <a:cxn ang="0">
                    <a:pos x="90" y="51"/>
                  </a:cxn>
                  <a:cxn ang="0">
                    <a:pos x="85" y="41"/>
                  </a:cxn>
                  <a:cxn ang="0">
                    <a:pos x="85" y="41"/>
                  </a:cxn>
                  <a:cxn ang="0">
                    <a:pos x="57" y="32"/>
                  </a:cxn>
                  <a:cxn ang="0">
                    <a:pos x="66" y="41"/>
                  </a:cxn>
                  <a:cxn ang="0">
                    <a:pos x="64" y="47"/>
                  </a:cxn>
                  <a:cxn ang="0">
                    <a:pos x="58" y="37"/>
                  </a:cxn>
                  <a:cxn ang="0">
                    <a:pos x="45" y="26"/>
                  </a:cxn>
                  <a:cxn ang="0">
                    <a:pos x="45" y="26"/>
                  </a:cxn>
                  <a:cxn ang="0">
                    <a:pos x="36" y="49"/>
                  </a:cxn>
                  <a:cxn ang="0">
                    <a:pos x="32" y="47"/>
                  </a:cxn>
                  <a:cxn ang="0">
                    <a:pos x="32" y="47"/>
                  </a:cxn>
                  <a:cxn ang="0">
                    <a:pos x="26" y="47"/>
                  </a:cxn>
                  <a:cxn ang="0">
                    <a:pos x="21" y="47"/>
                  </a:cxn>
                  <a:cxn ang="0">
                    <a:pos x="21" y="41"/>
                  </a:cxn>
                  <a:cxn ang="0">
                    <a:pos x="26" y="43"/>
                  </a:cxn>
                  <a:cxn ang="0">
                    <a:pos x="32" y="41"/>
                  </a:cxn>
                  <a:cxn ang="0">
                    <a:pos x="26" y="35"/>
                  </a:cxn>
                  <a:cxn ang="0">
                    <a:pos x="21" y="41"/>
                  </a:cxn>
                  <a:cxn ang="0">
                    <a:pos x="21" y="41"/>
                  </a:cxn>
                  <a:cxn ang="0">
                    <a:pos x="21" y="35"/>
                  </a:cxn>
                  <a:cxn ang="0">
                    <a:pos x="17" y="35"/>
                  </a:cxn>
                  <a:cxn ang="0">
                    <a:pos x="17" y="34"/>
                  </a:cxn>
                  <a:cxn ang="0">
                    <a:pos x="9" y="28"/>
                  </a:cxn>
                  <a:cxn ang="0">
                    <a:pos x="11" y="34"/>
                  </a:cxn>
                  <a:cxn ang="0">
                    <a:pos x="9" y="28"/>
                  </a:cxn>
                  <a:cxn ang="0">
                    <a:pos x="9" y="28"/>
                  </a:cxn>
                  <a:cxn ang="0">
                    <a:pos x="9" y="3"/>
                  </a:cxn>
                  <a:cxn ang="0">
                    <a:pos x="9" y="0"/>
                  </a:cxn>
                  <a:cxn ang="0">
                    <a:pos x="8" y="7"/>
                  </a:cxn>
                  <a:cxn ang="0">
                    <a:pos x="21" y="22"/>
                  </a:cxn>
                  <a:cxn ang="0">
                    <a:pos x="26" y="20"/>
                  </a:cxn>
                  <a:cxn ang="0">
                    <a:pos x="21" y="13"/>
                  </a:cxn>
                  <a:cxn ang="0">
                    <a:pos x="11" y="7"/>
                  </a:cxn>
                  <a:cxn ang="0">
                    <a:pos x="9" y="5"/>
                  </a:cxn>
                  <a:cxn ang="0">
                    <a:pos x="0" y="11"/>
                  </a:cxn>
                  <a:cxn ang="0">
                    <a:pos x="2" y="11"/>
                  </a:cxn>
                </a:cxnLst>
                <a:rect l="0" t="0" r="r" b="b"/>
                <a:pathLst>
                  <a:path w="185" h="111">
                    <a:moveTo>
                      <a:pt x="177" y="92"/>
                    </a:moveTo>
                    <a:lnTo>
                      <a:pt x="179" y="92"/>
                    </a:lnTo>
                    <a:lnTo>
                      <a:pt x="183" y="92"/>
                    </a:lnTo>
                    <a:lnTo>
                      <a:pt x="185" y="92"/>
                    </a:lnTo>
                    <a:lnTo>
                      <a:pt x="181" y="98"/>
                    </a:lnTo>
                    <a:lnTo>
                      <a:pt x="177" y="94"/>
                    </a:lnTo>
                    <a:lnTo>
                      <a:pt x="177" y="92"/>
                    </a:lnTo>
                    <a:lnTo>
                      <a:pt x="177" y="92"/>
                    </a:lnTo>
                    <a:lnTo>
                      <a:pt x="177" y="92"/>
                    </a:lnTo>
                    <a:lnTo>
                      <a:pt x="177" y="92"/>
                    </a:lnTo>
                    <a:close/>
                    <a:moveTo>
                      <a:pt x="70" y="107"/>
                    </a:moveTo>
                    <a:lnTo>
                      <a:pt x="72" y="107"/>
                    </a:lnTo>
                    <a:lnTo>
                      <a:pt x="75" y="109"/>
                    </a:lnTo>
                    <a:lnTo>
                      <a:pt x="79" y="111"/>
                    </a:lnTo>
                    <a:lnTo>
                      <a:pt x="77" y="111"/>
                    </a:lnTo>
                    <a:lnTo>
                      <a:pt x="75" y="111"/>
                    </a:lnTo>
                    <a:lnTo>
                      <a:pt x="72" y="111"/>
                    </a:lnTo>
                    <a:lnTo>
                      <a:pt x="70" y="109"/>
                    </a:lnTo>
                    <a:lnTo>
                      <a:pt x="70" y="107"/>
                    </a:lnTo>
                    <a:lnTo>
                      <a:pt x="70" y="107"/>
                    </a:lnTo>
                    <a:lnTo>
                      <a:pt x="70" y="107"/>
                    </a:lnTo>
                    <a:lnTo>
                      <a:pt x="70" y="107"/>
                    </a:lnTo>
                    <a:close/>
                    <a:moveTo>
                      <a:pt x="96" y="83"/>
                    </a:moveTo>
                    <a:lnTo>
                      <a:pt x="100" y="83"/>
                    </a:lnTo>
                    <a:lnTo>
                      <a:pt x="102" y="86"/>
                    </a:lnTo>
                    <a:lnTo>
                      <a:pt x="111" y="88"/>
                    </a:lnTo>
                    <a:lnTo>
                      <a:pt x="111" y="92"/>
                    </a:lnTo>
                    <a:lnTo>
                      <a:pt x="111" y="92"/>
                    </a:lnTo>
                    <a:lnTo>
                      <a:pt x="115" y="94"/>
                    </a:lnTo>
                    <a:lnTo>
                      <a:pt x="109" y="94"/>
                    </a:lnTo>
                    <a:lnTo>
                      <a:pt x="102" y="92"/>
                    </a:lnTo>
                    <a:lnTo>
                      <a:pt x="98" y="88"/>
                    </a:lnTo>
                    <a:lnTo>
                      <a:pt x="98" y="86"/>
                    </a:lnTo>
                    <a:lnTo>
                      <a:pt x="96" y="83"/>
                    </a:lnTo>
                    <a:lnTo>
                      <a:pt x="96" y="83"/>
                    </a:lnTo>
                    <a:lnTo>
                      <a:pt x="96" y="83"/>
                    </a:lnTo>
                    <a:lnTo>
                      <a:pt x="96" y="83"/>
                    </a:lnTo>
                    <a:close/>
                    <a:moveTo>
                      <a:pt x="70" y="60"/>
                    </a:moveTo>
                    <a:lnTo>
                      <a:pt x="72" y="64"/>
                    </a:lnTo>
                    <a:lnTo>
                      <a:pt x="75" y="64"/>
                    </a:lnTo>
                    <a:lnTo>
                      <a:pt x="81" y="66"/>
                    </a:lnTo>
                    <a:lnTo>
                      <a:pt x="85" y="69"/>
                    </a:lnTo>
                    <a:lnTo>
                      <a:pt x="87" y="69"/>
                    </a:lnTo>
                    <a:lnTo>
                      <a:pt x="87" y="71"/>
                    </a:lnTo>
                    <a:lnTo>
                      <a:pt x="85" y="75"/>
                    </a:lnTo>
                    <a:lnTo>
                      <a:pt x="81" y="75"/>
                    </a:lnTo>
                    <a:lnTo>
                      <a:pt x="79" y="71"/>
                    </a:lnTo>
                    <a:lnTo>
                      <a:pt x="75" y="73"/>
                    </a:lnTo>
                    <a:lnTo>
                      <a:pt x="72" y="71"/>
                    </a:lnTo>
                    <a:lnTo>
                      <a:pt x="66" y="66"/>
                    </a:lnTo>
                    <a:lnTo>
                      <a:pt x="66" y="60"/>
                    </a:lnTo>
                    <a:lnTo>
                      <a:pt x="70" y="60"/>
                    </a:lnTo>
                    <a:lnTo>
                      <a:pt x="70" y="60"/>
                    </a:lnTo>
                    <a:lnTo>
                      <a:pt x="70" y="60"/>
                    </a:lnTo>
                    <a:lnTo>
                      <a:pt x="70" y="60"/>
                    </a:lnTo>
                    <a:close/>
                    <a:moveTo>
                      <a:pt x="81" y="56"/>
                    </a:moveTo>
                    <a:lnTo>
                      <a:pt x="75" y="54"/>
                    </a:lnTo>
                    <a:lnTo>
                      <a:pt x="77" y="58"/>
                    </a:lnTo>
                    <a:lnTo>
                      <a:pt x="81" y="58"/>
                    </a:lnTo>
                    <a:lnTo>
                      <a:pt x="81" y="56"/>
                    </a:lnTo>
                    <a:lnTo>
                      <a:pt x="81" y="56"/>
                    </a:lnTo>
                    <a:lnTo>
                      <a:pt x="81" y="56"/>
                    </a:lnTo>
                    <a:lnTo>
                      <a:pt x="81" y="56"/>
                    </a:lnTo>
                    <a:close/>
                    <a:moveTo>
                      <a:pt x="85" y="41"/>
                    </a:moveTo>
                    <a:lnTo>
                      <a:pt x="85" y="43"/>
                    </a:lnTo>
                    <a:lnTo>
                      <a:pt x="85" y="47"/>
                    </a:lnTo>
                    <a:lnTo>
                      <a:pt x="85" y="47"/>
                    </a:lnTo>
                    <a:lnTo>
                      <a:pt x="87" y="51"/>
                    </a:lnTo>
                    <a:lnTo>
                      <a:pt x="89" y="56"/>
                    </a:lnTo>
                    <a:lnTo>
                      <a:pt x="96" y="64"/>
                    </a:lnTo>
                    <a:lnTo>
                      <a:pt x="100" y="66"/>
                    </a:lnTo>
                    <a:lnTo>
                      <a:pt x="100" y="69"/>
                    </a:lnTo>
                    <a:lnTo>
                      <a:pt x="102" y="69"/>
                    </a:lnTo>
                    <a:lnTo>
                      <a:pt x="102" y="66"/>
                    </a:lnTo>
                    <a:lnTo>
                      <a:pt x="100" y="62"/>
                    </a:lnTo>
                    <a:lnTo>
                      <a:pt x="96" y="60"/>
                    </a:lnTo>
                    <a:lnTo>
                      <a:pt x="94" y="56"/>
                    </a:lnTo>
                    <a:lnTo>
                      <a:pt x="90" y="51"/>
                    </a:lnTo>
                    <a:lnTo>
                      <a:pt x="90" y="47"/>
                    </a:lnTo>
                    <a:lnTo>
                      <a:pt x="87" y="41"/>
                    </a:lnTo>
                    <a:lnTo>
                      <a:pt x="85" y="41"/>
                    </a:lnTo>
                    <a:lnTo>
                      <a:pt x="85" y="41"/>
                    </a:lnTo>
                    <a:lnTo>
                      <a:pt x="85" y="41"/>
                    </a:lnTo>
                    <a:lnTo>
                      <a:pt x="85" y="41"/>
                    </a:lnTo>
                    <a:close/>
                    <a:moveTo>
                      <a:pt x="45" y="26"/>
                    </a:moveTo>
                    <a:lnTo>
                      <a:pt x="51" y="26"/>
                    </a:lnTo>
                    <a:lnTo>
                      <a:pt x="57" y="32"/>
                    </a:lnTo>
                    <a:lnTo>
                      <a:pt x="62" y="34"/>
                    </a:lnTo>
                    <a:lnTo>
                      <a:pt x="70" y="41"/>
                    </a:lnTo>
                    <a:lnTo>
                      <a:pt x="66" y="41"/>
                    </a:lnTo>
                    <a:lnTo>
                      <a:pt x="70" y="47"/>
                    </a:lnTo>
                    <a:lnTo>
                      <a:pt x="66" y="43"/>
                    </a:lnTo>
                    <a:lnTo>
                      <a:pt x="64" y="47"/>
                    </a:lnTo>
                    <a:lnTo>
                      <a:pt x="64" y="43"/>
                    </a:lnTo>
                    <a:lnTo>
                      <a:pt x="62" y="41"/>
                    </a:lnTo>
                    <a:lnTo>
                      <a:pt x="58" y="37"/>
                    </a:lnTo>
                    <a:lnTo>
                      <a:pt x="49" y="28"/>
                    </a:lnTo>
                    <a:lnTo>
                      <a:pt x="49" y="28"/>
                    </a:lnTo>
                    <a:lnTo>
                      <a:pt x="45" y="26"/>
                    </a:lnTo>
                    <a:lnTo>
                      <a:pt x="45" y="26"/>
                    </a:lnTo>
                    <a:lnTo>
                      <a:pt x="45" y="26"/>
                    </a:lnTo>
                    <a:lnTo>
                      <a:pt x="45" y="26"/>
                    </a:lnTo>
                    <a:close/>
                    <a:moveTo>
                      <a:pt x="32" y="47"/>
                    </a:moveTo>
                    <a:lnTo>
                      <a:pt x="40" y="47"/>
                    </a:lnTo>
                    <a:lnTo>
                      <a:pt x="36" y="49"/>
                    </a:lnTo>
                    <a:lnTo>
                      <a:pt x="36" y="51"/>
                    </a:lnTo>
                    <a:lnTo>
                      <a:pt x="32" y="47"/>
                    </a:lnTo>
                    <a:lnTo>
                      <a:pt x="32" y="47"/>
                    </a:lnTo>
                    <a:lnTo>
                      <a:pt x="32" y="47"/>
                    </a:lnTo>
                    <a:lnTo>
                      <a:pt x="32" y="47"/>
                    </a:lnTo>
                    <a:lnTo>
                      <a:pt x="32" y="47"/>
                    </a:lnTo>
                    <a:close/>
                    <a:moveTo>
                      <a:pt x="21" y="47"/>
                    </a:moveTo>
                    <a:lnTo>
                      <a:pt x="25" y="43"/>
                    </a:lnTo>
                    <a:lnTo>
                      <a:pt x="26" y="47"/>
                    </a:lnTo>
                    <a:lnTo>
                      <a:pt x="25" y="47"/>
                    </a:lnTo>
                    <a:lnTo>
                      <a:pt x="21" y="47"/>
                    </a:lnTo>
                    <a:lnTo>
                      <a:pt x="21" y="47"/>
                    </a:lnTo>
                    <a:lnTo>
                      <a:pt x="21" y="47"/>
                    </a:lnTo>
                    <a:lnTo>
                      <a:pt x="21" y="47"/>
                    </a:lnTo>
                    <a:close/>
                    <a:moveTo>
                      <a:pt x="21" y="41"/>
                    </a:moveTo>
                    <a:lnTo>
                      <a:pt x="25" y="41"/>
                    </a:lnTo>
                    <a:lnTo>
                      <a:pt x="26" y="41"/>
                    </a:lnTo>
                    <a:lnTo>
                      <a:pt x="26" y="43"/>
                    </a:lnTo>
                    <a:lnTo>
                      <a:pt x="30" y="47"/>
                    </a:lnTo>
                    <a:lnTo>
                      <a:pt x="32" y="47"/>
                    </a:lnTo>
                    <a:lnTo>
                      <a:pt x="32" y="41"/>
                    </a:lnTo>
                    <a:lnTo>
                      <a:pt x="30" y="37"/>
                    </a:lnTo>
                    <a:lnTo>
                      <a:pt x="30" y="37"/>
                    </a:lnTo>
                    <a:lnTo>
                      <a:pt x="26" y="35"/>
                    </a:lnTo>
                    <a:lnTo>
                      <a:pt x="26" y="35"/>
                    </a:lnTo>
                    <a:lnTo>
                      <a:pt x="25" y="37"/>
                    </a:lnTo>
                    <a:lnTo>
                      <a:pt x="21" y="41"/>
                    </a:lnTo>
                    <a:lnTo>
                      <a:pt x="21" y="41"/>
                    </a:lnTo>
                    <a:lnTo>
                      <a:pt x="21" y="41"/>
                    </a:lnTo>
                    <a:lnTo>
                      <a:pt x="21" y="41"/>
                    </a:lnTo>
                    <a:close/>
                    <a:moveTo>
                      <a:pt x="17" y="34"/>
                    </a:moveTo>
                    <a:lnTo>
                      <a:pt x="19" y="32"/>
                    </a:lnTo>
                    <a:lnTo>
                      <a:pt x="21" y="35"/>
                    </a:lnTo>
                    <a:lnTo>
                      <a:pt x="21" y="37"/>
                    </a:lnTo>
                    <a:lnTo>
                      <a:pt x="19" y="37"/>
                    </a:lnTo>
                    <a:lnTo>
                      <a:pt x="17" y="35"/>
                    </a:lnTo>
                    <a:lnTo>
                      <a:pt x="17" y="35"/>
                    </a:lnTo>
                    <a:lnTo>
                      <a:pt x="17" y="34"/>
                    </a:lnTo>
                    <a:lnTo>
                      <a:pt x="17" y="34"/>
                    </a:lnTo>
                    <a:lnTo>
                      <a:pt x="17" y="34"/>
                    </a:lnTo>
                    <a:lnTo>
                      <a:pt x="17" y="34"/>
                    </a:lnTo>
                    <a:close/>
                    <a:moveTo>
                      <a:pt x="9" y="28"/>
                    </a:moveTo>
                    <a:lnTo>
                      <a:pt x="15" y="32"/>
                    </a:lnTo>
                    <a:lnTo>
                      <a:pt x="13" y="34"/>
                    </a:lnTo>
                    <a:lnTo>
                      <a:pt x="11" y="34"/>
                    </a:lnTo>
                    <a:lnTo>
                      <a:pt x="11" y="34"/>
                    </a:lnTo>
                    <a:lnTo>
                      <a:pt x="9" y="28"/>
                    </a:lnTo>
                    <a:lnTo>
                      <a:pt x="9" y="28"/>
                    </a:lnTo>
                    <a:lnTo>
                      <a:pt x="9" y="28"/>
                    </a:lnTo>
                    <a:lnTo>
                      <a:pt x="9" y="28"/>
                    </a:lnTo>
                    <a:lnTo>
                      <a:pt x="9" y="28"/>
                    </a:lnTo>
                    <a:close/>
                    <a:moveTo>
                      <a:pt x="9" y="0"/>
                    </a:moveTo>
                    <a:lnTo>
                      <a:pt x="6" y="5"/>
                    </a:lnTo>
                    <a:lnTo>
                      <a:pt x="9" y="3"/>
                    </a:lnTo>
                    <a:lnTo>
                      <a:pt x="9" y="0"/>
                    </a:lnTo>
                    <a:lnTo>
                      <a:pt x="9" y="0"/>
                    </a:lnTo>
                    <a:lnTo>
                      <a:pt x="9" y="0"/>
                    </a:lnTo>
                    <a:lnTo>
                      <a:pt x="9" y="0"/>
                    </a:lnTo>
                    <a:close/>
                    <a:moveTo>
                      <a:pt x="9" y="5"/>
                    </a:moveTo>
                    <a:lnTo>
                      <a:pt x="8" y="7"/>
                    </a:lnTo>
                    <a:lnTo>
                      <a:pt x="11" y="13"/>
                    </a:lnTo>
                    <a:lnTo>
                      <a:pt x="17" y="17"/>
                    </a:lnTo>
                    <a:lnTo>
                      <a:pt x="21" y="22"/>
                    </a:lnTo>
                    <a:lnTo>
                      <a:pt x="26" y="22"/>
                    </a:lnTo>
                    <a:lnTo>
                      <a:pt x="30" y="22"/>
                    </a:lnTo>
                    <a:lnTo>
                      <a:pt x="26" y="20"/>
                    </a:lnTo>
                    <a:lnTo>
                      <a:pt x="25" y="17"/>
                    </a:lnTo>
                    <a:lnTo>
                      <a:pt x="21" y="15"/>
                    </a:lnTo>
                    <a:lnTo>
                      <a:pt x="21" y="13"/>
                    </a:lnTo>
                    <a:lnTo>
                      <a:pt x="19" y="11"/>
                    </a:lnTo>
                    <a:lnTo>
                      <a:pt x="13" y="9"/>
                    </a:lnTo>
                    <a:lnTo>
                      <a:pt x="11" y="7"/>
                    </a:lnTo>
                    <a:lnTo>
                      <a:pt x="9" y="5"/>
                    </a:lnTo>
                    <a:lnTo>
                      <a:pt x="9" y="5"/>
                    </a:lnTo>
                    <a:lnTo>
                      <a:pt x="9" y="5"/>
                    </a:lnTo>
                    <a:lnTo>
                      <a:pt x="9" y="5"/>
                    </a:lnTo>
                    <a:close/>
                    <a:moveTo>
                      <a:pt x="2" y="11"/>
                    </a:moveTo>
                    <a:lnTo>
                      <a:pt x="0" y="11"/>
                    </a:lnTo>
                    <a:lnTo>
                      <a:pt x="2" y="13"/>
                    </a:lnTo>
                    <a:lnTo>
                      <a:pt x="2" y="11"/>
                    </a:lnTo>
                    <a:lnTo>
                      <a:pt x="2" y="11"/>
                    </a:lnTo>
                    <a:lnTo>
                      <a:pt x="2" y="1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0" name="Freeform 192"/>
              <p:cNvSpPr>
                <a:spLocks noEditPoints="1"/>
              </p:cNvSpPr>
              <p:nvPr/>
            </p:nvSpPr>
            <p:spPr bwMode="auto">
              <a:xfrm>
                <a:off x="5674" y="3224"/>
                <a:ext cx="185" cy="111"/>
              </a:xfrm>
              <a:custGeom>
                <a:avLst/>
                <a:gdLst/>
                <a:ahLst/>
                <a:cxnLst>
                  <a:cxn ang="0">
                    <a:pos x="183" y="92"/>
                  </a:cxn>
                  <a:cxn ang="0">
                    <a:pos x="177" y="94"/>
                  </a:cxn>
                  <a:cxn ang="0">
                    <a:pos x="177" y="92"/>
                  </a:cxn>
                  <a:cxn ang="0">
                    <a:pos x="72" y="107"/>
                  </a:cxn>
                  <a:cxn ang="0">
                    <a:pos x="77" y="111"/>
                  </a:cxn>
                  <a:cxn ang="0">
                    <a:pos x="70" y="109"/>
                  </a:cxn>
                  <a:cxn ang="0">
                    <a:pos x="70" y="107"/>
                  </a:cxn>
                  <a:cxn ang="0">
                    <a:pos x="100" y="83"/>
                  </a:cxn>
                  <a:cxn ang="0">
                    <a:pos x="111" y="92"/>
                  </a:cxn>
                  <a:cxn ang="0">
                    <a:pos x="109" y="94"/>
                  </a:cxn>
                  <a:cxn ang="0">
                    <a:pos x="98" y="86"/>
                  </a:cxn>
                  <a:cxn ang="0">
                    <a:pos x="96" y="83"/>
                  </a:cxn>
                  <a:cxn ang="0">
                    <a:pos x="72" y="64"/>
                  </a:cxn>
                  <a:cxn ang="0">
                    <a:pos x="85" y="69"/>
                  </a:cxn>
                  <a:cxn ang="0">
                    <a:pos x="85" y="75"/>
                  </a:cxn>
                  <a:cxn ang="0">
                    <a:pos x="75" y="73"/>
                  </a:cxn>
                  <a:cxn ang="0">
                    <a:pos x="66" y="60"/>
                  </a:cxn>
                  <a:cxn ang="0">
                    <a:pos x="70" y="60"/>
                  </a:cxn>
                  <a:cxn ang="0">
                    <a:pos x="75" y="54"/>
                  </a:cxn>
                  <a:cxn ang="0">
                    <a:pos x="81" y="56"/>
                  </a:cxn>
                  <a:cxn ang="0">
                    <a:pos x="81" y="56"/>
                  </a:cxn>
                  <a:cxn ang="0">
                    <a:pos x="85" y="47"/>
                  </a:cxn>
                  <a:cxn ang="0">
                    <a:pos x="89" y="56"/>
                  </a:cxn>
                  <a:cxn ang="0">
                    <a:pos x="100" y="69"/>
                  </a:cxn>
                  <a:cxn ang="0">
                    <a:pos x="100" y="62"/>
                  </a:cxn>
                  <a:cxn ang="0">
                    <a:pos x="90" y="51"/>
                  </a:cxn>
                  <a:cxn ang="0">
                    <a:pos x="85" y="41"/>
                  </a:cxn>
                  <a:cxn ang="0">
                    <a:pos x="85" y="41"/>
                  </a:cxn>
                  <a:cxn ang="0">
                    <a:pos x="57" y="32"/>
                  </a:cxn>
                  <a:cxn ang="0">
                    <a:pos x="66" y="41"/>
                  </a:cxn>
                  <a:cxn ang="0">
                    <a:pos x="64" y="47"/>
                  </a:cxn>
                  <a:cxn ang="0">
                    <a:pos x="58" y="37"/>
                  </a:cxn>
                  <a:cxn ang="0">
                    <a:pos x="45" y="26"/>
                  </a:cxn>
                  <a:cxn ang="0">
                    <a:pos x="45" y="26"/>
                  </a:cxn>
                  <a:cxn ang="0">
                    <a:pos x="36" y="49"/>
                  </a:cxn>
                  <a:cxn ang="0">
                    <a:pos x="32" y="47"/>
                  </a:cxn>
                  <a:cxn ang="0">
                    <a:pos x="32" y="47"/>
                  </a:cxn>
                  <a:cxn ang="0">
                    <a:pos x="26" y="47"/>
                  </a:cxn>
                  <a:cxn ang="0">
                    <a:pos x="21" y="47"/>
                  </a:cxn>
                  <a:cxn ang="0">
                    <a:pos x="21" y="41"/>
                  </a:cxn>
                  <a:cxn ang="0">
                    <a:pos x="26" y="43"/>
                  </a:cxn>
                  <a:cxn ang="0">
                    <a:pos x="32" y="41"/>
                  </a:cxn>
                  <a:cxn ang="0">
                    <a:pos x="26" y="35"/>
                  </a:cxn>
                  <a:cxn ang="0">
                    <a:pos x="21" y="41"/>
                  </a:cxn>
                  <a:cxn ang="0">
                    <a:pos x="21" y="41"/>
                  </a:cxn>
                  <a:cxn ang="0">
                    <a:pos x="21" y="35"/>
                  </a:cxn>
                  <a:cxn ang="0">
                    <a:pos x="17" y="35"/>
                  </a:cxn>
                  <a:cxn ang="0">
                    <a:pos x="17" y="34"/>
                  </a:cxn>
                  <a:cxn ang="0">
                    <a:pos x="9" y="28"/>
                  </a:cxn>
                  <a:cxn ang="0">
                    <a:pos x="11" y="34"/>
                  </a:cxn>
                  <a:cxn ang="0">
                    <a:pos x="9" y="28"/>
                  </a:cxn>
                  <a:cxn ang="0">
                    <a:pos x="9" y="28"/>
                  </a:cxn>
                  <a:cxn ang="0">
                    <a:pos x="9" y="3"/>
                  </a:cxn>
                  <a:cxn ang="0">
                    <a:pos x="9" y="0"/>
                  </a:cxn>
                  <a:cxn ang="0">
                    <a:pos x="8" y="7"/>
                  </a:cxn>
                  <a:cxn ang="0">
                    <a:pos x="21" y="22"/>
                  </a:cxn>
                  <a:cxn ang="0">
                    <a:pos x="26" y="20"/>
                  </a:cxn>
                  <a:cxn ang="0">
                    <a:pos x="21" y="13"/>
                  </a:cxn>
                  <a:cxn ang="0">
                    <a:pos x="11" y="7"/>
                  </a:cxn>
                  <a:cxn ang="0">
                    <a:pos x="9" y="5"/>
                  </a:cxn>
                  <a:cxn ang="0">
                    <a:pos x="0" y="11"/>
                  </a:cxn>
                  <a:cxn ang="0">
                    <a:pos x="2" y="11"/>
                  </a:cxn>
                </a:cxnLst>
                <a:rect l="0" t="0" r="r" b="b"/>
                <a:pathLst>
                  <a:path w="185" h="111">
                    <a:moveTo>
                      <a:pt x="177" y="92"/>
                    </a:moveTo>
                    <a:lnTo>
                      <a:pt x="179" y="92"/>
                    </a:lnTo>
                    <a:lnTo>
                      <a:pt x="183" y="92"/>
                    </a:lnTo>
                    <a:lnTo>
                      <a:pt x="185" y="92"/>
                    </a:lnTo>
                    <a:lnTo>
                      <a:pt x="181" y="98"/>
                    </a:lnTo>
                    <a:lnTo>
                      <a:pt x="177" y="94"/>
                    </a:lnTo>
                    <a:lnTo>
                      <a:pt x="177" y="92"/>
                    </a:lnTo>
                    <a:lnTo>
                      <a:pt x="177" y="92"/>
                    </a:lnTo>
                    <a:lnTo>
                      <a:pt x="177" y="92"/>
                    </a:lnTo>
                    <a:lnTo>
                      <a:pt x="177" y="92"/>
                    </a:lnTo>
                    <a:close/>
                    <a:moveTo>
                      <a:pt x="70" y="107"/>
                    </a:moveTo>
                    <a:lnTo>
                      <a:pt x="72" y="107"/>
                    </a:lnTo>
                    <a:lnTo>
                      <a:pt x="75" y="109"/>
                    </a:lnTo>
                    <a:lnTo>
                      <a:pt x="79" y="111"/>
                    </a:lnTo>
                    <a:lnTo>
                      <a:pt x="77" y="111"/>
                    </a:lnTo>
                    <a:lnTo>
                      <a:pt x="75" y="111"/>
                    </a:lnTo>
                    <a:lnTo>
                      <a:pt x="72" y="111"/>
                    </a:lnTo>
                    <a:lnTo>
                      <a:pt x="70" y="109"/>
                    </a:lnTo>
                    <a:lnTo>
                      <a:pt x="70" y="107"/>
                    </a:lnTo>
                    <a:lnTo>
                      <a:pt x="70" y="107"/>
                    </a:lnTo>
                    <a:lnTo>
                      <a:pt x="70" y="107"/>
                    </a:lnTo>
                    <a:lnTo>
                      <a:pt x="70" y="107"/>
                    </a:lnTo>
                    <a:close/>
                    <a:moveTo>
                      <a:pt x="96" y="83"/>
                    </a:moveTo>
                    <a:lnTo>
                      <a:pt x="100" y="83"/>
                    </a:lnTo>
                    <a:lnTo>
                      <a:pt x="102" y="86"/>
                    </a:lnTo>
                    <a:lnTo>
                      <a:pt x="111" y="88"/>
                    </a:lnTo>
                    <a:lnTo>
                      <a:pt x="111" y="92"/>
                    </a:lnTo>
                    <a:lnTo>
                      <a:pt x="111" y="92"/>
                    </a:lnTo>
                    <a:lnTo>
                      <a:pt x="115" y="94"/>
                    </a:lnTo>
                    <a:lnTo>
                      <a:pt x="109" y="94"/>
                    </a:lnTo>
                    <a:lnTo>
                      <a:pt x="102" y="92"/>
                    </a:lnTo>
                    <a:lnTo>
                      <a:pt x="98" y="88"/>
                    </a:lnTo>
                    <a:lnTo>
                      <a:pt x="98" y="86"/>
                    </a:lnTo>
                    <a:lnTo>
                      <a:pt x="96" y="83"/>
                    </a:lnTo>
                    <a:lnTo>
                      <a:pt x="96" y="83"/>
                    </a:lnTo>
                    <a:lnTo>
                      <a:pt x="96" y="83"/>
                    </a:lnTo>
                    <a:lnTo>
                      <a:pt x="96" y="83"/>
                    </a:lnTo>
                    <a:close/>
                    <a:moveTo>
                      <a:pt x="70" y="60"/>
                    </a:moveTo>
                    <a:lnTo>
                      <a:pt x="72" y="64"/>
                    </a:lnTo>
                    <a:lnTo>
                      <a:pt x="75" y="64"/>
                    </a:lnTo>
                    <a:lnTo>
                      <a:pt x="81" y="66"/>
                    </a:lnTo>
                    <a:lnTo>
                      <a:pt x="85" y="69"/>
                    </a:lnTo>
                    <a:lnTo>
                      <a:pt x="87" y="69"/>
                    </a:lnTo>
                    <a:lnTo>
                      <a:pt x="87" y="71"/>
                    </a:lnTo>
                    <a:lnTo>
                      <a:pt x="85" y="75"/>
                    </a:lnTo>
                    <a:lnTo>
                      <a:pt x="81" y="75"/>
                    </a:lnTo>
                    <a:lnTo>
                      <a:pt x="79" y="71"/>
                    </a:lnTo>
                    <a:lnTo>
                      <a:pt x="75" y="73"/>
                    </a:lnTo>
                    <a:lnTo>
                      <a:pt x="72" y="71"/>
                    </a:lnTo>
                    <a:lnTo>
                      <a:pt x="66" y="66"/>
                    </a:lnTo>
                    <a:lnTo>
                      <a:pt x="66" y="60"/>
                    </a:lnTo>
                    <a:lnTo>
                      <a:pt x="70" y="60"/>
                    </a:lnTo>
                    <a:lnTo>
                      <a:pt x="70" y="60"/>
                    </a:lnTo>
                    <a:lnTo>
                      <a:pt x="70" y="60"/>
                    </a:lnTo>
                    <a:lnTo>
                      <a:pt x="70" y="60"/>
                    </a:lnTo>
                    <a:close/>
                    <a:moveTo>
                      <a:pt x="81" y="56"/>
                    </a:moveTo>
                    <a:lnTo>
                      <a:pt x="75" y="54"/>
                    </a:lnTo>
                    <a:lnTo>
                      <a:pt x="77" y="58"/>
                    </a:lnTo>
                    <a:lnTo>
                      <a:pt x="81" y="58"/>
                    </a:lnTo>
                    <a:lnTo>
                      <a:pt x="81" y="56"/>
                    </a:lnTo>
                    <a:lnTo>
                      <a:pt x="81" y="56"/>
                    </a:lnTo>
                    <a:lnTo>
                      <a:pt x="81" y="56"/>
                    </a:lnTo>
                    <a:lnTo>
                      <a:pt x="81" y="56"/>
                    </a:lnTo>
                    <a:close/>
                    <a:moveTo>
                      <a:pt x="85" y="41"/>
                    </a:moveTo>
                    <a:lnTo>
                      <a:pt x="85" y="43"/>
                    </a:lnTo>
                    <a:lnTo>
                      <a:pt x="85" y="47"/>
                    </a:lnTo>
                    <a:lnTo>
                      <a:pt x="85" y="47"/>
                    </a:lnTo>
                    <a:lnTo>
                      <a:pt x="87" y="51"/>
                    </a:lnTo>
                    <a:lnTo>
                      <a:pt x="89" y="56"/>
                    </a:lnTo>
                    <a:lnTo>
                      <a:pt x="96" y="64"/>
                    </a:lnTo>
                    <a:lnTo>
                      <a:pt x="100" y="66"/>
                    </a:lnTo>
                    <a:lnTo>
                      <a:pt x="100" y="69"/>
                    </a:lnTo>
                    <a:lnTo>
                      <a:pt x="102" y="69"/>
                    </a:lnTo>
                    <a:lnTo>
                      <a:pt x="102" y="66"/>
                    </a:lnTo>
                    <a:lnTo>
                      <a:pt x="100" y="62"/>
                    </a:lnTo>
                    <a:lnTo>
                      <a:pt x="96" y="60"/>
                    </a:lnTo>
                    <a:lnTo>
                      <a:pt x="94" y="56"/>
                    </a:lnTo>
                    <a:lnTo>
                      <a:pt x="90" y="51"/>
                    </a:lnTo>
                    <a:lnTo>
                      <a:pt x="90" y="47"/>
                    </a:lnTo>
                    <a:lnTo>
                      <a:pt x="87" y="41"/>
                    </a:lnTo>
                    <a:lnTo>
                      <a:pt x="85" y="41"/>
                    </a:lnTo>
                    <a:lnTo>
                      <a:pt x="85" y="41"/>
                    </a:lnTo>
                    <a:lnTo>
                      <a:pt x="85" y="41"/>
                    </a:lnTo>
                    <a:lnTo>
                      <a:pt x="85" y="41"/>
                    </a:lnTo>
                    <a:close/>
                    <a:moveTo>
                      <a:pt x="45" y="26"/>
                    </a:moveTo>
                    <a:lnTo>
                      <a:pt x="51" y="26"/>
                    </a:lnTo>
                    <a:lnTo>
                      <a:pt x="57" y="32"/>
                    </a:lnTo>
                    <a:lnTo>
                      <a:pt x="62" y="34"/>
                    </a:lnTo>
                    <a:lnTo>
                      <a:pt x="70" y="41"/>
                    </a:lnTo>
                    <a:lnTo>
                      <a:pt x="66" y="41"/>
                    </a:lnTo>
                    <a:lnTo>
                      <a:pt x="70" y="47"/>
                    </a:lnTo>
                    <a:lnTo>
                      <a:pt x="66" y="43"/>
                    </a:lnTo>
                    <a:lnTo>
                      <a:pt x="64" y="47"/>
                    </a:lnTo>
                    <a:lnTo>
                      <a:pt x="64" y="43"/>
                    </a:lnTo>
                    <a:lnTo>
                      <a:pt x="62" y="41"/>
                    </a:lnTo>
                    <a:lnTo>
                      <a:pt x="58" y="37"/>
                    </a:lnTo>
                    <a:lnTo>
                      <a:pt x="49" y="28"/>
                    </a:lnTo>
                    <a:lnTo>
                      <a:pt x="49" y="28"/>
                    </a:lnTo>
                    <a:lnTo>
                      <a:pt x="45" y="26"/>
                    </a:lnTo>
                    <a:lnTo>
                      <a:pt x="45" y="26"/>
                    </a:lnTo>
                    <a:lnTo>
                      <a:pt x="45" y="26"/>
                    </a:lnTo>
                    <a:lnTo>
                      <a:pt x="45" y="26"/>
                    </a:lnTo>
                    <a:close/>
                    <a:moveTo>
                      <a:pt x="32" y="47"/>
                    </a:moveTo>
                    <a:lnTo>
                      <a:pt x="40" y="47"/>
                    </a:lnTo>
                    <a:lnTo>
                      <a:pt x="36" y="49"/>
                    </a:lnTo>
                    <a:lnTo>
                      <a:pt x="36" y="51"/>
                    </a:lnTo>
                    <a:lnTo>
                      <a:pt x="32" y="47"/>
                    </a:lnTo>
                    <a:lnTo>
                      <a:pt x="32" y="47"/>
                    </a:lnTo>
                    <a:lnTo>
                      <a:pt x="32" y="47"/>
                    </a:lnTo>
                    <a:lnTo>
                      <a:pt x="32" y="47"/>
                    </a:lnTo>
                    <a:lnTo>
                      <a:pt x="32" y="47"/>
                    </a:lnTo>
                    <a:close/>
                    <a:moveTo>
                      <a:pt x="21" y="47"/>
                    </a:moveTo>
                    <a:lnTo>
                      <a:pt x="25" y="43"/>
                    </a:lnTo>
                    <a:lnTo>
                      <a:pt x="26" y="47"/>
                    </a:lnTo>
                    <a:lnTo>
                      <a:pt x="25" y="47"/>
                    </a:lnTo>
                    <a:lnTo>
                      <a:pt x="21" y="47"/>
                    </a:lnTo>
                    <a:lnTo>
                      <a:pt x="21" y="47"/>
                    </a:lnTo>
                    <a:lnTo>
                      <a:pt x="21" y="47"/>
                    </a:lnTo>
                    <a:lnTo>
                      <a:pt x="21" y="47"/>
                    </a:lnTo>
                    <a:close/>
                    <a:moveTo>
                      <a:pt x="21" y="41"/>
                    </a:moveTo>
                    <a:lnTo>
                      <a:pt x="25" y="41"/>
                    </a:lnTo>
                    <a:lnTo>
                      <a:pt x="26" y="41"/>
                    </a:lnTo>
                    <a:lnTo>
                      <a:pt x="26" y="43"/>
                    </a:lnTo>
                    <a:lnTo>
                      <a:pt x="30" y="47"/>
                    </a:lnTo>
                    <a:lnTo>
                      <a:pt x="32" y="47"/>
                    </a:lnTo>
                    <a:lnTo>
                      <a:pt x="32" y="41"/>
                    </a:lnTo>
                    <a:lnTo>
                      <a:pt x="30" y="37"/>
                    </a:lnTo>
                    <a:lnTo>
                      <a:pt x="30" y="37"/>
                    </a:lnTo>
                    <a:lnTo>
                      <a:pt x="26" y="35"/>
                    </a:lnTo>
                    <a:lnTo>
                      <a:pt x="26" y="35"/>
                    </a:lnTo>
                    <a:lnTo>
                      <a:pt x="25" y="37"/>
                    </a:lnTo>
                    <a:lnTo>
                      <a:pt x="21" y="41"/>
                    </a:lnTo>
                    <a:lnTo>
                      <a:pt x="21" y="41"/>
                    </a:lnTo>
                    <a:lnTo>
                      <a:pt x="21" y="41"/>
                    </a:lnTo>
                    <a:lnTo>
                      <a:pt x="21" y="41"/>
                    </a:lnTo>
                    <a:close/>
                    <a:moveTo>
                      <a:pt x="17" y="34"/>
                    </a:moveTo>
                    <a:lnTo>
                      <a:pt x="19" y="32"/>
                    </a:lnTo>
                    <a:lnTo>
                      <a:pt x="21" y="35"/>
                    </a:lnTo>
                    <a:lnTo>
                      <a:pt x="21" y="37"/>
                    </a:lnTo>
                    <a:lnTo>
                      <a:pt x="19" y="37"/>
                    </a:lnTo>
                    <a:lnTo>
                      <a:pt x="17" y="35"/>
                    </a:lnTo>
                    <a:lnTo>
                      <a:pt x="17" y="35"/>
                    </a:lnTo>
                    <a:lnTo>
                      <a:pt x="17" y="34"/>
                    </a:lnTo>
                    <a:lnTo>
                      <a:pt x="17" y="34"/>
                    </a:lnTo>
                    <a:lnTo>
                      <a:pt x="17" y="34"/>
                    </a:lnTo>
                    <a:lnTo>
                      <a:pt x="17" y="34"/>
                    </a:lnTo>
                    <a:close/>
                    <a:moveTo>
                      <a:pt x="9" y="28"/>
                    </a:moveTo>
                    <a:lnTo>
                      <a:pt x="15" y="32"/>
                    </a:lnTo>
                    <a:lnTo>
                      <a:pt x="13" y="34"/>
                    </a:lnTo>
                    <a:lnTo>
                      <a:pt x="11" y="34"/>
                    </a:lnTo>
                    <a:lnTo>
                      <a:pt x="11" y="34"/>
                    </a:lnTo>
                    <a:lnTo>
                      <a:pt x="9" y="28"/>
                    </a:lnTo>
                    <a:lnTo>
                      <a:pt x="9" y="28"/>
                    </a:lnTo>
                    <a:lnTo>
                      <a:pt x="9" y="28"/>
                    </a:lnTo>
                    <a:lnTo>
                      <a:pt x="9" y="28"/>
                    </a:lnTo>
                    <a:lnTo>
                      <a:pt x="9" y="28"/>
                    </a:lnTo>
                    <a:close/>
                    <a:moveTo>
                      <a:pt x="9" y="0"/>
                    </a:moveTo>
                    <a:lnTo>
                      <a:pt x="6" y="5"/>
                    </a:lnTo>
                    <a:lnTo>
                      <a:pt x="9" y="3"/>
                    </a:lnTo>
                    <a:lnTo>
                      <a:pt x="9" y="0"/>
                    </a:lnTo>
                    <a:lnTo>
                      <a:pt x="9" y="0"/>
                    </a:lnTo>
                    <a:lnTo>
                      <a:pt x="9" y="0"/>
                    </a:lnTo>
                    <a:lnTo>
                      <a:pt x="9" y="0"/>
                    </a:lnTo>
                    <a:close/>
                    <a:moveTo>
                      <a:pt x="9" y="5"/>
                    </a:moveTo>
                    <a:lnTo>
                      <a:pt x="8" y="7"/>
                    </a:lnTo>
                    <a:lnTo>
                      <a:pt x="11" y="13"/>
                    </a:lnTo>
                    <a:lnTo>
                      <a:pt x="17" y="17"/>
                    </a:lnTo>
                    <a:lnTo>
                      <a:pt x="21" y="22"/>
                    </a:lnTo>
                    <a:lnTo>
                      <a:pt x="26" y="22"/>
                    </a:lnTo>
                    <a:lnTo>
                      <a:pt x="30" y="22"/>
                    </a:lnTo>
                    <a:lnTo>
                      <a:pt x="26" y="20"/>
                    </a:lnTo>
                    <a:lnTo>
                      <a:pt x="25" y="17"/>
                    </a:lnTo>
                    <a:lnTo>
                      <a:pt x="21" y="15"/>
                    </a:lnTo>
                    <a:lnTo>
                      <a:pt x="21" y="13"/>
                    </a:lnTo>
                    <a:lnTo>
                      <a:pt x="19" y="11"/>
                    </a:lnTo>
                    <a:lnTo>
                      <a:pt x="13" y="9"/>
                    </a:lnTo>
                    <a:lnTo>
                      <a:pt x="11" y="7"/>
                    </a:lnTo>
                    <a:lnTo>
                      <a:pt x="9" y="5"/>
                    </a:lnTo>
                    <a:lnTo>
                      <a:pt x="9" y="5"/>
                    </a:lnTo>
                    <a:lnTo>
                      <a:pt x="9" y="5"/>
                    </a:lnTo>
                    <a:lnTo>
                      <a:pt x="9" y="5"/>
                    </a:lnTo>
                    <a:close/>
                    <a:moveTo>
                      <a:pt x="2" y="11"/>
                    </a:moveTo>
                    <a:lnTo>
                      <a:pt x="0" y="11"/>
                    </a:lnTo>
                    <a:lnTo>
                      <a:pt x="2" y="13"/>
                    </a:lnTo>
                    <a:lnTo>
                      <a:pt x="2" y="11"/>
                    </a:lnTo>
                    <a:lnTo>
                      <a:pt x="2" y="11"/>
                    </a:lnTo>
                    <a:lnTo>
                      <a:pt x="2" y="1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1" name="Freeform 193"/>
              <p:cNvSpPr>
                <a:spLocks noEditPoints="1"/>
              </p:cNvSpPr>
              <p:nvPr/>
            </p:nvSpPr>
            <p:spPr bwMode="auto">
              <a:xfrm>
                <a:off x="5395" y="3129"/>
                <a:ext cx="279" cy="202"/>
              </a:xfrm>
              <a:custGeom>
                <a:avLst/>
                <a:gdLst/>
                <a:ahLst/>
                <a:cxnLst>
                  <a:cxn ang="0">
                    <a:pos x="238" y="196"/>
                  </a:cxn>
                  <a:cxn ang="0">
                    <a:pos x="223" y="196"/>
                  </a:cxn>
                  <a:cxn ang="0">
                    <a:pos x="117" y="19"/>
                  </a:cxn>
                  <a:cxn ang="0">
                    <a:pos x="262" y="81"/>
                  </a:cxn>
                  <a:cxn ang="0">
                    <a:pos x="270" y="108"/>
                  </a:cxn>
                  <a:cxn ang="0">
                    <a:pos x="256" y="81"/>
                  </a:cxn>
                  <a:cxn ang="0">
                    <a:pos x="253" y="72"/>
                  </a:cxn>
                  <a:cxn ang="0">
                    <a:pos x="247" y="65"/>
                  </a:cxn>
                  <a:cxn ang="0">
                    <a:pos x="224" y="51"/>
                  </a:cxn>
                  <a:cxn ang="0">
                    <a:pos x="211" y="44"/>
                  </a:cxn>
                  <a:cxn ang="0">
                    <a:pos x="162" y="0"/>
                  </a:cxn>
                  <a:cxn ang="0">
                    <a:pos x="177" y="27"/>
                  </a:cxn>
                  <a:cxn ang="0">
                    <a:pos x="176" y="72"/>
                  </a:cxn>
                  <a:cxn ang="0">
                    <a:pos x="144" y="89"/>
                  </a:cxn>
                  <a:cxn ang="0">
                    <a:pos x="183" y="97"/>
                  </a:cxn>
                  <a:cxn ang="0">
                    <a:pos x="211" y="80"/>
                  </a:cxn>
                  <a:cxn ang="0">
                    <a:pos x="206" y="59"/>
                  </a:cxn>
                  <a:cxn ang="0">
                    <a:pos x="183" y="83"/>
                  </a:cxn>
                  <a:cxn ang="0">
                    <a:pos x="166" y="80"/>
                  </a:cxn>
                  <a:cxn ang="0">
                    <a:pos x="140" y="81"/>
                  </a:cxn>
                  <a:cxn ang="0">
                    <a:pos x="125" y="83"/>
                  </a:cxn>
                  <a:cxn ang="0">
                    <a:pos x="115" y="78"/>
                  </a:cxn>
                  <a:cxn ang="0">
                    <a:pos x="213" y="151"/>
                  </a:cxn>
                  <a:cxn ang="0">
                    <a:pos x="187" y="138"/>
                  </a:cxn>
                  <a:cxn ang="0">
                    <a:pos x="187" y="138"/>
                  </a:cxn>
                  <a:cxn ang="0">
                    <a:pos x="189" y="168"/>
                  </a:cxn>
                  <a:cxn ang="0">
                    <a:pos x="179" y="164"/>
                  </a:cxn>
                  <a:cxn ang="0">
                    <a:pos x="181" y="161"/>
                  </a:cxn>
                  <a:cxn ang="0">
                    <a:pos x="170" y="157"/>
                  </a:cxn>
                  <a:cxn ang="0">
                    <a:pos x="168" y="157"/>
                  </a:cxn>
                  <a:cxn ang="0">
                    <a:pos x="68" y="125"/>
                  </a:cxn>
                  <a:cxn ang="0">
                    <a:pos x="63" y="125"/>
                  </a:cxn>
                  <a:cxn ang="0">
                    <a:pos x="68" y="127"/>
                  </a:cxn>
                  <a:cxn ang="0">
                    <a:pos x="55" y="127"/>
                  </a:cxn>
                  <a:cxn ang="0">
                    <a:pos x="46" y="142"/>
                  </a:cxn>
                  <a:cxn ang="0">
                    <a:pos x="44" y="140"/>
                  </a:cxn>
                  <a:cxn ang="0">
                    <a:pos x="42" y="142"/>
                  </a:cxn>
                  <a:cxn ang="0">
                    <a:pos x="51" y="132"/>
                  </a:cxn>
                  <a:cxn ang="0">
                    <a:pos x="51" y="132"/>
                  </a:cxn>
                  <a:cxn ang="0">
                    <a:pos x="21" y="153"/>
                  </a:cxn>
                  <a:cxn ang="0">
                    <a:pos x="44" y="146"/>
                  </a:cxn>
                  <a:cxn ang="0">
                    <a:pos x="14" y="125"/>
                  </a:cxn>
                  <a:cxn ang="0">
                    <a:pos x="27" y="136"/>
                  </a:cxn>
                  <a:cxn ang="0">
                    <a:pos x="42" y="130"/>
                  </a:cxn>
                  <a:cxn ang="0">
                    <a:pos x="51" y="123"/>
                  </a:cxn>
                  <a:cxn ang="0">
                    <a:pos x="61" y="127"/>
                  </a:cxn>
                  <a:cxn ang="0">
                    <a:pos x="76" y="125"/>
                  </a:cxn>
                  <a:cxn ang="0">
                    <a:pos x="104" y="149"/>
                  </a:cxn>
                  <a:cxn ang="0">
                    <a:pos x="132" y="172"/>
                  </a:cxn>
                  <a:cxn ang="0">
                    <a:pos x="166" y="179"/>
                  </a:cxn>
                  <a:cxn ang="0">
                    <a:pos x="177" y="176"/>
                  </a:cxn>
                  <a:cxn ang="0">
                    <a:pos x="159" y="162"/>
                  </a:cxn>
                  <a:cxn ang="0">
                    <a:pos x="144" y="151"/>
                  </a:cxn>
                  <a:cxn ang="0">
                    <a:pos x="117" y="119"/>
                  </a:cxn>
                  <a:cxn ang="0">
                    <a:pos x="119" y="91"/>
                  </a:cxn>
                  <a:cxn ang="0">
                    <a:pos x="89" y="68"/>
                  </a:cxn>
                  <a:cxn ang="0">
                    <a:pos x="63" y="51"/>
                  </a:cxn>
                  <a:cxn ang="0">
                    <a:pos x="19" y="34"/>
                  </a:cxn>
                </a:cxnLst>
                <a:rect l="0" t="0" r="r" b="b"/>
                <a:pathLst>
                  <a:path w="279" h="202">
                    <a:moveTo>
                      <a:pt x="238" y="196"/>
                    </a:moveTo>
                    <a:lnTo>
                      <a:pt x="241" y="194"/>
                    </a:lnTo>
                    <a:lnTo>
                      <a:pt x="245" y="194"/>
                    </a:lnTo>
                    <a:lnTo>
                      <a:pt x="245" y="198"/>
                    </a:lnTo>
                    <a:lnTo>
                      <a:pt x="241" y="198"/>
                    </a:lnTo>
                    <a:lnTo>
                      <a:pt x="238" y="198"/>
                    </a:lnTo>
                    <a:lnTo>
                      <a:pt x="238" y="196"/>
                    </a:lnTo>
                    <a:lnTo>
                      <a:pt x="238" y="196"/>
                    </a:lnTo>
                    <a:lnTo>
                      <a:pt x="238" y="196"/>
                    </a:lnTo>
                    <a:lnTo>
                      <a:pt x="238" y="196"/>
                    </a:lnTo>
                    <a:close/>
                    <a:moveTo>
                      <a:pt x="223" y="196"/>
                    </a:moveTo>
                    <a:lnTo>
                      <a:pt x="228" y="202"/>
                    </a:lnTo>
                    <a:lnTo>
                      <a:pt x="230" y="202"/>
                    </a:lnTo>
                    <a:lnTo>
                      <a:pt x="232" y="202"/>
                    </a:lnTo>
                    <a:lnTo>
                      <a:pt x="232" y="202"/>
                    </a:lnTo>
                    <a:lnTo>
                      <a:pt x="232" y="200"/>
                    </a:lnTo>
                    <a:lnTo>
                      <a:pt x="230" y="200"/>
                    </a:lnTo>
                    <a:lnTo>
                      <a:pt x="226" y="196"/>
                    </a:lnTo>
                    <a:lnTo>
                      <a:pt x="223" y="196"/>
                    </a:lnTo>
                    <a:lnTo>
                      <a:pt x="223" y="196"/>
                    </a:lnTo>
                    <a:lnTo>
                      <a:pt x="223" y="196"/>
                    </a:lnTo>
                    <a:lnTo>
                      <a:pt x="223" y="196"/>
                    </a:lnTo>
                    <a:close/>
                    <a:moveTo>
                      <a:pt x="108" y="16"/>
                    </a:moveTo>
                    <a:lnTo>
                      <a:pt x="108" y="14"/>
                    </a:lnTo>
                    <a:lnTo>
                      <a:pt x="113" y="14"/>
                    </a:lnTo>
                    <a:lnTo>
                      <a:pt x="115" y="14"/>
                    </a:lnTo>
                    <a:lnTo>
                      <a:pt x="117" y="16"/>
                    </a:lnTo>
                    <a:lnTo>
                      <a:pt x="119" y="14"/>
                    </a:lnTo>
                    <a:lnTo>
                      <a:pt x="123" y="16"/>
                    </a:lnTo>
                    <a:lnTo>
                      <a:pt x="117" y="19"/>
                    </a:lnTo>
                    <a:lnTo>
                      <a:pt x="113" y="19"/>
                    </a:lnTo>
                    <a:lnTo>
                      <a:pt x="113" y="19"/>
                    </a:lnTo>
                    <a:lnTo>
                      <a:pt x="108" y="19"/>
                    </a:lnTo>
                    <a:lnTo>
                      <a:pt x="108" y="19"/>
                    </a:lnTo>
                    <a:lnTo>
                      <a:pt x="108" y="16"/>
                    </a:lnTo>
                    <a:lnTo>
                      <a:pt x="108" y="16"/>
                    </a:lnTo>
                    <a:lnTo>
                      <a:pt x="108" y="16"/>
                    </a:lnTo>
                    <a:lnTo>
                      <a:pt x="108" y="16"/>
                    </a:lnTo>
                    <a:close/>
                    <a:moveTo>
                      <a:pt x="256" y="81"/>
                    </a:moveTo>
                    <a:lnTo>
                      <a:pt x="262" y="81"/>
                    </a:lnTo>
                    <a:lnTo>
                      <a:pt x="262" y="83"/>
                    </a:lnTo>
                    <a:lnTo>
                      <a:pt x="266" y="89"/>
                    </a:lnTo>
                    <a:lnTo>
                      <a:pt x="270" y="89"/>
                    </a:lnTo>
                    <a:lnTo>
                      <a:pt x="275" y="95"/>
                    </a:lnTo>
                    <a:lnTo>
                      <a:pt x="279" y="100"/>
                    </a:lnTo>
                    <a:lnTo>
                      <a:pt x="279" y="106"/>
                    </a:lnTo>
                    <a:lnTo>
                      <a:pt x="275" y="106"/>
                    </a:lnTo>
                    <a:lnTo>
                      <a:pt x="275" y="108"/>
                    </a:lnTo>
                    <a:lnTo>
                      <a:pt x="270" y="108"/>
                    </a:lnTo>
                    <a:lnTo>
                      <a:pt x="270" y="108"/>
                    </a:lnTo>
                    <a:lnTo>
                      <a:pt x="266" y="108"/>
                    </a:lnTo>
                    <a:lnTo>
                      <a:pt x="262" y="104"/>
                    </a:lnTo>
                    <a:lnTo>
                      <a:pt x="266" y="102"/>
                    </a:lnTo>
                    <a:lnTo>
                      <a:pt x="262" y="95"/>
                    </a:lnTo>
                    <a:lnTo>
                      <a:pt x="256" y="93"/>
                    </a:lnTo>
                    <a:lnTo>
                      <a:pt x="256" y="87"/>
                    </a:lnTo>
                    <a:lnTo>
                      <a:pt x="256" y="83"/>
                    </a:lnTo>
                    <a:lnTo>
                      <a:pt x="256" y="81"/>
                    </a:lnTo>
                    <a:lnTo>
                      <a:pt x="256" y="81"/>
                    </a:lnTo>
                    <a:lnTo>
                      <a:pt x="256" y="81"/>
                    </a:lnTo>
                    <a:lnTo>
                      <a:pt x="256" y="81"/>
                    </a:lnTo>
                    <a:close/>
                    <a:moveTo>
                      <a:pt x="253" y="72"/>
                    </a:moveTo>
                    <a:lnTo>
                      <a:pt x="253" y="74"/>
                    </a:lnTo>
                    <a:lnTo>
                      <a:pt x="255" y="78"/>
                    </a:lnTo>
                    <a:lnTo>
                      <a:pt x="255" y="81"/>
                    </a:lnTo>
                    <a:lnTo>
                      <a:pt x="256" y="78"/>
                    </a:lnTo>
                    <a:lnTo>
                      <a:pt x="256" y="74"/>
                    </a:lnTo>
                    <a:lnTo>
                      <a:pt x="253" y="72"/>
                    </a:lnTo>
                    <a:lnTo>
                      <a:pt x="253" y="72"/>
                    </a:lnTo>
                    <a:lnTo>
                      <a:pt x="253" y="72"/>
                    </a:lnTo>
                    <a:lnTo>
                      <a:pt x="253" y="72"/>
                    </a:lnTo>
                    <a:close/>
                    <a:moveTo>
                      <a:pt x="247" y="65"/>
                    </a:moveTo>
                    <a:lnTo>
                      <a:pt x="249" y="63"/>
                    </a:lnTo>
                    <a:lnTo>
                      <a:pt x="251" y="63"/>
                    </a:lnTo>
                    <a:lnTo>
                      <a:pt x="253" y="63"/>
                    </a:lnTo>
                    <a:lnTo>
                      <a:pt x="251" y="68"/>
                    </a:lnTo>
                    <a:lnTo>
                      <a:pt x="247" y="68"/>
                    </a:lnTo>
                    <a:lnTo>
                      <a:pt x="247" y="65"/>
                    </a:lnTo>
                    <a:lnTo>
                      <a:pt x="247" y="65"/>
                    </a:lnTo>
                    <a:lnTo>
                      <a:pt x="247" y="65"/>
                    </a:lnTo>
                    <a:lnTo>
                      <a:pt x="247" y="65"/>
                    </a:lnTo>
                    <a:close/>
                    <a:moveTo>
                      <a:pt x="187" y="27"/>
                    </a:moveTo>
                    <a:lnTo>
                      <a:pt x="192" y="31"/>
                    </a:lnTo>
                    <a:lnTo>
                      <a:pt x="200" y="34"/>
                    </a:lnTo>
                    <a:lnTo>
                      <a:pt x="208" y="38"/>
                    </a:lnTo>
                    <a:lnTo>
                      <a:pt x="211" y="40"/>
                    </a:lnTo>
                    <a:lnTo>
                      <a:pt x="213" y="44"/>
                    </a:lnTo>
                    <a:lnTo>
                      <a:pt x="219" y="46"/>
                    </a:lnTo>
                    <a:lnTo>
                      <a:pt x="221" y="51"/>
                    </a:lnTo>
                    <a:lnTo>
                      <a:pt x="224" y="51"/>
                    </a:lnTo>
                    <a:lnTo>
                      <a:pt x="226" y="59"/>
                    </a:lnTo>
                    <a:lnTo>
                      <a:pt x="228" y="59"/>
                    </a:lnTo>
                    <a:lnTo>
                      <a:pt x="228" y="63"/>
                    </a:lnTo>
                    <a:lnTo>
                      <a:pt x="226" y="65"/>
                    </a:lnTo>
                    <a:lnTo>
                      <a:pt x="224" y="70"/>
                    </a:lnTo>
                    <a:lnTo>
                      <a:pt x="221" y="68"/>
                    </a:lnTo>
                    <a:lnTo>
                      <a:pt x="219" y="63"/>
                    </a:lnTo>
                    <a:lnTo>
                      <a:pt x="221" y="59"/>
                    </a:lnTo>
                    <a:lnTo>
                      <a:pt x="219" y="49"/>
                    </a:lnTo>
                    <a:lnTo>
                      <a:pt x="211" y="44"/>
                    </a:lnTo>
                    <a:lnTo>
                      <a:pt x="208" y="44"/>
                    </a:lnTo>
                    <a:lnTo>
                      <a:pt x="202" y="38"/>
                    </a:lnTo>
                    <a:lnTo>
                      <a:pt x="187" y="31"/>
                    </a:lnTo>
                    <a:lnTo>
                      <a:pt x="187" y="31"/>
                    </a:lnTo>
                    <a:lnTo>
                      <a:pt x="187" y="27"/>
                    </a:lnTo>
                    <a:lnTo>
                      <a:pt x="187" y="27"/>
                    </a:lnTo>
                    <a:lnTo>
                      <a:pt x="187" y="27"/>
                    </a:lnTo>
                    <a:lnTo>
                      <a:pt x="187" y="27"/>
                    </a:lnTo>
                    <a:close/>
                    <a:moveTo>
                      <a:pt x="159" y="0"/>
                    </a:moveTo>
                    <a:lnTo>
                      <a:pt x="162" y="0"/>
                    </a:lnTo>
                    <a:lnTo>
                      <a:pt x="166" y="4"/>
                    </a:lnTo>
                    <a:lnTo>
                      <a:pt x="164" y="6"/>
                    </a:lnTo>
                    <a:lnTo>
                      <a:pt x="162" y="2"/>
                    </a:lnTo>
                    <a:lnTo>
                      <a:pt x="159" y="0"/>
                    </a:lnTo>
                    <a:lnTo>
                      <a:pt x="159" y="0"/>
                    </a:lnTo>
                    <a:lnTo>
                      <a:pt x="159" y="0"/>
                    </a:lnTo>
                    <a:lnTo>
                      <a:pt x="159" y="0"/>
                    </a:lnTo>
                    <a:close/>
                    <a:moveTo>
                      <a:pt x="172" y="27"/>
                    </a:moveTo>
                    <a:lnTo>
                      <a:pt x="176" y="25"/>
                    </a:lnTo>
                    <a:lnTo>
                      <a:pt x="177" y="27"/>
                    </a:lnTo>
                    <a:lnTo>
                      <a:pt x="177" y="31"/>
                    </a:lnTo>
                    <a:lnTo>
                      <a:pt x="174" y="31"/>
                    </a:lnTo>
                    <a:lnTo>
                      <a:pt x="172" y="31"/>
                    </a:lnTo>
                    <a:lnTo>
                      <a:pt x="172" y="27"/>
                    </a:lnTo>
                    <a:lnTo>
                      <a:pt x="172" y="27"/>
                    </a:lnTo>
                    <a:lnTo>
                      <a:pt x="172" y="27"/>
                    </a:lnTo>
                    <a:lnTo>
                      <a:pt x="172" y="27"/>
                    </a:lnTo>
                    <a:close/>
                    <a:moveTo>
                      <a:pt x="170" y="72"/>
                    </a:moveTo>
                    <a:lnTo>
                      <a:pt x="174" y="76"/>
                    </a:lnTo>
                    <a:lnTo>
                      <a:pt x="176" y="72"/>
                    </a:lnTo>
                    <a:lnTo>
                      <a:pt x="172" y="68"/>
                    </a:lnTo>
                    <a:lnTo>
                      <a:pt x="170" y="70"/>
                    </a:lnTo>
                    <a:lnTo>
                      <a:pt x="170" y="72"/>
                    </a:lnTo>
                    <a:lnTo>
                      <a:pt x="170" y="72"/>
                    </a:lnTo>
                    <a:lnTo>
                      <a:pt x="170" y="72"/>
                    </a:lnTo>
                    <a:lnTo>
                      <a:pt x="170" y="72"/>
                    </a:lnTo>
                    <a:close/>
                    <a:moveTo>
                      <a:pt x="140" y="81"/>
                    </a:moveTo>
                    <a:lnTo>
                      <a:pt x="138" y="83"/>
                    </a:lnTo>
                    <a:lnTo>
                      <a:pt x="140" y="89"/>
                    </a:lnTo>
                    <a:lnTo>
                      <a:pt x="144" y="89"/>
                    </a:lnTo>
                    <a:lnTo>
                      <a:pt x="151" y="95"/>
                    </a:lnTo>
                    <a:lnTo>
                      <a:pt x="151" y="97"/>
                    </a:lnTo>
                    <a:lnTo>
                      <a:pt x="153" y="95"/>
                    </a:lnTo>
                    <a:lnTo>
                      <a:pt x="159" y="95"/>
                    </a:lnTo>
                    <a:lnTo>
                      <a:pt x="162" y="98"/>
                    </a:lnTo>
                    <a:lnTo>
                      <a:pt x="164" y="98"/>
                    </a:lnTo>
                    <a:lnTo>
                      <a:pt x="168" y="98"/>
                    </a:lnTo>
                    <a:lnTo>
                      <a:pt x="176" y="97"/>
                    </a:lnTo>
                    <a:lnTo>
                      <a:pt x="179" y="98"/>
                    </a:lnTo>
                    <a:lnTo>
                      <a:pt x="183" y="97"/>
                    </a:lnTo>
                    <a:lnTo>
                      <a:pt x="187" y="98"/>
                    </a:lnTo>
                    <a:lnTo>
                      <a:pt x="187" y="97"/>
                    </a:lnTo>
                    <a:lnTo>
                      <a:pt x="187" y="93"/>
                    </a:lnTo>
                    <a:lnTo>
                      <a:pt x="192" y="93"/>
                    </a:lnTo>
                    <a:lnTo>
                      <a:pt x="198" y="87"/>
                    </a:lnTo>
                    <a:lnTo>
                      <a:pt x="198" y="83"/>
                    </a:lnTo>
                    <a:lnTo>
                      <a:pt x="202" y="83"/>
                    </a:lnTo>
                    <a:lnTo>
                      <a:pt x="204" y="83"/>
                    </a:lnTo>
                    <a:lnTo>
                      <a:pt x="208" y="83"/>
                    </a:lnTo>
                    <a:lnTo>
                      <a:pt x="211" y="80"/>
                    </a:lnTo>
                    <a:lnTo>
                      <a:pt x="208" y="76"/>
                    </a:lnTo>
                    <a:lnTo>
                      <a:pt x="208" y="74"/>
                    </a:lnTo>
                    <a:lnTo>
                      <a:pt x="208" y="72"/>
                    </a:lnTo>
                    <a:lnTo>
                      <a:pt x="211" y="72"/>
                    </a:lnTo>
                    <a:lnTo>
                      <a:pt x="215" y="68"/>
                    </a:lnTo>
                    <a:lnTo>
                      <a:pt x="215" y="59"/>
                    </a:lnTo>
                    <a:lnTo>
                      <a:pt x="211" y="55"/>
                    </a:lnTo>
                    <a:lnTo>
                      <a:pt x="208" y="59"/>
                    </a:lnTo>
                    <a:lnTo>
                      <a:pt x="208" y="59"/>
                    </a:lnTo>
                    <a:lnTo>
                      <a:pt x="206" y="59"/>
                    </a:lnTo>
                    <a:lnTo>
                      <a:pt x="200" y="59"/>
                    </a:lnTo>
                    <a:lnTo>
                      <a:pt x="198" y="63"/>
                    </a:lnTo>
                    <a:lnTo>
                      <a:pt x="200" y="68"/>
                    </a:lnTo>
                    <a:lnTo>
                      <a:pt x="202" y="70"/>
                    </a:lnTo>
                    <a:lnTo>
                      <a:pt x="200" y="72"/>
                    </a:lnTo>
                    <a:lnTo>
                      <a:pt x="196" y="72"/>
                    </a:lnTo>
                    <a:lnTo>
                      <a:pt x="189" y="78"/>
                    </a:lnTo>
                    <a:lnTo>
                      <a:pt x="187" y="81"/>
                    </a:lnTo>
                    <a:lnTo>
                      <a:pt x="187" y="83"/>
                    </a:lnTo>
                    <a:lnTo>
                      <a:pt x="183" y="83"/>
                    </a:lnTo>
                    <a:lnTo>
                      <a:pt x="181" y="83"/>
                    </a:lnTo>
                    <a:lnTo>
                      <a:pt x="179" y="81"/>
                    </a:lnTo>
                    <a:lnTo>
                      <a:pt x="177" y="81"/>
                    </a:lnTo>
                    <a:lnTo>
                      <a:pt x="174" y="83"/>
                    </a:lnTo>
                    <a:lnTo>
                      <a:pt x="172" y="83"/>
                    </a:lnTo>
                    <a:lnTo>
                      <a:pt x="170" y="80"/>
                    </a:lnTo>
                    <a:lnTo>
                      <a:pt x="172" y="78"/>
                    </a:lnTo>
                    <a:lnTo>
                      <a:pt x="168" y="76"/>
                    </a:lnTo>
                    <a:lnTo>
                      <a:pt x="166" y="78"/>
                    </a:lnTo>
                    <a:lnTo>
                      <a:pt x="166" y="80"/>
                    </a:lnTo>
                    <a:lnTo>
                      <a:pt x="164" y="81"/>
                    </a:lnTo>
                    <a:lnTo>
                      <a:pt x="162" y="81"/>
                    </a:lnTo>
                    <a:lnTo>
                      <a:pt x="157" y="83"/>
                    </a:lnTo>
                    <a:lnTo>
                      <a:pt x="153" y="83"/>
                    </a:lnTo>
                    <a:lnTo>
                      <a:pt x="151" y="81"/>
                    </a:lnTo>
                    <a:lnTo>
                      <a:pt x="147" y="81"/>
                    </a:lnTo>
                    <a:lnTo>
                      <a:pt x="144" y="83"/>
                    </a:lnTo>
                    <a:lnTo>
                      <a:pt x="140" y="81"/>
                    </a:lnTo>
                    <a:lnTo>
                      <a:pt x="140" y="81"/>
                    </a:lnTo>
                    <a:lnTo>
                      <a:pt x="140" y="81"/>
                    </a:lnTo>
                    <a:lnTo>
                      <a:pt x="140" y="81"/>
                    </a:lnTo>
                    <a:close/>
                    <a:moveTo>
                      <a:pt x="125" y="83"/>
                    </a:moveTo>
                    <a:lnTo>
                      <a:pt x="128" y="81"/>
                    </a:lnTo>
                    <a:lnTo>
                      <a:pt x="132" y="83"/>
                    </a:lnTo>
                    <a:lnTo>
                      <a:pt x="132" y="87"/>
                    </a:lnTo>
                    <a:lnTo>
                      <a:pt x="132" y="89"/>
                    </a:lnTo>
                    <a:lnTo>
                      <a:pt x="128" y="87"/>
                    </a:lnTo>
                    <a:lnTo>
                      <a:pt x="125" y="83"/>
                    </a:lnTo>
                    <a:lnTo>
                      <a:pt x="125" y="83"/>
                    </a:lnTo>
                    <a:lnTo>
                      <a:pt x="125" y="83"/>
                    </a:lnTo>
                    <a:lnTo>
                      <a:pt x="125" y="83"/>
                    </a:lnTo>
                    <a:close/>
                    <a:moveTo>
                      <a:pt x="115" y="78"/>
                    </a:moveTo>
                    <a:lnTo>
                      <a:pt x="113" y="80"/>
                    </a:lnTo>
                    <a:lnTo>
                      <a:pt x="115" y="83"/>
                    </a:lnTo>
                    <a:lnTo>
                      <a:pt x="119" y="81"/>
                    </a:lnTo>
                    <a:lnTo>
                      <a:pt x="119" y="80"/>
                    </a:lnTo>
                    <a:lnTo>
                      <a:pt x="115" y="78"/>
                    </a:lnTo>
                    <a:lnTo>
                      <a:pt x="115" y="78"/>
                    </a:lnTo>
                    <a:lnTo>
                      <a:pt x="115" y="78"/>
                    </a:lnTo>
                    <a:lnTo>
                      <a:pt x="115" y="78"/>
                    </a:lnTo>
                    <a:close/>
                    <a:moveTo>
                      <a:pt x="98" y="65"/>
                    </a:moveTo>
                    <a:lnTo>
                      <a:pt x="95" y="68"/>
                    </a:lnTo>
                    <a:lnTo>
                      <a:pt x="95" y="68"/>
                    </a:lnTo>
                    <a:lnTo>
                      <a:pt x="98" y="68"/>
                    </a:lnTo>
                    <a:lnTo>
                      <a:pt x="98" y="65"/>
                    </a:lnTo>
                    <a:lnTo>
                      <a:pt x="98" y="65"/>
                    </a:lnTo>
                    <a:lnTo>
                      <a:pt x="98" y="65"/>
                    </a:lnTo>
                    <a:lnTo>
                      <a:pt x="98" y="65"/>
                    </a:lnTo>
                    <a:close/>
                    <a:moveTo>
                      <a:pt x="213" y="149"/>
                    </a:moveTo>
                    <a:lnTo>
                      <a:pt x="213" y="151"/>
                    </a:lnTo>
                    <a:lnTo>
                      <a:pt x="213" y="155"/>
                    </a:lnTo>
                    <a:lnTo>
                      <a:pt x="215" y="153"/>
                    </a:lnTo>
                    <a:lnTo>
                      <a:pt x="221" y="157"/>
                    </a:lnTo>
                    <a:lnTo>
                      <a:pt x="219" y="155"/>
                    </a:lnTo>
                    <a:lnTo>
                      <a:pt x="213" y="149"/>
                    </a:lnTo>
                    <a:lnTo>
                      <a:pt x="213" y="149"/>
                    </a:lnTo>
                    <a:lnTo>
                      <a:pt x="213" y="149"/>
                    </a:lnTo>
                    <a:lnTo>
                      <a:pt x="213" y="149"/>
                    </a:lnTo>
                    <a:close/>
                    <a:moveTo>
                      <a:pt x="187" y="138"/>
                    </a:moveTo>
                    <a:lnTo>
                      <a:pt x="187" y="138"/>
                    </a:lnTo>
                    <a:lnTo>
                      <a:pt x="187" y="142"/>
                    </a:lnTo>
                    <a:lnTo>
                      <a:pt x="189" y="142"/>
                    </a:lnTo>
                    <a:lnTo>
                      <a:pt x="189" y="144"/>
                    </a:lnTo>
                    <a:lnTo>
                      <a:pt x="189" y="146"/>
                    </a:lnTo>
                    <a:lnTo>
                      <a:pt x="189" y="146"/>
                    </a:lnTo>
                    <a:lnTo>
                      <a:pt x="189" y="142"/>
                    </a:lnTo>
                    <a:lnTo>
                      <a:pt x="189" y="136"/>
                    </a:lnTo>
                    <a:lnTo>
                      <a:pt x="187" y="138"/>
                    </a:lnTo>
                    <a:lnTo>
                      <a:pt x="187" y="138"/>
                    </a:lnTo>
                    <a:lnTo>
                      <a:pt x="187" y="138"/>
                    </a:lnTo>
                    <a:lnTo>
                      <a:pt x="187" y="138"/>
                    </a:lnTo>
                    <a:close/>
                    <a:moveTo>
                      <a:pt x="179" y="164"/>
                    </a:moveTo>
                    <a:lnTo>
                      <a:pt x="183" y="164"/>
                    </a:lnTo>
                    <a:lnTo>
                      <a:pt x="183" y="166"/>
                    </a:lnTo>
                    <a:lnTo>
                      <a:pt x="183" y="166"/>
                    </a:lnTo>
                    <a:lnTo>
                      <a:pt x="187" y="168"/>
                    </a:lnTo>
                    <a:lnTo>
                      <a:pt x="187" y="168"/>
                    </a:lnTo>
                    <a:lnTo>
                      <a:pt x="187" y="166"/>
                    </a:lnTo>
                    <a:lnTo>
                      <a:pt x="189" y="166"/>
                    </a:lnTo>
                    <a:lnTo>
                      <a:pt x="189" y="168"/>
                    </a:lnTo>
                    <a:lnTo>
                      <a:pt x="187" y="170"/>
                    </a:lnTo>
                    <a:lnTo>
                      <a:pt x="187" y="172"/>
                    </a:lnTo>
                    <a:lnTo>
                      <a:pt x="187" y="172"/>
                    </a:lnTo>
                    <a:lnTo>
                      <a:pt x="183" y="172"/>
                    </a:lnTo>
                    <a:lnTo>
                      <a:pt x="183" y="170"/>
                    </a:lnTo>
                    <a:lnTo>
                      <a:pt x="183" y="168"/>
                    </a:lnTo>
                    <a:lnTo>
                      <a:pt x="181" y="166"/>
                    </a:lnTo>
                    <a:lnTo>
                      <a:pt x="179" y="164"/>
                    </a:lnTo>
                    <a:lnTo>
                      <a:pt x="179" y="164"/>
                    </a:lnTo>
                    <a:lnTo>
                      <a:pt x="179" y="164"/>
                    </a:lnTo>
                    <a:lnTo>
                      <a:pt x="179" y="164"/>
                    </a:lnTo>
                    <a:lnTo>
                      <a:pt x="179" y="164"/>
                    </a:lnTo>
                    <a:close/>
                    <a:moveTo>
                      <a:pt x="176" y="157"/>
                    </a:moveTo>
                    <a:lnTo>
                      <a:pt x="177" y="161"/>
                    </a:lnTo>
                    <a:lnTo>
                      <a:pt x="179" y="162"/>
                    </a:lnTo>
                    <a:lnTo>
                      <a:pt x="181" y="162"/>
                    </a:lnTo>
                    <a:lnTo>
                      <a:pt x="183" y="162"/>
                    </a:lnTo>
                    <a:lnTo>
                      <a:pt x="183" y="162"/>
                    </a:lnTo>
                    <a:lnTo>
                      <a:pt x="183" y="161"/>
                    </a:lnTo>
                    <a:lnTo>
                      <a:pt x="181" y="161"/>
                    </a:lnTo>
                    <a:lnTo>
                      <a:pt x="181" y="161"/>
                    </a:lnTo>
                    <a:lnTo>
                      <a:pt x="181" y="157"/>
                    </a:lnTo>
                    <a:lnTo>
                      <a:pt x="179" y="157"/>
                    </a:lnTo>
                    <a:lnTo>
                      <a:pt x="177" y="157"/>
                    </a:lnTo>
                    <a:lnTo>
                      <a:pt x="176" y="157"/>
                    </a:lnTo>
                    <a:lnTo>
                      <a:pt x="176" y="157"/>
                    </a:lnTo>
                    <a:lnTo>
                      <a:pt x="176" y="157"/>
                    </a:lnTo>
                    <a:lnTo>
                      <a:pt x="176" y="157"/>
                    </a:lnTo>
                    <a:close/>
                    <a:moveTo>
                      <a:pt x="168" y="157"/>
                    </a:moveTo>
                    <a:lnTo>
                      <a:pt x="170" y="157"/>
                    </a:lnTo>
                    <a:lnTo>
                      <a:pt x="172" y="157"/>
                    </a:lnTo>
                    <a:lnTo>
                      <a:pt x="174" y="161"/>
                    </a:lnTo>
                    <a:lnTo>
                      <a:pt x="174" y="161"/>
                    </a:lnTo>
                    <a:lnTo>
                      <a:pt x="174" y="157"/>
                    </a:lnTo>
                    <a:lnTo>
                      <a:pt x="172" y="157"/>
                    </a:lnTo>
                    <a:lnTo>
                      <a:pt x="170" y="155"/>
                    </a:lnTo>
                    <a:lnTo>
                      <a:pt x="168" y="157"/>
                    </a:lnTo>
                    <a:lnTo>
                      <a:pt x="168" y="157"/>
                    </a:lnTo>
                    <a:lnTo>
                      <a:pt x="168" y="157"/>
                    </a:lnTo>
                    <a:lnTo>
                      <a:pt x="168" y="157"/>
                    </a:lnTo>
                    <a:close/>
                    <a:moveTo>
                      <a:pt x="76" y="125"/>
                    </a:moveTo>
                    <a:lnTo>
                      <a:pt x="76" y="127"/>
                    </a:lnTo>
                    <a:lnTo>
                      <a:pt x="76" y="129"/>
                    </a:lnTo>
                    <a:lnTo>
                      <a:pt x="76" y="129"/>
                    </a:lnTo>
                    <a:lnTo>
                      <a:pt x="76" y="125"/>
                    </a:lnTo>
                    <a:lnTo>
                      <a:pt x="76" y="125"/>
                    </a:lnTo>
                    <a:lnTo>
                      <a:pt x="76" y="125"/>
                    </a:lnTo>
                    <a:lnTo>
                      <a:pt x="76" y="125"/>
                    </a:lnTo>
                    <a:close/>
                    <a:moveTo>
                      <a:pt x="68" y="127"/>
                    </a:moveTo>
                    <a:lnTo>
                      <a:pt x="68" y="125"/>
                    </a:lnTo>
                    <a:lnTo>
                      <a:pt x="70" y="125"/>
                    </a:lnTo>
                    <a:lnTo>
                      <a:pt x="68" y="127"/>
                    </a:lnTo>
                    <a:lnTo>
                      <a:pt x="68" y="127"/>
                    </a:lnTo>
                    <a:lnTo>
                      <a:pt x="68" y="127"/>
                    </a:lnTo>
                    <a:lnTo>
                      <a:pt x="68" y="127"/>
                    </a:lnTo>
                    <a:close/>
                    <a:moveTo>
                      <a:pt x="63" y="125"/>
                    </a:moveTo>
                    <a:lnTo>
                      <a:pt x="63" y="127"/>
                    </a:lnTo>
                    <a:lnTo>
                      <a:pt x="64" y="127"/>
                    </a:lnTo>
                    <a:lnTo>
                      <a:pt x="64" y="127"/>
                    </a:lnTo>
                    <a:lnTo>
                      <a:pt x="63" y="125"/>
                    </a:lnTo>
                    <a:lnTo>
                      <a:pt x="63" y="125"/>
                    </a:lnTo>
                    <a:lnTo>
                      <a:pt x="63" y="125"/>
                    </a:lnTo>
                    <a:lnTo>
                      <a:pt x="63" y="125"/>
                    </a:lnTo>
                    <a:close/>
                    <a:moveTo>
                      <a:pt x="68" y="127"/>
                    </a:moveTo>
                    <a:lnTo>
                      <a:pt x="64" y="123"/>
                    </a:lnTo>
                    <a:lnTo>
                      <a:pt x="66" y="121"/>
                    </a:lnTo>
                    <a:lnTo>
                      <a:pt x="68" y="121"/>
                    </a:lnTo>
                    <a:lnTo>
                      <a:pt x="68" y="125"/>
                    </a:lnTo>
                    <a:lnTo>
                      <a:pt x="68" y="127"/>
                    </a:lnTo>
                    <a:lnTo>
                      <a:pt x="68" y="127"/>
                    </a:lnTo>
                    <a:lnTo>
                      <a:pt x="68" y="127"/>
                    </a:lnTo>
                    <a:lnTo>
                      <a:pt x="68" y="127"/>
                    </a:lnTo>
                    <a:close/>
                    <a:moveTo>
                      <a:pt x="55" y="127"/>
                    </a:moveTo>
                    <a:lnTo>
                      <a:pt x="55" y="129"/>
                    </a:lnTo>
                    <a:lnTo>
                      <a:pt x="57" y="129"/>
                    </a:lnTo>
                    <a:lnTo>
                      <a:pt x="55" y="127"/>
                    </a:lnTo>
                    <a:lnTo>
                      <a:pt x="55" y="127"/>
                    </a:lnTo>
                    <a:lnTo>
                      <a:pt x="55" y="127"/>
                    </a:lnTo>
                    <a:lnTo>
                      <a:pt x="55" y="127"/>
                    </a:lnTo>
                    <a:lnTo>
                      <a:pt x="55" y="127"/>
                    </a:lnTo>
                    <a:close/>
                    <a:moveTo>
                      <a:pt x="49" y="140"/>
                    </a:moveTo>
                    <a:lnTo>
                      <a:pt x="51" y="138"/>
                    </a:lnTo>
                    <a:lnTo>
                      <a:pt x="51" y="138"/>
                    </a:lnTo>
                    <a:lnTo>
                      <a:pt x="51" y="140"/>
                    </a:lnTo>
                    <a:lnTo>
                      <a:pt x="51" y="140"/>
                    </a:lnTo>
                    <a:lnTo>
                      <a:pt x="49" y="140"/>
                    </a:lnTo>
                    <a:lnTo>
                      <a:pt x="49" y="140"/>
                    </a:lnTo>
                    <a:lnTo>
                      <a:pt x="49" y="140"/>
                    </a:lnTo>
                    <a:lnTo>
                      <a:pt x="49" y="140"/>
                    </a:lnTo>
                    <a:close/>
                    <a:moveTo>
                      <a:pt x="46" y="142"/>
                    </a:moveTo>
                    <a:lnTo>
                      <a:pt x="49" y="144"/>
                    </a:lnTo>
                    <a:lnTo>
                      <a:pt x="49" y="142"/>
                    </a:lnTo>
                    <a:lnTo>
                      <a:pt x="46" y="142"/>
                    </a:lnTo>
                    <a:lnTo>
                      <a:pt x="46" y="142"/>
                    </a:lnTo>
                    <a:lnTo>
                      <a:pt x="46" y="142"/>
                    </a:lnTo>
                    <a:lnTo>
                      <a:pt x="46" y="142"/>
                    </a:lnTo>
                    <a:close/>
                    <a:moveTo>
                      <a:pt x="44" y="140"/>
                    </a:moveTo>
                    <a:lnTo>
                      <a:pt x="46" y="142"/>
                    </a:lnTo>
                    <a:lnTo>
                      <a:pt x="46" y="140"/>
                    </a:lnTo>
                    <a:lnTo>
                      <a:pt x="44" y="140"/>
                    </a:lnTo>
                    <a:lnTo>
                      <a:pt x="44" y="140"/>
                    </a:lnTo>
                    <a:lnTo>
                      <a:pt x="44" y="140"/>
                    </a:lnTo>
                    <a:lnTo>
                      <a:pt x="44" y="140"/>
                    </a:lnTo>
                    <a:close/>
                    <a:moveTo>
                      <a:pt x="42" y="142"/>
                    </a:moveTo>
                    <a:lnTo>
                      <a:pt x="42" y="142"/>
                    </a:lnTo>
                    <a:lnTo>
                      <a:pt x="46" y="144"/>
                    </a:lnTo>
                    <a:lnTo>
                      <a:pt x="51" y="147"/>
                    </a:lnTo>
                    <a:lnTo>
                      <a:pt x="42" y="142"/>
                    </a:lnTo>
                    <a:lnTo>
                      <a:pt x="42" y="142"/>
                    </a:lnTo>
                    <a:lnTo>
                      <a:pt x="42" y="142"/>
                    </a:lnTo>
                    <a:lnTo>
                      <a:pt x="42" y="142"/>
                    </a:lnTo>
                    <a:close/>
                    <a:moveTo>
                      <a:pt x="46" y="132"/>
                    </a:moveTo>
                    <a:lnTo>
                      <a:pt x="51" y="132"/>
                    </a:lnTo>
                    <a:lnTo>
                      <a:pt x="51" y="136"/>
                    </a:lnTo>
                    <a:lnTo>
                      <a:pt x="49" y="132"/>
                    </a:lnTo>
                    <a:lnTo>
                      <a:pt x="46" y="132"/>
                    </a:lnTo>
                    <a:lnTo>
                      <a:pt x="46" y="132"/>
                    </a:lnTo>
                    <a:lnTo>
                      <a:pt x="46" y="132"/>
                    </a:lnTo>
                    <a:lnTo>
                      <a:pt x="46" y="132"/>
                    </a:lnTo>
                    <a:close/>
                    <a:moveTo>
                      <a:pt x="51" y="132"/>
                    </a:moveTo>
                    <a:lnTo>
                      <a:pt x="51" y="130"/>
                    </a:lnTo>
                    <a:lnTo>
                      <a:pt x="51" y="129"/>
                    </a:lnTo>
                    <a:lnTo>
                      <a:pt x="51" y="127"/>
                    </a:lnTo>
                    <a:lnTo>
                      <a:pt x="55" y="130"/>
                    </a:lnTo>
                    <a:lnTo>
                      <a:pt x="55" y="132"/>
                    </a:lnTo>
                    <a:lnTo>
                      <a:pt x="55" y="132"/>
                    </a:lnTo>
                    <a:lnTo>
                      <a:pt x="51" y="132"/>
                    </a:lnTo>
                    <a:lnTo>
                      <a:pt x="51" y="132"/>
                    </a:lnTo>
                    <a:lnTo>
                      <a:pt x="51" y="132"/>
                    </a:lnTo>
                    <a:lnTo>
                      <a:pt x="51" y="132"/>
                    </a:lnTo>
                    <a:close/>
                    <a:moveTo>
                      <a:pt x="2" y="29"/>
                    </a:moveTo>
                    <a:lnTo>
                      <a:pt x="0" y="98"/>
                    </a:lnTo>
                    <a:lnTo>
                      <a:pt x="0" y="104"/>
                    </a:lnTo>
                    <a:lnTo>
                      <a:pt x="0" y="106"/>
                    </a:lnTo>
                    <a:lnTo>
                      <a:pt x="0" y="108"/>
                    </a:lnTo>
                    <a:lnTo>
                      <a:pt x="0" y="153"/>
                    </a:lnTo>
                    <a:lnTo>
                      <a:pt x="6" y="153"/>
                    </a:lnTo>
                    <a:lnTo>
                      <a:pt x="8" y="153"/>
                    </a:lnTo>
                    <a:lnTo>
                      <a:pt x="12" y="153"/>
                    </a:lnTo>
                    <a:lnTo>
                      <a:pt x="21" y="153"/>
                    </a:lnTo>
                    <a:lnTo>
                      <a:pt x="25" y="153"/>
                    </a:lnTo>
                    <a:lnTo>
                      <a:pt x="25" y="155"/>
                    </a:lnTo>
                    <a:lnTo>
                      <a:pt x="25" y="157"/>
                    </a:lnTo>
                    <a:lnTo>
                      <a:pt x="31" y="157"/>
                    </a:lnTo>
                    <a:lnTo>
                      <a:pt x="32" y="155"/>
                    </a:lnTo>
                    <a:lnTo>
                      <a:pt x="40" y="153"/>
                    </a:lnTo>
                    <a:lnTo>
                      <a:pt x="40" y="151"/>
                    </a:lnTo>
                    <a:lnTo>
                      <a:pt x="42" y="153"/>
                    </a:lnTo>
                    <a:lnTo>
                      <a:pt x="44" y="151"/>
                    </a:lnTo>
                    <a:lnTo>
                      <a:pt x="44" y="146"/>
                    </a:lnTo>
                    <a:lnTo>
                      <a:pt x="38" y="142"/>
                    </a:lnTo>
                    <a:lnTo>
                      <a:pt x="32" y="140"/>
                    </a:lnTo>
                    <a:lnTo>
                      <a:pt x="31" y="138"/>
                    </a:lnTo>
                    <a:lnTo>
                      <a:pt x="27" y="136"/>
                    </a:lnTo>
                    <a:lnTo>
                      <a:pt x="25" y="136"/>
                    </a:lnTo>
                    <a:lnTo>
                      <a:pt x="21" y="136"/>
                    </a:lnTo>
                    <a:lnTo>
                      <a:pt x="21" y="136"/>
                    </a:lnTo>
                    <a:lnTo>
                      <a:pt x="21" y="130"/>
                    </a:lnTo>
                    <a:lnTo>
                      <a:pt x="17" y="127"/>
                    </a:lnTo>
                    <a:lnTo>
                      <a:pt x="14" y="125"/>
                    </a:lnTo>
                    <a:lnTo>
                      <a:pt x="14" y="123"/>
                    </a:lnTo>
                    <a:lnTo>
                      <a:pt x="10" y="121"/>
                    </a:lnTo>
                    <a:lnTo>
                      <a:pt x="14" y="123"/>
                    </a:lnTo>
                    <a:lnTo>
                      <a:pt x="14" y="125"/>
                    </a:lnTo>
                    <a:lnTo>
                      <a:pt x="17" y="125"/>
                    </a:lnTo>
                    <a:lnTo>
                      <a:pt x="21" y="129"/>
                    </a:lnTo>
                    <a:lnTo>
                      <a:pt x="21" y="132"/>
                    </a:lnTo>
                    <a:lnTo>
                      <a:pt x="21" y="136"/>
                    </a:lnTo>
                    <a:lnTo>
                      <a:pt x="21" y="136"/>
                    </a:lnTo>
                    <a:lnTo>
                      <a:pt x="27" y="136"/>
                    </a:lnTo>
                    <a:lnTo>
                      <a:pt x="31" y="138"/>
                    </a:lnTo>
                    <a:lnTo>
                      <a:pt x="32" y="138"/>
                    </a:lnTo>
                    <a:lnTo>
                      <a:pt x="36" y="138"/>
                    </a:lnTo>
                    <a:lnTo>
                      <a:pt x="42" y="136"/>
                    </a:lnTo>
                    <a:lnTo>
                      <a:pt x="46" y="136"/>
                    </a:lnTo>
                    <a:lnTo>
                      <a:pt x="49" y="136"/>
                    </a:lnTo>
                    <a:lnTo>
                      <a:pt x="46" y="136"/>
                    </a:lnTo>
                    <a:lnTo>
                      <a:pt x="46" y="132"/>
                    </a:lnTo>
                    <a:lnTo>
                      <a:pt x="44" y="130"/>
                    </a:lnTo>
                    <a:lnTo>
                      <a:pt x="42" y="130"/>
                    </a:lnTo>
                    <a:lnTo>
                      <a:pt x="40" y="129"/>
                    </a:lnTo>
                    <a:lnTo>
                      <a:pt x="42" y="130"/>
                    </a:lnTo>
                    <a:lnTo>
                      <a:pt x="46" y="130"/>
                    </a:lnTo>
                    <a:lnTo>
                      <a:pt x="49" y="132"/>
                    </a:lnTo>
                    <a:lnTo>
                      <a:pt x="51" y="132"/>
                    </a:lnTo>
                    <a:lnTo>
                      <a:pt x="51" y="132"/>
                    </a:lnTo>
                    <a:lnTo>
                      <a:pt x="51" y="129"/>
                    </a:lnTo>
                    <a:lnTo>
                      <a:pt x="51" y="127"/>
                    </a:lnTo>
                    <a:lnTo>
                      <a:pt x="51" y="125"/>
                    </a:lnTo>
                    <a:lnTo>
                      <a:pt x="51" y="123"/>
                    </a:lnTo>
                    <a:lnTo>
                      <a:pt x="49" y="119"/>
                    </a:lnTo>
                    <a:lnTo>
                      <a:pt x="49" y="117"/>
                    </a:lnTo>
                    <a:lnTo>
                      <a:pt x="51" y="119"/>
                    </a:lnTo>
                    <a:lnTo>
                      <a:pt x="55" y="123"/>
                    </a:lnTo>
                    <a:lnTo>
                      <a:pt x="57" y="125"/>
                    </a:lnTo>
                    <a:lnTo>
                      <a:pt x="59" y="127"/>
                    </a:lnTo>
                    <a:lnTo>
                      <a:pt x="59" y="125"/>
                    </a:lnTo>
                    <a:lnTo>
                      <a:pt x="59" y="121"/>
                    </a:lnTo>
                    <a:lnTo>
                      <a:pt x="59" y="123"/>
                    </a:lnTo>
                    <a:lnTo>
                      <a:pt x="61" y="127"/>
                    </a:lnTo>
                    <a:lnTo>
                      <a:pt x="63" y="127"/>
                    </a:lnTo>
                    <a:lnTo>
                      <a:pt x="63" y="123"/>
                    </a:lnTo>
                    <a:lnTo>
                      <a:pt x="61" y="121"/>
                    </a:lnTo>
                    <a:lnTo>
                      <a:pt x="63" y="117"/>
                    </a:lnTo>
                    <a:lnTo>
                      <a:pt x="64" y="119"/>
                    </a:lnTo>
                    <a:lnTo>
                      <a:pt x="68" y="121"/>
                    </a:lnTo>
                    <a:lnTo>
                      <a:pt x="70" y="123"/>
                    </a:lnTo>
                    <a:lnTo>
                      <a:pt x="72" y="125"/>
                    </a:lnTo>
                    <a:lnTo>
                      <a:pt x="76" y="123"/>
                    </a:lnTo>
                    <a:lnTo>
                      <a:pt x="76" y="125"/>
                    </a:lnTo>
                    <a:lnTo>
                      <a:pt x="76" y="123"/>
                    </a:lnTo>
                    <a:lnTo>
                      <a:pt x="76" y="125"/>
                    </a:lnTo>
                    <a:lnTo>
                      <a:pt x="76" y="127"/>
                    </a:lnTo>
                    <a:lnTo>
                      <a:pt x="80" y="129"/>
                    </a:lnTo>
                    <a:lnTo>
                      <a:pt x="83" y="130"/>
                    </a:lnTo>
                    <a:lnTo>
                      <a:pt x="91" y="132"/>
                    </a:lnTo>
                    <a:lnTo>
                      <a:pt x="95" y="132"/>
                    </a:lnTo>
                    <a:lnTo>
                      <a:pt x="98" y="136"/>
                    </a:lnTo>
                    <a:lnTo>
                      <a:pt x="98" y="142"/>
                    </a:lnTo>
                    <a:lnTo>
                      <a:pt x="104" y="149"/>
                    </a:lnTo>
                    <a:lnTo>
                      <a:pt x="104" y="151"/>
                    </a:lnTo>
                    <a:lnTo>
                      <a:pt x="108" y="153"/>
                    </a:lnTo>
                    <a:lnTo>
                      <a:pt x="110" y="155"/>
                    </a:lnTo>
                    <a:lnTo>
                      <a:pt x="110" y="157"/>
                    </a:lnTo>
                    <a:lnTo>
                      <a:pt x="119" y="166"/>
                    </a:lnTo>
                    <a:lnTo>
                      <a:pt x="119" y="168"/>
                    </a:lnTo>
                    <a:lnTo>
                      <a:pt x="123" y="170"/>
                    </a:lnTo>
                    <a:lnTo>
                      <a:pt x="128" y="172"/>
                    </a:lnTo>
                    <a:lnTo>
                      <a:pt x="128" y="172"/>
                    </a:lnTo>
                    <a:lnTo>
                      <a:pt x="132" y="172"/>
                    </a:lnTo>
                    <a:lnTo>
                      <a:pt x="134" y="174"/>
                    </a:lnTo>
                    <a:lnTo>
                      <a:pt x="140" y="172"/>
                    </a:lnTo>
                    <a:lnTo>
                      <a:pt x="144" y="174"/>
                    </a:lnTo>
                    <a:lnTo>
                      <a:pt x="147" y="174"/>
                    </a:lnTo>
                    <a:lnTo>
                      <a:pt x="153" y="174"/>
                    </a:lnTo>
                    <a:lnTo>
                      <a:pt x="157" y="176"/>
                    </a:lnTo>
                    <a:lnTo>
                      <a:pt x="159" y="176"/>
                    </a:lnTo>
                    <a:lnTo>
                      <a:pt x="162" y="178"/>
                    </a:lnTo>
                    <a:lnTo>
                      <a:pt x="164" y="178"/>
                    </a:lnTo>
                    <a:lnTo>
                      <a:pt x="166" y="179"/>
                    </a:lnTo>
                    <a:lnTo>
                      <a:pt x="162" y="181"/>
                    </a:lnTo>
                    <a:lnTo>
                      <a:pt x="166" y="181"/>
                    </a:lnTo>
                    <a:lnTo>
                      <a:pt x="172" y="185"/>
                    </a:lnTo>
                    <a:lnTo>
                      <a:pt x="176" y="181"/>
                    </a:lnTo>
                    <a:lnTo>
                      <a:pt x="177" y="181"/>
                    </a:lnTo>
                    <a:lnTo>
                      <a:pt x="172" y="178"/>
                    </a:lnTo>
                    <a:lnTo>
                      <a:pt x="170" y="178"/>
                    </a:lnTo>
                    <a:lnTo>
                      <a:pt x="170" y="176"/>
                    </a:lnTo>
                    <a:lnTo>
                      <a:pt x="174" y="176"/>
                    </a:lnTo>
                    <a:lnTo>
                      <a:pt x="177" y="176"/>
                    </a:lnTo>
                    <a:lnTo>
                      <a:pt x="181" y="174"/>
                    </a:lnTo>
                    <a:lnTo>
                      <a:pt x="174" y="172"/>
                    </a:lnTo>
                    <a:lnTo>
                      <a:pt x="164" y="172"/>
                    </a:lnTo>
                    <a:lnTo>
                      <a:pt x="162" y="168"/>
                    </a:lnTo>
                    <a:lnTo>
                      <a:pt x="159" y="166"/>
                    </a:lnTo>
                    <a:lnTo>
                      <a:pt x="162" y="164"/>
                    </a:lnTo>
                    <a:lnTo>
                      <a:pt x="166" y="164"/>
                    </a:lnTo>
                    <a:lnTo>
                      <a:pt x="168" y="162"/>
                    </a:lnTo>
                    <a:lnTo>
                      <a:pt x="164" y="162"/>
                    </a:lnTo>
                    <a:lnTo>
                      <a:pt x="159" y="162"/>
                    </a:lnTo>
                    <a:lnTo>
                      <a:pt x="153" y="161"/>
                    </a:lnTo>
                    <a:lnTo>
                      <a:pt x="151" y="161"/>
                    </a:lnTo>
                    <a:lnTo>
                      <a:pt x="151" y="157"/>
                    </a:lnTo>
                    <a:lnTo>
                      <a:pt x="153" y="155"/>
                    </a:lnTo>
                    <a:lnTo>
                      <a:pt x="153" y="153"/>
                    </a:lnTo>
                    <a:lnTo>
                      <a:pt x="151" y="149"/>
                    </a:lnTo>
                    <a:lnTo>
                      <a:pt x="149" y="149"/>
                    </a:lnTo>
                    <a:lnTo>
                      <a:pt x="147" y="151"/>
                    </a:lnTo>
                    <a:lnTo>
                      <a:pt x="145" y="151"/>
                    </a:lnTo>
                    <a:lnTo>
                      <a:pt x="144" y="151"/>
                    </a:lnTo>
                    <a:lnTo>
                      <a:pt x="140" y="147"/>
                    </a:lnTo>
                    <a:lnTo>
                      <a:pt x="138" y="142"/>
                    </a:lnTo>
                    <a:lnTo>
                      <a:pt x="138" y="140"/>
                    </a:lnTo>
                    <a:lnTo>
                      <a:pt x="132" y="132"/>
                    </a:lnTo>
                    <a:lnTo>
                      <a:pt x="132" y="132"/>
                    </a:lnTo>
                    <a:lnTo>
                      <a:pt x="128" y="129"/>
                    </a:lnTo>
                    <a:lnTo>
                      <a:pt x="125" y="129"/>
                    </a:lnTo>
                    <a:lnTo>
                      <a:pt x="123" y="129"/>
                    </a:lnTo>
                    <a:lnTo>
                      <a:pt x="121" y="123"/>
                    </a:lnTo>
                    <a:lnTo>
                      <a:pt x="117" y="119"/>
                    </a:lnTo>
                    <a:lnTo>
                      <a:pt x="117" y="115"/>
                    </a:lnTo>
                    <a:lnTo>
                      <a:pt x="113" y="112"/>
                    </a:lnTo>
                    <a:lnTo>
                      <a:pt x="113" y="108"/>
                    </a:lnTo>
                    <a:lnTo>
                      <a:pt x="113" y="108"/>
                    </a:lnTo>
                    <a:lnTo>
                      <a:pt x="119" y="108"/>
                    </a:lnTo>
                    <a:lnTo>
                      <a:pt x="125" y="106"/>
                    </a:lnTo>
                    <a:lnTo>
                      <a:pt x="128" y="102"/>
                    </a:lnTo>
                    <a:lnTo>
                      <a:pt x="128" y="98"/>
                    </a:lnTo>
                    <a:lnTo>
                      <a:pt x="123" y="93"/>
                    </a:lnTo>
                    <a:lnTo>
                      <a:pt x="119" y="91"/>
                    </a:lnTo>
                    <a:lnTo>
                      <a:pt x="117" y="93"/>
                    </a:lnTo>
                    <a:lnTo>
                      <a:pt x="113" y="91"/>
                    </a:lnTo>
                    <a:lnTo>
                      <a:pt x="108" y="87"/>
                    </a:lnTo>
                    <a:lnTo>
                      <a:pt x="104" y="83"/>
                    </a:lnTo>
                    <a:lnTo>
                      <a:pt x="100" y="83"/>
                    </a:lnTo>
                    <a:lnTo>
                      <a:pt x="91" y="83"/>
                    </a:lnTo>
                    <a:lnTo>
                      <a:pt x="89" y="80"/>
                    </a:lnTo>
                    <a:lnTo>
                      <a:pt x="93" y="76"/>
                    </a:lnTo>
                    <a:lnTo>
                      <a:pt x="93" y="72"/>
                    </a:lnTo>
                    <a:lnTo>
                      <a:pt x="89" y="68"/>
                    </a:lnTo>
                    <a:lnTo>
                      <a:pt x="83" y="63"/>
                    </a:lnTo>
                    <a:lnTo>
                      <a:pt x="83" y="63"/>
                    </a:lnTo>
                    <a:lnTo>
                      <a:pt x="80" y="63"/>
                    </a:lnTo>
                    <a:lnTo>
                      <a:pt x="80" y="59"/>
                    </a:lnTo>
                    <a:lnTo>
                      <a:pt x="76" y="59"/>
                    </a:lnTo>
                    <a:lnTo>
                      <a:pt x="74" y="55"/>
                    </a:lnTo>
                    <a:lnTo>
                      <a:pt x="70" y="55"/>
                    </a:lnTo>
                    <a:lnTo>
                      <a:pt x="68" y="51"/>
                    </a:lnTo>
                    <a:lnTo>
                      <a:pt x="66" y="53"/>
                    </a:lnTo>
                    <a:lnTo>
                      <a:pt x="63" y="51"/>
                    </a:lnTo>
                    <a:lnTo>
                      <a:pt x="59" y="49"/>
                    </a:lnTo>
                    <a:lnTo>
                      <a:pt x="55" y="48"/>
                    </a:lnTo>
                    <a:lnTo>
                      <a:pt x="51" y="46"/>
                    </a:lnTo>
                    <a:lnTo>
                      <a:pt x="44" y="44"/>
                    </a:lnTo>
                    <a:lnTo>
                      <a:pt x="34" y="40"/>
                    </a:lnTo>
                    <a:lnTo>
                      <a:pt x="31" y="38"/>
                    </a:lnTo>
                    <a:lnTo>
                      <a:pt x="27" y="38"/>
                    </a:lnTo>
                    <a:lnTo>
                      <a:pt x="25" y="38"/>
                    </a:lnTo>
                    <a:lnTo>
                      <a:pt x="25" y="38"/>
                    </a:lnTo>
                    <a:lnTo>
                      <a:pt x="19" y="34"/>
                    </a:lnTo>
                    <a:lnTo>
                      <a:pt x="17" y="34"/>
                    </a:lnTo>
                    <a:lnTo>
                      <a:pt x="14" y="31"/>
                    </a:lnTo>
                    <a:lnTo>
                      <a:pt x="6" y="31"/>
                    </a:lnTo>
                    <a:lnTo>
                      <a:pt x="2" y="29"/>
                    </a:lnTo>
                    <a:lnTo>
                      <a:pt x="2" y="29"/>
                    </a:lnTo>
                    <a:lnTo>
                      <a:pt x="2" y="2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2" name="Freeform 194"/>
              <p:cNvSpPr>
                <a:spLocks noEditPoints="1"/>
              </p:cNvSpPr>
              <p:nvPr/>
            </p:nvSpPr>
            <p:spPr bwMode="auto">
              <a:xfrm>
                <a:off x="4547" y="2981"/>
                <a:ext cx="848" cy="333"/>
              </a:xfrm>
              <a:custGeom>
                <a:avLst/>
                <a:gdLst/>
                <a:ahLst/>
                <a:cxnLst>
                  <a:cxn ang="0">
                    <a:pos x="803" y="256"/>
                  </a:cxn>
                  <a:cxn ang="0">
                    <a:pos x="728" y="199"/>
                  </a:cxn>
                  <a:cxn ang="0">
                    <a:pos x="704" y="173"/>
                  </a:cxn>
                  <a:cxn ang="0">
                    <a:pos x="715" y="137"/>
                  </a:cxn>
                  <a:cxn ang="0">
                    <a:pos x="777" y="158"/>
                  </a:cxn>
                  <a:cxn ang="0">
                    <a:pos x="655" y="132"/>
                  </a:cxn>
                  <a:cxn ang="0">
                    <a:pos x="564" y="60"/>
                  </a:cxn>
                  <a:cxn ang="0">
                    <a:pos x="609" y="133"/>
                  </a:cxn>
                  <a:cxn ang="0">
                    <a:pos x="615" y="98"/>
                  </a:cxn>
                  <a:cxn ang="0">
                    <a:pos x="594" y="137"/>
                  </a:cxn>
                  <a:cxn ang="0">
                    <a:pos x="619" y="194"/>
                  </a:cxn>
                  <a:cxn ang="0">
                    <a:pos x="606" y="182"/>
                  </a:cxn>
                  <a:cxn ang="0">
                    <a:pos x="589" y="186"/>
                  </a:cxn>
                  <a:cxn ang="0">
                    <a:pos x="568" y="173"/>
                  </a:cxn>
                  <a:cxn ang="0">
                    <a:pos x="506" y="229"/>
                  </a:cxn>
                  <a:cxn ang="0">
                    <a:pos x="498" y="226"/>
                  </a:cxn>
                  <a:cxn ang="0">
                    <a:pos x="519" y="150"/>
                  </a:cxn>
                  <a:cxn ang="0">
                    <a:pos x="498" y="118"/>
                  </a:cxn>
                  <a:cxn ang="0">
                    <a:pos x="483" y="103"/>
                  </a:cxn>
                  <a:cxn ang="0">
                    <a:pos x="444" y="194"/>
                  </a:cxn>
                  <a:cxn ang="0">
                    <a:pos x="485" y="203"/>
                  </a:cxn>
                  <a:cxn ang="0">
                    <a:pos x="498" y="182"/>
                  </a:cxn>
                  <a:cxn ang="0">
                    <a:pos x="461" y="143"/>
                  </a:cxn>
                  <a:cxn ang="0">
                    <a:pos x="461" y="24"/>
                  </a:cxn>
                  <a:cxn ang="0">
                    <a:pos x="389" y="197"/>
                  </a:cxn>
                  <a:cxn ang="0">
                    <a:pos x="261" y="141"/>
                  </a:cxn>
                  <a:cxn ang="0">
                    <a:pos x="374" y="69"/>
                  </a:cxn>
                  <a:cxn ang="0">
                    <a:pos x="438" y="107"/>
                  </a:cxn>
                  <a:cxn ang="0">
                    <a:pos x="389" y="175"/>
                  </a:cxn>
                  <a:cxn ang="0">
                    <a:pos x="310" y="186"/>
                  </a:cxn>
                  <a:cxn ang="0">
                    <a:pos x="261" y="130"/>
                  </a:cxn>
                  <a:cxn ang="0">
                    <a:pos x="745" y="156"/>
                  </a:cxn>
                  <a:cxn ang="0">
                    <a:pos x="730" y="252"/>
                  </a:cxn>
                  <a:cxn ang="0">
                    <a:pos x="719" y="241"/>
                  </a:cxn>
                  <a:cxn ang="0">
                    <a:pos x="728" y="229"/>
                  </a:cxn>
                  <a:cxn ang="0">
                    <a:pos x="658" y="267"/>
                  </a:cxn>
                  <a:cxn ang="0">
                    <a:pos x="641" y="243"/>
                  </a:cxn>
                  <a:cxn ang="0">
                    <a:pos x="623" y="284"/>
                  </a:cxn>
                  <a:cxn ang="0">
                    <a:pos x="515" y="324"/>
                  </a:cxn>
                  <a:cxn ang="0">
                    <a:pos x="510" y="327"/>
                  </a:cxn>
                  <a:cxn ang="0">
                    <a:pos x="432" y="309"/>
                  </a:cxn>
                  <a:cxn ang="0">
                    <a:pos x="562" y="275"/>
                  </a:cxn>
                  <a:cxn ang="0">
                    <a:pos x="519" y="284"/>
                  </a:cxn>
                  <a:cxn ang="0">
                    <a:pos x="498" y="288"/>
                  </a:cxn>
                  <a:cxn ang="0">
                    <a:pos x="444" y="288"/>
                  </a:cxn>
                  <a:cxn ang="0">
                    <a:pos x="410" y="282"/>
                  </a:cxn>
                  <a:cxn ang="0">
                    <a:pos x="368" y="292"/>
                  </a:cxn>
                  <a:cxn ang="0">
                    <a:pos x="807" y="275"/>
                  </a:cxn>
                  <a:cxn ang="0">
                    <a:pos x="188" y="254"/>
                  </a:cxn>
                  <a:cxn ang="0">
                    <a:pos x="331" y="273"/>
                  </a:cxn>
                  <a:cxn ang="0">
                    <a:pos x="222" y="267"/>
                  </a:cxn>
                  <a:cxn ang="0">
                    <a:pos x="207" y="60"/>
                  </a:cxn>
                  <a:cxn ang="0">
                    <a:pos x="171" y="103"/>
                  </a:cxn>
                  <a:cxn ang="0">
                    <a:pos x="218" y="182"/>
                  </a:cxn>
                  <a:cxn ang="0">
                    <a:pos x="173" y="137"/>
                  </a:cxn>
                  <a:cxn ang="0">
                    <a:pos x="118" y="88"/>
                  </a:cxn>
                  <a:cxn ang="0">
                    <a:pos x="71" y="160"/>
                  </a:cxn>
                  <a:cxn ang="0">
                    <a:pos x="35" y="100"/>
                  </a:cxn>
                  <a:cxn ang="0">
                    <a:pos x="64" y="94"/>
                  </a:cxn>
                  <a:cxn ang="0">
                    <a:pos x="184" y="235"/>
                  </a:cxn>
                  <a:cxn ang="0">
                    <a:pos x="148" y="133"/>
                  </a:cxn>
                  <a:cxn ang="0">
                    <a:pos x="54" y="49"/>
                  </a:cxn>
                </a:cxnLst>
                <a:rect l="0" t="0" r="r" b="b"/>
                <a:pathLst>
                  <a:path w="848" h="333">
                    <a:moveTo>
                      <a:pt x="848" y="175"/>
                    </a:moveTo>
                    <a:lnTo>
                      <a:pt x="847" y="245"/>
                    </a:lnTo>
                    <a:lnTo>
                      <a:pt x="845" y="250"/>
                    </a:lnTo>
                    <a:lnTo>
                      <a:pt x="845" y="252"/>
                    </a:lnTo>
                    <a:lnTo>
                      <a:pt x="847" y="254"/>
                    </a:lnTo>
                    <a:lnTo>
                      <a:pt x="845" y="299"/>
                    </a:lnTo>
                    <a:lnTo>
                      <a:pt x="843" y="299"/>
                    </a:lnTo>
                    <a:lnTo>
                      <a:pt x="841" y="297"/>
                    </a:lnTo>
                    <a:lnTo>
                      <a:pt x="835" y="292"/>
                    </a:lnTo>
                    <a:lnTo>
                      <a:pt x="832" y="288"/>
                    </a:lnTo>
                    <a:lnTo>
                      <a:pt x="832" y="288"/>
                    </a:lnTo>
                    <a:lnTo>
                      <a:pt x="828" y="284"/>
                    </a:lnTo>
                    <a:lnTo>
                      <a:pt x="828" y="284"/>
                    </a:lnTo>
                    <a:lnTo>
                      <a:pt x="828" y="280"/>
                    </a:lnTo>
                    <a:lnTo>
                      <a:pt x="828" y="278"/>
                    </a:lnTo>
                    <a:lnTo>
                      <a:pt x="828" y="273"/>
                    </a:lnTo>
                    <a:lnTo>
                      <a:pt x="828" y="278"/>
                    </a:lnTo>
                    <a:lnTo>
                      <a:pt x="826" y="280"/>
                    </a:lnTo>
                    <a:lnTo>
                      <a:pt x="820" y="278"/>
                    </a:lnTo>
                    <a:lnTo>
                      <a:pt x="816" y="280"/>
                    </a:lnTo>
                    <a:lnTo>
                      <a:pt x="813" y="280"/>
                    </a:lnTo>
                    <a:lnTo>
                      <a:pt x="813" y="278"/>
                    </a:lnTo>
                    <a:lnTo>
                      <a:pt x="807" y="282"/>
                    </a:lnTo>
                    <a:lnTo>
                      <a:pt x="807" y="278"/>
                    </a:lnTo>
                    <a:lnTo>
                      <a:pt x="807" y="278"/>
                    </a:lnTo>
                    <a:lnTo>
                      <a:pt x="807" y="275"/>
                    </a:lnTo>
                    <a:lnTo>
                      <a:pt x="807" y="273"/>
                    </a:lnTo>
                    <a:lnTo>
                      <a:pt x="809" y="271"/>
                    </a:lnTo>
                    <a:lnTo>
                      <a:pt x="809" y="265"/>
                    </a:lnTo>
                    <a:lnTo>
                      <a:pt x="807" y="265"/>
                    </a:lnTo>
                    <a:lnTo>
                      <a:pt x="807" y="263"/>
                    </a:lnTo>
                    <a:lnTo>
                      <a:pt x="807" y="263"/>
                    </a:lnTo>
                    <a:lnTo>
                      <a:pt x="809" y="263"/>
                    </a:lnTo>
                    <a:lnTo>
                      <a:pt x="813" y="263"/>
                    </a:lnTo>
                    <a:lnTo>
                      <a:pt x="815" y="260"/>
                    </a:lnTo>
                    <a:lnTo>
                      <a:pt x="813" y="260"/>
                    </a:lnTo>
                    <a:lnTo>
                      <a:pt x="807" y="260"/>
                    </a:lnTo>
                    <a:lnTo>
                      <a:pt x="807" y="260"/>
                    </a:lnTo>
                    <a:lnTo>
                      <a:pt x="803" y="258"/>
                    </a:lnTo>
                    <a:lnTo>
                      <a:pt x="803" y="256"/>
                    </a:lnTo>
                    <a:lnTo>
                      <a:pt x="803" y="256"/>
                    </a:lnTo>
                    <a:lnTo>
                      <a:pt x="807" y="256"/>
                    </a:lnTo>
                    <a:lnTo>
                      <a:pt x="807" y="254"/>
                    </a:lnTo>
                    <a:lnTo>
                      <a:pt x="801" y="250"/>
                    </a:lnTo>
                    <a:lnTo>
                      <a:pt x="800" y="248"/>
                    </a:lnTo>
                    <a:lnTo>
                      <a:pt x="798" y="245"/>
                    </a:lnTo>
                    <a:lnTo>
                      <a:pt x="798" y="241"/>
                    </a:lnTo>
                    <a:lnTo>
                      <a:pt x="794" y="239"/>
                    </a:lnTo>
                    <a:lnTo>
                      <a:pt x="794" y="235"/>
                    </a:lnTo>
                    <a:lnTo>
                      <a:pt x="798" y="233"/>
                    </a:lnTo>
                    <a:lnTo>
                      <a:pt x="794" y="233"/>
                    </a:lnTo>
                    <a:lnTo>
                      <a:pt x="792" y="231"/>
                    </a:lnTo>
                    <a:lnTo>
                      <a:pt x="794" y="231"/>
                    </a:lnTo>
                    <a:lnTo>
                      <a:pt x="792" y="229"/>
                    </a:lnTo>
                    <a:lnTo>
                      <a:pt x="794" y="226"/>
                    </a:lnTo>
                    <a:lnTo>
                      <a:pt x="790" y="228"/>
                    </a:lnTo>
                    <a:lnTo>
                      <a:pt x="788" y="226"/>
                    </a:lnTo>
                    <a:lnTo>
                      <a:pt x="786" y="226"/>
                    </a:lnTo>
                    <a:lnTo>
                      <a:pt x="784" y="226"/>
                    </a:lnTo>
                    <a:lnTo>
                      <a:pt x="788" y="222"/>
                    </a:lnTo>
                    <a:lnTo>
                      <a:pt x="784" y="224"/>
                    </a:lnTo>
                    <a:lnTo>
                      <a:pt x="783" y="224"/>
                    </a:lnTo>
                    <a:lnTo>
                      <a:pt x="777" y="222"/>
                    </a:lnTo>
                    <a:lnTo>
                      <a:pt x="777" y="218"/>
                    </a:lnTo>
                    <a:lnTo>
                      <a:pt x="771" y="216"/>
                    </a:lnTo>
                    <a:lnTo>
                      <a:pt x="768" y="216"/>
                    </a:lnTo>
                    <a:lnTo>
                      <a:pt x="756" y="214"/>
                    </a:lnTo>
                    <a:lnTo>
                      <a:pt x="747" y="211"/>
                    </a:lnTo>
                    <a:lnTo>
                      <a:pt x="741" y="211"/>
                    </a:lnTo>
                    <a:lnTo>
                      <a:pt x="736" y="209"/>
                    </a:lnTo>
                    <a:lnTo>
                      <a:pt x="736" y="207"/>
                    </a:lnTo>
                    <a:lnTo>
                      <a:pt x="734" y="205"/>
                    </a:lnTo>
                    <a:lnTo>
                      <a:pt x="730" y="205"/>
                    </a:lnTo>
                    <a:lnTo>
                      <a:pt x="730" y="201"/>
                    </a:lnTo>
                    <a:lnTo>
                      <a:pt x="734" y="201"/>
                    </a:lnTo>
                    <a:lnTo>
                      <a:pt x="736" y="201"/>
                    </a:lnTo>
                    <a:lnTo>
                      <a:pt x="734" y="201"/>
                    </a:lnTo>
                    <a:lnTo>
                      <a:pt x="732" y="199"/>
                    </a:lnTo>
                    <a:lnTo>
                      <a:pt x="728" y="201"/>
                    </a:lnTo>
                    <a:lnTo>
                      <a:pt x="728" y="199"/>
                    </a:lnTo>
                    <a:lnTo>
                      <a:pt x="724" y="199"/>
                    </a:lnTo>
                    <a:lnTo>
                      <a:pt x="724" y="197"/>
                    </a:lnTo>
                    <a:lnTo>
                      <a:pt x="722" y="199"/>
                    </a:lnTo>
                    <a:lnTo>
                      <a:pt x="722" y="196"/>
                    </a:lnTo>
                    <a:lnTo>
                      <a:pt x="719" y="196"/>
                    </a:lnTo>
                    <a:lnTo>
                      <a:pt x="719" y="196"/>
                    </a:lnTo>
                    <a:lnTo>
                      <a:pt x="719" y="197"/>
                    </a:lnTo>
                    <a:lnTo>
                      <a:pt x="715" y="196"/>
                    </a:lnTo>
                    <a:lnTo>
                      <a:pt x="715" y="190"/>
                    </a:lnTo>
                    <a:lnTo>
                      <a:pt x="713" y="186"/>
                    </a:lnTo>
                    <a:lnTo>
                      <a:pt x="715" y="184"/>
                    </a:lnTo>
                    <a:lnTo>
                      <a:pt x="715" y="181"/>
                    </a:lnTo>
                    <a:lnTo>
                      <a:pt x="713" y="184"/>
                    </a:lnTo>
                    <a:lnTo>
                      <a:pt x="713" y="186"/>
                    </a:lnTo>
                    <a:lnTo>
                      <a:pt x="711" y="190"/>
                    </a:lnTo>
                    <a:lnTo>
                      <a:pt x="709" y="190"/>
                    </a:lnTo>
                    <a:lnTo>
                      <a:pt x="707" y="196"/>
                    </a:lnTo>
                    <a:lnTo>
                      <a:pt x="707" y="199"/>
                    </a:lnTo>
                    <a:lnTo>
                      <a:pt x="704" y="203"/>
                    </a:lnTo>
                    <a:lnTo>
                      <a:pt x="700" y="205"/>
                    </a:lnTo>
                    <a:lnTo>
                      <a:pt x="698" y="203"/>
                    </a:lnTo>
                    <a:lnTo>
                      <a:pt x="694" y="197"/>
                    </a:lnTo>
                    <a:lnTo>
                      <a:pt x="694" y="194"/>
                    </a:lnTo>
                    <a:lnTo>
                      <a:pt x="694" y="194"/>
                    </a:lnTo>
                    <a:lnTo>
                      <a:pt x="698" y="192"/>
                    </a:lnTo>
                    <a:lnTo>
                      <a:pt x="694" y="190"/>
                    </a:lnTo>
                    <a:lnTo>
                      <a:pt x="694" y="190"/>
                    </a:lnTo>
                    <a:lnTo>
                      <a:pt x="690" y="190"/>
                    </a:lnTo>
                    <a:lnTo>
                      <a:pt x="690" y="184"/>
                    </a:lnTo>
                    <a:lnTo>
                      <a:pt x="687" y="182"/>
                    </a:lnTo>
                    <a:lnTo>
                      <a:pt x="683" y="182"/>
                    </a:lnTo>
                    <a:lnTo>
                      <a:pt x="681" y="181"/>
                    </a:lnTo>
                    <a:lnTo>
                      <a:pt x="683" y="177"/>
                    </a:lnTo>
                    <a:lnTo>
                      <a:pt x="688" y="177"/>
                    </a:lnTo>
                    <a:lnTo>
                      <a:pt x="690" y="179"/>
                    </a:lnTo>
                    <a:lnTo>
                      <a:pt x="694" y="179"/>
                    </a:lnTo>
                    <a:lnTo>
                      <a:pt x="694" y="181"/>
                    </a:lnTo>
                    <a:lnTo>
                      <a:pt x="700" y="179"/>
                    </a:lnTo>
                    <a:lnTo>
                      <a:pt x="700" y="173"/>
                    </a:lnTo>
                    <a:lnTo>
                      <a:pt x="704" y="173"/>
                    </a:lnTo>
                    <a:lnTo>
                      <a:pt x="709" y="175"/>
                    </a:lnTo>
                    <a:lnTo>
                      <a:pt x="711" y="179"/>
                    </a:lnTo>
                    <a:lnTo>
                      <a:pt x="713" y="175"/>
                    </a:lnTo>
                    <a:lnTo>
                      <a:pt x="715" y="173"/>
                    </a:lnTo>
                    <a:lnTo>
                      <a:pt x="715" y="173"/>
                    </a:lnTo>
                    <a:lnTo>
                      <a:pt x="719" y="169"/>
                    </a:lnTo>
                    <a:lnTo>
                      <a:pt x="715" y="165"/>
                    </a:lnTo>
                    <a:lnTo>
                      <a:pt x="707" y="165"/>
                    </a:lnTo>
                    <a:lnTo>
                      <a:pt x="709" y="167"/>
                    </a:lnTo>
                    <a:lnTo>
                      <a:pt x="705" y="167"/>
                    </a:lnTo>
                    <a:lnTo>
                      <a:pt x="704" y="167"/>
                    </a:lnTo>
                    <a:lnTo>
                      <a:pt x="698" y="169"/>
                    </a:lnTo>
                    <a:lnTo>
                      <a:pt x="698" y="167"/>
                    </a:lnTo>
                    <a:lnTo>
                      <a:pt x="694" y="169"/>
                    </a:lnTo>
                    <a:lnTo>
                      <a:pt x="690" y="167"/>
                    </a:lnTo>
                    <a:lnTo>
                      <a:pt x="688" y="167"/>
                    </a:lnTo>
                    <a:lnTo>
                      <a:pt x="685" y="167"/>
                    </a:lnTo>
                    <a:lnTo>
                      <a:pt x="681" y="165"/>
                    </a:lnTo>
                    <a:lnTo>
                      <a:pt x="681" y="162"/>
                    </a:lnTo>
                    <a:lnTo>
                      <a:pt x="681" y="160"/>
                    </a:lnTo>
                    <a:lnTo>
                      <a:pt x="679" y="156"/>
                    </a:lnTo>
                    <a:lnTo>
                      <a:pt x="673" y="154"/>
                    </a:lnTo>
                    <a:lnTo>
                      <a:pt x="673" y="150"/>
                    </a:lnTo>
                    <a:lnTo>
                      <a:pt x="670" y="152"/>
                    </a:lnTo>
                    <a:lnTo>
                      <a:pt x="670" y="154"/>
                    </a:lnTo>
                    <a:lnTo>
                      <a:pt x="664" y="154"/>
                    </a:lnTo>
                    <a:lnTo>
                      <a:pt x="664" y="152"/>
                    </a:lnTo>
                    <a:lnTo>
                      <a:pt x="670" y="148"/>
                    </a:lnTo>
                    <a:lnTo>
                      <a:pt x="670" y="145"/>
                    </a:lnTo>
                    <a:lnTo>
                      <a:pt x="670" y="143"/>
                    </a:lnTo>
                    <a:lnTo>
                      <a:pt x="670" y="141"/>
                    </a:lnTo>
                    <a:lnTo>
                      <a:pt x="675" y="141"/>
                    </a:lnTo>
                    <a:lnTo>
                      <a:pt x="677" y="137"/>
                    </a:lnTo>
                    <a:lnTo>
                      <a:pt x="681" y="137"/>
                    </a:lnTo>
                    <a:lnTo>
                      <a:pt x="687" y="133"/>
                    </a:lnTo>
                    <a:lnTo>
                      <a:pt x="688" y="133"/>
                    </a:lnTo>
                    <a:lnTo>
                      <a:pt x="694" y="132"/>
                    </a:lnTo>
                    <a:lnTo>
                      <a:pt x="702" y="133"/>
                    </a:lnTo>
                    <a:lnTo>
                      <a:pt x="709" y="141"/>
                    </a:lnTo>
                    <a:lnTo>
                      <a:pt x="715" y="137"/>
                    </a:lnTo>
                    <a:lnTo>
                      <a:pt x="719" y="141"/>
                    </a:lnTo>
                    <a:lnTo>
                      <a:pt x="722" y="141"/>
                    </a:lnTo>
                    <a:lnTo>
                      <a:pt x="722" y="143"/>
                    </a:lnTo>
                    <a:lnTo>
                      <a:pt x="722" y="147"/>
                    </a:lnTo>
                    <a:lnTo>
                      <a:pt x="724" y="150"/>
                    </a:lnTo>
                    <a:lnTo>
                      <a:pt x="724" y="154"/>
                    </a:lnTo>
                    <a:lnTo>
                      <a:pt x="724" y="158"/>
                    </a:lnTo>
                    <a:lnTo>
                      <a:pt x="722" y="162"/>
                    </a:lnTo>
                    <a:lnTo>
                      <a:pt x="722" y="165"/>
                    </a:lnTo>
                    <a:lnTo>
                      <a:pt x="724" y="173"/>
                    </a:lnTo>
                    <a:lnTo>
                      <a:pt x="724" y="179"/>
                    </a:lnTo>
                    <a:lnTo>
                      <a:pt x="728" y="181"/>
                    </a:lnTo>
                    <a:lnTo>
                      <a:pt x="728" y="181"/>
                    </a:lnTo>
                    <a:lnTo>
                      <a:pt x="728" y="175"/>
                    </a:lnTo>
                    <a:lnTo>
                      <a:pt x="730" y="173"/>
                    </a:lnTo>
                    <a:lnTo>
                      <a:pt x="732" y="175"/>
                    </a:lnTo>
                    <a:lnTo>
                      <a:pt x="732" y="179"/>
                    </a:lnTo>
                    <a:lnTo>
                      <a:pt x="734" y="182"/>
                    </a:lnTo>
                    <a:lnTo>
                      <a:pt x="734" y="182"/>
                    </a:lnTo>
                    <a:lnTo>
                      <a:pt x="736" y="186"/>
                    </a:lnTo>
                    <a:lnTo>
                      <a:pt x="739" y="190"/>
                    </a:lnTo>
                    <a:lnTo>
                      <a:pt x="741" y="190"/>
                    </a:lnTo>
                    <a:lnTo>
                      <a:pt x="745" y="190"/>
                    </a:lnTo>
                    <a:lnTo>
                      <a:pt x="749" y="190"/>
                    </a:lnTo>
                    <a:lnTo>
                      <a:pt x="749" y="186"/>
                    </a:lnTo>
                    <a:lnTo>
                      <a:pt x="752" y="184"/>
                    </a:lnTo>
                    <a:lnTo>
                      <a:pt x="752" y="184"/>
                    </a:lnTo>
                    <a:lnTo>
                      <a:pt x="752" y="179"/>
                    </a:lnTo>
                    <a:lnTo>
                      <a:pt x="754" y="175"/>
                    </a:lnTo>
                    <a:lnTo>
                      <a:pt x="758" y="175"/>
                    </a:lnTo>
                    <a:lnTo>
                      <a:pt x="762" y="173"/>
                    </a:lnTo>
                    <a:lnTo>
                      <a:pt x="764" y="169"/>
                    </a:lnTo>
                    <a:lnTo>
                      <a:pt x="764" y="167"/>
                    </a:lnTo>
                    <a:lnTo>
                      <a:pt x="766" y="167"/>
                    </a:lnTo>
                    <a:lnTo>
                      <a:pt x="769" y="167"/>
                    </a:lnTo>
                    <a:lnTo>
                      <a:pt x="773" y="165"/>
                    </a:lnTo>
                    <a:lnTo>
                      <a:pt x="777" y="165"/>
                    </a:lnTo>
                    <a:lnTo>
                      <a:pt x="777" y="162"/>
                    </a:lnTo>
                    <a:lnTo>
                      <a:pt x="777" y="160"/>
                    </a:lnTo>
                    <a:lnTo>
                      <a:pt x="777" y="158"/>
                    </a:lnTo>
                    <a:lnTo>
                      <a:pt x="786" y="152"/>
                    </a:lnTo>
                    <a:lnTo>
                      <a:pt x="790" y="154"/>
                    </a:lnTo>
                    <a:lnTo>
                      <a:pt x="794" y="156"/>
                    </a:lnTo>
                    <a:lnTo>
                      <a:pt x="800" y="160"/>
                    </a:lnTo>
                    <a:lnTo>
                      <a:pt x="807" y="160"/>
                    </a:lnTo>
                    <a:lnTo>
                      <a:pt x="809" y="162"/>
                    </a:lnTo>
                    <a:lnTo>
                      <a:pt x="813" y="162"/>
                    </a:lnTo>
                    <a:lnTo>
                      <a:pt x="816" y="165"/>
                    </a:lnTo>
                    <a:lnTo>
                      <a:pt x="828" y="169"/>
                    </a:lnTo>
                    <a:lnTo>
                      <a:pt x="832" y="169"/>
                    </a:lnTo>
                    <a:lnTo>
                      <a:pt x="832" y="169"/>
                    </a:lnTo>
                    <a:lnTo>
                      <a:pt x="837" y="169"/>
                    </a:lnTo>
                    <a:lnTo>
                      <a:pt x="841" y="169"/>
                    </a:lnTo>
                    <a:lnTo>
                      <a:pt x="843" y="171"/>
                    </a:lnTo>
                    <a:lnTo>
                      <a:pt x="843" y="173"/>
                    </a:lnTo>
                    <a:lnTo>
                      <a:pt x="843" y="175"/>
                    </a:lnTo>
                    <a:lnTo>
                      <a:pt x="847" y="177"/>
                    </a:lnTo>
                    <a:lnTo>
                      <a:pt x="848" y="175"/>
                    </a:lnTo>
                    <a:lnTo>
                      <a:pt x="848" y="175"/>
                    </a:lnTo>
                    <a:lnTo>
                      <a:pt x="848" y="175"/>
                    </a:lnTo>
                    <a:lnTo>
                      <a:pt x="848" y="175"/>
                    </a:lnTo>
                    <a:lnTo>
                      <a:pt x="848" y="175"/>
                    </a:lnTo>
                    <a:close/>
                    <a:moveTo>
                      <a:pt x="630" y="124"/>
                    </a:moveTo>
                    <a:lnTo>
                      <a:pt x="636" y="128"/>
                    </a:lnTo>
                    <a:lnTo>
                      <a:pt x="636" y="130"/>
                    </a:lnTo>
                    <a:lnTo>
                      <a:pt x="632" y="128"/>
                    </a:lnTo>
                    <a:lnTo>
                      <a:pt x="630" y="124"/>
                    </a:lnTo>
                    <a:lnTo>
                      <a:pt x="630" y="124"/>
                    </a:lnTo>
                    <a:lnTo>
                      <a:pt x="630" y="124"/>
                    </a:lnTo>
                    <a:lnTo>
                      <a:pt x="630" y="124"/>
                    </a:lnTo>
                    <a:close/>
                    <a:moveTo>
                      <a:pt x="666" y="133"/>
                    </a:moveTo>
                    <a:lnTo>
                      <a:pt x="670" y="133"/>
                    </a:lnTo>
                    <a:lnTo>
                      <a:pt x="673" y="132"/>
                    </a:lnTo>
                    <a:lnTo>
                      <a:pt x="670" y="130"/>
                    </a:lnTo>
                    <a:lnTo>
                      <a:pt x="666" y="126"/>
                    </a:lnTo>
                    <a:lnTo>
                      <a:pt x="660" y="126"/>
                    </a:lnTo>
                    <a:lnTo>
                      <a:pt x="658" y="130"/>
                    </a:lnTo>
                    <a:lnTo>
                      <a:pt x="655" y="130"/>
                    </a:lnTo>
                    <a:lnTo>
                      <a:pt x="653" y="130"/>
                    </a:lnTo>
                    <a:lnTo>
                      <a:pt x="655" y="132"/>
                    </a:lnTo>
                    <a:lnTo>
                      <a:pt x="651" y="132"/>
                    </a:lnTo>
                    <a:lnTo>
                      <a:pt x="656" y="133"/>
                    </a:lnTo>
                    <a:lnTo>
                      <a:pt x="660" y="133"/>
                    </a:lnTo>
                    <a:lnTo>
                      <a:pt x="664" y="133"/>
                    </a:lnTo>
                    <a:lnTo>
                      <a:pt x="664" y="132"/>
                    </a:lnTo>
                    <a:lnTo>
                      <a:pt x="660" y="132"/>
                    </a:lnTo>
                    <a:lnTo>
                      <a:pt x="660" y="130"/>
                    </a:lnTo>
                    <a:lnTo>
                      <a:pt x="660" y="130"/>
                    </a:lnTo>
                    <a:lnTo>
                      <a:pt x="666" y="133"/>
                    </a:lnTo>
                    <a:lnTo>
                      <a:pt x="666" y="133"/>
                    </a:lnTo>
                    <a:lnTo>
                      <a:pt x="666" y="133"/>
                    </a:lnTo>
                    <a:lnTo>
                      <a:pt x="666" y="133"/>
                    </a:lnTo>
                    <a:close/>
                    <a:moveTo>
                      <a:pt x="660" y="143"/>
                    </a:moveTo>
                    <a:lnTo>
                      <a:pt x="656" y="141"/>
                    </a:lnTo>
                    <a:lnTo>
                      <a:pt x="653" y="141"/>
                    </a:lnTo>
                    <a:lnTo>
                      <a:pt x="656" y="143"/>
                    </a:lnTo>
                    <a:lnTo>
                      <a:pt x="660" y="143"/>
                    </a:lnTo>
                    <a:lnTo>
                      <a:pt x="660" y="143"/>
                    </a:lnTo>
                    <a:lnTo>
                      <a:pt x="660" y="143"/>
                    </a:lnTo>
                    <a:lnTo>
                      <a:pt x="660" y="143"/>
                    </a:lnTo>
                    <a:close/>
                    <a:moveTo>
                      <a:pt x="664" y="141"/>
                    </a:moveTo>
                    <a:lnTo>
                      <a:pt x="660" y="143"/>
                    </a:lnTo>
                    <a:lnTo>
                      <a:pt x="660" y="141"/>
                    </a:lnTo>
                    <a:lnTo>
                      <a:pt x="664" y="141"/>
                    </a:lnTo>
                    <a:lnTo>
                      <a:pt x="664" y="141"/>
                    </a:lnTo>
                    <a:lnTo>
                      <a:pt x="664" y="141"/>
                    </a:lnTo>
                    <a:lnTo>
                      <a:pt x="664" y="141"/>
                    </a:lnTo>
                    <a:close/>
                    <a:moveTo>
                      <a:pt x="660" y="143"/>
                    </a:moveTo>
                    <a:lnTo>
                      <a:pt x="658" y="145"/>
                    </a:lnTo>
                    <a:lnTo>
                      <a:pt x="658" y="150"/>
                    </a:lnTo>
                    <a:lnTo>
                      <a:pt x="660" y="152"/>
                    </a:lnTo>
                    <a:lnTo>
                      <a:pt x="664" y="150"/>
                    </a:lnTo>
                    <a:lnTo>
                      <a:pt x="664" y="143"/>
                    </a:lnTo>
                    <a:lnTo>
                      <a:pt x="660" y="143"/>
                    </a:lnTo>
                    <a:lnTo>
                      <a:pt x="660" y="143"/>
                    </a:lnTo>
                    <a:lnTo>
                      <a:pt x="660" y="143"/>
                    </a:lnTo>
                    <a:lnTo>
                      <a:pt x="660" y="143"/>
                    </a:lnTo>
                    <a:close/>
                    <a:moveTo>
                      <a:pt x="560" y="54"/>
                    </a:moveTo>
                    <a:lnTo>
                      <a:pt x="562" y="58"/>
                    </a:lnTo>
                    <a:lnTo>
                      <a:pt x="564" y="60"/>
                    </a:lnTo>
                    <a:lnTo>
                      <a:pt x="562" y="64"/>
                    </a:lnTo>
                    <a:lnTo>
                      <a:pt x="560" y="60"/>
                    </a:lnTo>
                    <a:lnTo>
                      <a:pt x="560" y="56"/>
                    </a:lnTo>
                    <a:lnTo>
                      <a:pt x="560" y="54"/>
                    </a:lnTo>
                    <a:lnTo>
                      <a:pt x="560" y="54"/>
                    </a:lnTo>
                    <a:lnTo>
                      <a:pt x="560" y="54"/>
                    </a:lnTo>
                    <a:lnTo>
                      <a:pt x="560" y="54"/>
                    </a:lnTo>
                    <a:close/>
                    <a:moveTo>
                      <a:pt x="581" y="39"/>
                    </a:moveTo>
                    <a:lnTo>
                      <a:pt x="581" y="45"/>
                    </a:lnTo>
                    <a:lnTo>
                      <a:pt x="585" y="49"/>
                    </a:lnTo>
                    <a:lnTo>
                      <a:pt x="585" y="49"/>
                    </a:lnTo>
                    <a:lnTo>
                      <a:pt x="587" y="45"/>
                    </a:lnTo>
                    <a:lnTo>
                      <a:pt x="585" y="39"/>
                    </a:lnTo>
                    <a:lnTo>
                      <a:pt x="585" y="39"/>
                    </a:lnTo>
                    <a:lnTo>
                      <a:pt x="581" y="39"/>
                    </a:lnTo>
                    <a:lnTo>
                      <a:pt x="581" y="39"/>
                    </a:lnTo>
                    <a:lnTo>
                      <a:pt x="581" y="39"/>
                    </a:lnTo>
                    <a:lnTo>
                      <a:pt x="581" y="39"/>
                    </a:lnTo>
                    <a:close/>
                    <a:moveTo>
                      <a:pt x="581" y="49"/>
                    </a:moveTo>
                    <a:lnTo>
                      <a:pt x="585" y="51"/>
                    </a:lnTo>
                    <a:lnTo>
                      <a:pt x="585" y="54"/>
                    </a:lnTo>
                    <a:lnTo>
                      <a:pt x="585" y="54"/>
                    </a:lnTo>
                    <a:lnTo>
                      <a:pt x="585" y="54"/>
                    </a:lnTo>
                    <a:lnTo>
                      <a:pt x="581" y="49"/>
                    </a:lnTo>
                    <a:lnTo>
                      <a:pt x="581" y="49"/>
                    </a:lnTo>
                    <a:lnTo>
                      <a:pt x="581" y="49"/>
                    </a:lnTo>
                    <a:lnTo>
                      <a:pt x="581" y="49"/>
                    </a:lnTo>
                    <a:close/>
                    <a:moveTo>
                      <a:pt x="611" y="84"/>
                    </a:moveTo>
                    <a:lnTo>
                      <a:pt x="611" y="88"/>
                    </a:lnTo>
                    <a:lnTo>
                      <a:pt x="615" y="88"/>
                    </a:lnTo>
                    <a:lnTo>
                      <a:pt x="617" y="88"/>
                    </a:lnTo>
                    <a:lnTo>
                      <a:pt x="619" y="84"/>
                    </a:lnTo>
                    <a:lnTo>
                      <a:pt x="619" y="83"/>
                    </a:lnTo>
                    <a:lnTo>
                      <a:pt x="615" y="81"/>
                    </a:lnTo>
                    <a:lnTo>
                      <a:pt x="615" y="83"/>
                    </a:lnTo>
                    <a:lnTo>
                      <a:pt x="611" y="84"/>
                    </a:lnTo>
                    <a:lnTo>
                      <a:pt x="611" y="84"/>
                    </a:lnTo>
                    <a:lnTo>
                      <a:pt x="611" y="84"/>
                    </a:lnTo>
                    <a:lnTo>
                      <a:pt x="611" y="84"/>
                    </a:lnTo>
                    <a:close/>
                    <a:moveTo>
                      <a:pt x="609" y="133"/>
                    </a:moveTo>
                    <a:lnTo>
                      <a:pt x="609" y="137"/>
                    </a:lnTo>
                    <a:lnTo>
                      <a:pt x="615" y="141"/>
                    </a:lnTo>
                    <a:lnTo>
                      <a:pt x="615" y="143"/>
                    </a:lnTo>
                    <a:lnTo>
                      <a:pt x="615" y="143"/>
                    </a:lnTo>
                    <a:lnTo>
                      <a:pt x="615" y="147"/>
                    </a:lnTo>
                    <a:lnTo>
                      <a:pt x="611" y="143"/>
                    </a:lnTo>
                    <a:lnTo>
                      <a:pt x="609" y="141"/>
                    </a:lnTo>
                    <a:lnTo>
                      <a:pt x="606" y="137"/>
                    </a:lnTo>
                    <a:lnTo>
                      <a:pt x="604" y="133"/>
                    </a:lnTo>
                    <a:lnTo>
                      <a:pt x="600" y="130"/>
                    </a:lnTo>
                    <a:lnTo>
                      <a:pt x="602" y="126"/>
                    </a:lnTo>
                    <a:lnTo>
                      <a:pt x="602" y="124"/>
                    </a:lnTo>
                    <a:lnTo>
                      <a:pt x="602" y="122"/>
                    </a:lnTo>
                    <a:lnTo>
                      <a:pt x="598" y="118"/>
                    </a:lnTo>
                    <a:lnTo>
                      <a:pt x="598" y="116"/>
                    </a:lnTo>
                    <a:lnTo>
                      <a:pt x="600" y="113"/>
                    </a:lnTo>
                    <a:lnTo>
                      <a:pt x="598" y="109"/>
                    </a:lnTo>
                    <a:lnTo>
                      <a:pt x="596" y="107"/>
                    </a:lnTo>
                    <a:lnTo>
                      <a:pt x="598" y="101"/>
                    </a:lnTo>
                    <a:lnTo>
                      <a:pt x="600" y="100"/>
                    </a:lnTo>
                    <a:lnTo>
                      <a:pt x="600" y="98"/>
                    </a:lnTo>
                    <a:lnTo>
                      <a:pt x="600" y="92"/>
                    </a:lnTo>
                    <a:lnTo>
                      <a:pt x="606" y="84"/>
                    </a:lnTo>
                    <a:lnTo>
                      <a:pt x="609" y="84"/>
                    </a:lnTo>
                    <a:lnTo>
                      <a:pt x="606" y="88"/>
                    </a:lnTo>
                    <a:lnTo>
                      <a:pt x="606" y="92"/>
                    </a:lnTo>
                    <a:lnTo>
                      <a:pt x="606" y="92"/>
                    </a:lnTo>
                    <a:lnTo>
                      <a:pt x="609" y="92"/>
                    </a:lnTo>
                    <a:lnTo>
                      <a:pt x="609" y="100"/>
                    </a:lnTo>
                    <a:lnTo>
                      <a:pt x="606" y="103"/>
                    </a:lnTo>
                    <a:lnTo>
                      <a:pt x="604" y="103"/>
                    </a:lnTo>
                    <a:lnTo>
                      <a:pt x="602" y="107"/>
                    </a:lnTo>
                    <a:lnTo>
                      <a:pt x="604" y="109"/>
                    </a:lnTo>
                    <a:lnTo>
                      <a:pt x="606" y="109"/>
                    </a:lnTo>
                    <a:lnTo>
                      <a:pt x="606" y="107"/>
                    </a:lnTo>
                    <a:lnTo>
                      <a:pt x="611" y="105"/>
                    </a:lnTo>
                    <a:lnTo>
                      <a:pt x="611" y="103"/>
                    </a:lnTo>
                    <a:lnTo>
                      <a:pt x="609" y="103"/>
                    </a:lnTo>
                    <a:lnTo>
                      <a:pt x="611" y="100"/>
                    </a:lnTo>
                    <a:lnTo>
                      <a:pt x="615" y="98"/>
                    </a:lnTo>
                    <a:lnTo>
                      <a:pt x="621" y="98"/>
                    </a:lnTo>
                    <a:lnTo>
                      <a:pt x="623" y="98"/>
                    </a:lnTo>
                    <a:lnTo>
                      <a:pt x="623" y="100"/>
                    </a:lnTo>
                    <a:lnTo>
                      <a:pt x="621" y="107"/>
                    </a:lnTo>
                    <a:lnTo>
                      <a:pt x="615" y="109"/>
                    </a:lnTo>
                    <a:lnTo>
                      <a:pt x="611" y="113"/>
                    </a:lnTo>
                    <a:lnTo>
                      <a:pt x="615" y="113"/>
                    </a:lnTo>
                    <a:lnTo>
                      <a:pt x="615" y="113"/>
                    </a:lnTo>
                    <a:lnTo>
                      <a:pt x="621" y="116"/>
                    </a:lnTo>
                    <a:lnTo>
                      <a:pt x="621" y="122"/>
                    </a:lnTo>
                    <a:lnTo>
                      <a:pt x="623" y="122"/>
                    </a:lnTo>
                    <a:lnTo>
                      <a:pt x="619" y="122"/>
                    </a:lnTo>
                    <a:lnTo>
                      <a:pt x="615" y="122"/>
                    </a:lnTo>
                    <a:lnTo>
                      <a:pt x="611" y="122"/>
                    </a:lnTo>
                    <a:lnTo>
                      <a:pt x="606" y="118"/>
                    </a:lnTo>
                    <a:lnTo>
                      <a:pt x="606" y="118"/>
                    </a:lnTo>
                    <a:lnTo>
                      <a:pt x="606" y="126"/>
                    </a:lnTo>
                    <a:lnTo>
                      <a:pt x="609" y="133"/>
                    </a:lnTo>
                    <a:lnTo>
                      <a:pt x="609" y="133"/>
                    </a:lnTo>
                    <a:lnTo>
                      <a:pt x="609" y="133"/>
                    </a:lnTo>
                    <a:lnTo>
                      <a:pt x="609" y="133"/>
                    </a:lnTo>
                    <a:close/>
                    <a:moveTo>
                      <a:pt x="592" y="141"/>
                    </a:moveTo>
                    <a:lnTo>
                      <a:pt x="594" y="143"/>
                    </a:lnTo>
                    <a:lnTo>
                      <a:pt x="591" y="141"/>
                    </a:lnTo>
                    <a:lnTo>
                      <a:pt x="592" y="141"/>
                    </a:lnTo>
                    <a:lnTo>
                      <a:pt x="592" y="141"/>
                    </a:lnTo>
                    <a:lnTo>
                      <a:pt x="592" y="141"/>
                    </a:lnTo>
                    <a:lnTo>
                      <a:pt x="592" y="141"/>
                    </a:lnTo>
                    <a:lnTo>
                      <a:pt x="592" y="141"/>
                    </a:lnTo>
                    <a:close/>
                    <a:moveTo>
                      <a:pt x="592" y="133"/>
                    </a:moveTo>
                    <a:lnTo>
                      <a:pt x="591" y="133"/>
                    </a:lnTo>
                    <a:lnTo>
                      <a:pt x="589" y="137"/>
                    </a:lnTo>
                    <a:lnTo>
                      <a:pt x="592" y="137"/>
                    </a:lnTo>
                    <a:lnTo>
                      <a:pt x="592" y="133"/>
                    </a:lnTo>
                    <a:lnTo>
                      <a:pt x="592" y="133"/>
                    </a:lnTo>
                    <a:lnTo>
                      <a:pt x="592" y="133"/>
                    </a:lnTo>
                    <a:lnTo>
                      <a:pt x="592" y="133"/>
                    </a:lnTo>
                    <a:lnTo>
                      <a:pt x="592" y="133"/>
                    </a:lnTo>
                    <a:close/>
                    <a:moveTo>
                      <a:pt x="596" y="133"/>
                    </a:moveTo>
                    <a:lnTo>
                      <a:pt x="594" y="137"/>
                    </a:lnTo>
                    <a:lnTo>
                      <a:pt x="594" y="137"/>
                    </a:lnTo>
                    <a:lnTo>
                      <a:pt x="596" y="141"/>
                    </a:lnTo>
                    <a:lnTo>
                      <a:pt x="600" y="141"/>
                    </a:lnTo>
                    <a:lnTo>
                      <a:pt x="602" y="143"/>
                    </a:lnTo>
                    <a:lnTo>
                      <a:pt x="604" y="141"/>
                    </a:lnTo>
                    <a:lnTo>
                      <a:pt x="604" y="141"/>
                    </a:lnTo>
                    <a:lnTo>
                      <a:pt x="600" y="141"/>
                    </a:lnTo>
                    <a:lnTo>
                      <a:pt x="600" y="137"/>
                    </a:lnTo>
                    <a:lnTo>
                      <a:pt x="598" y="133"/>
                    </a:lnTo>
                    <a:lnTo>
                      <a:pt x="596" y="133"/>
                    </a:lnTo>
                    <a:lnTo>
                      <a:pt x="596" y="133"/>
                    </a:lnTo>
                    <a:lnTo>
                      <a:pt x="596" y="133"/>
                    </a:lnTo>
                    <a:lnTo>
                      <a:pt x="596" y="133"/>
                    </a:lnTo>
                    <a:close/>
                    <a:moveTo>
                      <a:pt x="594" y="158"/>
                    </a:moveTo>
                    <a:lnTo>
                      <a:pt x="600" y="152"/>
                    </a:lnTo>
                    <a:lnTo>
                      <a:pt x="606" y="152"/>
                    </a:lnTo>
                    <a:lnTo>
                      <a:pt x="611" y="158"/>
                    </a:lnTo>
                    <a:lnTo>
                      <a:pt x="609" y="160"/>
                    </a:lnTo>
                    <a:lnTo>
                      <a:pt x="606" y="160"/>
                    </a:lnTo>
                    <a:lnTo>
                      <a:pt x="604" y="160"/>
                    </a:lnTo>
                    <a:lnTo>
                      <a:pt x="600" y="162"/>
                    </a:lnTo>
                    <a:lnTo>
                      <a:pt x="598" y="160"/>
                    </a:lnTo>
                    <a:lnTo>
                      <a:pt x="594" y="158"/>
                    </a:lnTo>
                    <a:lnTo>
                      <a:pt x="594" y="158"/>
                    </a:lnTo>
                    <a:lnTo>
                      <a:pt x="594" y="158"/>
                    </a:lnTo>
                    <a:lnTo>
                      <a:pt x="594" y="158"/>
                    </a:lnTo>
                    <a:close/>
                    <a:moveTo>
                      <a:pt x="649" y="160"/>
                    </a:moveTo>
                    <a:lnTo>
                      <a:pt x="641" y="160"/>
                    </a:lnTo>
                    <a:lnTo>
                      <a:pt x="640" y="162"/>
                    </a:lnTo>
                    <a:lnTo>
                      <a:pt x="640" y="162"/>
                    </a:lnTo>
                    <a:lnTo>
                      <a:pt x="649" y="165"/>
                    </a:lnTo>
                    <a:lnTo>
                      <a:pt x="653" y="162"/>
                    </a:lnTo>
                    <a:lnTo>
                      <a:pt x="651" y="162"/>
                    </a:lnTo>
                    <a:lnTo>
                      <a:pt x="651" y="160"/>
                    </a:lnTo>
                    <a:lnTo>
                      <a:pt x="649" y="160"/>
                    </a:lnTo>
                    <a:lnTo>
                      <a:pt x="649" y="160"/>
                    </a:lnTo>
                    <a:lnTo>
                      <a:pt x="649" y="160"/>
                    </a:lnTo>
                    <a:lnTo>
                      <a:pt x="649" y="160"/>
                    </a:lnTo>
                    <a:close/>
                    <a:moveTo>
                      <a:pt x="617" y="194"/>
                    </a:moveTo>
                    <a:lnTo>
                      <a:pt x="619" y="194"/>
                    </a:lnTo>
                    <a:lnTo>
                      <a:pt x="619" y="196"/>
                    </a:lnTo>
                    <a:lnTo>
                      <a:pt x="617" y="196"/>
                    </a:lnTo>
                    <a:lnTo>
                      <a:pt x="617" y="194"/>
                    </a:lnTo>
                    <a:lnTo>
                      <a:pt x="617" y="194"/>
                    </a:lnTo>
                    <a:lnTo>
                      <a:pt x="617" y="194"/>
                    </a:lnTo>
                    <a:lnTo>
                      <a:pt x="617" y="194"/>
                    </a:lnTo>
                    <a:close/>
                    <a:moveTo>
                      <a:pt x="615" y="194"/>
                    </a:moveTo>
                    <a:lnTo>
                      <a:pt x="615" y="194"/>
                    </a:lnTo>
                    <a:lnTo>
                      <a:pt x="615" y="196"/>
                    </a:lnTo>
                    <a:lnTo>
                      <a:pt x="615" y="196"/>
                    </a:lnTo>
                    <a:lnTo>
                      <a:pt x="615" y="194"/>
                    </a:lnTo>
                    <a:lnTo>
                      <a:pt x="615" y="194"/>
                    </a:lnTo>
                    <a:lnTo>
                      <a:pt x="615" y="194"/>
                    </a:lnTo>
                    <a:lnTo>
                      <a:pt x="615" y="194"/>
                    </a:lnTo>
                    <a:close/>
                    <a:moveTo>
                      <a:pt x="604" y="196"/>
                    </a:moveTo>
                    <a:lnTo>
                      <a:pt x="609" y="194"/>
                    </a:lnTo>
                    <a:lnTo>
                      <a:pt x="611" y="194"/>
                    </a:lnTo>
                    <a:lnTo>
                      <a:pt x="611" y="194"/>
                    </a:lnTo>
                    <a:lnTo>
                      <a:pt x="611" y="197"/>
                    </a:lnTo>
                    <a:lnTo>
                      <a:pt x="609" y="196"/>
                    </a:lnTo>
                    <a:lnTo>
                      <a:pt x="606" y="197"/>
                    </a:lnTo>
                    <a:lnTo>
                      <a:pt x="604" y="196"/>
                    </a:lnTo>
                    <a:lnTo>
                      <a:pt x="604" y="196"/>
                    </a:lnTo>
                    <a:lnTo>
                      <a:pt x="604" y="196"/>
                    </a:lnTo>
                    <a:lnTo>
                      <a:pt x="604" y="196"/>
                    </a:lnTo>
                    <a:close/>
                    <a:moveTo>
                      <a:pt x="604" y="186"/>
                    </a:moveTo>
                    <a:lnTo>
                      <a:pt x="600" y="186"/>
                    </a:lnTo>
                    <a:lnTo>
                      <a:pt x="604" y="186"/>
                    </a:lnTo>
                    <a:lnTo>
                      <a:pt x="604" y="186"/>
                    </a:lnTo>
                    <a:lnTo>
                      <a:pt x="604" y="186"/>
                    </a:lnTo>
                    <a:lnTo>
                      <a:pt x="604" y="186"/>
                    </a:lnTo>
                    <a:lnTo>
                      <a:pt x="604" y="186"/>
                    </a:lnTo>
                    <a:close/>
                    <a:moveTo>
                      <a:pt x="606" y="182"/>
                    </a:moveTo>
                    <a:lnTo>
                      <a:pt x="604" y="182"/>
                    </a:lnTo>
                    <a:lnTo>
                      <a:pt x="604" y="184"/>
                    </a:lnTo>
                    <a:lnTo>
                      <a:pt x="606" y="184"/>
                    </a:lnTo>
                    <a:lnTo>
                      <a:pt x="606" y="182"/>
                    </a:lnTo>
                    <a:lnTo>
                      <a:pt x="606" y="182"/>
                    </a:lnTo>
                    <a:lnTo>
                      <a:pt x="606" y="182"/>
                    </a:lnTo>
                    <a:lnTo>
                      <a:pt x="606" y="182"/>
                    </a:lnTo>
                    <a:close/>
                    <a:moveTo>
                      <a:pt x="606" y="192"/>
                    </a:moveTo>
                    <a:lnTo>
                      <a:pt x="611" y="186"/>
                    </a:lnTo>
                    <a:lnTo>
                      <a:pt x="615" y="190"/>
                    </a:lnTo>
                    <a:lnTo>
                      <a:pt x="615" y="192"/>
                    </a:lnTo>
                    <a:lnTo>
                      <a:pt x="619" y="190"/>
                    </a:lnTo>
                    <a:lnTo>
                      <a:pt x="623" y="186"/>
                    </a:lnTo>
                    <a:lnTo>
                      <a:pt x="624" y="186"/>
                    </a:lnTo>
                    <a:lnTo>
                      <a:pt x="626" y="190"/>
                    </a:lnTo>
                    <a:lnTo>
                      <a:pt x="636" y="192"/>
                    </a:lnTo>
                    <a:lnTo>
                      <a:pt x="636" y="190"/>
                    </a:lnTo>
                    <a:lnTo>
                      <a:pt x="640" y="190"/>
                    </a:lnTo>
                    <a:lnTo>
                      <a:pt x="649" y="194"/>
                    </a:lnTo>
                    <a:lnTo>
                      <a:pt x="651" y="194"/>
                    </a:lnTo>
                    <a:lnTo>
                      <a:pt x="655" y="199"/>
                    </a:lnTo>
                    <a:lnTo>
                      <a:pt x="658" y="199"/>
                    </a:lnTo>
                    <a:lnTo>
                      <a:pt x="660" y="196"/>
                    </a:lnTo>
                    <a:lnTo>
                      <a:pt x="658" y="190"/>
                    </a:lnTo>
                    <a:lnTo>
                      <a:pt x="649" y="184"/>
                    </a:lnTo>
                    <a:lnTo>
                      <a:pt x="640" y="182"/>
                    </a:lnTo>
                    <a:lnTo>
                      <a:pt x="636" y="181"/>
                    </a:lnTo>
                    <a:lnTo>
                      <a:pt x="634" y="179"/>
                    </a:lnTo>
                    <a:lnTo>
                      <a:pt x="630" y="182"/>
                    </a:lnTo>
                    <a:lnTo>
                      <a:pt x="626" y="182"/>
                    </a:lnTo>
                    <a:lnTo>
                      <a:pt x="623" y="181"/>
                    </a:lnTo>
                    <a:lnTo>
                      <a:pt x="617" y="181"/>
                    </a:lnTo>
                    <a:lnTo>
                      <a:pt x="611" y="181"/>
                    </a:lnTo>
                    <a:lnTo>
                      <a:pt x="609" y="184"/>
                    </a:lnTo>
                    <a:lnTo>
                      <a:pt x="609" y="186"/>
                    </a:lnTo>
                    <a:lnTo>
                      <a:pt x="606" y="186"/>
                    </a:lnTo>
                    <a:lnTo>
                      <a:pt x="606" y="190"/>
                    </a:lnTo>
                    <a:lnTo>
                      <a:pt x="606" y="192"/>
                    </a:lnTo>
                    <a:lnTo>
                      <a:pt x="606" y="192"/>
                    </a:lnTo>
                    <a:lnTo>
                      <a:pt x="606" y="192"/>
                    </a:lnTo>
                    <a:lnTo>
                      <a:pt x="606" y="192"/>
                    </a:lnTo>
                    <a:lnTo>
                      <a:pt x="606" y="192"/>
                    </a:lnTo>
                    <a:close/>
                    <a:moveTo>
                      <a:pt x="572" y="186"/>
                    </a:moveTo>
                    <a:lnTo>
                      <a:pt x="576" y="186"/>
                    </a:lnTo>
                    <a:lnTo>
                      <a:pt x="577" y="186"/>
                    </a:lnTo>
                    <a:lnTo>
                      <a:pt x="585" y="186"/>
                    </a:lnTo>
                    <a:lnTo>
                      <a:pt x="589" y="186"/>
                    </a:lnTo>
                    <a:lnTo>
                      <a:pt x="589" y="190"/>
                    </a:lnTo>
                    <a:lnTo>
                      <a:pt x="592" y="192"/>
                    </a:lnTo>
                    <a:lnTo>
                      <a:pt x="592" y="196"/>
                    </a:lnTo>
                    <a:lnTo>
                      <a:pt x="589" y="196"/>
                    </a:lnTo>
                    <a:lnTo>
                      <a:pt x="585" y="199"/>
                    </a:lnTo>
                    <a:lnTo>
                      <a:pt x="581" y="199"/>
                    </a:lnTo>
                    <a:lnTo>
                      <a:pt x="577" y="199"/>
                    </a:lnTo>
                    <a:lnTo>
                      <a:pt x="576" y="197"/>
                    </a:lnTo>
                    <a:lnTo>
                      <a:pt x="570" y="196"/>
                    </a:lnTo>
                    <a:lnTo>
                      <a:pt x="568" y="192"/>
                    </a:lnTo>
                    <a:lnTo>
                      <a:pt x="568" y="186"/>
                    </a:lnTo>
                    <a:lnTo>
                      <a:pt x="572" y="186"/>
                    </a:lnTo>
                    <a:lnTo>
                      <a:pt x="572" y="186"/>
                    </a:lnTo>
                    <a:lnTo>
                      <a:pt x="572" y="186"/>
                    </a:lnTo>
                    <a:lnTo>
                      <a:pt x="572" y="186"/>
                    </a:lnTo>
                    <a:close/>
                    <a:moveTo>
                      <a:pt x="468" y="260"/>
                    </a:moveTo>
                    <a:lnTo>
                      <a:pt x="466" y="260"/>
                    </a:lnTo>
                    <a:lnTo>
                      <a:pt x="466" y="260"/>
                    </a:lnTo>
                    <a:lnTo>
                      <a:pt x="468" y="263"/>
                    </a:lnTo>
                    <a:lnTo>
                      <a:pt x="468" y="260"/>
                    </a:lnTo>
                    <a:lnTo>
                      <a:pt x="468" y="260"/>
                    </a:lnTo>
                    <a:lnTo>
                      <a:pt x="468" y="260"/>
                    </a:lnTo>
                    <a:lnTo>
                      <a:pt x="468" y="260"/>
                    </a:lnTo>
                    <a:close/>
                    <a:moveTo>
                      <a:pt x="466" y="235"/>
                    </a:moveTo>
                    <a:lnTo>
                      <a:pt x="468" y="241"/>
                    </a:lnTo>
                    <a:lnTo>
                      <a:pt x="466" y="245"/>
                    </a:lnTo>
                    <a:lnTo>
                      <a:pt x="466" y="248"/>
                    </a:lnTo>
                    <a:lnTo>
                      <a:pt x="464" y="245"/>
                    </a:lnTo>
                    <a:lnTo>
                      <a:pt x="463" y="243"/>
                    </a:lnTo>
                    <a:lnTo>
                      <a:pt x="464" y="241"/>
                    </a:lnTo>
                    <a:lnTo>
                      <a:pt x="464" y="239"/>
                    </a:lnTo>
                    <a:lnTo>
                      <a:pt x="466" y="235"/>
                    </a:lnTo>
                    <a:lnTo>
                      <a:pt x="466" y="235"/>
                    </a:lnTo>
                    <a:lnTo>
                      <a:pt x="466" y="235"/>
                    </a:lnTo>
                    <a:lnTo>
                      <a:pt x="466" y="235"/>
                    </a:lnTo>
                    <a:close/>
                    <a:moveTo>
                      <a:pt x="568" y="165"/>
                    </a:moveTo>
                    <a:lnTo>
                      <a:pt x="568" y="167"/>
                    </a:lnTo>
                    <a:lnTo>
                      <a:pt x="570" y="171"/>
                    </a:lnTo>
                    <a:lnTo>
                      <a:pt x="570" y="173"/>
                    </a:lnTo>
                    <a:lnTo>
                      <a:pt x="568" y="173"/>
                    </a:lnTo>
                    <a:lnTo>
                      <a:pt x="566" y="169"/>
                    </a:lnTo>
                    <a:lnTo>
                      <a:pt x="566" y="165"/>
                    </a:lnTo>
                    <a:lnTo>
                      <a:pt x="568" y="165"/>
                    </a:lnTo>
                    <a:lnTo>
                      <a:pt x="568" y="165"/>
                    </a:lnTo>
                    <a:lnTo>
                      <a:pt x="568" y="165"/>
                    </a:lnTo>
                    <a:lnTo>
                      <a:pt x="568" y="165"/>
                    </a:lnTo>
                    <a:close/>
                    <a:moveTo>
                      <a:pt x="557" y="162"/>
                    </a:moveTo>
                    <a:lnTo>
                      <a:pt x="560" y="160"/>
                    </a:lnTo>
                    <a:lnTo>
                      <a:pt x="562" y="162"/>
                    </a:lnTo>
                    <a:lnTo>
                      <a:pt x="564" y="160"/>
                    </a:lnTo>
                    <a:lnTo>
                      <a:pt x="572" y="162"/>
                    </a:lnTo>
                    <a:lnTo>
                      <a:pt x="576" y="162"/>
                    </a:lnTo>
                    <a:lnTo>
                      <a:pt x="572" y="162"/>
                    </a:lnTo>
                    <a:lnTo>
                      <a:pt x="562" y="165"/>
                    </a:lnTo>
                    <a:lnTo>
                      <a:pt x="560" y="162"/>
                    </a:lnTo>
                    <a:lnTo>
                      <a:pt x="560" y="162"/>
                    </a:lnTo>
                    <a:lnTo>
                      <a:pt x="557" y="162"/>
                    </a:lnTo>
                    <a:lnTo>
                      <a:pt x="557" y="162"/>
                    </a:lnTo>
                    <a:lnTo>
                      <a:pt x="557" y="162"/>
                    </a:lnTo>
                    <a:lnTo>
                      <a:pt x="557" y="162"/>
                    </a:lnTo>
                    <a:close/>
                    <a:moveTo>
                      <a:pt x="540" y="162"/>
                    </a:moveTo>
                    <a:lnTo>
                      <a:pt x="542" y="160"/>
                    </a:lnTo>
                    <a:lnTo>
                      <a:pt x="544" y="160"/>
                    </a:lnTo>
                    <a:lnTo>
                      <a:pt x="545" y="158"/>
                    </a:lnTo>
                    <a:lnTo>
                      <a:pt x="547" y="160"/>
                    </a:lnTo>
                    <a:lnTo>
                      <a:pt x="551" y="162"/>
                    </a:lnTo>
                    <a:lnTo>
                      <a:pt x="553" y="160"/>
                    </a:lnTo>
                    <a:lnTo>
                      <a:pt x="557" y="160"/>
                    </a:lnTo>
                    <a:lnTo>
                      <a:pt x="557" y="162"/>
                    </a:lnTo>
                    <a:lnTo>
                      <a:pt x="553" y="162"/>
                    </a:lnTo>
                    <a:lnTo>
                      <a:pt x="551" y="165"/>
                    </a:lnTo>
                    <a:lnTo>
                      <a:pt x="547" y="162"/>
                    </a:lnTo>
                    <a:lnTo>
                      <a:pt x="544" y="165"/>
                    </a:lnTo>
                    <a:lnTo>
                      <a:pt x="540" y="165"/>
                    </a:lnTo>
                    <a:lnTo>
                      <a:pt x="538" y="162"/>
                    </a:lnTo>
                    <a:lnTo>
                      <a:pt x="540" y="162"/>
                    </a:lnTo>
                    <a:lnTo>
                      <a:pt x="540" y="162"/>
                    </a:lnTo>
                    <a:lnTo>
                      <a:pt x="540" y="162"/>
                    </a:lnTo>
                    <a:lnTo>
                      <a:pt x="540" y="162"/>
                    </a:lnTo>
                    <a:close/>
                    <a:moveTo>
                      <a:pt x="506" y="229"/>
                    </a:moveTo>
                    <a:lnTo>
                      <a:pt x="510" y="224"/>
                    </a:lnTo>
                    <a:lnTo>
                      <a:pt x="512" y="216"/>
                    </a:lnTo>
                    <a:lnTo>
                      <a:pt x="512" y="211"/>
                    </a:lnTo>
                    <a:lnTo>
                      <a:pt x="513" y="211"/>
                    </a:lnTo>
                    <a:lnTo>
                      <a:pt x="515" y="211"/>
                    </a:lnTo>
                    <a:lnTo>
                      <a:pt x="515" y="214"/>
                    </a:lnTo>
                    <a:lnTo>
                      <a:pt x="517" y="214"/>
                    </a:lnTo>
                    <a:lnTo>
                      <a:pt x="517" y="216"/>
                    </a:lnTo>
                    <a:lnTo>
                      <a:pt x="515" y="214"/>
                    </a:lnTo>
                    <a:lnTo>
                      <a:pt x="515" y="216"/>
                    </a:lnTo>
                    <a:lnTo>
                      <a:pt x="513" y="218"/>
                    </a:lnTo>
                    <a:lnTo>
                      <a:pt x="512" y="220"/>
                    </a:lnTo>
                    <a:lnTo>
                      <a:pt x="513" y="224"/>
                    </a:lnTo>
                    <a:lnTo>
                      <a:pt x="515" y="224"/>
                    </a:lnTo>
                    <a:lnTo>
                      <a:pt x="517" y="226"/>
                    </a:lnTo>
                    <a:lnTo>
                      <a:pt x="515" y="228"/>
                    </a:lnTo>
                    <a:lnTo>
                      <a:pt x="513" y="228"/>
                    </a:lnTo>
                    <a:lnTo>
                      <a:pt x="512" y="231"/>
                    </a:lnTo>
                    <a:lnTo>
                      <a:pt x="508" y="233"/>
                    </a:lnTo>
                    <a:lnTo>
                      <a:pt x="506" y="231"/>
                    </a:lnTo>
                    <a:lnTo>
                      <a:pt x="506" y="229"/>
                    </a:lnTo>
                    <a:lnTo>
                      <a:pt x="506" y="229"/>
                    </a:lnTo>
                    <a:lnTo>
                      <a:pt x="506" y="229"/>
                    </a:lnTo>
                    <a:lnTo>
                      <a:pt x="506" y="229"/>
                    </a:lnTo>
                    <a:close/>
                    <a:moveTo>
                      <a:pt x="498" y="226"/>
                    </a:moveTo>
                    <a:lnTo>
                      <a:pt x="498" y="226"/>
                    </a:lnTo>
                    <a:lnTo>
                      <a:pt x="498" y="226"/>
                    </a:lnTo>
                    <a:lnTo>
                      <a:pt x="498" y="228"/>
                    </a:lnTo>
                    <a:lnTo>
                      <a:pt x="502" y="228"/>
                    </a:lnTo>
                    <a:lnTo>
                      <a:pt x="502" y="226"/>
                    </a:lnTo>
                    <a:lnTo>
                      <a:pt x="504" y="226"/>
                    </a:lnTo>
                    <a:lnTo>
                      <a:pt x="504" y="222"/>
                    </a:lnTo>
                    <a:lnTo>
                      <a:pt x="508" y="220"/>
                    </a:lnTo>
                    <a:lnTo>
                      <a:pt x="508" y="218"/>
                    </a:lnTo>
                    <a:lnTo>
                      <a:pt x="506" y="214"/>
                    </a:lnTo>
                    <a:lnTo>
                      <a:pt x="502" y="216"/>
                    </a:lnTo>
                    <a:lnTo>
                      <a:pt x="502" y="218"/>
                    </a:lnTo>
                    <a:lnTo>
                      <a:pt x="502" y="220"/>
                    </a:lnTo>
                    <a:lnTo>
                      <a:pt x="498" y="226"/>
                    </a:lnTo>
                    <a:lnTo>
                      <a:pt x="498" y="226"/>
                    </a:lnTo>
                    <a:lnTo>
                      <a:pt x="498" y="226"/>
                    </a:lnTo>
                    <a:lnTo>
                      <a:pt x="498" y="226"/>
                    </a:lnTo>
                    <a:close/>
                    <a:moveTo>
                      <a:pt x="491" y="222"/>
                    </a:moveTo>
                    <a:lnTo>
                      <a:pt x="491" y="224"/>
                    </a:lnTo>
                    <a:lnTo>
                      <a:pt x="489" y="226"/>
                    </a:lnTo>
                    <a:lnTo>
                      <a:pt x="491" y="229"/>
                    </a:lnTo>
                    <a:lnTo>
                      <a:pt x="493" y="231"/>
                    </a:lnTo>
                    <a:lnTo>
                      <a:pt x="493" y="229"/>
                    </a:lnTo>
                    <a:lnTo>
                      <a:pt x="493" y="226"/>
                    </a:lnTo>
                    <a:lnTo>
                      <a:pt x="493" y="222"/>
                    </a:lnTo>
                    <a:lnTo>
                      <a:pt x="493" y="222"/>
                    </a:lnTo>
                    <a:lnTo>
                      <a:pt x="491" y="222"/>
                    </a:lnTo>
                    <a:lnTo>
                      <a:pt x="491" y="222"/>
                    </a:lnTo>
                    <a:lnTo>
                      <a:pt x="491" y="222"/>
                    </a:lnTo>
                    <a:lnTo>
                      <a:pt x="491" y="222"/>
                    </a:lnTo>
                    <a:close/>
                    <a:moveTo>
                      <a:pt x="517" y="162"/>
                    </a:moveTo>
                    <a:lnTo>
                      <a:pt x="513" y="162"/>
                    </a:lnTo>
                    <a:lnTo>
                      <a:pt x="517" y="165"/>
                    </a:lnTo>
                    <a:lnTo>
                      <a:pt x="517" y="165"/>
                    </a:lnTo>
                    <a:lnTo>
                      <a:pt x="517" y="162"/>
                    </a:lnTo>
                    <a:lnTo>
                      <a:pt x="517" y="162"/>
                    </a:lnTo>
                    <a:lnTo>
                      <a:pt x="517" y="162"/>
                    </a:lnTo>
                    <a:lnTo>
                      <a:pt x="517" y="162"/>
                    </a:lnTo>
                    <a:close/>
                    <a:moveTo>
                      <a:pt x="521" y="160"/>
                    </a:moveTo>
                    <a:lnTo>
                      <a:pt x="519" y="162"/>
                    </a:lnTo>
                    <a:lnTo>
                      <a:pt x="523" y="162"/>
                    </a:lnTo>
                    <a:lnTo>
                      <a:pt x="521" y="160"/>
                    </a:lnTo>
                    <a:lnTo>
                      <a:pt x="521" y="160"/>
                    </a:lnTo>
                    <a:lnTo>
                      <a:pt x="521" y="160"/>
                    </a:lnTo>
                    <a:lnTo>
                      <a:pt x="521" y="160"/>
                    </a:lnTo>
                    <a:close/>
                    <a:moveTo>
                      <a:pt x="527" y="156"/>
                    </a:moveTo>
                    <a:lnTo>
                      <a:pt x="523" y="158"/>
                    </a:lnTo>
                    <a:lnTo>
                      <a:pt x="527" y="160"/>
                    </a:lnTo>
                    <a:lnTo>
                      <a:pt x="527" y="156"/>
                    </a:lnTo>
                    <a:lnTo>
                      <a:pt x="527" y="156"/>
                    </a:lnTo>
                    <a:lnTo>
                      <a:pt x="527" y="156"/>
                    </a:lnTo>
                    <a:lnTo>
                      <a:pt x="527" y="156"/>
                    </a:lnTo>
                    <a:close/>
                    <a:moveTo>
                      <a:pt x="510" y="152"/>
                    </a:moveTo>
                    <a:lnTo>
                      <a:pt x="515" y="150"/>
                    </a:lnTo>
                    <a:lnTo>
                      <a:pt x="519" y="150"/>
                    </a:lnTo>
                    <a:lnTo>
                      <a:pt x="521" y="152"/>
                    </a:lnTo>
                    <a:lnTo>
                      <a:pt x="519" y="154"/>
                    </a:lnTo>
                    <a:lnTo>
                      <a:pt x="523" y="152"/>
                    </a:lnTo>
                    <a:lnTo>
                      <a:pt x="523" y="150"/>
                    </a:lnTo>
                    <a:lnTo>
                      <a:pt x="527" y="152"/>
                    </a:lnTo>
                    <a:lnTo>
                      <a:pt x="523" y="156"/>
                    </a:lnTo>
                    <a:lnTo>
                      <a:pt x="523" y="156"/>
                    </a:lnTo>
                    <a:lnTo>
                      <a:pt x="521" y="156"/>
                    </a:lnTo>
                    <a:lnTo>
                      <a:pt x="519" y="158"/>
                    </a:lnTo>
                    <a:lnTo>
                      <a:pt x="515" y="156"/>
                    </a:lnTo>
                    <a:lnTo>
                      <a:pt x="513" y="158"/>
                    </a:lnTo>
                    <a:lnTo>
                      <a:pt x="510" y="156"/>
                    </a:lnTo>
                    <a:lnTo>
                      <a:pt x="510" y="152"/>
                    </a:lnTo>
                    <a:lnTo>
                      <a:pt x="510" y="152"/>
                    </a:lnTo>
                    <a:lnTo>
                      <a:pt x="510" y="152"/>
                    </a:lnTo>
                    <a:lnTo>
                      <a:pt x="510" y="152"/>
                    </a:lnTo>
                    <a:close/>
                    <a:moveTo>
                      <a:pt x="491" y="133"/>
                    </a:moveTo>
                    <a:lnTo>
                      <a:pt x="493" y="133"/>
                    </a:lnTo>
                    <a:lnTo>
                      <a:pt x="493" y="133"/>
                    </a:lnTo>
                    <a:lnTo>
                      <a:pt x="493" y="133"/>
                    </a:lnTo>
                    <a:lnTo>
                      <a:pt x="491" y="133"/>
                    </a:lnTo>
                    <a:lnTo>
                      <a:pt x="491" y="133"/>
                    </a:lnTo>
                    <a:lnTo>
                      <a:pt x="491" y="133"/>
                    </a:lnTo>
                    <a:lnTo>
                      <a:pt x="491" y="133"/>
                    </a:lnTo>
                    <a:close/>
                    <a:moveTo>
                      <a:pt x="489" y="133"/>
                    </a:moveTo>
                    <a:lnTo>
                      <a:pt x="491" y="133"/>
                    </a:lnTo>
                    <a:lnTo>
                      <a:pt x="493" y="137"/>
                    </a:lnTo>
                    <a:lnTo>
                      <a:pt x="491" y="137"/>
                    </a:lnTo>
                    <a:lnTo>
                      <a:pt x="489" y="133"/>
                    </a:lnTo>
                    <a:lnTo>
                      <a:pt x="489" y="133"/>
                    </a:lnTo>
                    <a:lnTo>
                      <a:pt x="489" y="133"/>
                    </a:lnTo>
                    <a:lnTo>
                      <a:pt x="489" y="133"/>
                    </a:lnTo>
                    <a:close/>
                    <a:moveTo>
                      <a:pt x="466" y="118"/>
                    </a:moveTo>
                    <a:lnTo>
                      <a:pt x="468" y="116"/>
                    </a:lnTo>
                    <a:lnTo>
                      <a:pt x="474" y="118"/>
                    </a:lnTo>
                    <a:lnTo>
                      <a:pt x="480" y="122"/>
                    </a:lnTo>
                    <a:lnTo>
                      <a:pt x="487" y="116"/>
                    </a:lnTo>
                    <a:lnTo>
                      <a:pt x="493" y="116"/>
                    </a:lnTo>
                    <a:lnTo>
                      <a:pt x="493" y="118"/>
                    </a:lnTo>
                    <a:lnTo>
                      <a:pt x="498" y="118"/>
                    </a:lnTo>
                    <a:lnTo>
                      <a:pt x="498" y="118"/>
                    </a:lnTo>
                    <a:lnTo>
                      <a:pt x="506" y="118"/>
                    </a:lnTo>
                    <a:lnTo>
                      <a:pt x="512" y="118"/>
                    </a:lnTo>
                    <a:lnTo>
                      <a:pt x="512" y="116"/>
                    </a:lnTo>
                    <a:lnTo>
                      <a:pt x="517" y="116"/>
                    </a:lnTo>
                    <a:lnTo>
                      <a:pt x="519" y="118"/>
                    </a:lnTo>
                    <a:lnTo>
                      <a:pt x="521" y="122"/>
                    </a:lnTo>
                    <a:lnTo>
                      <a:pt x="523" y="122"/>
                    </a:lnTo>
                    <a:lnTo>
                      <a:pt x="538" y="118"/>
                    </a:lnTo>
                    <a:lnTo>
                      <a:pt x="544" y="116"/>
                    </a:lnTo>
                    <a:lnTo>
                      <a:pt x="545" y="113"/>
                    </a:lnTo>
                    <a:lnTo>
                      <a:pt x="547" y="113"/>
                    </a:lnTo>
                    <a:lnTo>
                      <a:pt x="551" y="109"/>
                    </a:lnTo>
                    <a:lnTo>
                      <a:pt x="551" y="109"/>
                    </a:lnTo>
                    <a:lnTo>
                      <a:pt x="553" y="105"/>
                    </a:lnTo>
                    <a:lnTo>
                      <a:pt x="557" y="101"/>
                    </a:lnTo>
                    <a:lnTo>
                      <a:pt x="557" y="101"/>
                    </a:lnTo>
                    <a:lnTo>
                      <a:pt x="557" y="100"/>
                    </a:lnTo>
                    <a:lnTo>
                      <a:pt x="553" y="98"/>
                    </a:lnTo>
                    <a:lnTo>
                      <a:pt x="547" y="98"/>
                    </a:lnTo>
                    <a:lnTo>
                      <a:pt x="545" y="98"/>
                    </a:lnTo>
                    <a:lnTo>
                      <a:pt x="545" y="100"/>
                    </a:lnTo>
                    <a:lnTo>
                      <a:pt x="542" y="103"/>
                    </a:lnTo>
                    <a:lnTo>
                      <a:pt x="542" y="105"/>
                    </a:lnTo>
                    <a:lnTo>
                      <a:pt x="538" y="107"/>
                    </a:lnTo>
                    <a:lnTo>
                      <a:pt x="536" y="107"/>
                    </a:lnTo>
                    <a:lnTo>
                      <a:pt x="532" y="109"/>
                    </a:lnTo>
                    <a:lnTo>
                      <a:pt x="528" y="113"/>
                    </a:lnTo>
                    <a:lnTo>
                      <a:pt x="521" y="109"/>
                    </a:lnTo>
                    <a:lnTo>
                      <a:pt x="513" y="109"/>
                    </a:lnTo>
                    <a:lnTo>
                      <a:pt x="512" y="109"/>
                    </a:lnTo>
                    <a:lnTo>
                      <a:pt x="510" y="113"/>
                    </a:lnTo>
                    <a:lnTo>
                      <a:pt x="506" y="109"/>
                    </a:lnTo>
                    <a:lnTo>
                      <a:pt x="502" y="109"/>
                    </a:lnTo>
                    <a:lnTo>
                      <a:pt x="498" y="109"/>
                    </a:lnTo>
                    <a:lnTo>
                      <a:pt x="498" y="107"/>
                    </a:lnTo>
                    <a:lnTo>
                      <a:pt x="493" y="107"/>
                    </a:lnTo>
                    <a:lnTo>
                      <a:pt x="489" y="109"/>
                    </a:lnTo>
                    <a:lnTo>
                      <a:pt x="487" y="107"/>
                    </a:lnTo>
                    <a:lnTo>
                      <a:pt x="483" y="103"/>
                    </a:lnTo>
                    <a:lnTo>
                      <a:pt x="478" y="101"/>
                    </a:lnTo>
                    <a:lnTo>
                      <a:pt x="474" y="101"/>
                    </a:lnTo>
                    <a:lnTo>
                      <a:pt x="474" y="107"/>
                    </a:lnTo>
                    <a:lnTo>
                      <a:pt x="472" y="109"/>
                    </a:lnTo>
                    <a:lnTo>
                      <a:pt x="468" y="113"/>
                    </a:lnTo>
                    <a:lnTo>
                      <a:pt x="468" y="113"/>
                    </a:lnTo>
                    <a:lnTo>
                      <a:pt x="463" y="113"/>
                    </a:lnTo>
                    <a:lnTo>
                      <a:pt x="459" y="113"/>
                    </a:lnTo>
                    <a:lnTo>
                      <a:pt x="457" y="116"/>
                    </a:lnTo>
                    <a:lnTo>
                      <a:pt x="457" y="116"/>
                    </a:lnTo>
                    <a:lnTo>
                      <a:pt x="451" y="122"/>
                    </a:lnTo>
                    <a:lnTo>
                      <a:pt x="451" y="126"/>
                    </a:lnTo>
                    <a:lnTo>
                      <a:pt x="453" y="130"/>
                    </a:lnTo>
                    <a:lnTo>
                      <a:pt x="453" y="133"/>
                    </a:lnTo>
                    <a:lnTo>
                      <a:pt x="451" y="137"/>
                    </a:lnTo>
                    <a:lnTo>
                      <a:pt x="453" y="141"/>
                    </a:lnTo>
                    <a:lnTo>
                      <a:pt x="455" y="145"/>
                    </a:lnTo>
                    <a:lnTo>
                      <a:pt x="453" y="143"/>
                    </a:lnTo>
                    <a:lnTo>
                      <a:pt x="451" y="141"/>
                    </a:lnTo>
                    <a:lnTo>
                      <a:pt x="449" y="141"/>
                    </a:lnTo>
                    <a:lnTo>
                      <a:pt x="448" y="143"/>
                    </a:lnTo>
                    <a:lnTo>
                      <a:pt x="444" y="145"/>
                    </a:lnTo>
                    <a:lnTo>
                      <a:pt x="444" y="148"/>
                    </a:lnTo>
                    <a:lnTo>
                      <a:pt x="444" y="152"/>
                    </a:lnTo>
                    <a:lnTo>
                      <a:pt x="444" y="156"/>
                    </a:lnTo>
                    <a:lnTo>
                      <a:pt x="444" y="162"/>
                    </a:lnTo>
                    <a:lnTo>
                      <a:pt x="444" y="165"/>
                    </a:lnTo>
                    <a:lnTo>
                      <a:pt x="444" y="167"/>
                    </a:lnTo>
                    <a:lnTo>
                      <a:pt x="438" y="169"/>
                    </a:lnTo>
                    <a:lnTo>
                      <a:pt x="438" y="173"/>
                    </a:lnTo>
                    <a:lnTo>
                      <a:pt x="434" y="177"/>
                    </a:lnTo>
                    <a:lnTo>
                      <a:pt x="434" y="182"/>
                    </a:lnTo>
                    <a:lnTo>
                      <a:pt x="434" y="184"/>
                    </a:lnTo>
                    <a:lnTo>
                      <a:pt x="434" y="186"/>
                    </a:lnTo>
                    <a:lnTo>
                      <a:pt x="434" y="192"/>
                    </a:lnTo>
                    <a:lnTo>
                      <a:pt x="438" y="194"/>
                    </a:lnTo>
                    <a:lnTo>
                      <a:pt x="438" y="194"/>
                    </a:lnTo>
                    <a:lnTo>
                      <a:pt x="442" y="194"/>
                    </a:lnTo>
                    <a:lnTo>
                      <a:pt x="444" y="192"/>
                    </a:lnTo>
                    <a:lnTo>
                      <a:pt x="444" y="194"/>
                    </a:lnTo>
                    <a:lnTo>
                      <a:pt x="448" y="197"/>
                    </a:lnTo>
                    <a:lnTo>
                      <a:pt x="449" y="207"/>
                    </a:lnTo>
                    <a:lnTo>
                      <a:pt x="448" y="209"/>
                    </a:lnTo>
                    <a:lnTo>
                      <a:pt x="448" y="214"/>
                    </a:lnTo>
                    <a:lnTo>
                      <a:pt x="444" y="216"/>
                    </a:lnTo>
                    <a:lnTo>
                      <a:pt x="444" y="226"/>
                    </a:lnTo>
                    <a:lnTo>
                      <a:pt x="444" y="231"/>
                    </a:lnTo>
                    <a:lnTo>
                      <a:pt x="448" y="231"/>
                    </a:lnTo>
                    <a:lnTo>
                      <a:pt x="449" y="233"/>
                    </a:lnTo>
                    <a:lnTo>
                      <a:pt x="453" y="233"/>
                    </a:lnTo>
                    <a:lnTo>
                      <a:pt x="455" y="231"/>
                    </a:lnTo>
                    <a:lnTo>
                      <a:pt x="459" y="231"/>
                    </a:lnTo>
                    <a:lnTo>
                      <a:pt x="463" y="231"/>
                    </a:lnTo>
                    <a:lnTo>
                      <a:pt x="464" y="233"/>
                    </a:lnTo>
                    <a:lnTo>
                      <a:pt x="464" y="229"/>
                    </a:lnTo>
                    <a:lnTo>
                      <a:pt x="464" y="226"/>
                    </a:lnTo>
                    <a:lnTo>
                      <a:pt x="463" y="224"/>
                    </a:lnTo>
                    <a:lnTo>
                      <a:pt x="461" y="220"/>
                    </a:lnTo>
                    <a:lnTo>
                      <a:pt x="463" y="216"/>
                    </a:lnTo>
                    <a:lnTo>
                      <a:pt x="464" y="211"/>
                    </a:lnTo>
                    <a:lnTo>
                      <a:pt x="464" y="205"/>
                    </a:lnTo>
                    <a:lnTo>
                      <a:pt x="463" y="203"/>
                    </a:lnTo>
                    <a:lnTo>
                      <a:pt x="466" y="197"/>
                    </a:lnTo>
                    <a:lnTo>
                      <a:pt x="466" y="192"/>
                    </a:lnTo>
                    <a:lnTo>
                      <a:pt x="466" y="186"/>
                    </a:lnTo>
                    <a:lnTo>
                      <a:pt x="463" y="186"/>
                    </a:lnTo>
                    <a:lnTo>
                      <a:pt x="463" y="184"/>
                    </a:lnTo>
                    <a:lnTo>
                      <a:pt x="468" y="181"/>
                    </a:lnTo>
                    <a:lnTo>
                      <a:pt x="468" y="179"/>
                    </a:lnTo>
                    <a:lnTo>
                      <a:pt x="472" y="179"/>
                    </a:lnTo>
                    <a:lnTo>
                      <a:pt x="476" y="179"/>
                    </a:lnTo>
                    <a:lnTo>
                      <a:pt x="476" y="181"/>
                    </a:lnTo>
                    <a:lnTo>
                      <a:pt x="478" y="184"/>
                    </a:lnTo>
                    <a:lnTo>
                      <a:pt x="478" y="186"/>
                    </a:lnTo>
                    <a:lnTo>
                      <a:pt x="474" y="190"/>
                    </a:lnTo>
                    <a:lnTo>
                      <a:pt x="472" y="194"/>
                    </a:lnTo>
                    <a:lnTo>
                      <a:pt x="476" y="197"/>
                    </a:lnTo>
                    <a:lnTo>
                      <a:pt x="478" y="197"/>
                    </a:lnTo>
                    <a:lnTo>
                      <a:pt x="480" y="201"/>
                    </a:lnTo>
                    <a:lnTo>
                      <a:pt x="485" y="203"/>
                    </a:lnTo>
                    <a:lnTo>
                      <a:pt x="485" y="207"/>
                    </a:lnTo>
                    <a:lnTo>
                      <a:pt x="483" y="207"/>
                    </a:lnTo>
                    <a:lnTo>
                      <a:pt x="483" y="214"/>
                    </a:lnTo>
                    <a:lnTo>
                      <a:pt x="485" y="216"/>
                    </a:lnTo>
                    <a:lnTo>
                      <a:pt x="487" y="218"/>
                    </a:lnTo>
                    <a:lnTo>
                      <a:pt x="489" y="216"/>
                    </a:lnTo>
                    <a:lnTo>
                      <a:pt x="493" y="218"/>
                    </a:lnTo>
                    <a:lnTo>
                      <a:pt x="496" y="218"/>
                    </a:lnTo>
                    <a:lnTo>
                      <a:pt x="496" y="216"/>
                    </a:lnTo>
                    <a:lnTo>
                      <a:pt x="493" y="214"/>
                    </a:lnTo>
                    <a:lnTo>
                      <a:pt x="498" y="211"/>
                    </a:lnTo>
                    <a:lnTo>
                      <a:pt x="502" y="211"/>
                    </a:lnTo>
                    <a:lnTo>
                      <a:pt x="506" y="209"/>
                    </a:lnTo>
                    <a:lnTo>
                      <a:pt x="512" y="209"/>
                    </a:lnTo>
                    <a:lnTo>
                      <a:pt x="513" y="207"/>
                    </a:lnTo>
                    <a:lnTo>
                      <a:pt x="515" y="209"/>
                    </a:lnTo>
                    <a:lnTo>
                      <a:pt x="517" y="209"/>
                    </a:lnTo>
                    <a:lnTo>
                      <a:pt x="519" y="205"/>
                    </a:lnTo>
                    <a:lnTo>
                      <a:pt x="519" y="203"/>
                    </a:lnTo>
                    <a:lnTo>
                      <a:pt x="513" y="203"/>
                    </a:lnTo>
                    <a:lnTo>
                      <a:pt x="512" y="203"/>
                    </a:lnTo>
                    <a:lnTo>
                      <a:pt x="510" y="203"/>
                    </a:lnTo>
                    <a:lnTo>
                      <a:pt x="506" y="203"/>
                    </a:lnTo>
                    <a:lnTo>
                      <a:pt x="506" y="201"/>
                    </a:lnTo>
                    <a:lnTo>
                      <a:pt x="504" y="201"/>
                    </a:lnTo>
                    <a:lnTo>
                      <a:pt x="504" y="199"/>
                    </a:lnTo>
                    <a:lnTo>
                      <a:pt x="502" y="197"/>
                    </a:lnTo>
                    <a:lnTo>
                      <a:pt x="502" y="199"/>
                    </a:lnTo>
                    <a:lnTo>
                      <a:pt x="502" y="197"/>
                    </a:lnTo>
                    <a:lnTo>
                      <a:pt x="498" y="196"/>
                    </a:lnTo>
                    <a:lnTo>
                      <a:pt x="498" y="194"/>
                    </a:lnTo>
                    <a:lnTo>
                      <a:pt x="498" y="192"/>
                    </a:lnTo>
                    <a:lnTo>
                      <a:pt x="502" y="190"/>
                    </a:lnTo>
                    <a:lnTo>
                      <a:pt x="502" y="190"/>
                    </a:lnTo>
                    <a:lnTo>
                      <a:pt x="502" y="190"/>
                    </a:lnTo>
                    <a:lnTo>
                      <a:pt x="502" y="190"/>
                    </a:lnTo>
                    <a:lnTo>
                      <a:pt x="502" y="186"/>
                    </a:lnTo>
                    <a:lnTo>
                      <a:pt x="502" y="186"/>
                    </a:lnTo>
                    <a:lnTo>
                      <a:pt x="498" y="184"/>
                    </a:lnTo>
                    <a:lnTo>
                      <a:pt x="498" y="182"/>
                    </a:lnTo>
                    <a:lnTo>
                      <a:pt x="498" y="181"/>
                    </a:lnTo>
                    <a:lnTo>
                      <a:pt x="496" y="179"/>
                    </a:lnTo>
                    <a:lnTo>
                      <a:pt x="493" y="179"/>
                    </a:lnTo>
                    <a:lnTo>
                      <a:pt x="493" y="175"/>
                    </a:lnTo>
                    <a:lnTo>
                      <a:pt x="489" y="169"/>
                    </a:lnTo>
                    <a:lnTo>
                      <a:pt x="485" y="165"/>
                    </a:lnTo>
                    <a:lnTo>
                      <a:pt x="483" y="165"/>
                    </a:lnTo>
                    <a:lnTo>
                      <a:pt x="483" y="162"/>
                    </a:lnTo>
                    <a:lnTo>
                      <a:pt x="485" y="162"/>
                    </a:lnTo>
                    <a:lnTo>
                      <a:pt x="485" y="165"/>
                    </a:lnTo>
                    <a:lnTo>
                      <a:pt x="489" y="165"/>
                    </a:lnTo>
                    <a:lnTo>
                      <a:pt x="493" y="162"/>
                    </a:lnTo>
                    <a:lnTo>
                      <a:pt x="493" y="160"/>
                    </a:lnTo>
                    <a:lnTo>
                      <a:pt x="502" y="158"/>
                    </a:lnTo>
                    <a:lnTo>
                      <a:pt x="506" y="152"/>
                    </a:lnTo>
                    <a:lnTo>
                      <a:pt x="508" y="148"/>
                    </a:lnTo>
                    <a:lnTo>
                      <a:pt x="512" y="147"/>
                    </a:lnTo>
                    <a:lnTo>
                      <a:pt x="512" y="145"/>
                    </a:lnTo>
                    <a:lnTo>
                      <a:pt x="515" y="143"/>
                    </a:lnTo>
                    <a:lnTo>
                      <a:pt x="519" y="145"/>
                    </a:lnTo>
                    <a:lnTo>
                      <a:pt x="523" y="145"/>
                    </a:lnTo>
                    <a:lnTo>
                      <a:pt x="523" y="141"/>
                    </a:lnTo>
                    <a:lnTo>
                      <a:pt x="523" y="137"/>
                    </a:lnTo>
                    <a:lnTo>
                      <a:pt x="521" y="137"/>
                    </a:lnTo>
                    <a:lnTo>
                      <a:pt x="513" y="137"/>
                    </a:lnTo>
                    <a:lnTo>
                      <a:pt x="510" y="141"/>
                    </a:lnTo>
                    <a:lnTo>
                      <a:pt x="502" y="141"/>
                    </a:lnTo>
                    <a:lnTo>
                      <a:pt x="502" y="141"/>
                    </a:lnTo>
                    <a:lnTo>
                      <a:pt x="498" y="145"/>
                    </a:lnTo>
                    <a:lnTo>
                      <a:pt x="493" y="143"/>
                    </a:lnTo>
                    <a:lnTo>
                      <a:pt x="493" y="145"/>
                    </a:lnTo>
                    <a:lnTo>
                      <a:pt x="489" y="143"/>
                    </a:lnTo>
                    <a:lnTo>
                      <a:pt x="485" y="141"/>
                    </a:lnTo>
                    <a:lnTo>
                      <a:pt x="481" y="147"/>
                    </a:lnTo>
                    <a:lnTo>
                      <a:pt x="478" y="152"/>
                    </a:lnTo>
                    <a:lnTo>
                      <a:pt x="474" y="154"/>
                    </a:lnTo>
                    <a:lnTo>
                      <a:pt x="472" y="154"/>
                    </a:lnTo>
                    <a:lnTo>
                      <a:pt x="472" y="152"/>
                    </a:lnTo>
                    <a:lnTo>
                      <a:pt x="466" y="147"/>
                    </a:lnTo>
                    <a:lnTo>
                      <a:pt x="461" y="143"/>
                    </a:lnTo>
                    <a:lnTo>
                      <a:pt x="459" y="137"/>
                    </a:lnTo>
                    <a:lnTo>
                      <a:pt x="459" y="130"/>
                    </a:lnTo>
                    <a:lnTo>
                      <a:pt x="463" y="122"/>
                    </a:lnTo>
                    <a:lnTo>
                      <a:pt x="466" y="118"/>
                    </a:lnTo>
                    <a:lnTo>
                      <a:pt x="466" y="118"/>
                    </a:lnTo>
                    <a:lnTo>
                      <a:pt x="466" y="118"/>
                    </a:lnTo>
                    <a:lnTo>
                      <a:pt x="466" y="118"/>
                    </a:lnTo>
                    <a:close/>
                    <a:moveTo>
                      <a:pt x="468" y="0"/>
                    </a:moveTo>
                    <a:lnTo>
                      <a:pt x="466" y="3"/>
                    </a:lnTo>
                    <a:lnTo>
                      <a:pt x="468" y="3"/>
                    </a:lnTo>
                    <a:lnTo>
                      <a:pt x="468" y="2"/>
                    </a:lnTo>
                    <a:lnTo>
                      <a:pt x="468" y="0"/>
                    </a:lnTo>
                    <a:lnTo>
                      <a:pt x="468" y="0"/>
                    </a:lnTo>
                    <a:lnTo>
                      <a:pt x="468" y="0"/>
                    </a:lnTo>
                    <a:lnTo>
                      <a:pt x="468" y="0"/>
                    </a:lnTo>
                    <a:close/>
                    <a:moveTo>
                      <a:pt x="472" y="11"/>
                    </a:moveTo>
                    <a:lnTo>
                      <a:pt x="476" y="11"/>
                    </a:lnTo>
                    <a:lnTo>
                      <a:pt x="478" y="11"/>
                    </a:lnTo>
                    <a:lnTo>
                      <a:pt x="480" y="11"/>
                    </a:lnTo>
                    <a:lnTo>
                      <a:pt x="481" y="11"/>
                    </a:lnTo>
                    <a:lnTo>
                      <a:pt x="481" y="11"/>
                    </a:lnTo>
                    <a:lnTo>
                      <a:pt x="478" y="9"/>
                    </a:lnTo>
                    <a:lnTo>
                      <a:pt x="472" y="11"/>
                    </a:lnTo>
                    <a:lnTo>
                      <a:pt x="472" y="11"/>
                    </a:lnTo>
                    <a:lnTo>
                      <a:pt x="472" y="11"/>
                    </a:lnTo>
                    <a:lnTo>
                      <a:pt x="472" y="11"/>
                    </a:lnTo>
                    <a:lnTo>
                      <a:pt x="472" y="11"/>
                    </a:lnTo>
                    <a:lnTo>
                      <a:pt x="472" y="11"/>
                    </a:lnTo>
                    <a:close/>
                    <a:moveTo>
                      <a:pt x="444" y="32"/>
                    </a:moveTo>
                    <a:lnTo>
                      <a:pt x="444" y="34"/>
                    </a:lnTo>
                    <a:lnTo>
                      <a:pt x="448" y="35"/>
                    </a:lnTo>
                    <a:lnTo>
                      <a:pt x="448" y="35"/>
                    </a:lnTo>
                    <a:lnTo>
                      <a:pt x="444" y="32"/>
                    </a:lnTo>
                    <a:lnTo>
                      <a:pt x="444" y="32"/>
                    </a:lnTo>
                    <a:lnTo>
                      <a:pt x="444" y="32"/>
                    </a:lnTo>
                    <a:lnTo>
                      <a:pt x="444" y="32"/>
                    </a:lnTo>
                    <a:close/>
                    <a:moveTo>
                      <a:pt x="451" y="28"/>
                    </a:moveTo>
                    <a:lnTo>
                      <a:pt x="457" y="24"/>
                    </a:lnTo>
                    <a:lnTo>
                      <a:pt x="461" y="24"/>
                    </a:lnTo>
                    <a:lnTo>
                      <a:pt x="461" y="24"/>
                    </a:lnTo>
                    <a:lnTo>
                      <a:pt x="457" y="28"/>
                    </a:lnTo>
                    <a:lnTo>
                      <a:pt x="453" y="28"/>
                    </a:lnTo>
                    <a:lnTo>
                      <a:pt x="451" y="28"/>
                    </a:lnTo>
                    <a:lnTo>
                      <a:pt x="451" y="28"/>
                    </a:lnTo>
                    <a:lnTo>
                      <a:pt x="451" y="28"/>
                    </a:lnTo>
                    <a:lnTo>
                      <a:pt x="451" y="28"/>
                    </a:lnTo>
                    <a:close/>
                    <a:moveTo>
                      <a:pt x="414" y="49"/>
                    </a:moveTo>
                    <a:lnTo>
                      <a:pt x="414" y="49"/>
                    </a:lnTo>
                    <a:lnTo>
                      <a:pt x="414" y="49"/>
                    </a:lnTo>
                    <a:lnTo>
                      <a:pt x="414" y="49"/>
                    </a:lnTo>
                    <a:lnTo>
                      <a:pt x="414" y="49"/>
                    </a:lnTo>
                    <a:lnTo>
                      <a:pt x="414" y="49"/>
                    </a:lnTo>
                    <a:lnTo>
                      <a:pt x="414" y="49"/>
                    </a:lnTo>
                    <a:close/>
                    <a:moveTo>
                      <a:pt x="414" y="45"/>
                    </a:moveTo>
                    <a:lnTo>
                      <a:pt x="414" y="49"/>
                    </a:lnTo>
                    <a:lnTo>
                      <a:pt x="414" y="49"/>
                    </a:lnTo>
                    <a:lnTo>
                      <a:pt x="417" y="49"/>
                    </a:lnTo>
                    <a:lnTo>
                      <a:pt x="417" y="49"/>
                    </a:lnTo>
                    <a:lnTo>
                      <a:pt x="414" y="45"/>
                    </a:lnTo>
                    <a:lnTo>
                      <a:pt x="414" y="45"/>
                    </a:lnTo>
                    <a:lnTo>
                      <a:pt x="414" y="45"/>
                    </a:lnTo>
                    <a:lnTo>
                      <a:pt x="414" y="45"/>
                    </a:lnTo>
                    <a:close/>
                    <a:moveTo>
                      <a:pt x="417" y="56"/>
                    </a:moveTo>
                    <a:lnTo>
                      <a:pt x="414" y="56"/>
                    </a:lnTo>
                    <a:lnTo>
                      <a:pt x="414" y="58"/>
                    </a:lnTo>
                    <a:lnTo>
                      <a:pt x="417" y="56"/>
                    </a:lnTo>
                    <a:lnTo>
                      <a:pt x="417" y="56"/>
                    </a:lnTo>
                    <a:lnTo>
                      <a:pt x="417" y="56"/>
                    </a:lnTo>
                    <a:lnTo>
                      <a:pt x="417" y="56"/>
                    </a:lnTo>
                    <a:close/>
                    <a:moveTo>
                      <a:pt x="410" y="60"/>
                    </a:moveTo>
                    <a:lnTo>
                      <a:pt x="414" y="60"/>
                    </a:lnTo>
                    <a:lnTo>
                      <a:pt x="414" y="64"/>
                    </a:lnTo>
                    <a:lnTo>
                      <a:pt x="414" y="64"/>
                    </a:lnTo>
                    <a:lnTo>
                      <a:pt x="410" y="60"/>
                    </a:lnTo>
                    <a:lnTo>
                      <a:pt x="410" y="60"/>
                    </a:lnTo>
                    <a:lnTo>
                      <a:pt x="410" y="60"/>
                    </a:lnTo>
                    <a:lnTo>
                      <a:pt x="410" y="60"/>
                    </a:lnTo>
                    <a:close/>
                    <a:moveTo>
                      <a:pt x="389" y="192"/>
                    </a:moveTo>
                    <a:lnTo>
                      <a:pt x="389" y="192"/>
                    </a:lnTo>
                    <a:lnTo>
                      <a:pt x="389" y="197"/>
                    </a:lnTo>
                    <a:lnTo>
                      <a:pt x="389" y="197"/>
                    </a:lnTo>
                    <a:lnTo>
                      <a:pt x="389" y="192"/>
                    </a:lnTo>
                    <a:lnTo>
                      <a:pt x="389" y="192"/>
                    </a:lnTo>
                    <a:lnTo>
                      <a:pt x="389" y="192"/>
                    </a:lnTo>
                    <a:lnTo>
                      <a:pt x="389" y="192"/>
                    </a:lnTo>
                    <a:lnTo>
                      <a:pt x="389" y="192"/>
                    </a:lnTo>
                    <a:close/>
                    <a:moveTo>
                      <a:pt x="385" y="192"/>
                    </a:moveTo>
                    <a:lnTo>
                      <a:pt x="389" y="197"/>
                    </a:lnTo>
                    <a:lnTo>
                      <a:pt x="385" y="201"/>
                    </a:lnTo>
                    <a:lnTo>
                      <a:pt x="384" y="205"/>
                    </a:lnTo>
                    <a:lnTo>
                      <a:pt x="384" y="203"/>
                    </a:lnTo>
                    <a:lnTo>
                      <a:pt x="384" y="197"/>
                    </a:lnTo>
                    <a:lnTo>
                      <a:pt x="385" y="190"/>
                    </a:lnTo>
                    <a:lnTo>
                      <a:pt x="385" y="190"/>
                    </a:lnTo>
                    <a:lnTo>
                      <a:pt x="385" y="192"/>
                    </a:lnTo>
                    <a:lnTo>
                      <a:pt x="385" y="192"/>
                    </a:lnTo>
                    <a:lnTo>
                      <a:pt x="385" y="192"/>
                    </a:lnTo>
                    <a:lnTo>
                      <a:pt x="385" y="192"/>
                    </a:lnTo>
                    <a:close/>
                    <a:moveTo>
                      <a:pt x="259" y="133"/>
                    </a:moveTo>
                    <a:lnTo>
                      <a:pt x="265" y="133"/>
                    </a:lnTo>
                    <a:lnTo>
                      <a:pt x="265" y="137"/>
                    </a:lnTo>
                    <a:lnTo>
                      <a:pt x="263" y="137"/>
                    </a:lnTo>
                    <a:lnTo>
                      <a:pt x="259" y="137"/>
                    </a:lnTo>
                    <a:lnTo>
                      <a:pt x="259" y="133"/>
                    </a:lnTo>
                    <a:lnTo>
                      <a:pt x="259" y="133"/>
                    </a:lnTo>
                    <a:lnTo>
                      <a:pt x="259" y="133"/>
                    </a:lnTo>
                    <a:lnTo>
                      <a:pt x="259" y="133"/>
                    </a:lnTo>
                    <a:lnTo>
                      <a:pt x="259" y="133"/>
                    </a:lnTo>
                    <a:close/>
                    <a:moveTo>
                      <a:pt x="261" y="141"/>
                    </a:moveTo>
                    <a:lnTo>
                      <a:pt x="267" y="143"/>
                    </a:lnTo>
                    <a:lnTo>
                      <a:pt x="267" y="145"/>
                    </a:lnTo>
                    <a:lnTo>
                      <a:pt x="271" y="145"/>
                    </a:lnTo>
                    <a:lnTo>
                      <a:pt x="271" y="147"/>
                    </a:lnTo>
                    <a:lnTo>
                      <a:pt x="265" y="147"/>
                    </a:lnTo>
                    <a:lnTo>
                      <a:pt x="263" y="147"/>
                    </a:lnTo>
                    <a:lnTo>
                      <a:pt x="261" y="143"/>
                    </a:lnTo>
                    <a:lnTo>
                      <a:pt x="261" y="141"/>
                    </a:lnTo>
                    <a:lnTo>
                      <a:pt x="261" y="141"/>
                    </a:lnTo>
                    <a:lnTo>
                      <a:pt x="261" y="141"/>
                    </a:lnTo>
                    <a:lnTo>
                      <a:pt x="261" y="141"/>
                    </a:lnTo>
                    <a:close/>
                    <a:moveTo>
                      <a:pt x="265" y="147"/>
                    </a:moveTo>
                    <a:lnTo>
                      <a:pt x="271" y="148"/>
                    </a:lnTo>
                    <a:lnTo>
                      <a:pt x="272" y="150"/>
                    </a:lnTo>
                    <a:lnTo>
                      <a:pt x="267" y="154"/>
                    </a:lnTo>
                    <a:lnTo>
                      <a:pt x="267" y="154"/>
                    </a:lnTo>
                    <a:lnTo>
                      <a:pt x="265" y="152"/>
                    </a:lnTo>
                    <a:lnTo>
                      <a:pt x="265" y="150"/>
                    </a:lnTo>
                    <a:lnTo>
                      <a:pt x="265" y="150"/>
                    </a:lnTo>
                    <a:lnTo>
                      <a:pt x="265" y="147"/>
                    </a:lnTo>
                    <a:lnTo>
                      <a:pt x="265" y="147"/>
                    </a:lnTo>
                    <a:lnTo>
                      <a:pt x="265" y="147"/>
                    </a:lnTo>
                    <a:lnTo>
                      <a:pt x="265" y="147"/>
                    </a:lnTo>
                    <a:close/>
                    <a:moveTo>
                      <a:pt x="256" y="103"/>
                    </a:moveTo>
                    <a:lnTo>
                      <a:pt x="259" y="100"/>
                    </a:lnTo>
                    <a:lnTo>
                      <a:pt x="263" y="92"/>
                    </a:lnTo>
                    <a:lnTo>
                      <a:pt x="265" y="92"/>
                    </a:lnTo>
                    <a:lnTo>
                      <a:pt x="267" y="88"/>
                    </a:lnTo>
                    <a:lnTo>
                      <a:pt x="272" y="98"/>
                    </a:lnTo>
                    <a:lnTo>
                      <a:pt x="280" y="100"/>
                    </a:lnTo>
                    <a:lnTo>
                      <a:pt x="280" y="101"/>
                    </a:lnTo>
                    <a:lnTo>
                      <a:pt x="282" y="105"/>
                    </a:lnTo>
                    <a:lnTo>
                      <a:pt x="284" y="109"/>
                    </a:lnTo>
                    <a:lnTo>
                      <a:pt x="288" y="109"/>
                    </a:lnTo>
                    <a:lnTo>
                      <a:pt x="293" y="109"/>
                    </a:lnTo>
                    <a:lnTo>
                      <a:pt x="293" y="105"/>
                    </a:lnTo>
                    <a:lnTo>
                      <a:pt x="299" y="107"/>
                    </a:lnTo>
                    <a:lnTo>
                      <a:pt x="301" y="105"/>
                    </a:lnTo>
                    <a:lnTo>
                      <a:pt x="310" y="105"/>
                    </a:lnTo>
                    <a:lnTo>
                      <a:pt x="321" y="101"/>
                    </a:lnTo>
                    <a:lnTo>
                      <a:pt x="323" y="98"/>
                    </a:lnTo>
                    <a:lnTo>
                      <a:pt x="331" y="98"/>
                    </a:lnTo>
                    <a:lnTo>
                      <a:pt x="336" y="101"/>
                    </a:lnTo>
                    <a:lnTo>
                      <a:pt x="338" y="103"/>
                    </a:lnTo>
                    <a:lnTo>
                      <a:pt x="342" y="103"/>
                    </a:lnTo>
                    <a:lnTo>
                      <a:pt x="352" y="98"/>
                    </a:lnTo>
                    <a:lnTo>
                      <a:pt x="359" y="98"/>
                    </a:lnTo>
                    <a:lnTo>
                      <a:pt x="359" y="94"/>
                    </a:lnTo>
                    <a:lnTo>
                      <a:pt x="365" y="84"/>
                    </a:lnTo>
                    <a:lnTo>
                      <a:pt x="368" y="75"/>
                    </a:lnTo>
                    <a:lnTo>
                      <a:pt x="374" y="69"/>
                    </a:lnTo>
                    <a:lnTo>
                      <a:pt x="378" y="52"/>
                    </a:lnTo>
                    <a:lnTo>
                      <a:pt x="378" y="51"/>
                    </a:lnTo>
                    <a:lnTo>
                      <a:pt x="380" y="49"/>
                    </a:lnTo>
                    <a:lnTo>
                      <a:pt x="380" y="45"/>
                    </a:lnTo>
                    <a:lnTo>
                      <a:pt x="385" y="39"/>
                    </a:lnTo>
                    <a:lnTo>
                      <a:pt x="385" y="41"/>
                    </a:lnTo>
                    <a:lnTo>
                      <a:pt x="393" y="41"/>
                    </a:lnTo>
                    <a:lnTo>
                      <a:pt x="400" y="41"/>
                    </a:lnTo>
                    <a:lnTo>
                      <a:pt x="402" y="41"/>
                    </a:lnTo>
                    <a:lnTo>
                      <a:pt x="408" y="41"/>
                    </a:lnTo>
                    <a:lnTo>
                      <a:pt x="414" y="45"/>
                    </a:lnTo>
                    <a:lnTo>
                      <a:pt x="410" y="45"/>
                    </a:lnTo>
                    <a:lnTo>
                      <a:pt x="410" y="45"/>
                    </a:lnTo>
                    <a:lnTo>
                      <a:pt x="410" y="49"/>
                    </a:lnTo>
                    <a:lnTo>
                      <a:pt x="410" y="49"/>
                    </a:lnTo>
                    <a:lnTo>
                      <a:pt x="414" y="51"/>
                    </a:lnTo>
                    <a:lnTo>
                      <a:pt x="417" y="54"/>
                    </a:lnTo>
                    <a:lnTo>
                      <a:pt x="414" y="56"/>
                    </a:lnTo>
                    <a:lnTo>
                      <a:pt x="408" y="54"/>
                    </a:lnTo>
                    <a:lnTo>
                      <a:pt x="406" y="56"/>
                    </a:lnTo>
                    <a:lnTo>
                      <a:pt x="410" y="60"/>
                    </a:lnTo>
                    <a:lnTo>
                      <a:pt x="410" y="60"/>
                    </a:lnTo>
                    <a:lnTo>
                      <a:pt x="410" y="64"/>
                    </a:lnTo>
                    <a:lnTo>
                      <a:pt x="410" y="64"/>
                    </a:lnTo>
                    <a:lnTo>
                      <a:pt x="410" y="64"/>
                    </a:lnTo>
                    <a:lnTo>
                      <a:pt x="410" y="69"/>
                    </a:lnTo>
                    <a:lnTo>
                      <a:pt x="414" y="73"/>
                    </a:lnTo>
                    <a:lnTo>
                      <a:pt x="417" y="79"/>
                    </a:lnTo>
                    <a:lnTo>
                      <a:pt x="423" y="81"/>
                    </a:lnTo>
                    <a:lnTo>
                      <a:pt x="419" y="84"/>
                    </a:lnTo>
                    <a:lnTo>
                      <a:pt x="414" y="84"/>
                    </a:lnTo>
                    <a:lnTo>
                      <a:pt x="414" y="88"/>
                    </a:lnTo>
                    <a:lnTo>
                      <a:pt x="417" y="88"/>
                    </a:lnTo>
                    <a:lnTo>
                      <a:pt x="417" y="92"/>
                    </a:lnTo>
                    <a:lnTo>
                      <a:pt x="419" y="92"/>
                    </a:lnTo>
                    <a:lnTo>
                      <a:pt x="427" y="101"/>
                    </a:lnTo>
                    <a:lnTo>
                      <a:pt x="431" y="101"/>
                    </a:lnTo>
                    <a:lnTo>
                      <a:pt x="432" y="105"/>
                    </a:lnTo>
                    <a:lnTo>
                      <a:pt x="434" y="107"/>
                    </a:lnTo>
                    <a:lnTo>
                      <a:pt x="438" y="107"/>
                    </a:lnTo>
                    <a:lnTo>
                      <a:pt x="434" y="109"/>
                    </a:lnTo>
                    <a:lnTo>
                      <a:pt x="434" y="113"/>
                    </a:lnTo>
                    <a:lnTo>
                      <a:pt x="432" y="109"/>
                    </a:lnTo>
                    <a:lnTo>
                      <a:pt x="429" y="113"/>
                    </a:lnTo>
                    <a:lnTo>
                      <a:pt x="425" y="113"/>
                    </a:lnTo>
                    <a:lnTo>
                      <a:pt x="417" y="107"/>
                    </a:lnTo>
                    <a:lnTo>
                      <a:pt x="419" y="109"/>
                    </a:lnTo>
                    <a:lnTo>
                      <a:pt x="417" y="113"/>
                    </a:lnTo>
                    <a:lnTo>
                      <a:pt x="417" y="109"/>
                    </a:lnTo>
                    <a:lnTo>
                      <a:pt x="414" y="113"/>
                    </a:lnTo>
                    <a:lnTo>
                      <a:pt x="414" y="116"/>
                    </a:lnTo>
                    <a:lnTo>
                      <a:pt x="410" y="118"/>
                    </a:lnTo>
                    <a:lnTo>
                      <a:pt x="410" y="126"/>
                    </a:lnTo>
                    <a:lnTo>
                      <a:pt x="410" y="128"/>
                    </a:lnTo>
                    <a:lnTo>
                      <a:pt x="408" y="133"/>
                    </a:lnTo>
                    <a:lnTo>
                      <a:pt x="402" y="137"/>
                    </a:lnTo>
                    <a:lnTo>
                      <a:pt x="404" y="143"/>
                    </a:lnTo>
                    <a:lnTo>
                      <a:pt x="402" y="147"/>
                    </a:lnTo>
                    <a:lnTo>
                      <a:pt x="399" y="150"/>
                    </a:lnTo>
                    <a:lnTo>
                      <a:pt x="397" y="147"/>
                    </a:lnTo>
                    <a:lnTo>
                      <a:pt x="395" y="145"/>
                    </a:lnTo>
                    <a:lnTo>
                      <a:pt x="397" y="148"/>
                    </a:lnTo>
                    <a:lnTo>
                      <a:pt x="397" y="152"/>
                    </a:lnTo>
                    <a:lnTo>
                      <a:pt x="393" y="156"/>
                    </a:lnTo>
                    <a:lnTo>
                      <a:pt x="393" y="160"/>
                    </a:lnTo>
                    <a:lnTo>
                      <a:pt x="389" y="160"/>
                    </a:lnTo>
                    <a:lnTo>
                      <a:pt x="385" y="160"/>
                    </a:lnTo>
                    <a:lnTo>
                      <a:pt x="389" y="162"/>
                    </a:lnTo>
                    <a:lnTo>
                      <a:pt x="385" y="162"/>
                    </a:lnTo>
                    <a:lnTo>
                      <a:pt x="389" y="162"/>
                    </a:lnTo>
                    <a:lnTo>
                      <a:pt x="393" y="165"/>
                    </a:lnTo>
                    <a:lnTo>
                      <a:pt x="393" y="167"/>
                    </a:lnTo>
                    <a:lnTo>
                      <a:pt x="389" y="167"/>
                    </a:lnTo>
                    <a:lnTo>
                      <a:pt x="389" y="169"/>
                    </a:lnTo>
                    <a:lnTo>
                      <a:pt x="393" y="169"/>
                    </a:lnTo>
                    <a:lnTo>
                      <a:pt x="393" y="171"/>
                    </a:lnTo>
                    <a:lnTo>
                      <a:pt x="393" y="175"/>
                    </a:lnTo>
                    <a:lnTo>
                      <a:pt x="389" y="173"/>
                    </a:lnTo>
                    <a:lnTo>
                      <a:pt x="389" y="173"/>
                    </a:lnTo>
                    <a:lnTo>
                      <a:pt x="389" y="175"/>
                    </a:lnTo>
                    <a:lnTo>
                      <a:pt x="389" y="177"/>
                    </a:lnTo>
                    <a:lnTo>
                      <a:pt x="389" y="177"/>
                    </a:lnTo>
                    <a:lnTo>
                      <a:pt x="389" y="184"/>
                    </a:lnTo>
                    <a:lnTo>
                      <a:pt x="385" y="184"/>
                    </a:lnTo>
                    <a:lnTo>
                      <a:pt x="385" y="182"/>
                    </a:lnTo>
                    <a:lnTo>
                      <a:pt x="385" y="186"/>
                    </a:lnTo>
                    <a:lnTo>
                      <a:pt x="385" y="190"/>
                    </a:lnTo>
                    <a:lnTo>
                      <a:pt x="380" y="196"/>
                    </a:lnTo>
                    <a:lnTo>
                      <a:pt x="374" y="199"/>
                    </a:lnTo>
                    <a:lnTo>
                      <a:pt x="368" y="201"/>
                    </a:lnTo>
                    <a:lnTo>
                      <a:pt x="361" y="205"/>
                    </a:lnTo>
                    <a:lnTo>
                      <a:pt x="355" y="205"/>
                    </a:lnTo>
                    <a:lnTo>
                      <a:pt x="355" y="199"/>
                    </a:lnTo>
                    <a:lnTo>
                      <a:pt x="355" y="197"/>
                    </a:lnTo>
                    <a:lnTo>
                      <a:pt x="355" y="194"/>
                    </a:lnTo>
                    <a:lnTo>
                      <a:pt x="355" y="192"/>
                    </a:lnTo>
                    <a:lnTo>
                      <a:pt x="353" y="194"/>
                    </a:lnTo>
                    <a:lnTo>
                      <a:pt x="352" y="190"/>
                    </a:lnTo>
                    <a:lnTo>
                      <a:pt x="350" y="192"/>
                    </a:lnTo>
                    <a:lnTo>
                      <a:pt x="346" y="190"/>
                    </a:lnTo>
                    <a:lnTo>
                      <a:pt x="344" y="190"/>
                    </a:lnTo>
                    <a:lnTo>
                      <a:pt x="342" y="190"/>
                    </a:lnTo>
                    <a:lnTo>
                      <a:pt x="344" y="194"/>
                    </a:lnTo>
                    <a:lnTo>
                      <a:pt x="340" y="192"/>
                    </a:lnTo>
                    <a:lnTo>
                      <a:pt x="338" y="190"/>
                    </a:lnTo>
                    <a:lnTo>
                      <a:pt x="338" y="186"/>
                    </a:lnTo>
                    <a:lnTo>
                      <a:pt x="336" y="186"/>
                    </a:lnTo>
                    <a:lnTo>
                      <a:pt x="335" y="186"/>
                    </a:lnTo>
                    <a:lnTo>
                      <a:pt x="331" y="186"/>
                    </a:lnTo>
                    <a:lnTo>
                      <a:pt x="331" y="186"/>
                    </a:lnTo>
                    <a:lnTo>
                      <a:pt x="327" y="190"/>
                    </a:lnTo>
                    <a:lnTo>
                      <a:pt x="323" y="190"/>
                    </a:lnTo>
                    <a:lnTo>
                      <a:pt x="321" y="190"/>
                    </a:lnTo>
                    <a:lnTo>
                      <a:pt x="320" y="192"/>
                    </a:lnTo>
                    <a:lnTo>
                      <a:pt x="318" y="190"/>
                    </a:lnTo>
                    <a:lnTo>
                      <a:pt x="316" y="190"/>
                    </a:lnTo>
                    <a:lnTo>
                      <a:pt x="310" y="196"/>
                    </a:lnTo>
                    <a:lnTo>
                      <a:pt x="310" y="196"/>
                    </a:lnTo>
                    <a:lnTo>
                      <a:pt x="310" y="192"/>
                    </a:lnTo>
                    <a:lnTo>
                      <a:pt x="310" y="186"/>
                    </a:lnTo>
                    <a:lnTo>
                      <a:pt x="306" y="182"/>
                    </a:lnTo>
                    <a:lnTo>
                      <a:pt x="306" y="179"/>
                    </a:lnTo>
                    <a:lnTo>
                      <a:pt x="304" y="177"/>
                    </a:lnTo>
                    <a:lnTo>
                      <a:pt x="306" y="179"/>
                    </a:lnTo>
                    <a:lnTo>
                      <a:pt x="304" y="182"/>
                    </a:lnTo>
                    <a:lnTo>
                      <a:pt x="301" y="184"/>
                    </a:lnTo>
                    <a:lnTo>
                      <a:pt x="301" y="182"/>
                    </a:lnTo>
                    <a:lnTo>
                      <a:pt x="297" y="184"/>
                    </a:lnTo>
                    <a:lnTo>
                      <a:pt x="293" y="186"/>
                    </a:lnTo>
                    <a:lnTo>
                      <a:pt x="289" y="184"/>
                    </a:lnTo>
                    <a:lnTo>
                      <a:pt x="286" y="184"/>
                    </a:lnTo>
                    <a:lnTo>
                      <a:pt x="284" y="181"/>
                    </a:lnTo>
                    <a:lnTo>
                      <a:pt x="282" y="184"/>
                    </a:lnTo>
                    <a:lnTo>
                      <a:pt x="280" y="184"/>
                    </a:lnTo>
                    <a:lnTo>
                      <a:pt x="276" y="179"/>
                    </a:lnTo>
                    <a:lnTo>
                      <a:pt x="276" y="173"/>
                    </a:lnTo>
                    <a:lnTo>
                      <a:pt x="276" y="165"/>
                    </a:lnTo>
                    <a:lnTo>
                      <a:pt x="272" y="165"/>
                    </a:lnTo>
                    <a:lnTo>
                      <a:pt x="272" y="162"/>
                    </a:lnTo>
                    <a:lnTo>
                      <a:pt x="272" y="160"/>
                    </a:lnTo>
                    <a:lnTo>
                      <a:pt x="276" y="156"/>
                    </a:lnTo>
                    <a:lnTo>
                      <a:pt x="276" y="152"/>
                    </a:lnTo>
                    <a:lnTo>
                      <a:pt x="276" y="148"/>
                    </a:lnTo>
                    <a:lnTo>
                      <a:pt x="271" y="143"/>
                    </a:lnTo>
                    <a:lnTo>
                      <a:pt x="265" y="141"/>
                    </a:lnTo>
                    <a:lnTo>
                      <a:pt x="261" y="141"/>
                    </a:lnTo>
                    <a:lnTo>
                      <a:pt x="261" y="137"/>
                    </a:lnTo>
                    <a:lnTo>
                      <a:pt x="263" y="137"/>
                    </a:lnTo>
                    <a:lnTo>
                      <a:pt x="267" y="137"/>
                    </a:lnTo>
                    <a:lnTo>
                      <a:pt x="272" y="133"/>
                    </a:lnTo>
                    <a:lnTo>
                      <a:pt x="276" y="132"/>
                    </a:lnTo>
                    <a:lnTo>
                      <a:pt x="280" y="132"/>
                    </a:lnTo>
                    <a:lnTo>
                      <a:pt x="276" y="130"/>
                    </a:lnTo>
                    <a:lnTo>
                      <a:pt x="272" y="133"/>
                    </a:lnTo>
                    <a:lnTo>
                      <a:pt x="267" y="133"/>
                    </a:lnTo>
                    <a:lnTo>
                      <a:pt x="265" y="133"/>
                    </a:lnTo>
                    <a:lnTo>
                      <a:pt x="261" y="133"/>
                    </a:lnTo>
                    <a:lnTo>
                      <a:pt x="257" y="130"/>
                    </a:lnTo>
                    <a:lnTo>
                      <a:pt x="259" y="128"/>
                    </a:lnTo>
                    <a:lnTo>
                      <a:pt x="261" y="130"/>
                    </a:lnTo>
                    <a:lnTo>
                      <a:pt x="259" y="126"/>
                    </a:lnTo>
                    <a:lnTo>
                      <a:pt x="256" y="118"/>
                    </a:lnTo>
                    <a:lnTo>
                      <a:pt x="256" y="113"/>
                    </a:lnTo>
                    <a:lnTo>
                      <a:pt x="256" y="113"/>
                    </a:lnTo>
                    <a:lnTo>
                      <a:pt x="257" y="109"/>
                    </a:lnTo>
                    <a:lnTo>
                      <a:pt x="256" y="107"/>
                    </a:lnTo>
                    <a:lnTo>
                      <a:pt x="256" y="103"/>
                    </a:lnTo>
                    <a:lnTo>
                      <a:pt x="256" y="103"/>
                    </a:lnTo>
                    <a:lnTo>
                      <a:pt x="256" y="103"/>
                    </a:lnTo>
                    <a:lnTo>
                      <a:pt x="256" y="103"/>
                    </a:lnTo>
                    <a:close/>
                    <a:moveTo>
                      <a:pt x="734" y="143"/>
                    </a:moveTo>
                    <a:lnTo>
                      <a:pt x="732" y="143"/>
                    </a:lnTo>
                    <a:lnTo>
                      <a:pt x="734" y="147"/>
                    </a:lnTo>
                    <a:lnTo>
                      <a:pt x="737" y="145"/>
                    </a:lnTo>
                    <a:lnTo>
                      <a:pt x="734" y="143"/>
                    </a:lnTo>
                    <a:lnTo>
                      <a:pt x="734" y="143"/>
                    </a:lnTo>
                    <a:lnTo>
                      <a:pt x="734" y="143"/>
                    </a:lnTo>
                    <a:lnTo>
                      <a:pt x="734" y="143"/>
                    </a:lnTo>
                    <a:close/>
                    <a:moveTo>
                      <a:pt x="743" y="156"/>
                    </a:moveTo>
                    <a:lnTo>
                      <a:pt x="737" y="156"/>
                    </a:lnTo>
                    <a:lnTo>
                      <a:pt x="741" y="156"/>
                    </a:lnTo>
                    <a:lnTo>
                      <a:pt x="743" y="156"/>
                    </a:lnTo>
                    <a:lnTo>
                      <a:pt x="743" y="156"/>
                    </a:lnTo>
                    <a:lnTo>
                      <a:pt x="743" y="156"/>
                    </a:lnTo>
                    <a:lnTo>
                      <a:pt x="743" y="156"/>
                    </a:lnTo>
                    <a:close/>
                    <a:moveTo>
                      <a:pt x="745" y="156"/>
                    </a:moveTo>
                    <a:lnTo>
                      <a:pt x="745" y="156"/>
                    </a:lnTo>
                    <a:lnTo>
                      <a:pt x="747" y="158"/>
                    </a:lnTo>
                    <a:lnTo>
                      <a:pt x="752" y="160"/>
                    </a:lnTo>
                    <a:lnTo>
                      <a:pt x="760" y="162"/>
                    </a:lnTo>
                    <a:lnTo>
                      <a:pt x="769" y="160"/>
                    </a:lnTo>
                    <a:lnTo>
                      <a:pt x="771" y="160"/>
                    </a:lnTo>
                    <a:lnTo>
                      <a:pt x="764" y="158"/>
                    </a:lnTo>
                    <a:lnTo>
                      <a:pt x="762" y="158"/>
                    </a:lnTo>
                    <a:lnTo>
                      <a:pt x="754" y="158"/>
                    </a:lnTo>
                    <a:lnTo>
                      <a:pt x="752" y="160"/>
                    </a:lnTo>
                    <a:lnTo>
                      <a:pt x="745" y="156"/>
                    </a:lnTo>
                    <a:lnTo>
                      <a:pt x="745" y="156"/>
                    </a:lnTo>
                    <a:lnTo>
                      <a:pt x="745" y="156"/>
                    </a:lnTo>
                    <a:lnTo>
                      <a:pt x="745" y="156"/>
                    </a:lnTo>
                    <a:close/>
                    <a:moveTo>
                      <a:pt x="745" y="137"/>
                    </a:moveTo>
                    <a:lnTo>
                      <a:pt x="749" y="141"/>
                    </a:lnTo>
                    <a:lnTo>
                      <a:pt x="749" y="141"/>
                    </a:lnTo>
                    <a:lnTo>
                      <a:pt x="749" y="141"/>
                    </a:lnTo>
                    <a:lnTo>
                      <a:pt x="752" y="143"/>
                    </a:lnTo>
                    <a:lnTo>
                      <a:pt x="752" y="147"/>
                    </a:lnTo>
                    <a:lnTo>
                      <a:pt x="754" y="147"/>
                    </a:lnTo>
                    <a:lnTo>
                      <a:pt x="756" y="147"/>
                    </a:lnTo>
                    <a:lnTo>
                      <a:pt x="758" y="147"/>
                    </a:lnTo>
                    <a:lnTo>
                      <a:pt x="762" y="147"/>
                    </a:lnTo>
                    <a:lnTo>
                      <a:pt x="760" y="145"/>
                    </a:lnTo>
                    <a:lnTo>
                      <a:pt x="758" y="143"/>
                    </a:lnTo>
                    <a:lnTo>
                      <a:pt x="754" y="141"/>
                    </a:lnTo>
                    <a:lnTo>
                      <a:pt x="752" y="137"/>
                    </a:lnTo>
                    <a:lnTo>
                      <a:pt x="749" y="137"/>
                    </a:lnTo>
                    <a:lnTo>
                      <a:pt x="745" y="137"/>
                    </a:lnTo>
                    <a:lnTo>
                      <a:pt x="745" y="137"/>
                    </a:lnTo>
                    <a:lnTo>
                      <a:pt x="745" y="137"/>
                    </a:lnTo>
                    <a:lnTo>
                      <a:pt x="745" y="137"/>
                    </a:lnTo>
                    <a:lnTo>
                      <a:pt x="745" y="137"/>
                    </a:lnTo>
                    <a:close/>
                    <a:moveTo>
                      <a:pt x="690" y="231"/>
                    </a:moveTo>
                    <a:lnTo>
                      <a:pt x="694" y="235"/>
                    </a:lnTo>
                    <a:lnTo>
                      <a:pt x="694" y="235"/>
                    </a:lnTo>
                    <a:lnTo>
                      <a:pt x="694" y="239"/>
                    </a:lnTo>
                    <a:lnTo>
                      <a:pt x="694" y="235"/>
                    </a:lnTo>
                    <a:lnTo>
                      <a:pt x="690" y="231"/>
                    </a:lnTo>
                    <a:lnTo>
                      <a:pt x="690" y="231"/>
                    </a:lnTo>
                    <a:lnTo>
                      <a:pt x="690" y="231"/>
                    </a:lnTo>
                    <a:lnTo>
                      <a:pt x="690" y="231"/>
                    </a:lnTo>
                    <a:close/>
                    <a:moveTo>
                      <a:pt x="702" y="228"/>
                    </a:moveTo>
                    <a:lnTo>
                      <a:pt x="698" y="229"/>
                    </a:lnTo>
                    <a:lnTo>
                      <a:pt x="698" y="235"/>
                    </a:lnTo>
                    <a:lnTo>
                      <a:pt x="694" y="239"/>
                    </a:lnTo>
                    <a:lnTo>
                      <a:pt x="698" y="239"/>
                    </a:lnTo>
                    <a:lnTo>
                      <a:pt x="700" y="229"/>
                    </a:lnTo>
                    <a:lnTo>
                      <a:pt x="702" y="228"/>
                    </a:lnTo>
                    <a:lnTo>
                      <a:pt x="702" y="228"/>
                    </a:lnTo>
                    <a:lnTo>
                      <a:pt x="702" y="228"/>
                    </a:lnTo>
                    <a:lnTo>
                      <a:pt x="702" y="228"/>
                    </a:lnTo>
                    <a:close/>
                    <a:moveTo>
                      <a:pt x="730" y="252"/>
                    </a:moveTo>
                    <a:lnTo>
                      <a:pt x="728" y="254"/>
                    </a:lnTo>
                    <a:lnTo>
                      <a:pt x="730" y="254"/>
                    </a:lnTo>
                    <a:lnTo>
                      <a:pt x="730" y="252"/>
                    </a:lnTo>
                    <a:lnTo>
                      <a:pt x="730" y="252"/>
                    </a:lnTo>
                    <a:lnTo>
                      <a:pt x="730" y="252"/>
                    </a:lnTo>
                    <a:lnTo>
                      <a:pt x="730" y="252"/>
                    </a:lnTo>
                    <a:lnTo>
                      <a:pt x="730" y="252"/>
                    </a:lnTo>
                    <a:close/>
                    <a:moveTo>
                      <a:pt x="719" y="245"/>
                    </a:moveTo>
                    <a:lnTo>
                      <a:pt x="719" y="243"/>
                    </a:lnTo>
                    <a:lnTo>
                      <a:pt x="719" y="245"/>
                    </a:lnTo>
                    <a:lnTo>
                      <a:pt x="719" y="248"/>
                    </a:lnTo>
                    <a:lnTo>
                      <a:pt x="719" y="250"/>
                    </a:lnTo>
                    <a:lnTo>
                      <a:pt x="722" y="252"/>
                    </a:lnTo>
                    <a:lnTo>
                      <a:pt x="719" y="252"/>
                    </a:lnTo>
                    <a:lnTo>
                      <a:pt x="719" y="250"/>
                    </a:lnTo>
                    <a:lnTo>
                      <a:pt x="719" y="254"/>
                    </a:lnTo>
                    <a:lnTo>
                      <a:pt x="719" y="256"/>
                    </a:lnTo>
                    <a:lnTo>
                      <a:pt x="722" y="256"/>
                    </a:lnTo>
                    <a:lnTo>
                      <a:pt x="724" y="252"/>
                    </a:lnTo>
                    <a:lnTo>
                      <a:pt x="728" y="252"/>
                    </a:lnTo>
                    <a:lnTo>
                      <a:pt x="724" y="250"/>
                    </a:lnTo>
                    <a:lnTo>
                      <a:pt x="724" y="246"/>
                    </a:lnTo>
                    <a:lnTo>
                      <a:pt x="719" y="245"/>
                    </a:lnTo>
                    <a:lnTo>
                      <a:pt x="719" y="245"/>
                    </a:lnTo>
                    <a:lnTo>
                      <a:pt x="719" y="245"/>
                    </a:lnTo>
                    <a:lnTo>
                      <a:pt x="719" y="245"/>
                    </a:lnTo>
                    <a:close/>
                    <a:moveTo>
                      <a:pt x="728" y="246"/>
                    </a:moveTo>
                    <a:lnTo>
                      <a:pt x="728" y="246"/>
                    </a:lnTo>
                    <a:lnTo>
                      <a:pt x="724" y="246"/>
                    </a:lnTo>
                    <a:lnTo>
                      <a:pt x="724" y="248"/>
                    </a:lnTo>
                    <a:lnTo>
                      <a:pt x="728" y="250"/>
                    </a:lnTo>
                    <a:lnTo>
                      <a:pt x="728" y="250"/>
                    </a:lnTo>
                    <a:lnTo>
                      <a:pt x="728" y="246"/>
                    </a:lnTo>
                    <a:lnTo>
                      <a:pt x="728" y="246"/>
                    </a:lnTo>
                    <a:lnTo>
                      <a:pt x="728" y="246"/>
                    </a:lnTo>
                    <a:lnTo>
                      <a:pt x="728" y="246"/>
                    </a:lnTo>
                    <a:lnTo>
                      <a:pt x="728" y="246"/>
                    </a:lnTo>
                    <a:close/>
                    <a:moveTo>
                      <a:pt x="722" y="239"/>
                    </a:moveTo>
                    <a:lnTo>
                      <a:pt x="719" y="239"/>
                    </a:lnTo>
                    <a:lnTo>
                      <a:pt x="719" y="241"/>
                    </a:lnTo>
                    <a:lnTo>
                      <a:pt x="722" y="245"/>
                    </a:lnTo>
                    <a:lnTo>
                      <a:pt x="724" y="246"/>
                    </a:lnTo>
                    <a:lnTo>
                      <a:pt x="724" y="245"/>
                    </a:lnTo>
                    <a:lnTo>
                      <a:pt x="722" y="243"/>
                    </a:lnTo>
                    <a:lnTo>
                      <a:pt x="722" y="239"/>
                    </a:lnTo>
                    <a:lnTo>
                      <a:pt x="722" y="239"/>
                    </a:lnTo>
                    <a:lnTo>
                      <a:pt x="722" y="239"/>
                    </a:lnTo>
                    <a:lnTo>
                      <a:pt x="722" y="239"/>
                    </a:lnTo>
                    <a:close/>
                    <a:moveTo>
                      <a:pt x="728" y="239"/>
                    </a:moveTo>
                    <a:lnTo>
                      <a:pt x="724" y="239"/>
                    </a:lnTo>
                    <a:lnTo>
                      <a:pt x="724" y="241"/>
                    </a:lnTo>
                    <a:lnTo>
                      <a:pt x="724" y="241"/>
                    </a:lnTo>
                    <a:lnTo>
                      <a:pt x="728" y="245"/>
                    </a:lnTo>
                    <a:lnTo>
                      <a:pt x="728" y="245"/>
                    </a:lnTo>
                    <a:lnTo>
                      <a:pt x="730" y="243"/>
                    </a:lnTo>
                    <a:lnTo>
                      <a:pt x="730" y="241"/>
                    </a:lnTo>
                    <a:lnTo>
                      <a:pt x="730" y="241"/>
                    </a:lnTo>
                    <a:lnTo>
                      <a:pt x="730" y="239"/>
                    </a:lnTo>
                    <a:lnTo>
                      <a:pt x="728" y="239"/>
                    </a:lnTo>
                    <a:lnTo>
                      <a:pt x="728" y="239"/>
                    </a:lnTo>
                    <a:lnTo>
                      <a:pt x="728" y="239"/>
                    </a:lnTo>
                    <a:lnTo>
                      <a:pt x="728" y="239"/>
                    </a:lnTo>
                    <a:lnTo>
                      <a:pt x="728" y="239"/>
                    </a:lnTo>
                    <a:close/>
                    <a:moveTo>
                      <a:pt x="722" y="235"/>
                    </a:moveTo>
                    <a:lnTo>
                      <a:pt x="719" y="235"/>
                    </a:lnTo>
                    <a:lnTo>
                      <a:pt x="719" y="235"/>
                    </a:lnTo>
                    <a:lnTo>
                      <a:pt x="722" y="235"/>
                    </a:lnTo>
                    <a:lnTo>
                      <a:pt x="722" y="235"/>
                    </a:lnTo>
                    <a:lnTo>
                      <a:pt x="722" y="235"/>
                    </a:lnTo>
                    <a:lnTo>
                      <a:pt x="722" y="235"/>
                    </a:lnTo>
                    <a:lnTo>
                      <a:pt x="722" y="235"/>
                    </a:lnTo>
                    <a:close/>
                    <a:moveTo>
                      <a:pt x="728" y="229"/>
                    </a:moveTo>
                    <a:lnTo>
                      <a:pt x="728" y="231"/>
                    </a:lnTo>
                    <a:lnTo>
                      <a:pt x="730" y="231"/>
                    </a:lnTo>
                    <a:lnTo>
                      <a:pt x="728" y="229"/>
                    </a:lnTo>
                    <a:lnTo>
                      <a:pt x="728" y="229"/>
                    </a:lnTo>
                    <a:lnTo>
                      <a:pt x="728" y="229"/>
                    </a:lnTo>
                    <a:lnTo>
                      <a:pt x="728" y="229"/>
                    </a:lnTo>
                    <a:lnTo>
                      <a:pt x="728" y="229"/>
                    </a:lnTo>
                    <a:close/>
                    <a:moveTo>
                      <a:pt x="728" y="229"/>
                    </a:moveTo>
                    <a:lnTo>
                      <a:pt x="724" y="229"/>
                    </a:lnTo>
                    <a:lnTo>
                      <a:pt x="724" y="233"/>
                    </a:lnTo>
                    <a:lnTo>
                      <a:pt x="722" y="233"/>
                    </a:lnTo>
                    <a:lnTo>
                      <a:pt x="724" y="233"/>
                    </a:lnTo>
                    <a:lnTo>
                      <a:pt x="724" y="235"/>
                    </a:lnTo>
                    <a:lnTo>
                      <a:pt x="724" y="235"/>
                    </a:lnTo>
                    <a:lnTo>
                      <a:pt x="724" y="235"/>
                    </a:lnTo>
                    <a:lnTo>
                      <a:pt x="724" y="239"/>
                    </a:lnTo>
                    <a:lnTo>
                      <a:pt x="724" y="239"/>
                    </a:lnTo>
                    <a:lnTo>
                      <a:pt x="728" y="235"/>
                    </a:lnTo>
                    <a:lnTo>
                      <a:pt x="728" y="235"/>
                    </a:lnTo>
                    <a:lnTo>
                      <a:pt x="730" y="235"/>
                    </a:lnTo>
                    <a:lnTo>
                      <a:pt x="730" y="231"/>
                    </a:lnTo>
                    <a:lnTo>
                      <a:pt x="728" y="231"/>
                    </a:lnTo>
                    <a:lnTo>
                      <a:pt x="728" y="229"/>
                    </a:lnTo>
                    <a:lnTo>
                      <a:pt x="728" y="229"/>
                    </a:lnTo>
                    <a:lnTo>
                      <a:pt x="728" y="229"/>
                    </a:lnTo>
                    <a:lnTo>
                      <a:pt x="728" y="229"/>
                    </a:lnTo>
                    <a:close/>
                    <a:moveTo>
                      <a:pt x="677" y="260"/>
                    </a:moveTo>
                    <a:lnTo>
                      <a:pt x="681" y="258"/>
                    </a:lnTo>
                    <a:lnTo>
                      <a:pt x="679" y="258"/>
                    </a:lnTo>
                    <a:lnTo>
                      <a:pt x="677" y="260"/>
                    </a:lnTo>
                    <a:lnTo>
                      <a:pt x="677" y="260"/>
                    </a:lnTo>
                    <a:lnTo>
                      <a:pt x="677" y="260"/>
                    </a:lnTo>
                    <a:lnTo>
                      <a:pt x="677" y="260"/>
                    </a:lnTo>
                    <a:close/>
                    <a:moveTo>
                      <a:pt x="673" y="260"/>
                    </a:moveTo>
                    <a:lnTo>
                      <a:pt x="679" y="263"/>
                    </a:lnTo>
                    <a:lnTo>
                      <a:pt x="677" y="260"/>
                    </a:lnTo>
                    <a:lnTo>
                      <a:pt x="673" y="260"/>
                    </a:lnTo>
                    <a:lnTo>
                      <a:pt x="673" y="260"/>
                    </a:lnTo>
                    <a:lnTo>
                      <a:pt x="673" y="260"/>
                    </a:lnTo>
                    <a:lnTo>
                      <a:pt x="673" y="260"/>
                    </a:lnTo>
                    <a:close/>
                    <a:moveTo>
                      <a:pt x="658" y="267"/>
                    </a:moveTo>
                    <a:lnTo>
                      <a:pt x="656" y="269"/>
                    </a:lnTo>
                    <a:lnTo>
                      <a:pt x="658" y="269"/>
                    </a:lnTo>
                    <a:lnTo>
                      <a:pt x="658" y="269"/>
                    </a:lnTo>
                    <a:lnTo>
                      <a:pt x="658" y="267"/>
                    </a:lnTo>
                    <a:lnTo>
                      <a:pt x="658" y="267"/>
                    </a:lnTo>
                    <a:lnTo>
                      <a:pt x="658" y="267"/>
                    </a:lnTo>
                    <a:lnTo>
                      <a:pt x="658" y="267"/>
                    </a:lnTo>
                    <a:close/>
                    <a:moveTo>
                      <a:pt x="664" y="265"/>
                    </a:moveTo>
                    <a:lnTo>
                      <a:pt x="658" y="265"/>
                    </a:lnTo>
                    <a:lnTo>
                      <a:pt x="660" y="267"/>
                    </a:lnTo>
                    <a:lnTo>
                      <a:pt x="664" y="265"/>
                    </a:lnTo>
                    <a:lnTo>
                      <a:pt x="664" y="265"/>
                    </a:lnTo>
                    <a:lnTo>
                      <a:pt x="664" y="265"/>
                    </a:lnTo>
                    <a:lnTo>
                      <a:pt x="664" y="265"/>
                    </a:lnTo>
                    <a:lnTo>
                      <a:pt x="664" y="265"/>
                    </a:lnTo>
                    <a:close/>
                    <a:moveTo>
                      <a:pt x="664" y="278"/>
                    </a:moveTo>
                    <a:lnTo>
                      <a:pt x="660" y="278"/>
                    </a:lnTo>
                    <a:lnTo>
                      <a:pt x="658" y="282"/>
                    </a:lnTo>
                    <a:lnTo>
                      <a:pt x="658" y="282"/>
                    </a:lnTo>
                    <a:lnTo>
                      <a:pt x="660" y="282"/>
                    </a:lnTo>
                    <a:lnTo>
                      <a:pt x="664" y="280"/>
                    </a:lnTo>
                    <a:lnTo>
                      <a:pt x="664" y="278"/>
                    </a:lnTo>
                    <a:lnTo>
                      <a:pt x="664" y="278"/>
                    </a:lnTo>
                    <a:lnTo>
                      <a:pt x="664" y="278"/>
                    </a:lnTo>
                    <a:lnTo>
                      <a:pt x="664" y="278"/>
                    </a:lnTo>
                    <a:close/>
                    <a:moveTo>
                      <a:pt x="670" y="263"/>
                    </a:moveTo>
                    <a:lnTo>
                      <a:pt x="664" y="267"/>
                    </a:lnTo>
                    <a:lnTo>
                      <a:pt x="664" y="269"/>
                    </a:lnTo>
                    <a:lnTo>
                      <a:pt x="664" y="271"/>
                    </a:lnTo>
                    <a:lnTo>
                      <a:pt x="664" y="273"/>
                    </a:lnTo>
                    <a:lnTo>
                      <a:pt x="664" y="277"/>
                    </a:lnTo>
                    <a:lnTo>
                      <a:pt x="664" y="278"/>
                    </a:lnTo>
                    <a:lnTo>
                      <a:pt x="670" y="278"/>
                    </a:lnTo>
                    <a:lnTo>
                      <a:pt x="673" y="273"/>
                    </a:lnTo>
                    <a:lnTo>
                      <a:pt x="673" y="267"/>
                    </a:lnTo>
                    <a:lnTo>
                      <a:pt x="673" y="263"/>
                    </a:lnTo>
                    <a:lnTo>
                      <a:pt x="673" y="263"/>
                    </a:lnTo>
                    <a:lnTo>
                      <a:pt x="673" y="263"/>
                    </a:lnTo>
                    <a:lnTo>
                      <a:pt x="673" y="260"/>
                    </a:lnTo>
                    <a:lnTo>
                      <a:pt x="670" y="263"/>
                    </a:lnTo>
                    <a:lnTo>
                      <a:pt x="670" y="263"/>
                    </a:lnTo>
                    <a:lnTo>
                      <a:pt x="670" y="263"/>
                    </a:lnTo>
                    <a:lnTo>
                      <a:pt x="670" y="263"/>
                    </a:lnTo>
                    <a:lnTo>
                      <a:pt x="670" y="263"/>
                    </a:lnTo>
                    <a:close/>
                    <a:moveTo>
                      <a:pt x="641" y="246"/>
                    </a:moveTo>
                    <a:lnTo>
                      <a:pt x="643" y="245"/>
                    </a:lnTo>
                    <a:lnTo>
                      <a:pt x="641" y="243"/>
                    </a:lnTo>
                    <a:lnTo>
                      <a:pt x="641" y="246"/>
                    </a:lnTo>
                    <a:lnTo>
                      <a:pt x="641" y="246"/>
                    </a:lnTo>
                    <a:lnTo>
                      <a:pt x="641" y="246"/>
                    </a:lnTo>
                    <a:lnTo>
                      <a:pt x="641" y="246"/>
                    </a:lnTo>
                    <a:close/>
                    <a:moveTo>
                      <a:pt x="634" y="252"/>
                    </a:moveTo>
                    <a:lnTo>
                      <a:pt x="632" y="254"/>
                    </a:lnTo>
                    <a:lnTo>
                      <a:pt x="634" y="254"/>
                    </a:lnTo>
                    <a:lnTo>
                      <a:pt x="634" y="252"/>
                    </a:lnTo>
                    <a:lnTo>
                      <a:pt x="634" y="252"/>
                    </a:lnTo>
                    <a:lnTo>
                      <a:pt x="634" y="252"/>
                    </a:lnTo>
                    <a:lnTo>
                      <a:pt x="634" y="252"/>
                    </a:lnTo>
                    <a:close/>
                    <a:moveTo>
                      <a:pt x="640" y="280"/>
                    </a:moveTo>
                    <a:lnTo>
                      <a:pt x="636" y="282"/>
                    </a:lnTo>
                    <a:lnTo>
                      <a:pt x="640" y="282"/>
                    </a:lnTo>
                    <a:lnTo>
                      <a:pt x="640" y="280"/>
                    </a:lnTo>
                    <a:lnTo>
                      <a:pt x="640" y="280"/>
                    </a:lnTo>
                    <a:lnTo>
                      <a:pt x="640" y="280"/>
                    </a:lnTo>
                    <a:lnTo>
                      <a:pt x="640" y="280"/>
                    </a:lnTo>
                    <a:close/>
                    <a:moveTo>
                      <a:pt x="634" y="275"/>
                    </a:moveTo>
                    <a:lnTo>
                      <a:pt x="636" y="273"/>
                    </a:lnTo>
                    <a:lnTo>
                      <a:pt x="640" y="275"/>
                    </a:lnTo>
                    <a:lnTo>
                      <a:pt x="640" y="277"/>
                    </a:lnTo>
                    <a:lnTo>
                      <a:pt x="636" y="278"/>
                    </a:lnTo>
                    <a:lnTo>
                      <a:pt x="634" y="277"/>
                    </a:lnTo>
                    <a:lnTo>
                      <a:pt x="634" y="275"/>
                    </a:lnTo>
                    <a:lnTo>
                      <a:pt x="634" y="275"/>
                    </a:lnTo>
                    <a:lnTo>
                      <a:pt x="634" y="275"/>
                    </a:lnTo>
                    <a:lnTo>
                      <a:pt x="634" y="275"/>
                    </a:lnTo>
                    <a:close/>
                    <a:moveTo>
                      <a:pt x="615" y="260"/>
                    </a:moveTo>
                    <a:lnTo>
                      <a:pt x="615" y="260"/>
                    </a:lnTo>
                    <a:lnTo>
                      <a:pt x="617" y="260"/>
                    </a:lnTo>
                    <a:lnTo>
                      <a:pt x="615" y="263"/>
                    </a:lnTo>
                    <a:lnTo>
                      <a:pt x="615" y="263"/>
                    </a:lnTo>
                    <a:lnTo>
                      <a:pt x="615" y="260"/>
                    </a:lnTo>
                    <a:lnTo>
                      <a:pt x="615" y="260"/>
                    </a:lnTo>
                    <a:lnTo>
                      <a:pt x="615" y="260"/>
                    </a:lnTo>
                    <a:lnTo>
                      <a:pt x="615" y="260"/>
                    </a:lnTo>
                    <a:close/>
                    <a:moveTo>
                      <a:pt x="617" y="284"/>
                    </a:moveTo>
                    <a:lnTo>
                      <a:pt x="621" y="282"/>
                    </a:lnTo>
                    <a:lnTo>
                      <a:pt x="623" y="284"/>
                    </a:lnTo>
                    <a:lnTo>
                      <a:pt x="619" y="284"/>
                    </a:lnTo>
                    <a:lnTo>
                      <a:pt x="617" y="284"/>
                    </a:lnTo>
                    <a:lnTo>
                      <a:pt x="617" y="284"/>
                    </a:lnTo>
                    <a:lnTo>
                      <a:pt x="617" y="284"/>
                    </a:lnTo>
                    <a:lnTo>
                      <a:pt x="617" y="284"/>
                    </a:lnTo>
                    <a:close/>
                    <a:moveTo>
                      <a:pt x="589" y="269"/>
                    </a:moveTo>
                    <a:lnTo>
                      <a:pt x="592" y="267"/>
                    </a:lnTo>
                    <a:lnTo>
                      <a:pt x="591" y="265"/>
                    </a:lnTo>
                    <a:lnTo>
                      <a:pt x="589" y="267"/>
                    </a:lnTo>
                    <a:lnTo>
                      <a:pt x="589" y="269"/>
                    </a:lnTo>
                    <a:lnTo>
                      <a:pt x="589" y="269"/>
                    </a:lnTo>
                    <a:lnTo>
                      <a:pt x="589" y="269"/>
                    </a:lnTo>
                    <a:lnTo>
                      <a:pt x="589" y="269"/>
                    </a:lnTo>
                    <a:close/>
                    <a:moveTo>
                      <a:pt x="600" y="280"/>
                    </a:moveTo>
                    <a:lnTo>
                      <a:pt x="606" y="282"/>
                    </a:lnTo>
                    <a:lnTo>
                      <a:pt x="609" y="280"/>
                    </a:lnTo>
                    <a:lnTo>
                      <a:pt x="609" y="282"/>
                    </a:lnTo>
                    <a:lnTo>
                      <a:pt x="604" y="284"/>
                    </a:lnTo>
                    <a:lnTo>
                      <a:pt x="600" y="282"/>
                    </a:lnTo>
                    <a:lnTo>
                      <a:pt x="600" y="280"/>
                    </a:lnTo>
                    <a:lnTo>
                      <a:pt x="600" y="280"/>
                    </a:lnTo>
                    <a:lnTo>
                      <a:pt x="600" y="280"/>
                    </a:lnTo>
                    <a:lnTo>
                      <a:pt x="600" y="280"/>
                    </a:lnTo>
                    <a:close/>
                    <a:moveTo>
                      <a:pt x="594" y="282"/>
                    </a:moveTo>
                    <a:lnTo>
                      <a:pt x="596" y="282"/>
                    </a:lnTo>
                    <a:lnTo>
                      <a:pt x="596" y="284"/>
                    </a:lnTo>
                    <a:lnTo>
                      <a:pt x="594" y="282"/>
                    </a:lnTo>
                    <a:lnTo>
                      <a:pt x="594" y="282"/>
                    </a:lnTo>
                    <a:lnTo>
                      <a:pt x="594" y="282"/>
                    </a:lnTo>
                    <a:lnTo>
                      <a:pt x="594" y="282"/>
                    </a:lnTo>
                    <a:close/>
                    <a:moveTo>
                      <a:pt x="585" y="282"/>
                    </a:moveTo>
                    <a:lnTo>
                      <a:pt x="587" y="280"/>
                    </a:lnTo>
                    <a:lnTo>
                      <a:pt x="589" y="282"/>
                    </a:lnTo>
                    <a:lnTo>
                      <a:pt x="587" y="282"/>
                    </a:lnTo>
                    <a:lnTo>
                      <a:pt x="585" y="282"/>
                    </a:lnTo>
                    <a:lnTo>
                      <a:pt x="585" y="282"/>
                    </a:lnTo>
                    <a:lnTo>
                      <a:pt x="585" y="282"/>
                    </a:lnTo>
                    <a:lnTo>
                      <a:pt x="585" y="282"/>
                    </a:lnTo>
                    <a:close/>
                    <a:moveTo>
                      <a:pt x="517" y="320"/>
                    </a:moveTo>
                    <a:lnTo>
                      <a:pt x="515" y="324"/>
                    </a:lnTo>
                    <a:lnTo>
                      <a:pt x="517" y="326"/>
                    </a:lnTo>
                    <a:lnTo>
                      <a:pt x="523" y="324"/>
                    </a:lnTo>
                    <a:lnTo>
                      <a:pt x="528" y="320"/>
                    </a:lnTo>
                    <a:lnTo>
                      <a:pt x="532" y="320"/>
                    </a:lnTo>
                    <a:lnTo>
                      <a:pt x="536" y="320"/>
                    </a:lnTo>
                    <a:lnTo>
                      <a:pt x="538" y="318"/>
                    </a:lnTo>
                    <a:lnTo>
                      <a:pt x="542" y="314"/>
                    </a:lnTo>
                    <a:lnTo>
                      <a:pt x="547" y="309"/>
                    </a:lnTo>
                    <a:lnTo>
                      <a:pt x="551" y="307"/>
                    </a:lnTo>
                    <a:lnTo>
                      <a:pt x="551" y="307"/>
                    </a:lnTo>
                    <a:lnTo>
                      <a:pt x="547" y="303"/>
                    </a:lnTo>
                    <a:lnTo>
                      <a:pt x="544" y="297"/>
                    </a:lnTo>
                    <a:lnTo>
                      <a:pt x="542" y="299"/>
                    </a:lnTo>
                    <a:lnTo>
                      <a:pt x="538" y="299"/>
                    </a:lnTo>
                    <a:lnTo>
                      <a:pt x="538" y="305"/>
                    </a:lnTo>
                    <a:lnTo>
                      <a:pt x="536" y="305"/>
                    </a:lnTo>
                    <a:lnTo>
                      <a:pt x="530" y="307"/>
                    </a:lnTo>
                    <a:lnTo>
                      <a:pt x="527" y="303"/>
                    </a:lnTo>
                    <a:lnTo>
                      <a:pt x="527" y="305"/>
                    </a:lnTo>
                    <a:lnTo>
                      <a:pt x="523" y="307"/>
                    </a:lnTo>
                    <a:lnTo>
                      <a:pt x="523" y="309"/>
                    </a:lnTo>
                    <a:lnTo>
                      <a:pt x="519" y="316"/>
                    </a:lnTo>
                    <a:lnTo>
                      <a:pt x="519" y="316"/>
                    </a:lnTo>
                    <a:lnTo>
                      <a:pt x="521" y="318"/>
                    </a:lnTo>
                    <a:lnTo>
                      <a:pt x="521" y="320"/>
                    </a:lnTo>
                    <a:lnTo>
                      <a:pt x="519" y="320"/>
                    </a:lnTo>
                    <a:lnTo>
                      <a:pt x="517" y="320"/>
                    </a:lnTo>
                    <a:lnTo>
                      <a:pt x="517" y="320"/>
                    </a:lnTo>
                    <a:lnTo>
                      <a:pt x="517" y="320"/>
                    </a:lnTo>
                    <a:lnTo>
                      <a:pt x="517" y="320"/>
                    </a:lnTo>
                    <a:close/>
                    <a:moveTo>
                      <a:pt x="513" y="324"/>
                    </a:moveTo>
                    <a:lnTo>
                      <a:pt x="515" y="320"/>
                    </a:lnTo>
                    <a:lnTo>
                      <a:pt x="513" y="320"/>
                    </a:lnTo>
                    <a:lnTo>
                      <a:pt x="512" y="322"/>
                    </a:lnTo>
                    <a:lnTo>
                      <a:pt x="513" y="324"/>
                    </a:lnTo>
                    <a:lnTo>
                      <a:pt x="513" y="324"/>
                    </a:lnTo>
                    <a:lnTo>
                      <a:pt x="513" y="324"/>
                    </a:lnTo>
                    <a:lnTo>
                      <a:pt x="513" y="324"/>
                    </a:lnTo>
                    <a:close/>
                    <a:moveTo>
                      <a:pt x="513" y="326"/>
                    </a:moveTo>
                    <a:lnTo>
                      <a:pt x="510" y="327"/>
                    </a:lnTo>
                    <a:lnTo>
                      <a:pt x="512" y="327"/>
                    </a:lnTo>
                    <a:lnTo>
                      <a:pt x="504" y="331"/>
                    </a:lnTo>
                    <a:lnTo>
                      <a:pt x="502" y="333"/>
                    </a:lnTo>
                    <a:lnTo>
                      <a:pt x="504" y="333"/>
                    </a:lnTo>
                    <a:lnTo>
                      <a:pt x="513" y="331"/>
                    </a:lnTo>
                    <a:lnTo>
                      <a:pt x="515" y="327"/>
                    </a:lnTo>
                    <a:lnTo>
                      <a:pt x="513" y="326"/>
                    </a:lnTo>
                    <a:lnTo>
                      <a:pt x="513" y="326"/>
                    </a:lnTo>
                    <a:lnTo>
                      <a:pt x="513" y="326"/>
                    </a:lnTo>
                    <a:lnTo>
                      <a:pt x="513" y="326"/>
                    </a:lnTo>
                    <a:close/>
                    <a:moveTo>
                      <a:pt x="487" y="326"/>
                    </a:moveTo>
                    <a:lnTo>
                      <a:pt x="489" y="327"/>
                    </a:lnTo>
                    <a:lnTo>
                      <a:pt x="489" y="327"/>
                    </a:lnTo>
                    <a:lnTo>
                      <a:pt x="487" y="327"/>
                    </a:lnTo>
                    <a:lnTo>
                      <a:pt x="483" y="327"/>
                    </a:lnTo>
                    <a:lnTo>
                      <a:pt x="485" y="327"/>
                    </a:lnTo>
                    <a:lnTo>
                      <a:pt x="487" y="326"/>
                    </a:lnTo>
                    <a:lnTo>
                      <a:pt x="487" y="326"/>
                    </a:lnTo>
                    <a:lnTo>
                      <a:pt x="487" y="326"/>
                    </a:lnTo>
                    <a:lnTo>
                      <a:pt x="487" y="326"/>
                    </a:lnTo>
                    <a:close/>
                    <a:moveTo>
                      <a:pt x="432" y="307"/>
                    </a:moveTo>
                    <a:lnTo>
                      <a:pt x="442" y="301"/>
                    </a:lnTo>
                    <a:lnTo>
                      <a:pt x="448" y="307"/>
                    </a:lnTo>
                    <a:lnTo>
                      <a:pt x="449" y="307"/>
                    </a:lnTo>
                    <a:lnTo>
                      <a:pt x="451" y="305"/>
                    </a:lnTo>
                    <a:lnTo>
                      <a:pt x="457" y="307"/>
                    </a:lnTo>
                    <a:lnTo>
                      <a:pt x="459" y="309"/>
                    </a:lnTo>
                    <a:lnTo>
                      <a:pt x="463" y="309"/>
                    </a:lnTo>
                    <a:lnTo>
                      <a:pt x="464" y="312"/>
                    </a:lnTo>
                    <a:lnTo>
                      <a:pt x="468" y="316"/>
                    </a:lnTo>
                    <a:lnTo>
                      <a:pt x="468" y="318"/>
                    </a:lnTo>
                    <a:lnTo>
                      <a:pt x="464" y="322"/>
                    </a:lnTo>
                    <a:lnTo>
                      <a:pt x="459" y="322"/>
                    </a:lnTo>
                    <a:lnTo>
                      <a:pt x="453" y="320"/>
                    </a:lnTo>
                    <a:lnTo>
                      <a:pt x="449" y="314"/>
                    </a:lnTo>
                    <a:lnTo>
                      <a:pt x="448" y="314"/>
                    </a:lnTo>
                    <a:lnTo>
                      <a:pt x="444" y="312"/>
                    </a:lnTo>
                    <a:lnTo>
                      <a:pt x="442" y="312"/>
                    </a:lnTo>
                    <a:lnTo>
                      <a:pt x="434" y="312"/>
                    </a:lnTo>
                    <a:lnTo>
                      <a:pt x="432" y="309"/>
                    </a:lnTo>
                    <a:lnTo>
                      <a:pt x="432" y="307"/>
                    </a:lnTo>
                    <a:lnTo>
                      <a:pt x="432" y="307"/>
                    </a:lnTo>
                    <a:lnTo>
                      <a:pt x="432" y="307"/>
                    </a:lnTo>
                    <a:lnTo>
                      <a:pt x="432" y="307"/>
                    </a:lnTo>
                    <a:close/>
                    <a:moveTo>
                      <a:pt x="376" y="263"/>
                    </a:moveTo>
                    <a:lnTo>
                      <a:pt x="378" y="263"/>
                    </a:lnTo>
                    <a:lnTo>
                      <a:pt x="380" y="263"/>
                    </a:lnTo>
                    <a:lnTo>
                      <a:pt x="380" y="263"/>
                    </a:lnTo>
                    <a:lnTo>
                      <a:pt x="376" y="263"/>
                    </a:lnTo>
                    <a:lnTo>
                      <a:pt x="376" y="263"/>
                    </a:lnTo>
                    <a:lnTo>
                      <a:pt x="376" y="263"/>
                    </a:lnTo>
                    <a:lnTo>
                      <a:pt x="376" y="263"/>
                    </a:lnTo>
                    <a:lnTo>
                      <a:pt x="376" y="263"/>
                    </a:lnTo>
                    <a:close/>
                    <a:moveTo>
                      <a:pt x="365" y="260"/>
                    </a:moveTo>
                    <a:lnTo>
                      <a:pt x="367" y="260"/>
                    </a:lnTo>
                    <a:lnTo>
                      <a:pt x="370" y="258"/>
                    </a:lnTo>
                    <a:lnTo>
                      <a:pt x="372" y="260"/>
                    </a:lnTo>
                    <a:lnTo>
                      <a:pt x="372" y="260"/>
                    </a:lnTo>
                    <a:lnTo>
                      <a:pt x="372" y="258"/>
                    </a:lnTo>
                    <a:lnTo>
                      <a:pt x="370" y="256"/>
                    </a:lnTo>
                    <a:lnTo>
                      <a:pt x="367" y="256"/>
                    </a:lnTo>
                    <a:lnTo>
                      <a:pt x="365" y="258"/>
                    </a:lnTo>
                    <a:lnTo>
                      <a:pt x="365" y="260"/>
                    </a:lnTo>
                    <a:lnTo>
                      <a:pt x="365" y="260"/>
                    </a:lnTo>
                    <a:lnTo>
                      <a:pt x="365" y="260"/>
                    </a:lnTo>
                    <a:lnTo>
                      <a:pt x="365" y="260"/>
                    </a:lnTo>
                    <a:close/>
                    <a:moveTo>
                      <a:pt x="562" y="277"/>
                    </a:moveTo>
                    <a:lnTo>
                      <a:pt x="568" y="275"/>
                    </a:lnTo>
                    <a:lnTo>
                      <a:pt x="574" y="277"/>
                    </a:lnTo>
                    <a:lnTo>
                      <a:pt x="576" y="277"/>
                    </a:lnTo>
                    <a:lnTo>
                      <a:pt x="577" y="275"/>
                    </a:lnTo>
                    <a:lnTo>
                      <a:pt x="579" y="273"/>
                    </a:lnTo>
                    <a:lnTo>
                      <a:pt x="581" y="271"/>
                    </a:lnTo>
                    <a:lnTo>
                      <a:pt x="581" y="269"/>
                    </a:lnTo>
                    <a:lnTo>
                      <a:pt x="579" y="269"/>
                    </a:lnTo>
                    <a:lnTo>
                      <a:pt x="576" y="271"/>
                    </a:lnTo>
                    <a:lnTo>
                      <a:pt x="568" y="271"/>
                    </a:lnTo>
                    <a:lnTo>
                      <a:pt x="566" y="269"/>
                    </a:lnTo>
                    <a:lnTo>
                      <a:pt x="564" y="271"/>
                    </a:lnTo>
                    <a:lnTo>
                      <a:pt x="562" y="275"/>
                    </a:lnTo>
                    <a:lnTo>
                      <a:pt x="562" y="277"/>
                    </a:lnTo>
                    <a:lnTo>
                      <a:pt x="562" y="277"/>
                    </a:lnTo>
                    <a:lnTo>
                      <a:pt x="562" y="277"/>
                    </a:lnTo>
                    <a:lnTo>
                      <a:pt x="562" y="277"/>
                    </a:lnTo>
                    <a:close/>
                    <a:moveTo>
                      <a:pt x="557" y="282"/>
                    </a:moveTo>
                    <a:lnTo>
                      <a:pt x="557" y="284"/>
                    </a:lnTo>
                    <a:lnTo>
                      <a:pt x="557" y="284"/>
                    </a:lnTo>
                    <a:lnTo>
                      <a:pt x="560" y="284"/>
                    </a:lnTo>
                    <a:lnTo>
                      <a:pt x="557" y="282"/>
                    </a:lnTo>
                    <a:lnTo>
                      <a:pt x="557" y="282"/>
                    </a:lnTo>
                    <a:lnTo>
                      <a:pt x="557" y="282"/>
                    </a:lnTo>
                    <a:lnTo>
                      <a:pt x="557" y="282"/>
                    </a:lnTo>
                    <a:close/>
                    <a:moveTo>
                      <a:pt x="540" y="282"/>
                    </a:moveTo>
                    <a:lnTo>
                      <a:pt x="536" y="284"/>
                    </a:lnTo>
                    <a:lnTo>
                      <a:pt x="538" y="284"/>
                    </a:lnTo>
                    <a:lnTo>
                      <a:pt x="538" y="284"/>
                    </a:lnTo>
                    <a:lnTo>
                      <a:pt x="538" y="288"/>
                    </a:lnTo>
                    <a:lnTo>
                      <a:pt x="542" y="288"/>
                    </a:lnTo>
                    <a:lnTo>
                      <a:pt x="547" y="284"/>
                    </a:lnTo>
                    <a:lnTo>
                      <a:pt x="547" y="284"/>
                    </a:lnTo>
                    <a:lnTo>
                      <a:pt x="547" y="282"/>
                    </a:lnTo>
                    <a:lnTo>
                      <a:pt x="542" y="282"/>
                    </a:lnTo>
                    <a:lnTo>
                      <a:pt x="540" y="282"/>
                    </a:lnTo>
                    <a:lnTo>
                      <a:pt x="540" y="282"/>
                    </a:lnTo>
                    <a:lnTo>
                      <a:pt x="540" y="282"/>
                    </a:lnTo>
                    <a:lnTo>
                      <a:pt x="540" y="282"/>
                    </a:lnTo>
                    <a:close/>
                    <a:moveTo>
                      <a:pt x="527" y="288"/>
                    </a:moveTo>
                    <a:lnTo>
                      <a:pt x="528" y="288"/>
                    </a:lnTo>
                    <a:lnTo>
                      <a:pt x="530" y="290"/>
                    </a:lnTo>
                    <a:lnTo>
                      <a:pt x="536" y="288"/>
                    </a:lnTo>
                    <a:lnTo>
                      <a:pt x="536" y="284"/>
                    </a:lnTo>
                    <a:lnTo>
                      <a:pt x="532" y="288"/>
                    </a:lnTo>
                    <a:lnTo>
                      <a:pt x="528" y="288"/>
                    </a:lnTo>
                    <a:lnTo>
                      <a:pt x="527" y="288"/>
                    </a:lnTo>
                    <a:lnTo>
                      <a:pt x="527" y="288"/>
                    </a:lnTo>
                    <a:lnTo>
                      <a:pt x="527" y="288"/>
                    </a:lnTo>
                    <a:lnTo>
                      <a:pt x="527" y="288"/>
                    </a:lnTo>
                    <a:close/>
                    <a:moveTo>
                      <a:pt x="515" y="288"/>
                    </a:moveTo>
                    <a:lnTo>
                      <a:pt x="521" y="288"/>
                    </a:lnTo>
                    <a:lnTo>
                      <a:pt x="519" y="284"/>
                    </a:lnTo>
                    <a:lnTo>
                      <a:pt x="521" y="284"/>
                    </a:lnTo>
                    <a:lnTo>
                      <a:pt x="523" y="284"/>
                    </a:lnTo>
                    <a:lnTo>
                      <a:pt x="527" y="284"/>
                    </a:lnTo>
                    <a:lnTo>
                      <a:pt x="527" y="284"/>
                    </a:lnTo>
                    <a:lnTo>
                      <a:pt x="523" y="288"/>
                    </a:lnTo>
                    <a:lnTo>
                      <a:pt x="523" y="290"/>
                    </a:lnTo>
                    <a:lnTo>
                      <a:pt x="517" y="290"/>
                    </a:lnTo>
                    <a:lnTo>
                      <a:pt x="515" y="288"/>
                    </a:lnTo>
                    <a:lnTo>
                      <a:pt x="515" y="288"/>
                    </a:lnTo>
                    <a:lnTo>
                      <a:pt x="515" y="288"/>
                    </a:lnTo>
                    <a:lnTo>
                      <a:pt x="515" y="288"/>
                    </a:lnTo>
                    <a:close/>
                    <a:moveTo>
                      <a:pt x="513" y="288"/>
                    </a:moveTo>
                    <a:lnTo>
                      <a:pt x="510" y="288"/>
                    </a:lnTo>
                    <a:lnTo>
                      <a:pt x="508" y="292"/>
                    </a:lnTo>
                    <a:lnTo>
                      <a:pt x="510" y="288"/>
                    </a:lnTo>
                    <a:lnTo>
                      <a:pt x="513" y="288"/>
                    </a:lnTo>
                    <a:lnTo>
                      <a:pt x="513" y="288"/>
                    </a:lnTo>
                    <a:lnTo>
                      <a:pt x="513" y="288"/>
                    </a:lnTo>
                    <a:lnTo>
                      <a:pt x="513" y="288"/>
                    </a:lnTo>
                    <a:close/>
                    <a:moveTo>
                      <a:pt x="515" y="284"/>
                    </a:moveTo>
                    <a:lnTo>
                      <a:pt x="512" y="284"/>
                    </a:lnTo>
                    <a:lnTo>
                      <a:pt x="513" y="284"/>
                    </a:lnTo>
                    <a:lnTo>
                      <a:pt x="515" y="284"/>
                    </a:lnTo>
                    <a:lnTo>
                      <a:pt x="515" y="284"/>
                    </a:lnTo>
                    <a:lnTo>
                      <a:pt x="515" y="284"/>
                    </a:lnTo>
                    <a:lnTo>
                      <a:pt x="515" y="284"/>
                    </a:lnTo>
                    <a:lnTo>
                      <a:pt x="515" y="284"/>
                    </a:lnTo>
                    <a:close/>
                    <a:moveTo>
                      <a:pt x="449" y="290"/>
                    </a:moveTo>
                    <a:lnTo>
                      <a:pt x="449" y="290"/>
                    </a:lnTo>
                    <a:lnTo>
                      <a:pt x="449" y="288"/>
                    </a:lnTo>
                    <a:lnTo>
                      <a:pt x="455" y="284"/>
                    </a:lnTo>
                    <a:lnTo>
                      <a:pt x="464" y="282"/>
                    </a:lnTo>
                    <a:lnTo>
                      <a:pt x="468" y="284"/>
                    </a:lnTo>
                    <a:lnTo>
                      <a:pt x="472" y="284"/>
                    </a:lnTo>
                    <a:lnTo>
                      <a:pt x="476" y="284"/>
                    </a:lnTo>
                    <a:lnTo>
                      <a:pt x="481" y="288"/>
                    </a:lnTo>
                    <a:lnTo>
                      <a:pt x="485" y="288"/>
                    </a:lnTo>
                    <a:lnTo>
                      <a:pt x="491" y="288"/>
                    </a:lnTo>
                    <a:lnTo>
                      <a:pt x="493" y="288"/>
                    </a:lnTo>
                    <a:lnTo>
                      <a:pt x="498" y="288"/>
                    </a:lnTo>
                    <a:lnTo>
                      <a:pt x="498" y="284"/>
                    </a:lnTo>
                    <a:lnTo>
                      <a:pt x="502" y="284"/>
                    </a:lnTo>
                    <a:lnTo>
                      <a:pt x="504" y="282"/>
                    </a:lnTo>
                    <a:lnTo>
                      <a:pt x="502" y="280"/>
                    </a:lnTo>
                    <a:lnTo>
                      <a:pt x="506" y="278"/>
                    </a:lnTo>
                    <a:lnTo>
                      <a:pt x="510" y="280"/>
                    </a:lnTo>
                    <a:lnTo>
                      <a:pt x="512" y="284"/>
                    </a:lnTo>
                    <a:lnTo>
                      <a:pt x="510" y="288"/>
                    </a:lnTo>
                    <a:lnTo>
                      <a:pt x="506" y="288"/>
                    </a:lnTo>
                    <a:lnTo>
                      <a:pt x="504" y="290"/>
                    </a:lnTo>
                    <a:lnTo>
                      <a:pt x="498" y="292"/>
                    </a:lnTo>
                    <a:lnTo>
                      <a:pt x="498" y="294"/>
                    </a:lnTo>
                    <a:lnTo>
                      <a:pt x="496" y="292"/>
                    </a:lnTo>
                    <a:lnTo>
                      <a:pt x="491" y="292"/>
                    </a:lnTo>
                    <a:lnTo>
                      <a:pt x="485" y="294"/>
                    </a:lnTo>
                    <a:lnTo>
                      <a:pt x="480" y="294"/>
                    </a:lnTo>
                    <a:lnTo>
                      <a:pt x="474" y="295"/>
                    </a:lnTo>
                    <a:lnTo>
                      <a:pt x="474" y="295"/>
                    </a:lnTo>
                    <a:lnTo>
                      <a:pt x="472" y="295"/>
                    </a:lnTo>
                    <a:lnTo>
                      <a:pt x="468" y="295"/>
                    </a:lnTo>
                    <a:lnTo>
                      <a:pt x="466" y="295"/>
                    </a:lnTo>
                    <a:lnTo>
                      <a:pt x="464" y="294"/>
                    </a:lnTo>
                    <a:lnTo>
                      <a:pt x="461" y="294"/>
                    </a:lnTo>
                    <a:lnTo>
                      <a:pt x="459" y="294"/>
                    </a:lnTo>
                    <a:lnTo>
                      <a:pt x="455" y="294"/>
                    </a:lnTo>
                    <a:lnTo>
                      <a:pt x="453" y="294"/>
                    </a:lnTo>
                    <a:lnTo>
                      <a:pt x="449" y="294"/>
                    </a:lnTo>
                    <a:lnTo>
                      <a:pt x="449" y="290"/>
                    </a:lnTo>
                    <a:lnTo>
                      <a:pt x="449" y="290"/>
                    </a:lnTo>
                    <a:lnTo>
                      <a:pt x="449" y="290"/>
                    </a:lnTo>
                    <a:lnTo>
                      <a:pt x="449" y="290"/>
                    </a:lnTo>
                    <a:close/>
                    <a:moveTo>
                      <a:pt x="448" y="290"/>
                    </a:moveTo>
                    <a:lnTo>
                      <a:pt x="444" y="294"/>
                    </a:lnTo>
                    <a:lnTo>
                      <a:pt x="448" y="294"/>
                    </a:lnTo>
                    <a:lnTo>
                      <a:pt x="448" y="290"/>
                    </a:lnTo>
                    <a:lnTo>
                      <a:pt x="448" y="290"/>
                    </a:lnTo>
                    <a:lnTo>
                      <a:pt x="448" y="290"/>
                    </a:lnTo>
                    <a:lnTo>
                      <a:pt x="448" y="290"/>
                    </a:lnTo>
                    <a:lnTo>
                      <a:pt x="448" y="290"/>
                    </a:lnTo>
                    <a:close/>
                    <a:moveTo>
                      <a:pt x="444" y="288"/>
                    </a:moveTo>
                    <a:lnTo>
                      <a:pt x="442" y="288"/>
                    </a:lnTo>
                    <a:lnTo>
                      <a:pt x="442" y="290"/>
                    </a:lnTo>
                    <a:lnTo>
                      <a:pt x="444" y="294"/>
                    </a:lnTo>
                    <a:lnTo>
                      <a:pt x="444" y="288"/>
                    </a:lnTo>
                    <a:lnTo>
                      <a:pt x="444" y="288"/>
                    </a:lnTo>
                    <a:lnTo>
                      <a:pt x="444" y="288"/>
                    </a:lnTo>
                    <a:lnTo>
                      <a:pt x="444" y="288"/>
                    </a:lnTo>
                    <a:lnTo>
                      <a:pt x="444" y="288"/>
                    </a:lnTo>
                    <a:close/>
                    <a:moveTo>
                      <a:pt x="393" y="290"/>
                    </a:moveTo>
                    <a:lnTo>
                      <a:pt x="393" y="292"/>
                    </a:lnTo>
                    <a:lnTo>
                      <a:pt x="393" y="294"/>
                    </a:lnTo>
                    <a:lnTo>
                      <a:pt x="393" y="295"/>
                    </a:lnTo>
                    <a:lnTo>
                      <a:pt x="393" y="297"/>
                    </a:lnTo>
                    <a:lnTo>
                      <a:pt x="397" y="299"/>
                    </a:lnTo>
                    <a:lnTo>
                      <a:pt x="402" y="297"/>
                    </a:lnTo>
                    <a:lnTo>
                      <a:pt x="404" y="299"/>
                    </a:lnTo>
                    <a:lnTo>
                      <a:pt x="408" y="297"/>
                    </a:lnTo>
                    <a:lnTo>
                      <a:pt x="410" y="295"/>
                    </a:lnTo>
                    <a:lnTo>
                      <a:pt x="414" y="297"/>
                    </a:lnTo>
                    <a:lnTo>
                      <a:pt x="417" y="295"/>
                    </a:lnTo>
                    <a:lnTo>
                      <a:pt x="423" y="295"/>
                    </a:lnTo>
                    <a:lnTo>
                      <a:pt x="425" y="292"/>
                    </a:lnTo>
                    <a:lnTo>
                      <a:pt x="427" y="295"/>
                    </a:lnTo>
                    <a:lnTo>
                      <a:pt x="431" y="294"/>
                    </a:lnTo>
                    <a:lnTo>
                      <a:pt x="434" y="295"/>
                    </a:lnTo>
                    <a:lnTo>
                      <a:pt x="432" y="292"/>
                    </a:lnTo>
                    <a:lnTo>
                      <a:pt x="438" y="292"/>
                    </a:lnTo>
                    <a:lnTo>
                      <a:pt x="438" y="288"/>
                    </a:lnTo>
                    <a:lnTo>
                      <a:pt x="434" y="290"/>
                    </a:lnTo>
                    <a:lnTo>
                      <a:pt x="434" y="288"/>
                    </a:lnTo>
                    <a:lnTo>
                      <a:pt x="434" y="284"/>
                    </a:lnTo>
                    <a:lnTo>
                      <a:pt x="432" y="284"/>
                    </a:lnTo>
                    <a:lnTo>
                      <a:pt x="432" y="288"/>
                    </a:lnTo>
                    <a:lnTo>
                      <a:pt x="431" y="288"/>
                    </a:lnTo>
                    <a:lnTo>
                      <a:pt x="431" y="284"/>
                    </a:lnTo>
                    <a:lnTo>
                      <a:pt x="427" y="282"/>
                    </a:lnTo>
                    <a:lnTo>
                      <a:pt x="423" y="284"/>
                    </a:lnTo>
                    <a:lnTo>
                      <a:pt x="419" y="282"/>
                    </a:lnTo>
                    <a:lnTo>
                      <a:pt x="417" y="280"/>
                    </a:lnTo>
                    <a:lnTo>
                      <a:pt x="410" y="282"/>
                    </a:lnTo>
                    <a:lnTo>
                      <a:pt x="410" y="284"/>
                    </a:lnTo>
                    <a:lnTo>
                      <a:pt x="419" y="288"/>
                    </a:lnTo>
                    <a:lnTo>
                      <a:pt x="423" y="290"/>
                    </a:lnTo>
                    <a:lnTo>
                      <a:pt x="417" y="290"/>
                    </a:lnTo>
                    <a:lnTo>
                      <a:pt x="414" y="292"/>
                    </a:lnTo>
                    <a:lnTo>
                      <a:pt x="410" y="288"/>
                    </a:lnTo>
                    <a:lnTo>
                      <a:pt x="410" y="288"/>
                    </a:lnTo>
                    <a:lnTo>
                      <a:pt x="406" y="284"/>
                    </a:lnTo>
                    <a:lnTo>
                      <a:pt x="404" y="288"/>
                    </a:lnTo>
                    <a:lnTo>
                      <a:pt x="400" y="284"/>
                    </a:lnTo>
                    <a:lnTo>
                      <a:pt x="395" y="288"/>
                    </a:lnTo>
                    <a:lnTo>
                      <a:pt x="395" y="288"/>
                    </a:lnTo>
                    <a:lnTo>
                      <a:pt x="393" y="290"/>
                    </a:lnTo>
                    <a:lnTo>
                      <a:pt x="393" y="290"/>
                    </a:lnTo>
                    <a:lnTo>
                      <a:pt x="393" y="290"/>
                    </a:lnTo>
                    <a:lnTo>
                      <a:pt x="393" y="290"/>
                    </a:lnTo>
                    <a:close/>
                    <a:moveTo>
                      <a:pt x="380" y="284"/>
                    </a:moveTo>
                    <a:lnTo>
                      <a:pt x="385" y="284"/>
                    </a:lnTo>
                    <a:lnTo>
                      <a:pt x="393" y="284"/>
                    </a:lnTo>
                    <a:lnTo>
                      <a:pt x="389" y="288"/>
                    </a:lnTo>
                    <a:lnTo>
                      <a:pt x="389" y="292"/>
                    </a:lnTo>
                    <a:lnTo>
                      <a:pt x="389" y="295"/>
                    </a:lnTo>
                    <a:lnTo>
                      <a:pt x="385" y="294"/>
                    </a:lnTo>
                    <a:lnTo>
                      <a:pt x="384" y="295"/>
                    </a:lnTo>
                    <a:lnTo>
                      <a:pt x="378" y="294"/>
                    </a:lnTo>
                    <a:lnTo>
                      <a:pt x="376" y="292"/>
                    </a:lnTo>
                    <a:lnTo>
                      <a:pt x="378" y="290"/>
                    </a:lnTo>
                    <a:lnTo>
                      <a:pt x="380" y="290"/>
                    </a:lnTo>
                    <a:lnTo>
                      <a:pt x="380" y="284"/>
                    </a:lnTo>
                    <a:lnTo>
                      <a:pt x="380" y="284"/>
                    </a:lnTo>
                    <a:lnTo>
                      <a:pt x="380" y="284"/>
                    </a:lnTo>
                    <a:lnTo>
                      <a:pt x="380" y="284"/>
                    </a:lnTo>
                    <a:close/>
                    <a:moveTo>
                      <a:pt x="368" y="292"/>
                    </a:moveTo>
                    <a:lnTo>
                      <a:pt x="370" y="290"/>
                    </a:lnTo>
                    <a:lnTo>
                      <a:pt x="372" y="292"/>
                    </a:lnTo>
                    <a:lnTo>
                      <a:pt x="370" y="292"/>
                    </a:lnTo>
                    <a:lnTo>
                      <a:pt x="368" y="292"/>
                    </a:lnTo>
                    <a:lnTo>
                      <a:pt x="368" y="292"/>
                    </a:lnTo>
                    <a:lnTo>
                      <a:pt x="368" y="292"/>
                    </a:lnTo>
                    <a:lnTo>
                      <a:pt x="368" y="292"/>
                    </a:lnTo>
                    <a:close/>
                    <a:moveTo>
                      <a:pt x="352" y="280"/>
                    </a:moveTo>
                    <a:lnTo>
                      <a:pt x="352" y="284"/>
                    </a:lnTo>
                    <a:lnTo>
                      <a:pt x="353" y="284"/>
                    </a:lnTo>
                    <a:lnTo>
                      <a:pt x="359" y="288"/>
                    </a:lnTo>
                    <a:lnTo>
                      <a:pt x="365" y="290"/>
                    </a:lnTo>
                    <a:lnTo>
                      <a:pt x="365" y="292"/>
                    </a:lnTo>
                    <a:lnTo>
                      <a:pt x="365" y="290"/>
                    </a:lnTo>
                    <a:lnTo>
                      <a:pt x="368" y="288"/>
                    </a:lnTo>
                    <a:lnTo>
                      <a:pt x="370" y="288"/>
                    </a:lnTo>
                    <a:lnTo>
                      <a:pt x="374" y="288"/>
                    </a:lnTo>
                    <a:lnTo>
                      <a:pt x="374" y="284"/>
                    </a:lnTo>
                    <a:lnTo>
                      <a:pt x="370" y="280"/>
                    </a:lnTo>
                    <a:lnTo>
                      <a:pt x="365" y="278"/>
                    </a:lnTo>
                    <a:lnTo>
                      <a:pt x="359" y="280"/>
                    </a:lnTo>
                    <a:lnTo>
                      <a:pt x="355" y="280"/>
                    </a:lnTo>
                    <a:lnTo>
                      <a:pt x="352" y="280"/>
                    </a:lnTo>
                    <a:lnTo>
                      <a:pt x="352" y="280"/>
                    </a:lnTo>
                    <a:lnTo>
                      <a:pt x="352" y="280"/>
                    </a:lnTo>
                    <a:lnTo>
                      <a:pt x="352" y="280"/>
                    </a:lnTo>
                    <a:close/>
                    <a:moveTo>
                      <a:pt x="801" y="284"/>
                    </a:moveTo>
                    <a:lnTo>
                      <a:pt x="803" y="284"/>
                    </a:lnTo>
                    <a:lnTo>
                      <a:pt x="807" y="284"/>
                    </a:lnTo>
                    <a:lnTo>
                      <a:pt x="807" y="284"/>
                    </a:lnTo>
                    <a:lnTo>
                      <a:pt x="803" y="280"/>
                    </a:lnTo>
                    <a:lnTo>
                      <a:pt x="803" y="280"/>
                    </a:lnTo>
                    <a:lnTo>
                      <a:pt x="803" y="280"/>
                    </a:lnTo>
                    <a:lnTo>
                      <a:pt x="801" y="284"/>
                    </a:lnTo>
                    <a:lnTo>
                      <a:pt x="801" y="284"/>
                    </a:lnTo>
                    <a:lnTo>
                      <a:pt x="801" y="284"/>
                    </a:lnTo>
                    <a:lnTo>
                      <a:pt x="801" y="284"/>
                    </a:lnTo>
                    <a:close/>
                    <a:moveTo>
                      <a:pt x="783" y="284"/>
                    </a:moveTo>
                    <a:lnTo>
                      <a:pt x="783" y="284"/>
                    </a:lnTo>
                    <a:lnTo>
                      <a:pt x="788" y="284"/>
                    </a:lnTo>
                    <a:lnTo>
                      <a:pt x="790" y="284"/>
                    </a:lnTo>
                    <a:lnTo>
                      <a:pt x="796" y="284"/>
                    </a:lnTo>
                    <a:lnTo>
                      <a:pt x="800" y="282"/>
                    </a:lnTo>
                    <a:lnTo>
                      <a:pt x="801" y="278"/>
                    </a:lnTo>
                    <a:lnTo>
                      <a:pt x="803" y="278"/>
                    </a:lnTo>
                    <a:lnTo>
                      <a:pt x="807" y="277"/>
                    </a:lnTo>
                    <a:lnTo>
                      <a:pt x="807" y="275"/>
                    </a:lnTo>
                    <a:lnTo>
                      <a:pt x="807" y="273"/>
                    </a:lnTo>
                    <a:lnTo>
                      <a:pt x="807" y="271"/>
                    </a:lnTo>
                    <a:lnTo>
                      <a:pt x="807" y="269"/>
                    </a:lnTo>
                    <a:lnTo>
                      <a:pt x="807" y="267"/>
                    </a:lnTo>
                    <a:lnTo>
                      <a:pt x="803" y="265"/>
                    </a:lnTo>
                    <a:lnTo>
                      <a:pt x="798" y="265"/>
                    </a:lnTo>
                    <a:lnTo>
                      <a:pt x="794" y="267"/>
                    </a:lnTo>
                    <a:lnTo>
                      <a:pt x="792" y="273"/>
                    </a:lnTo>
                    <a:lnTo>
                      <a:pt x="790" y="277"/>
                    </a:lnTo>
                    <a:lnTo>
                      <a:pt x="783" y="284"/>
                    </a:lnTo>
                    <a:lnTo>
                      <a:pt x="783" y="284"/>
                    </a:lnTo>
                    <a:lnTo>
                      <a:pt x="783" y="284"/>
                    </a:lnTo>
                    <a:lnTo>
                      <a:pt x="783" y="284"/>
                    </a:lnTo>
                    <a:close/>
                    <a:moveTo>
                      <a:pt x="325" y="256"/>
                    </a:moveTo>
                    <a:lnTo>
                      <a:pt x="321" y="260"/>
                    </a:lnTo>
                    <a:lnTo>
                      <a:pt x="325" y="263"/>
                    </a:lnTo>
                    <a:lnTo>
                      <a:pt x="329" y="263"/>
                    </a:lnTo>
                    <a:lnTo>
                      <a:pt x="331" y="263"/>
                    </a:lnTo>
                    <a:lnTo>
                      <a:pt x="336" y="263"/>
                    </a:lnTo>
                    <a:lnTo>
                      <a:pt x="338" y="260"/>
                    </a:lnTo>
                    <a:lnTo>
                      <a:pt x="344" y="260"/>
                    </a:lnTo>
                    <a:lnTo>
                      <a:pt x="346" y="260"/>
                    </a:lnTo>
                    <a:lnTo>
                      <a:pt x="344" y="258"/>
                    </a:lnTo>
                    <a:lnTo>
                      <a:pt x="338" y="260"/>
                    </a:lnTo>
                    <a:lnTo>
                      <a:pt x="335" y="258"/>
                    </a:lnTo>
                    <a:lnTo>
                      <a:pt x="327" y="258"/>
                    </a:lnTo>
                    <a:lnTo>
                      <a:pt x="325" y="256"/>
                    </a:lnTo>
                    <a:lnTo>
                      <a:pt x="325" y="256"/>
                    </a:lnTo>
                    <a:lnTo>
                      <a:pt x="325" y="256"/>
                    </a:lnTo>
                    <a:lnTo>
                      <a:pt x="325" y="256"/>
                    </a:lnTo>
                    <a:close/>
                    <a:moveTo>
                      <a:pt x="186" y="250"/>
                    </a:moveTo>
                    <a:lnTo>
                      <a:pt x="186" y="252"/>
                    </a:lnTo>
                    <a:lnTo>
                      <a:pt x="188" y="252"/>
                    </a:lnTo>
                    <a:lnTo>
                      <a:pt x="188" y="250"/>
                    </a:lnTo>
                    <a:lnTo>
                      <a:pt x="186" y="250"/>
                    </a:lnTo>
                    <a:lnTo>
                      <a:pt x="186" y="250"/>
                    </a:lnTo>
                    <a:lnTo>
                      <a:pt x="186" y="250"/>
                    </a:lnTo>
                    <a:lnTo>
                      <a:pt x="186" y="250"/>
                    </a:lnTo>
                    <a:close/>
                    <a:moveTo>
                      <a:pt x="188" y="252"/>
                    </a:moveTo>
                    <a:lnTo>
                      <a:pt x="188" y="254"/>
                    </a:lnTo>
                    <a:lnTo>
                      <a:pt x="192" y="254"/>
                    </a:lnTo>
                    <a:lnTo>
                      <a:pt x="192" y="250"/>
                    </a:lnTo>
                    <a:lnTo>
                      <a:pt x="197" y="248"/>
                    </a:lnTo>
                    <a:lnTo>
                      <a:pt x="197" y="245"/>
                    </a:lnTo>
                    <a:lnTo>
                      <a:pt x="197" y="241"/>
                    </a:lnTo>
                    <a:lnTo>
                      <a:pt x="201" y="235"/>
                    </a:lnTo>
                    <a:lnTo>
                      <a:pt x="203" y="239"/>
                    </a:lnTo>
                    <a:lnTo>
                      <a:pt x="207" y="239"/>
                    </a:lnTo>
                    <a:lnTo>
                      <a:pt x="214" y="239"/>
                    </a:lnTo>
                    <a:lnTo>
                      <a:pt x="216" y="241"/>
                    </a:lnTo>
                    <a:lnTo>
                      <a:pt x="218" y="239"/>
                    </a:lnTo>
                    <a:lnTo>
                      <a:pt x="218" y="239"/>
                    </a:lnTo>
                    <a:lnTo>
                      <a:pt x="224" y="239"/>
                    </a:lnTo>
                    <a:lnTo>
                      <a:pt x="227" y="241"/>
                    </a:lnTo>
                    <a:lnTo>
                      <a:pt x="235" y="243"/>
                    </a:lnTo>
                    <a:lnTo>
                      <a:pt x="242" y="245"/>
                    </a:lnTo>
                    <a:lnTo>
                      <a:pt x="246" y="248"/>
                    </a:lnTo>
                    <a:lnTo>
                      <a:pt x="246" y="252"/>
                    </a:lnTo>
                    <a:lnTo>
                      <a:pt x="246" y="254"/>
                    </a:lnTo>
                    <a:lnTo>
                      <a:pt x="252" y="256"/>
                    </a:lnTo>
                    <a:lnTo>
                      <a:pt x="263" y="256"/>
                    </a:lnTo>
                    <a:lnTo>
                      <a:pt x="272" y="258"/>
                    </a:lnTo>
                    <a:lnTo>
                      <a:pt x="282" y="256"/>
                    </a:lnTo>
                    <a:lnTo>
                      <a:pt x="284" y="254"/>
                    </a:lnTo>
                    <a:lnTo>
                      <a:pt x="284" y="245"/>
                    </a:lnTo>
                    <a:lnTo>
                      <a:pt x="288" y="245"/>
                    </a:lnTo>
                    <a:lnTo>
                      <a:pt x="293" y="250"/>
                    </a:lnTo>
                    <a:lnTo>
                      <a:pt x="297" y="250"/>
                    </a:lnTo>
                    <a:lnTo>
                      <a:pt x="301" y="250"/>
                    </a:lnTo>
                    <a:lnTo>
                      <a:pt x="301" y="252"/>
                    </a:lnTo>
                    <a:lnTo>
                      <a:pt x="304" y="256"/>
                    </a:lnTo>
                    <a:lnTo>
                      <a:pt x="310" y="254"/>
                    </a:lnTo>
                    <a:lnTo>
                      <a:pt x="310" y="258"/>
                    </a:lnTo>
                    <a:lnTo>
                      <a:pt x="314" y="256"/>
                    </a:lnTo>
                    <a:lnTo>
                      <a:pt x="320" y="256"/>
                    </a:lnTo>
                    <a:lnTo>
                      <a:pt x="320" y="260"/>
                    </a:lnTo>
                    <a:lnTo>
                      <a:pt x="323" y="265"/>
                    </a:lnTo>
                    <a:lnTo>
                      <a:pt x="323" y="267"/>
                    </a:lnTo>
                    <a:lnTo>
                      <a:pt x="325" y="271"/>
                    </a:lnTo>
                    <a:lnTo>
                      <a:pt x="331" y="273"/>
                    </a:lnTo>
                    <a:lnTo>
                      <a:pt x="335" y="271"/>
                    </a:lnTo>
                    <a:lnTo>
                      <a:pt x="336" y="273"/>
                    </a:lnTo>
                    <a:lnTo>
                      <a:pt x="338" y="273"/>
                    </a:lnTo>
                    <a:lnTo>
                      <a:pt x="342" y="271"/>
                    </a:lnTo>
                    <a:lnTo>
                      <a:pt x="344" y="271"/>
                    </a:lnTo>
                    <a:lnTo>
                      <a:pt x="346" y="273"/>
                    </a:lnTo>
                    <a:lnTo>
                      <a:pt x="350" y="273"/>
                    </a:lnTo>
                    <a:lnTo>
                      <a:pt x="352" y="277"/>
                    </a:lnTo>
                    <a:lnTo>
                      <a:pt x="350" y="284"/>
                    </a:lnTo>
                    <a:lnTo>
                      <a:pt x="348" y="284"/>
                    </a:lnTo>
                    <a:lnTo>
                      <a:pt x="350" y="288"/>
                    </a:lnTo>
                    <a:lnTo>
                      <a:pt x="352" y="292"/>
                    </a:lnTo>
                    <a:lnTo>
                      <a:pt x="350" y="294"/>
                    </a:lnTo>
                    <a:lnTo>
                      <a:pt x="346" y="290"/>
                    </a:lnTo>
                    <a:lnTo>
                      <a:pt x="342" y="290"/>
                    </a:lnTo>
                    <a:lnTo>
                      <a:pt x="336" y="288"/>
                    </a:lnTo>
                    <a:lnTo>
                      <a:pt x="335" y="288"/>
                    </a:lnTo>
                    <a:lnTo>
                      <a:pt x="331" y="284"/>
                    </a:lnTo>
                    <a:lnTo>
                      <a:pt x="327" y="282"/>
                    </a:lnTo>
                    <a:lnTo>
                      <a:pt x="321" y="284"/>
                    </a:lnTo>
                    <a:lnTo>
                      <a:pt x="316" y="284"/>
                    </a:lnTo>
                    <a:lnTo>
                      <a:pt x="312" y="284"/>
                    </a:lnTo>
                    <a:lnTo>
                      <a:pt x="306" y="282"/>
                    </a:lnTo>
                    <a:lnTo>
                      <a:pt x="301" y="284"/>
                    </a:lnTo>
                    <a:lnTo>
                      <a:pt x="299" y="282"/>
                    </a:lnTo>
                    <a:lnTo>
                      <a:pt x="291" y="282"/>
                    </a:lnTo>
                    <a:lnTo>
                      <a:pt x="288" y="284"/>
                    </a:lnTo>
                    <a:lnTo>
                      <a:pt x="276" y="280"/>
                    </a:lnTo>
                    <a:lnTo>
                      <a:pt x="267" y="275"/>
                    </a:lnTo>
                    <a:lnTo>
                      <a:pt x="263" y="275"/>
                    </a:lnTo>
                    <a:lnTo>
                      <a:pt x="257" y="271"/>
                    </a:lnTo>
                    <a:lnTo>
                      <a:pt x="256" y="271"/>
                    </a:lnTo>
                    <a:lnTo>
                      <a:pt x="256" y="275"/>
                    </a:lnTo>
                    <a:lnTo>
                      <a:pt x="252" y="273"/>
                    </a:lnTo>
                    <a:lnTo>
                      <a:pt x="246" y="271"/>
                    </a:lnTo>
                    <a:lnTo>
                      <a:pt x="246" y="271"/>
                    </a:lnTo>
                    <a:lnTo>
                      <a:pt x="242" y="275"/>
                    </a:lnTo>
                    <a:lnTo>
                      <a:pt x="233" y="273"/>
                    </a:lnTo>
                    <a:lnTo>
                      <a:pt x="227" y="267"/>
                    </a:lnTo>
                    <a:lnTo>
                      <a:pt x="222" y="267"/>
                    </a:lnTo>
                    <a:lnTo>
                      <a:pt x="218" y="265"/>
                    </a:lnTo>
                    <a:lnTo>
                      <a:pt x="216" y="267"/>
                    </a:lnTo>
                    <a:lnTo>
                      <a:pt x="212" y="267"/>
                    </a:lnTo>
                    <a:lnTo>
                      <a:pt x="207" y="265"/>
                    </a:lnTo>
                    <a:lnTo>
                      <a:pt x="205" y="263"/>
                    </a:lnTo>
                    <a:lnTo>
                      <a:pt x="208" y="260"/>
                    </a:lnTo>
                    <a:lnTo>
                      <a:pt x="208" y="260"/>
                    </a:lnTo>
                    <a:lnTo>
                      <a:pt x="207" y="260"/>
                    </a:lnTo>
                    <a:lnTo>
                      <a:pt x="205" y="260"/>
                    </a:lnTo>
                    <a:lnTo>
                      <a:pt x="201" y="258"/>
                    </a:lnTo>
                    <a:lnTo>
                      <a:pt x="199" y="256"/>
                    </a:lnTo>
                    <a:lnTo>
                      <a:pt x="197" y="258"/>
                    </a:lnTo>
                    <a:lnTo>
                      <a:pt x="188" y="256"/>
                    </a:lnTo>
                    <a:lnTo>
                      <a:pt x="188" y="256"/>
                    </a:lnTo>
                    <a:lnTo>
                      <a:pt x="186" y="252"/>
                    </a:lnTo>
                    <a:lnTo>
                      <a:pt x="188" y="252"/>
                    </a:lnTo>
                    <a:lnTo>
                      <a:pt x="188" y="252"/>
                    </a:lnTo>
                    <a:lnTo>
                      <a:pt x="188" y="252"/>
                    </a:lnTo>
                    <a:lnTo>
                      <a:pt x="188" y="252"/>
                    </a:lnTo>
                    <a:close/>
                    <a:moveTo>
                      <a:pt x="235" y="49"/>
                    </a:moveTo>
                    <a:lnTo>
                      <a:pt x="239" y="51"/>
                    </a:lnTo>
                    <a:lnTo>
                      <a:pt x="242" y="51"/>
                    </a:lnTo>
                    <a:lnTo>
                      <a:pt x="240" y="52"/>
                    </a:lnTo>
                    <a:lnTo>
                      <a:pt x="242" y="52"/>
                    </a:lnTo>
                    <a:lnTo>
                      <a:pt x="246" y="49"/>
                    </a:lnTo>
                    <a:lnTo>
                      <a:pt x="240" y="41"/>
                    </a:lnTo>
                    <a:lnTo>
                      <a:pt x="237" y="45"/>
                    </a:lnTo>
                    <a:lnTo>
                      <a:pt x="235" y="49"/>
                    </a:lnTo>
                    <a:lnTo>
                      <a:pt x="235" y="49"/>
                    </a:lnTo>
                    <a:lnTo>
                      <a:pt x="235" y="49"/>
                    </a:lnTo>
                    <a:lnTo>
                      <a:pt x="235" y="49"/>
                    </a:lnTo>
                    <a:close/>
                    <a:moveTo>
                      <a:pt x="205" y="69"/>
                    </a:moveTo>
                    <a:lnTo>
                      <a:pt x="205" y="73"/>
                    </a:lnTo>
                    <a:lnTo>
                      <a:pt x="207" y="73"/>
                    </a:lnTo>
                    <a:lnTo>
                      <a:pt x="205" y="69"/>
                    </a:lnTo>
                    <a:lnTo>
                      <a:pt x="205" y="69"/>
                    </a:lnTo>
                    <a:lnTo>
                      <a:pt x="205" y="69"/>
                    </a:lnTo>
                    <a:lnTo>
                      <a:pt x="205" y="69"/>
                    </a:lnTo>
                    <a:close/>
                    <a:moveTo>
                      <a:pt x="205" y="60"/>
                    </a:moveTo>
                    <a:lnTo>
                      <a:pt x="207" y="60"/>
                    </a:lnTo>
                    <a:lnTo>
                      <a:pt x="205" y="58"/>
                    </a:lnTo>
                    <a:lnTo>
                      <a:pt x="205" y="60"/>
                    </a:lnTo>
                    <a:lnTo>
                      <a:pt x="205" y="60"/>
                    </a:lnTo>
                    <a:lnTo>
                      <a:pt x="205" y="60"/>
                    </a:lnTo>
                    <a:lnTo>
                      <a:pt x="205" y="60"/>
                    </a:lnTo>
                    <a:close/>
                    <a:moveTo>
                      <a:pt x="205" y="64"/>
                    </a:moveTo>
                    <a:lnTo>
                      <a:pt x="205" y="64"/>
                    </a:lnTo>
                    <a:lnTo>
                      <a:pt x="207" y="64"/>
                    </a:lnTo>
                    <a:lnTo>
                      <a:pt x="205" y="64"/>
                    </a:lnTo>
                    <a:lnTo>
                      <a:pt x="205" y="64"/>
                    </a:lnTo>
                    <a:lnTo>
                      <a:pt x="205" y="64"/>
                    </a:lnTo>
                    <a:lnTo>
                      <a:pt x="205" y="64"/>
                    </a:lnTo>
                    <a:close/>
                    <a:moveTo>
                      <a:pt x="193" y="67"/>
                    </a:moveTo>
                    <a:lnTo>
                      <a:pt x="192" y="69"/>
                    </a:lnTo>
                    <a:lnTo>
                      <a:pt x="197" y="73"/>
                    </a:lnTo>
                    <a:lnTo>
                      <a:pt x="199" y="67"/>
                    </a:lnTo>
                    <a:lnTo>
                      <a:pt x="197" y="67"/>
                    </a:lnTo>
                    <a:lnTo>
                      <a:pt x="193" y="67"/>
                    </a:lnTo>
                    <a:lnTo>
                      <a:pt x="193" y="67"/>
                    </a:lnTo>
                    <a:lnTo>
                      <a:pt x="193" y="67"/>
                    </a:lnTo>
                    <a:lnTo>
                      <a:pt x="193" y="67"/>
                    </a:lnTo>
                    <a:close/>
                    <a:moveTo>
                      <a:pt x="163" y="107"/>
                    </a:moveTo>
                    <a:lnTo>
                      <a:pt x="167" y="109"/>
                    </a:lnTo>
                    <a:lnTo>
                      <a:pt x="167" y="105"/>
                    </a:lnTo>
                    <a:lnTo>
                      <a:pt x="167" y="101"/>
                    </a:lnTo>
                    <a:lnTo>
                      <a:pt x="163" y="107"/>
                    </a:lnTo>
                    <a:lnTo>
                      <a:pt x="163" y="107"/>
                    </a:lnTo>
                    <a:lnTo>
                      <a:pt x="163" y="107"/>
                    </a:lnTo>
                    <a:lnTo>
                      <a:pt x="163" y="107"/>
                    </a:lnTo>
                    <a:close/>
                    <a:moveTo>
                      <a:pt x="171" y="103"/>
                    </a:moveTo>
                    <a:lnTo>
                      <a:pt x="169" y="107"/>
                    </a:lnTo>
                    <a:lnTo>
                      <a:pt x="173" y="109"/>
                    </a:lnTo>
                    <a:lnTo>
                      <a:pt x="175" y="113"/>
                    </a:lnTo>
                    <a:lnTo>
                      <a:pt x="176" y="113"/>
                    </a:lnTo>
                    <a:lnTo>
                      <a:pt x="178" y="107"/>
                    </a:lnTo>
                    <a:lnTo>
                      <a:pt x="176" y="105"/>
                    </a:lnTo>
                    <a:lnTo>
                      <a:pt x="178" y="101"/>
                    </a:lnTo>
                    <a:lnTo>
                      <a:pt x="175" y="101"/>
                    </a:lnTo>
                    <a:lnTo>
                      <a:pt x="173" y="103"/>
                    </a:lnTo>
                    <a:lnTo>
                      <a:pt x="171" y="103"/>
                    </a:lnTo>
                    <a:lnTo>
                      <a:pt x="171" y="103"/>
                    </a:lnTo>
                    <a:lnTo>
                      <a:pt x="171" y="103"/>
                    </a:lnTo>
                    <a:lnTo>
                      <a:pt x="171" y="103"/>
                    </a:lnTo>
                    <a:close/>
                    <a:moveTo>
                      <a:pt x="252" y="158"/>
                    </a:moveTo>
                    <a:lnTo>
                      <a:pt x="252" y="160"/>
                    </a:lnTo>
                    <a:lnTo>
                      <a:pt x="256" y="162"/>
                    </a:lnTo>
                    <a:lnTo>
                      <a:pt x="257" y="160"/>
                    </a:lnTo>
                    <a:lnTo>
                      <a:pt x="256" y="158"/>
                    </a:lnTo>
                    <a:lnTo>
                      <a:pt x="252" y="158"/>
                    </a:lnTo>
                    <a:lnTo>
                      <a:pt x="252" y="158"/>
                    </a:lnTo>
                    <a:lnTo>
                      <a:pt x="252" y="158"/>
                    </a:lnTo>
                    <a:lnTo>
                      <a:pt x="252" y="158"/>
                    </a:lnTo>
                    <a:close/>
                    <a:moveTo>
                      <a:pt x="227" y="175"/>
                    </a:moveTo>
                    <a:lnTo>
                      <a:pt x="229" y="179"/>
                    </a:lnTo>
                    <a:lnTo>
                      <a:pt x="229" y="181"/>
                    </a:lnTo>
                    <a:lnTo>
                      <a:pt x="225" y="182"/>
                    </a:lnTo>
                    <a:lnTo>
                      <a:pt x="224" y="184"/>
                    </a:lnTo>
                    <a:lnTo>
                      <a:pt x="227" y="184"/>
                    </a:lnTo>
                    <a:lnTo>
                      <a:pt x="227" y="182"/>
                    </a:lnTo>
                    <a:lnTo>
                      <a:pt x="229" y="181"/>
                    </a:lnTo>
                    <a:lnTo>
                      <a:pt x="229" y="186"/>
                    </a:lnTo>
                    <a:lnTo>
                      <a:pt x="233" y="190"/>
                    </a:lnTo>
                    <a:lnTo>
                      <a:pt x="237" y="184"/>
                    </a:lnTo>
                    <a:lnTo>
                      <a:pt x="239" y="186"/>
                    </a:lnTo>
                    <a:lnTo>
                      <a:pt x="240" y="186"/>
                    </a:lnTo>
                    <a:lnTo>
                      <a:pt x="242" y="186"/>
                    </a:lnTo>
                    <a:lnTo>
                      <a:pt x="246" y="184"/>
                    </a:lnTo>
                    <a:lnTo>
                      <a:pt x="242" y="181"/>
                    </a:lnTo>
                    <a:lnTo>
                      <a:pt x="237" y="177"/>
                    </a:lnTo>
                    <a:lnTo>
                      <a:pt x="231" y="175"/>
                    </a:lnTo>
                    <a:lnTo>
                      <a:pt x="227" y="175"/>
                    </a:lnTo>
                    <a:lnTo>
                      <a:pt x="227" y="175"/>
                    </a:lnTo>
                    <a:lnTo>
                      <a:pt x="227" y="175"/>
                    </a:lnTo>
                    <a:lnTo>
                      <a:pt x="227" y="175"/>
                    </a:lnTo>
                    <a:close/>
                    <a:moveTo>
                      <a:pt x="218" y="182"/>
                    </a:moveTo>
                    <a:lnTo>
                      <a:pt x="216" y="186"/>
                    </a:lnTo>
                    <a:lnTo>
                      <a:pt x="218" y="184"/>
                    </a:lnTo>
                    <a:lnTo>
                      <a:pt x="218" y="182"/>
                    </a:lnTo>
                    <a:lnTo>
                      <a:pt x="218" y="182"/>
                    </a:lnTo>
                    <a:lnTo>
                      <a:pt x="218" y="182"/>
                    </a:lnTo>
                    <a:lnTo>
                      <a:pt x="218" y="182"/>
                    </a:lnTo>
                    <a:close/>
                    <a:moveTo>
                      <a:pt x="192" y="160"/>
                    </a:moveTo>
                    <a:lnTo>
                      <a:pt x="192" y="162"/>
                    </a:lnTo>
                    <a:lnTo>
                      <a:pt x="188" y="165"/>
                    </a:lnTo>
                    <a:lnTo>
                      <a:pt x="188" y="167"/>
                    </a:lnTo>
                    <a:lnTo>
                      <a:pt x="197" y="167"/>
                    </a:lnTo>
                    <a:lnTo>
                      <a:pt x="197" y="169"/>
                    </a:lnTo>
                    <a:lnTo>
                      <a:pt x="197" y="173"/>
                    </a:lnTo>
                    <a:lnTo>
                      <a:pt x="199" y="175"/>
                    </a:lnTo>
                    <a:lnTo>
                      <a:pt x="201" y="181"/>
                    </a:lnTo>
                    <a:lnTo>
                      <a:pt x="205" y="182"/>
                    </a:lnTo>
                    <a:lnTo>
                      <a:pt x="208" y="182"/>
                    </a:lnTo>
                    <a:lnTo>
                      <a:pt x="210" y="186"/>
                    </a:lnTo>
                    <a:lnTo>
                      <a:pt x="212" y="186"/>
                    </a:lnTo>
                    <a:lnTo>
                      <a:pt x="214" y="184"/>
                    </a:lnTo>
                    <a:lnTo>
                      <a:pt x="212" y="181"/>
                    </a:lnTo>
                    <a:lnTo>
                      <a:pt x="214" y="175"/>
                    </a:lnTo>
                    <a:lnTo>
                      <a:pt x="208" y="175"/>
                    </a:lnTo>
                    <a:lnTo>
                      <a:pt x="205" y="169"/>
                    </a:lnTo>
                    <a:lnTo>
                      <a:pt x="203" y="162"/>
                    </a:lnTo>
                    <a:lnTo>
                      <a:pt x="201" y="162"/>
                    </a:lnTo>
                    <a:lnTo>
                      <a:pt x="201" y="158"/>
                    </a:lnTo>
                    <a:lnTo>
                      <a:pt x="197" y="156"/>
                    </a:lnTo>
                    <a:lnTo>
                      <a:pt x="197" y="156"/>
                    </a:lnTo>
                    <a:lnTo>
                      <a:pt x="197" y="160"/>
                    </a:lnTo>
                    <a:lnTo>
                      <a:pt x="197" y="162"/>
                    </a:lnTo>
                    <a:lnTo>
                      <a:pt x="193" y="162"/>
                    </a:lnTo>
                    <a:lnTo>
                      <a:pt x="192" y="158"/>
                    </a:lnTo>
                    <a:lnTo>
                      <a:pt x="192" y="160"/>
                    </a:lnTo>
                    <a:lnTo>
                      <a:pt x="192" y="160"/>
                    </a:lnTo>
                    <a:lnTo>
                      <a:pt x="192" y="160"/>
                    </a:lnTo>
                    <a:lnTo>
                      <a:pt x="192" y="160"/>
                    </a:lnTo>
                    <a:close/>
                    <a:moveTo>
                      <a:pt x="173" y="137"/>
                    </a:moveTo>
                    <a:lnTo>
                      <a:pt x="171" y="137"/>
                    </a:lnTo>
                    <a:lnTo>
                      <a:pt x="173" y="141"/>
                    </a:lnTo>
                    <a:lnTo>
                      <a:pt x="176" y="141"/>
                    </a:lnTo>
                    <a:lnTo>
                      <a:pt x="175" y="137"/>
                    </a:lnTo>
                    <a:lnTo>
                      <a:pt x="173" y="137"/>
                    </a:lnTo>
                    <a:lnTo>
                      <a:pt x="173" y="137"/>
                    </a:lnTo>
                    <a:lnTo>
                      <a:pt x="173" y="137"/>
                    </a:lnTo>
                    <a:lnTo>
                      <a:pt x="173" y="137"/>
                    </a:lnTo>
                    <a:close/>
                    <a:moveTo>
                      <a:pt x="175" y="128"/>
                    </a:moveTo>
                    <a:lnTo>
                      <a:pt x="173" y="132"/>
                    </a:lnTo>
                    <a:lnTo>
                      <a:pt x="175" y="133"/>
                    </a:lnTo>
                    <a:lnTo>
                      <a:pt x="178" y="133"/>
                    </a:lnTo>
                    <a:lnTo>
                      <a:pt x="182" y="133"/>
                    </a:lnTo>
                    <a:lnTo>
                      <a:pt x="184" y="133"/>
                    </a:lnTo>
                    <a:lnTo>
                      <a:pt x="178" y="130"/>
                    </a:lnTo>
                    <a:lnTo>
                      <a:pt x="175" y="128"/>
                    </a:lnTo>
                    <a:lnTo>
                      <a:pt x="175" y="128"/>
                    </a:lnTo>
                    <a:lnTo>
                      <a:pt x="175" y="128"/>
                    </a:lnTo>
                    <a:lnTo>
                      <a:pt x="175" y="128"/>
                    </a:lnTo>
                    <a:close/>
                    <a:moveTo>
                      <a:pt x="139" y="103"/>
                    </a:moveTo>
                    <a:lnTo>
                      <a:pt x="137" y="109"/>
                    </a:lnTo>
                    <a:lnTo>
                      <a:pt x="137" y="113"/>
                    </a:lnTo>
                    <a:lnTo>
                      <a:pt x="143" y="113"/>
                    </a:lnTo>
                    <a:lnTo>
                      <a:pt x="146" y="116"/>
                    </a:lnTo>
                    <a:lnTo>
                      <a:pt x="148" y="113"/>
                    </a:lnTo>
                    <a:lnTo>
                      <a:pt x="146" y="109"/>
                    </a:lnTo>
                    <a:lnTo>
                      <a:pt x="143" y="105"/>
                    </a:lnTo>
                    <a:lnTo>
                      <a:pt x="139" y="103"/>
                    </a:lnTo>
                    <a:lnTo>
                      <a:pt x="139" y="103"/>
                    </a:lnTo>
                    <a:lnTo>
                      <a:pt x="139" y="103"/>
                    </a:lnTo>
                    <a:lnTo>
                      <a:pt x="139" y="103"/>
                    </a:lnTo>
                    <a:close/>
                    <a:moveTo>
                      <a:pt x="128" y="98"/>
                    </a:moveTo>
                    <a:lnTo>
                      <a:pt x="129" y="98"/>
                    </a:lnTo>
                    <a:lnTo>
                      <a:pt x="133" y="100"/>
                    </a:lnTo>
                    <a:lnTo>
                      <a:pt x="137" y="103"/>
                    </a:lnTo>
                    <a:lnTo>
                      <a:pt x="133" y="107"/>
                    </a:lnTo>
                    <a:lnTo>
                      <a:pt x="133" y="105"/>
                    </a:lnTo>
                    <a:lnTo>
                      <a:pt x="128" y="98"/>
                    </a:lnTo>
                    <a:lnTo>
                      <a:pt x="128" y="98"/>
                    </a:lnTo>
                    <a:lnTo>
                      <a:pt x="128" y="98"/>
                    </a:lnTo>
                    <a:lnTo>
                      <a:pt x="128" y="98"/>
                    </a:lnTo>
                    <a:close/>
                    <a:moveTo>
                      <a:pt x="114" y="88"/>
                    </a:moveTo>
                    <a:lnTo>
                      <a:pt x="116" y="94"/>
                    </a:lnTo>
                    <a:lnTo>
                      <a:pt x="120" y="94"/>
                    </a:lnTo>
                    <a:lnTo>
                      <a:pt x="124" y="92"/>
                    </a:lnTo>
                    <a:lnTo>
                      <a:pt x="120" y="88"/>
                    </a:lnTo>
                    <a:lnTo>
                      <a:pt x="118" y="88"/>
                    </a:lnTo>
                    <a:lnTo>
                      <a:pt x="114" y="88"/>
                    </a:lnTo>
                    <a:lnTo>
                      <a:pt x="114" y="88"/>
                    </a:lnTo>
                    <a:lnTo>
                      <a:pt x="114" y="88"/>
                    </a:lnTo>
                    <a:lnTo>
                      <a:pt x="114" y="88"/>
                    </a:lnTo>
                    <a:close/>
                    <a:moveTo>
                      <a:pt x="128" y="226"/>
                    </a:moveTo>
                    <a:lnTo>
                      <a:pt x="133" y="229"/>
                    </a:lnTo>
                    <a:lnTo>
                      <a:pt x="133" y="228"/>
                    </a:lnTo>
                    <a:lnTo>
                      <a:pt x="129" y="226"/>
                    </a:lnTo>
                    <a:lnTo>
                      <a:pt x="128" y="226"/>
                    </a:lnTo>
                    <a:lnTo>
                      <a:pt x="128" y="226"/>
                    </a:lnTo>
                    <a:lnTo>
                      <a:pt x="128" y="226"/>
                    </a:lnTo>
                    <a:lnTo>
                      <a:pt x="128" y="226"/>
                    </a:lnTo>
                    <a:close/>
                    <a:moveTo>
                      <a:pt x="94" y="181"/>
                    </a:moveTo>
                    <a:lnTo>
                      <a:pt x="92" y="184"/>
                    </a:lnTo>
                    <a:lnTo>
                      <a:pt x="99" y="190"/>
                    </a:lnTo>
                    <a:lnTo>
                      <a:pt x="97" y="186"/>
                    </a:lnTo>
                    <a:lnTo>
                      <a:pt x="97" y="184"/>
                    </a:lnTo>
                    <a:lnTo>
                      <a:pt x="94" y="181"/>
                    </a:lnTo>
                    <a:lnTo>
                      <a:pt x="94" y="181"/>
                    </a:lnTo>
                    <a:lnTo>
                      <a:pt x="94" y="181"/>
                    </a:lnTo>
                    <a:lnTo>
                      <a:pt x="94" y="181"/>
                    </a:lnTo>
                    <a:close/>
                    <a:moveTo>
                      <a:pt x="88" y="177"/>
                    </a:moveTo>
                    <a:lnTo>
                      <a:pt x="92" y="179"/>
                    </a:lnTo>
                    <a:lnTo>
                      <a:pt x="88" y="181"/>
                    </a:lnTo>
                    <a:lnTo>
                      <a:pt x="88" y="177"/>
                    </a:lnTo>
                    <a:lnTo>
                      <a:pt x="88" y="177"/>
                    </a:lnTo>
                    <a:lnTo>
                      <a:pt x="88" y="177"/>
                    </a:lnTo>
                    <a:lnTo>
                      <a:pt x="88" y="177"/>
                    </a:lnTo>
                    <a:close/>
                    <a:moveTo>
                      <a:pt x="80" y="165"/>
                    </a:moveTo>
                    <a:lnTo>
                      <a:pt x="79" y="167"/>
                    </a:lnTo>
                    <a:lnTo>
                      <a:pt x="80" y="169"/>
                    </a:lnTo>
                    <a:lnTo>
                      <a:pt x="86" y="171"/>
                    </a:lnTo>
                    <a:lnTo>
                      <a:pt x="80" y="165"/>
                    </a:lnTo>
                    <a:lnTo>
                      <a:pt x="80" y="165"/>
                    </a:lnTo>
                    <a:lnTo>
                      <a:pt x="80" y="165"/>
                    </a:lnTo>
                    <a:lnTo>
                      <a:pt x="80" y="165"/>
                    </a:lnTo>
                    <a:close/>
                    <a:moveTo>
                      <a:pt x="62" y="148"/>
                    </a:moveTo>
                    <a:lnTo>
                      <a:pt x="62" y="152"/>
                    </a:lnTo>
                    <a:lnTo>
                      <a:pt x="65" y="152"/>
                    </a:lnTo>
                    <a:lnTo>
                      <a:pt x="71" y="160"/>
                    </a:lnTo>
                    <a:lnTo>
                      <a:pt x="75" y="162"/>
                    </a:lnTo>
                    <a:lnTo>
                      <a:pt x="75" y="154"/>
                    </a:lnTo>
                    <a:lnTo>
                      <a:pt x="69" y="147"/>
                    </a:lnTo>
                    <a:lnTo>
                      <a:pt x="65" y="145"/>
                    </a:lnTo>
                    <a:lnTo>
                      <a:pt x="62" y="148"/>
                    </a:lnTo>
                    <a:lnTo>
                      <a:pt x="62" y="148"/>
                    </a:lnTo>
                    <a:lnTo>
                      <a:pt x="62" y="148"/>
                    </a:lnTo>
                    <a:lnTo>
                      <a:pt x="62" y="148"/>
                    </a:lnTo>
                    <a:close/>
                    <a:moveTo>
                      <a:pt x="58" y="133"/>
                    </a:moveTo>
                    <a:lnTo>
                      <a:pt x="56" y="137"/>
                    </a:lnTo>
                    <a:lnTo>
                      <a:pt x="60" y="141"/>
                    </a:lnTo>
                    <a:lnTo>
                      <a:pt x="62" y="137"/>
                    </a:lnTo>
                    <a:lnTo>
                      <a:pt x="62" y="137"/>
                    </a:lnTo>
                    <a:lnTo>
                      <a:pt x="58" y="133"/>
                    </a:lnTo>
                    <a:lnTo>
                      <a:pt x="58" y="133"/>
                    </a:lnTo>
                    <a:lnTo>
                      <a:pt x="58" y="133"/>
                    </a:lnTo>
                    <a:lnTo>
                      <a:pt x="58" y="133"/>
                    </a:lnTo>
                    <a:close/>
                    <a:moveTo>
                      <a:pt x="62" y="124"/>
                    </a:moveTo>
                    <a:lnTo>
                      <a:pt x="65" y="124"/>
                    </a:lnTo>
                    <a:lnTo>
                      <a:pt x="67" y="126"/>
                    </a:lnTo>
                    <a:lnTo>
                      <a:pt x="67" y="124"/>
                    </a:lnTo>
                    <a:lnTo>
                      <a:pt x="64" y="122"/>
                    </a:lnTo>
                    <a:lnTo>
                      <a:pt x="62" y="124"/>
                    </a:lnTo>
                    <a:lnTo>
                      <a:pt x="62" y="124"/>
                    </a:lnTo>
                    <a:lnTo>
                      <a:pt x="62" y="124"/>
                    </a:lnTo>
                    <a:lnTo>
                      <a:pt x="62" y="124"/>
                    </a:lnTo>
                    <a:close/>
                    <a:moveTo>
                      <a:pt x="35" y="100"/>
                    </a:moveTo>
                    <a:lnTo>
                      <a:pt x="39" y="100"/>
                    </a:lnTo>
                    <a:lnTo>
                      <a:pt x="41" y="98"/>
                    </a:lnTo>
                    <a:lnTo>
                      <a:pt x="43" y="100"/>
                    </a:lnTo>
                    <a:lnTo>
                      <a:pt x="47" y="105"/>
                    </a:lnTo>
                    <a:lnTo>
                      <a:pt x="50" y="107"/>
                    </a:lnTo>
                    <a:lnTo>
                      <a:pt x="50" y="109"/>
                    </a:lnTo>
                    <a:lnTo>
                      <a:pt x="48" y="116"/>
                    </a:lnTo>
                    <a:lnTo>
                      <a:pt x="47" y="116"/>
                    </a:lnTo>
                    <a:lnTo>
                      <a:pt x="43" y="109"/>
                    </a:lnTo>
                    <a:lnTo>
                      <a:pt x="41" y="109"/>
                    </a:lnTo>
                    <a:lnTo>
                      <a:pt x="39" y="105"/>
                    </a:lnTo>
                    <a:lnTo>
                      <a:pt x="35" y="100"/>
                    </a:lnTo>
                    <a:lnTo>
                      <a:pt x="35" y="100"/>
                    </a:lnTo>
                    <a:lnTo>
                      <a:pt x="35" y="100"/>
                    </a:lnTo>
                    <a:lnTo>
                      <a:pt x="35" y="100"/>
                    </a:lnTo>
                    <a:close/>
                    <a:moveTo>
                      <a:pt x="35" y="84"/>
                    </a:moveTo>
                    <a:lnTo>
                      <a:pt x="39" y="88"/>
                    </a:lnTo>
                    <a:lnTo>
                      <a:pt x="37" y="84"/>
                    </a:lnTo>
                    <a:lnTo>
                      <a:pt x="35" y="84"/>
                    </a:lnTo>
                    <a:lnTo>
                      <a:pt x="35" y="84"/>
                    </a:lnTo>
                    <a:lnTo>
                      <a:pt x="35" y="84"/>
                    </a:lnTo>
                    <a:lnTo>
                      <a:pt x="35" y="84"/>
                    </a:lnTo>
                    <a:close/>
                    <a:moveTo>
                      <a:pt x="9" y="69"/>
                    </a:moveTo>
                    <a:lnTo>
                      <a:pt x="9" y="73"/>
                    </a:lnTo>
                    <a:lnTo>
                      <a:pt x="7" y="73"/>
                    </a:lnTo>
                    <a:lnTo>
                      <a:pt x="11" y="77"/>
                    </a:lnTo>
                    <a:lnTo>
                      <a:pt x="16" y="75"/>
                    </a:lnTo>
                    <a:lnTo>
                      <a:pt x="13" y="73"/>
                    </a:lnTo>
                    <a:lnTo>
                      <a:pt x="9" y="69"/>
                    </a:lnTo>
                    <a:lnTo>
                      <a:pt x="9" y="69"/>
                    </a:lnTo>
                    <a:lnTo>
                      <a:pt x="9" y="69"/>
                    </a:lnTo>
                    <a:lnTo>
                      <a:pt x="9" y="69"/>
                    </a:lnTo>
                    <a:close/>
                    <a:moveTo>
                      <a:pt x="0" y="20"/>
                    </a:moveTo>
                    <a:lnTo>
                      <a:pt x="0" y="20"/>
                    </a:lnTo>
                    <a:lnTo>
                      <a:pt x="0" y="26"/>
                    </a:lnTo>
                    <a:lnTo>
                      <a:pt x="3" y="35"/>
                    </a:lnTo>
                    <a:lnTo>
                      <a:pt x="7" y="35"/>
                    </a:lnTo>
                    <a:lnTo>
                      <a:pt x="15" y="45"/>
                    </a:lnTo>
                    <a:lnTo>
                      <a:pt x="16" y="45"/>
                    </a:lnTo>
                    <a:lnTo>
                      <a:pt x="24" y="52"/>
                    </a:lnTo>
                    <a:lnTo>
                      <a:pt x="26" y="52"/>
                    </a:lnTo>
                    <a:lnTo>
                      <a:pt x="26" y="52"/>
                    </a:lnTo>
                    <a:lnTo>
                      <a:pt x="33" y="58"/>
                    </a:lnTo>
                    <a:lnTo>
                      <a:pt x="41" y="69"/>
                    </a:lnTo>
                    <a:lnTo>
                      <a:pt x="47" y="73"/>
                    </a:lnTo>
                    <a:lnTo>
                      <a:pt x="48" y="73"/>
                    </a:lnTo>
                    <a:lnTo>
                      <a:pt x="48" y="79"/>
                    </a:lnTo>
                    <a:lnTo>
                      <a:pt x="50" y="81"/>
                    </a:lnTo>
                    <a:lnTo>
                      <a:pt x="50" y="84"/>
                    </a:lnTo>
                    <a:lnTo>
                      <a:pt x="54" y="88"/>
                    </a:lnTo>
                    <a:lnTo>
                      <a:pt x="56" y="88"/>
                    </a:lnTo>
                    <a:lnTo>
                      <a:pt x="62" y="92"/>
                    </a:lnTo>
                    <a:lnTo>
                      <a:pt x="64" y="94"/>
                    </a:lnTo>
                    <a:lnTo>
                      <a:pt x="67" y="94"/>
                    </a:lnTo>
                    <a:lnTo>
                      <a:pt x="67" y="98"/>
                    </a:lnTo>
                    <a:lnTo>
                      <a:pt x="65" y="98"/>
                    </a:lnTo>
                    <a:lnTo>
                      <a:pt x="69" y="101"/>
                    </a:lnTo>
                    <a:lnTo>
                      <a:pt x="71" y="105"/>
                    </a:lnTo>
                    <a:lnTo>
                      <a:pt x="69" y="107"/>
                    </a:lnTo>
                    <a:lnTo>
                      <a:pt x="75" y="116"/>
                    </a:lnTo>
                    <a:lnTo>
                      <a:pt x="75" y="122"/>
                    </a:lnTo>
                    <a:lnTo>
                      <a:pt x="79" y="124"/>
                    </a:lnTo>
                    <a:lnTo>
                      <a:pt x="84" y="128"/>
                    </a:lnTo>
                    <a:lnTo>
                      <a:pt x="84" y="130"/>
                    </a:lnTo>
                    <a:lnTo>
                      <a:pt x="90" y="137"/>
                    </a:lnTo>
                    <a:lnTo>
                      <a:pt x="94" y="141"/>
                    </a:lnTo>
                    <a:lnTo>
                      <a:pt x="96" y="150"/>
                    </a:lnTo>
                    <a:lnTo>
                      <a:pt x="103" y="162"/>
                    </a:lnTo>
                    <a:lnTo>
                      <a:pt x="101" y="167"/>
                    </a:lnTo>
                    <a:lnTo>
                      <a:pt x="103" y="173"/>
                    </a:lnTo>
                    <a:lnTo>
                      <a:pt x="109" y="179"/>
                    </a:lnTo>
                    <a:lnTo>
                      <a:pt x="116" y="186"/>
                    </a:lnTo>
                    <a:lnTo>
                      <a:pt x="118" y="190"/>
                    </a:lnTo>
                    <a:lnTo>
                      <a:pt x="124" y="192"/>
                    </a:lnTo>
                    <a:lnTo>
                      <a:pt x="126" y="194"/>
                    </a:lnTo>
                    <a:lnTo>
                      <a:pt x="129" y="196"/>
                    </a:lnTo>
                    <a:lnTo>
                      <a:pt x="129" y="201"/>
                    </a:lnTo>
                    <a:lnTo>
                      <a:pt x="133" y="205"/>
                    </a:lnTo>
                    <a:lnTo>
                      <a:pt x="139" y="211"/>
                    </a:lnTo>
                    <a:lnTo>
                      <a:pt x="148" y="214"/>
                    </a:lnTo>
                    <a:lnTo>
                      <a:pt x="150" y="218"/>
                    </a:lnTo>
                    <a:lnTo>
                      <a:pt x="154" y="220"/>
                    </a:lnTo>
                    <a:lnTo>
                      <a:pt x="167" y="229"/>
                    </a:lnTo>
                    <a:lnTo>
                      <a:pt x="167" y="235"/>
                    </a:lnTo>
                    <a:lnTo>
                      <a:pt x="169" y="235"/>
                    </a:lnTo>
                    <a:lnTo>
                      <a:pt x="171" y="239"/>
                    </a:lnTo>
                    <a:lnTo>
                      <a:pt x="173" y="239"/>
                    </a:lnTo>
                    <a:lnTo>
                      <a:pt x="173" y="235"/>
                    </a:lnTo>
                    <a:lnTo>
                      <a:pt x="171" y="233"/>
                    </a:lnTo>
                    <a:lnTo>
                      <a:pt x="171" y="229"/>
                    </a:lnTo>
                    <a:lnTo>
                      <a:pt x="175" y="231"/>
                    </a:lnTo>
                    <a:lnTo>
                      <a:pt x="182" y="239"/>
                    </a:lnTo>
                    <a:lnTo>
                      <a:pt x="184" y="235"/>
                    </a:lnTo>
                    <a:lnTo>
                      <a:pt x="184" y="231"/>
                    </a:lnTo>
                    <a:lnTo>
                      <a:pt x="186" y="229"/>
                    </a:lnTo>
                    <a:lnTo>
                      <a:pt x="188" y="229"/>
                    </a:lnTo>
                    <a:lnTo>
                      <a:pt x="192" y="235"/>
                    </a:lnTo>
                    <a:lnTo>
                      <a:pt x="193" y="235"/>
                    </a:lnTo>
                    <a:lnTo>
                      <a:pt x="197" y="233"/>
                    </a:lnTo>
                    <a:lnTo>
                      <a:pt x="197" y="224"/>
                    </a:lnTo>
                    <a:lnTo>
                      <a:pt x="197" y="214"/>
                    </a:lnTo>
                    <a:lnTo>
                      <a:pt x="197" y="209"/>
                    </a:lnTo>
                    <a:lnTo>
                      <a:pt x="199" y="201"/>
                    </a:lnTo>
                    <a:lnTo>
                      <a:pt x="197" y="197"/>
                    </a:lnTo>
                    <a:lnTo>
                      <a:pt x="197" y="192"/>
                    </a:lnTo>
                    <a:lnTo>
                      <a:pt x="201" y="190"/>
                    </a:lnTo>
                    <a:lnTo>
                      <a:pt x="203" y="190"/>
                    </a:lnTo>
                    <a:lnTo>
                      <a:pt x="203" y="186"/>
                    </a:lnTo>
                    <a:lnTo>
                      <a:pt x="199" y="184"/>
                    </a:lnTo>
                    <a:lnTo>
                      <a:pt x="197" y="181"/>
                    </a:lnTo>
                    <a:lnTo>
                      <a:pt x="193" y="177"/>
                    </a:lnTo>
                    <a:lnTo>
                      <a:pt x="192" y="175"/>
                    </a:lnTo>
                    <a:lnTo>
                      <a:pt x="192" y="173"/>
                    </a:lnTo>
                    <a:lnTo>
                      <a:pt x="188" y="171"/>
                    </a:lnTo>
                    <a:lnTo>
                      <a:pt x="182" y="171"/>
                    </a:lnTo>
                    <a:lnTo>
                      <a:pt x="178" y="171"/>
                    </a:lnTo>
                    <a:lnTo>
                      <a:pt x="178" y="165"/>
                    </a:lnTo>
                    <a:lnTo>
                      <a:pt x="175" y="162"/>
                    </a:lnTo>
                    <a:lnTo>
                      <a:pt x="173" y="162"/>
                    </a:lnTo>
                    <a:lnTo>
                      <a:pt x="175" y="160"/>
                    </a:lnTo>
                    <a:lnTo>
                      <a:pt x="173" y="156"/>
                    </a:lnTo>
                    <a:lnTo>
                      <a:pt x="173" y="147"/>
                    </a:lnTo>
                    <a:lnTo>
                      <a:pt x="167" y="148"/>
                    </a:lnTo>
                    <a:lnTo>
                      <a:pt x="167" y="147"/>
                    </a:lnTo>
                    <a:lnTo>
                      <a:pt x="160" y="147"/>
                    </a:lnTo>
                    <a:lnTo>
                      <a:pt x="154" y="143"/>
                    </a:lnTo>
                    <a:lnTo>
                      <a:pt x="154" y="141"/>
                    </a:lnTo>
                    <a:lnTo>
                      <a:pt x="158" y="137"/>
                    </a:lnTo>
                    <a:lnTo>
                      <a:pt x="161" y="133"/>
                    </a:lnTo>
                    <a:lnTo>
                      <a:pt x="160" y="133"/>
                    </a:lnTo>
                    <a:lnTo>
                      <a:pt x="154" y="133"/>
                    </a:lnTo>
                    <a:lnTo>
                      <a:pt x="152" y="133"/>
                    </a:lnTo>
                    <a:lnTo>
                      <a:pt x="148" y="133"/>
                    </a:lnTo>
                    <a:lnTo>
                      <a:pt x="152" y="133"/>
                    </a:lnTo>
                    <a:lnTo>
                      <a:pt x="154" y="130"/>
                    </a:lnTo>
                    <a:lnTo>
                      <a:pt x="161" y="130"/>
                    </a:lnTo>
                    <a:lnTo>
                      <a:pt x="161" y="124"/>
                    </a:lnTo>
                    <a:lnTo>
                      <a:pt x="154" y="118"/>
                    </a:lnTo>
                    <a:lnTo>
                      <a:pt x="150" y="118"/>
                    </a:lnTo>
                    <a:lnTo>
                      <a:pt x="146" y="122"/>
                    </a:lnTo>
                    <a:lnTo>
                      <a:pt x="143" y="124"/>
                    </a:lnTo>
                    <a:lnTo>
                      <a:pt x="139" y="124"/>
                    </a:lnTo>
                    <a:lnTo>
                      <a:pt x="143" y="122"/>
                    </a:lnTo>
                    <a:lnTo>
                      <a:pt x="143" y="122"/>
                    </a:lnTo>
                    <a:lnTo>
                      <a:pt x="144" y="122"/>
                    </a:lnTo>
                    <a:lnTo>
                      <a:pt x="146" y="118"/>
                    </a:lnTo>
                    <a:lnTo>
                      <a:pt x="144" y="116"/>
                    </a:lnTo>
                    <a:lnTo>
                      <a:pt x="143" y="113"/>
                    </a:lnTo>
                    <a:lnTo>
                      <a:pt x="133" y="113"/>
                    </a:lnTo>
                    <a:lnTo>
                      <a:pt x="129" y="109"/>
                    </a:lnTo>
                    <a:lnTo>
                      <a:pt x="129" y="109"/>
                    </a:lnTo>
                    <a:lnTo>
                      <a:pt x="129" y="103"/>
                    </a:lnTo>
                    <a:lnTo>
                      <a:pt x="122" y="98"/>
                    </a:lnTo>
                    <a:lnTo>
                      <a:pt x="118" y="98"/>
                    </a:lnTo>
                    <a:lnTo>
                      <a:pt x="116" y="98"/>
                    </a:lnTo>
                    <a:lnTo>
                      <a:pt x="112" y="94"/>
                    </a:lnTo>
                    <a:lnTo>
                      <a:pt x="112" y="88"/>
                    </a:lnTo>
                    <a:lnTo>
                      <a:pt x="109" y="83"/>
                    </a:lnTo>
                    <a:lnTo>
                      <a:pt x="101" y="79"/>
                    </a:lnTo>
                    <a:lnTo>
                      <a:pt x="96" y="77"/>
                    </a:lnTo>
                    <a:lnTo>
                      <a:pt x="96" y="79"/>
                    </a:lnTo>
                    <a:lnTo>
                      <a:pt x="94" y="79"/>
                    </a:lnTo>
                    <a:lnTo>
                      <a:pt x="92" y="73"/>
                    </a:lnTo>
                    <a:lnTo>
                      <a:pt x="90" y="75"/>
                    </a:lnTo>
                    <a:lnTo>
                      <a:pt x="88" y="73"/>
                    </a:lnTo>
                    <a:lnTo>
                      <a:pt x="88" y="69"/>
                    </a:lnTo>
                    <a:lnTo>
                      <a:pt x="84" y="64"/>
                    </a:lnTo>
                    <a:lnTo>
                      <a:pt x="79" y="64"/>
                    </a:lnTo>
                    <a:lnTo>
                      <a:pt x="79" y="60"/>
                    </a:lnTo>
                    <a:lnTo>
                      <a:pt x="67" y="52"/>
                    </a:lnTo>
                    <a:lnTo>
                      <a:pt x="64" y="52"/>
                    </a:lnTo>
                    <a:lnTo>
                      <a:pt x="60" y="49"/>
                    </a:lnTo>
                    <a:lnTo>
                      <a:pt x="54" y="49"/>
                    </a:lnTo>
                    <a:lnTo>
                      <a:pt x="54" y="45"/>
                    </a:lnTo>
                    <a:lnTo>
                      <a:pt x="54" y="39"/>
                    </a:lnTo>
                    <a:lnTo>
                      <a:pt x="50" y="35"/>
                    </a:lnTo>
                    <a:lnTo>
                      <a:pt x="48" y="32"/>
                    </a:lnTo>
                    <a:lnTo>
                      <a:pt x="47" y="32"/>
                    </a:lnTo>
                    <a:lnTo>
                      <a:pt x="45" y="26"/>
                    </a:lnTo>
                    <a:lnTo>
                      <a:pt x="39" y="24"/>
                    </a:lnTo>
                    <a:lnTo>
                      <a:pt x="35" y="24"/>
                    </a:lnTo>
                    <a:lnTo>
                      <a:pt x="33" y="26"/>
                    </a:lnTo>
                    <a:lnTo>
                      <a:pt x="30" y="24"/>
                    </a:lnTo>
                    <a:lnTo>
                      <a:pt x="26" y="24"/>
                    </a:lnTo>
                    <a:lnTo>
                      <a:pt x="20" y="26"/>
                    </a:lnTo>
                    <a:lnTo>
                      <a:pt x="16" y="24"/>
                    </a:lnTo>
                    <a:lnTo>
                      <a:pt x="9" y="20"/>
                    </a:lnTo>
                    <a:lnTo>
                      <a:pt x="1" y="17"/>
                    </a:lnTo>
                    <a:lnTo>
                      <a:pt x="0" y="20"/>
                    </a:lnTo>
                    <a:lnTo>
                      <a:pt x="0" y="20"/>
                    </a:lnTo>
                    <a:lnTo>
                      <a:pt x="0" y="2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3" name="Freeform 195"/>
              <p:cNvSpPr>
                <a:spLocks noEditPoints="1"/>
              </p:cNvSpPr>
              <p:nvPr/>
            </p:nvSpPr>
            <p:spPr bwMode="auto">
              <a:xfrm>
                <a:off x="5800" y="3516"/>
                <a:ext cx="75" cy="52"/>
              </a:xfrm>
              <a:custGeom>
                <a:avLst/>
                <a:gdLst/>
                <a:ahLst/>
                <a:cxnLst>
                  <a:cxn ang="0">
                    <a:pos x="6" y="5"/>
                  </a:cxn>
                  <a:cxn ang="0">
                    <a:pos x="10" y="5"/>
                  </a:cxn>
                  <a:cxn ang="0">
                    <a:pos x="15" y="11"/>
                  </a:cxn>
                  <a:cxn ang="0">
                    <a:pos x="21" y="15"/>
                  </a:cxn>
                  <a:cxn ang="0">
                    <a:pos x="30" y="32"/>
                  </a:cxn>
                  <a:cxn ang="0">
                    <a:pos x="36" y="32"/>
                  </a:cxn>
                  <a:cxn ang="0">
                    <a:pos x="47" y="47"/>
                  </a:cxn>
                  <a:cxn ang="0">
                    <a:pos x="51" y="52"/>
                  </a:cxn>
                  <a:cxn ang="0">
                    <a:pos x="45" y="52"/>
                  </a:cxn>
                  <a:cxn ang="0">
                    <a:pos x="40" y="50"/>
                  </a:cxn>
                  <a:cxn ang="0">
                    <a:pos x="36" y="45"/>
                  </a:cxn>
                  <a:cxn ang="0">
                    <a:pos x="28" y="37"/>
                  </a:cxn>
                  <a:cxn ang="0">
                    <a:pos x="25" y="37"/>
                  </a:cxn>
                  <a:cxn ang="0">
                    <a:pos x="17" y="30"/>
                  </a:cxn>
                  <a:cxn ang="0">
                    <a:pos x="13" y="28"/>
                  </a:cxn>
                  <a:cxn ang="0">
                    <a:pos x="11" y="20"/>
                  </a:cxn>
                  <a:cxn ang="0">
                    <a:pos x="2" y="7"/>
                  </a:cxn>
                  <a:cxn ang="0">
                    <a:pos x="0" y="2"/>
                  </a:cxn>
                  <a:cxn ang="0">
                    <a:pos x="0" y="0"/>
                  </a:cxn>
                  <a:cxn ang="0">
                    <a:pos x="0" y="0"/>
                  </a:cxn>
                  <a:cxn ang="0">
                    <a:pos x="72" y="32"/>
                  </a:cxn>
                  <a:cxn ang="0">
                    <a:pos x="75" y="37"/>
                  </a:cxn>
                  <a:cxn ang="0">
                    <a:pos x="72" y="37"/>
                  </a:cxn>
                  <a:cxn ang="0">
                    <a:pos x="66" y="32"/>
                  </a:cxn>
                  <a:cxn ang="0">
                    <a:pos x="66" y="32"/>
                  </a:cxn>
                  <a:cxn ang="0">
                    <a:pos x="60" y="13"/>
                  </a:cxn>
                  <a:cxn ang="0">
                    <a:pos x="57" y="17"/>
                  </a:cxn>
                  <a:cxn ang="0">
                    <a:pos x="59" y="22"/>
                  </a:cxn>
                  <a:cxn ang="0">
                    <a:pos x="64" y="22"/>
                  </a:cxn>
                  <a:cxn ang="0">
                    <a:pos x="62" y="17"/>
                  </a:cxn>
                  <a:cxn ang="0">
                    <a:pos x="60" y="13"/>
                  </a:cxn>
                  <a:cxn ang="0">
                    <a:pos x="60" y="13"/>
                  </a:cxn>
                  <a:cxn ang="0">
                    <a:pos x="47" y="7"/>
                  </a:cxn>
                  <a:cxn ang="0">
                    <a:pos x="45" y="13"/>
                  </a:cxn>
                  <a:cxn ang="0">
                    <a:pos x="51" y="11"/>
                  </a:cxn>
                  <a:cxn ang="0">
                    <a:pos x="47" y="7"/>
                  </a:cxn>
                  <a:cxn ang="0">
                    <a:pos x="47" y="7"/>
                  </a:cxn>
                </a:cxnLst>
                <a:rect l="0" t="0" r="r" b="b"/>
                <a:pathLst>
                  <a:path w="75" h="52">
                    <a:moveTo>
                      <a:pt x="0" y="0"/>
                    </a:moveTo>
                    <a:lnTo>
                      <a:pt x="6" y="5"/>
                    </a:lnTo>
                    <a:lnTo>
                      <a:pt x="10" y="2"/>
                    </a:lnTo>
                    <a:lnTo>
                      <a:pt x="10" y="5"/>
                    </a:lnTo>
                    <a:lnTo>
                      <a:pt x="11" y="7"/>
                    </a:lnTo>
                    <a:lnTo>
                      <a:pt x="15" y="11"/>
                    </a:lnTo>
                    <a:lnTo>
                      <a:pt x="17" y="15"/>
                    </a:lnTo>
                    <a:lnTo>
                      <a:pt x="21" y="15"/>
                    </a:lnTo>
                    <a:lnTo>
                      <a:pt x="28" y="26"/>
                    </a:lnTo>
                    <a:lnTo>
                      <a:pt x="30" y="32"/>
                    </a:lnTo>
                    <a:lnTo>
                      <a:pt x="34" y="32"/>
                    </a:lnTo>
                    <a:lnTo>
                      <a:pt x="36" y="32"/>
                    </a:lnTo>
                    <a:lnTo>
                      <a:pt x="40" y="41"/>
                    </a:lnTo>
                    <a:lnTo>
                      <a:pt x="47" y="47"/>
                    </a:lnTo>
                    <a:lnTo>
                      <a:pt x="49" y="47"/>
                    </a:lnTo>
                    <a:lnTo>
                      <a:pt x="51" y="52"/>
                    </a:lnTo>
                    <a:lnTo>
                      <a:pt x="47" y="50"/>
                    </a:lnTo>
                    <a:lnTo>
                      <a:pt x="45" y="52"/>
                    </a:lnTo>
                    <a:lnTo>
                      <a:pt x="42" y="50"/>
                    </a:lnTo>
                    <a:lnTo>
                      <a:pt x="40" y="50"/>
                    </a:lnTo>
                    <a:lnTo>
                      <a:pt x="36" y="47"/>
                    </a:lnTo>
                    <a:lnTo>
                      <a:pt x="36" y="45"/>
                    </a:lnTo>
                    <a:lnTo>
                      <a:pt x="30" y="45"/>
                    </a:lnTo>
                    <a:lnTo>
                      <a:pt x="28" y="37"/>
                    </a:lnTo>
                    <a:lnTo>
                      <a:pt x="27" y="37"/>
                    </a:lnTo>
                    <a:lnTo>
                      <a:pt x="25" y="37"/>
                    </a:lnTo>
                    <a:lnTo>
                      <a:pt x="23" y="32"/>
                    </a:lnTo>
                    <a:lnTo>
                      <a:pt x="17" y="30"/>
                    </a:lnTo>
                    <a:lnTo>
                      <a:pt x="17" y="28"/>
                    </a:lnTo>
                    <a:lnTo>
                      <a:pt x="13" y="28"/>
                    </a:lnTo>
                    <a:lnTo>
                      <a:pt x="11" y="24"/>
                    </a:lnTo>
                    <a:lnTo>
                      <a:pt x="11" y="20"/>
                    </a:lnTo>
                    <a:lnTo>
                      <a:pt x="10" y="18"/>
                    </a:lnTo>
                    <a:lnTo>
                      <a:pt x="2" y="7"/>
                    </a:lnTo>
                    <a:lnTo>
                      <a:pt x="2" y="5"/>
                    </a:lnTo>
                    <a:lnTo>
                      <a:pt x="0" y="2"/>
                    </a:lnTo>
                    <a:lnTo>
                      <a:pt x="0" y="0"/>
                    </a:lnTo>
                    <a:lnTo>
                      <a:pt x="0" y="0"/>
                    </a:lnTo>
                    <a:lnTo>
                      <a:pt x="0" y="0"/>
                    </a:lnTo>
                    <a:lnTo>
                      <a:pt x="0" y="0"/>
                    </a:lnTo>
                    <a:close/>
                    <a:moveTo>
                      <a:pt x="66" y="32"/>
                    </a:moveTo>
                    <a:lnTo>
                      <a:pt x="72" y="32"/>
                    </a:lnTo>
                    <a:lnTo>
                      <a:pt x="75" y="32"/>
                    </a:lnTo>
                    <a:lnTo>
                      <a:pt x="75" y="37"/>
                    </a:lnTo>
                    <a:lnTo>
                      <a:pt x="72" y="37"/>
                    </a:lnTo>
                    <a:lnTo>
                      <a:pt x="72" y="37"/>
                    </a:lnTo>
                    <a:lnTo>
                      <a:pt x="66" y="35"/>
                    </a:lnTo>
                    <a:lnTo>
                      <a:pt x="66" y="32"/>
                    </a:lnTo>
                    <a:lnTo>
                      <a:pt x="66" y="32"/>
                    </a:lnTo>
                    <a:lnTo>
                      <a:pt x="66" y="32"/>
                    </a:lnTo>
                    <a:lnTo>
                      <a:pt x="66" y="32"/>
                    </a:lnTo>
                    <a:close/>
                    <a:moveTo>
                      <a:pt x="60" y="13"/>
                    </a:moveTo>
                    <a:lnTo>
                      <a:pt x="57" y="15"/>
                    </a:lnTo>
                    <a:lnTo>
                      <a:pt x="57" y="17"/>
                    </a:lnTo>
                    <a:lnTo>
                      <a:pt x="57" y="18"/>
                    </a:lnTo>
                    <a:lnTo>
                      <a:pt x="59" y="22"/>
                    </a:lnTo>
                    <a:lnTo>
                      <a:pt x="62" y="24"/>
                    </a:lnTo>
                    <a:lnTo>
                      <a:pt x="64" y="22"/>
                    </a:lnTo>
                    <a:lnTo>
                      <a:pt x="60" y="20"/>
                    </a:lnTo>
                    <a:lnTo>
                      <a:pt x="62" y="17"/>
                    </a:lnTo>
                    <a:lnTo>
                      <a:pt x="62" y="13"/>
                    </a:lnTo>
                    <a:lnTo>
                      <a:pt x="60" y="13"/>
                    </a:lnTo>
                    <a:lnTo>
                      <a:pt x="60" y="13"/>
                    </a:lnTo>
                    <a:lnTo>
                      <a:pt x="60" y="13"/>
                    </a:lnTo>
                    <a:lnTo>
                      <a:pt x="60" y="13"/>
                    </a:lnTo>
                    <a:close/>
                    <a:moveTo>
                      <a:pt x="47" y="7"/>
                    </a:moveTo>
                    <a:lnTo>
                      <a:pt x="47" y="11"/>
                    </a:lnTo>
                    <a:lnTo>
                      <a:pt x="45" y="13"/>
                    </a:lnTo>
                    <a:lnTo>
                      <a:pt x="49" y="13"/>
                    </a:lnTo>
                    <a:lnTo>
                      <a:pt x="51" y="11"/>
                    </a:lnTo>
                    <a:lnTo>
                      <a:pt x="49" y="7"/>
                    </a:lnTo>
                    <a:lnTo>
                      <a:pt x="47" y="7"/>
                    </a:lnTo>
                    <a:lnTo>
                      <a:pt x="47" y="7"/>
                    </a:lnTo>
                    <a:lnTo>
                      <a:pt x="47"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4" name="Freeform 196"/>
              <p:cNvSpPr>
                <a:spLocks noEditPoints="1"/>
              </p:cNvSpPr>
              <p:nvPr/>
            </p:nvSpPr>
            <p:spPr bwMode="auto">
              <a:xfrm>
                <a:off x="5800" y="3516"/>
                <a:ext cx="75" cy="52"/>
              </a:xfrm>
              <a:custGeom>
                <a:avLst/>
                <a:gdLst/>
                <a:ahLst/>
                <a:cxnLst>
                  <a:cxn ang="0">
                    <a:pos x="6" y="5"/>
                  </a:cxn>
                  <a:cxn ang="0">
                    <a:pos x="10" y="5"/>
                  </a:cxn>
                  <a:cxn ang="0">
                    <a:pos x="15" y="11"/>
                  </a:cxn>
                  <a:cxn ang="0">
                    <a:pos x="21" y="15"/>
                  </a:cxn>
                  <a:cxn ang="0">
                    <a:pos x="30" y="32"/>
                  </a:cxn>
                  <a:cxn ang="0">
                    <a:pos x="36" y="32"/>
                  </a:cxn>
                  <a:cxn ang="0">
                    <a:pos x="47" y="47"/>
                  </a:cxn>
                  <a:cxn ang="0">
                    <a:pos x="51" y="52"/>
                  </a:cxn>
                  <a:cxn ang="0">
                    <a:pos x="45" y="52"/>
                  </a:cxn>
                  <a:cxn ang="0">
                    <a:pos x="40" y="50"/>
                  </a:cxn>
                  <a:cxn ang="0">
                    <a:pos x="36" y="45"/>
                  </a:cxn>
                  <a:cxn ang="0">
                    <a:pos x="28" y="37"/>
                  </a:cxn>
                  <a:cxn ang="0">
                    <a:pos x="25" y="37"/>
                  </a:cxn>
                  <a:cxn ang="0">
                    <a:pos x="17" y="30"/>
                  </a:cxn>
                  <a:cxn ang="0">
                    <a:pos x="13" y="28"/>
                  </a:cxn>
                  <a:cxn ang="0">
                    <a:pos x="11" y="20"/>
                  </a:cxn>
                  <a:cxn ang="0">
                    <a:pos x="2" y="7"/>
                  </a:cxn>
                  <a:cxn ang="0">
                    <a:pos x="0" y="2"/>
                  </a:cxn>
                  <a:cxn ang="0">
                    <a:pos x="0" y="0"/>
                  </a:cxn>
                  <a:cxn ang="0">
                    <a:pos x="0" y="0"/>
                  </a:cxn>
                  <a:cxn ang="0">
                    <a:pos x="72" y="32"/>
                  </a:cxn>
                  <a:cxn ang="0">
                    <a:pos x="75" y="37"/>
                  </a:cxn>
                  <a:cxn ang="0">
                    <a:pos x="72" y="37"/>
                  </a:cxn>
                  <a:cxn ang="0">
                    <a:pos x="66" y="32"/>
                  </a:cxn>
                  <a:cxn ang="0">
                    <a:pos x="66" y="32"/>
                  </a:cxn>
                  <a:cxn ang="0">
                    <a:pos x="60" y="13"/>
                  </a:cxn>
                  <a:cxn ang="0">
                    <a:pos x="57" y="17"/>
                  </a:cxn>
                  <a:cxn ang="0">
                    <a:pos x="59" y="22"/>
                  </a:cxn>
                  <a:cxn ang="0">
                    <a:pos x="64" y="22"/>
                  </a:cxn>
                  <a:cxn ang="0">
                    <a:pos x="62" y="17"/>
                  </a:cxn>
                  <a:cxn ang="0">
                    <a:pos x="60" y="13"/>
                  </a:cxn>
                  <a:cxn ang="0">
                    <a:pos x="60" y="13"/>
                  </a:cxn>
                  <a:cxn ang="0">
                    <a:pos x="47" y="7"/>
                  </a:cxn>
                  <a:cxn ang="0">
                    <a:pos x="45" y="13"/>
                  </a:cxn>
                  <a:cxn ang="0">
                    <a:pos x="51" y="11"/>
                  </a:cxn>
                  <a:cxn ang="0">
                    <a:pos x="47" y="7"/>
                  </a:cxn>
                  <a:cxn ang="0">
                    <a:pos x="47" y="7"/>
                  </a:cxn>
                </a:cxnLst>
                <a:rect l="0" t="0" r="r" b="b"/>
                <a:pathLst>
                  <a:path w="75" h="52">
                    <a:moveTo>
                      <a:pt x="0" y="0"/>
                    </a:moveTo>
                    <a:lnTo>
                      <a:pt x="6" y="5"/>
                    </a:lnTo>
                    <a:lnTo>
                      <a:pt x="10" y="2"/>
                    </a:lnTo>
                    <a:lnTo>
                      <a:pt x="10" y="5"/>
                    </a:lnTo>
                    <a:lnTo>
                      <a:pt x="11" y="7"/>
                    </a:lnTo>
                    <a:lnTo>
                      <a:pt x="15" y="11"/>
                    </a:lnTo>
                    <a:lnTo>
                      <a:pt x="17" y="15"/>
                    </a:lnTo>
                    <a:lnTo>
                      <a:pt x="21" y="15"/>
                    </a:lnTo>
                    <a:lnTo>
                      <a:pt x="28" y="26"/>
                    </a:lnTo>
                    <a:lnTo>
                      <a:pt x="30" y="32"/>
                    </a:lnTo>
                    <a:lnTo>
                      <a:pt x="34" y="32"/>
                    </a:lnTo>
                    <a:lnTo>
                      <a:pt x="36" y="32"/>
                    </a:lnTo>
                    <a:lnTo>
                      <a:pt x="40" y="41"/>
                    </a:lnTo>
                    <a:lnTo>
                      <a:pt x="47" y="47"/>
                    </a:lnTo>
                    <a:lnTo>
                      <a:pt x="49" y="47"/>
                    </a:lnTo>
                    <a:lnTo>
                      <a:pt x="51" y="52"/>
                    </a:lnTo>
                    <a:lnTo>
                      <a:pt x="47" y="50"/>
                    </a:lnTo>
                    <a:lnTo>
                      <a:pt x="45" y="52"/>
                    </a:lnTo>
                    <a:lnTo>
                      <a:pt x="42" y="50"/>
                    </a:lnTo>
                    <a:lnTo>
                      <a:pt x="40" y="50"/>
                    </a:lnTo>
                    <a:lnTo>
                      <a:pt x="36" y="47"/>
                    </a:lnTo>
                    <a:lnTo>
                      <a:pt x="36" y="45"/>
                    </a:lnTo>
                    <a:lnTo>
                      <a:pt x="30" y="45"/>
                    </a:lnTo>
                    <a:lnTo>
                      <a:pt x="28" y="37"/>
                    </a:lnTo>
                    <a:lnTo>
                      <a:pt x="27" y="37"/>
                    </a:lnTo>
                    <a:lnTo>
                      <a:pt x="25" y="37"/>
                    </a:lnTo>
                    <a:lnTo>
                      <a:pt x="23" y="32"/>
                    </a:lnTo>
                    <a:lnTo>
                      <a:pt x="17" y="30"/>
                    </a:lnTo>
                    <a:lnTo>
                      <a:pt x="17" y="28"/>
                    </a:lnTo>
                    <a:lnTo>
                      <a:pt x="13" y="28"/>
                    </a:lnTo>
                    <a:lnTo>
                      <a:pt x="11" y="24"/>
                    </a:lnTo>
                    <a:lnTo>
                      <a:pt x="11" y="20"/>
                    </a:lnTo>
                    <a:lnTo>
                      <a:pt x="10" y="18"/>
                    </a:lnTo>
                    <a:lnTo>
                      <a:pt x="2" y="7"/>
                    </a:lnTo>
                    <a:lnTo>
                      <a:pt x="2" y="5"/>
                    </a:lnTo>
                    <a:lnTo>
                      <a:pt x="0" y="2"/>
                    </a:lnTo>
                    <a:lnTo>
                      <a:pt x="0" y="0"/>
                    </a:lnTo>
                    <a:lnTo>
                      <a:pt x="0" y="0"/>
                    </a:lnTo>
                    <a:lnTo>
                      <a:pt x="0" y="0"/>
                    </a:lnTo>
                    <a:lnTo>
                      <a:pt x="0" y="0"/>
                    </a:lnTo>
                    <a:close/>
                    <a:moveTo>
                      <a:pt x="66" y="32"/>
                    </a:moveTo>
                    <a:lnTo>
                      <a:pt x="72" y="32"/>
                    </a:lnTo>
                    <a:lnTo>
                      <a:pt x="75" y="32"/>
                    </a:lnTo>
                    <a:lnTo>
                      <a:pt x="75" y="37"/>
                    </a:lnTo>
                    <a:lnTo>
                      <a:pt x="72" y="37"/>
                    </a:lnTo>
                    <a:lnTo>
                      <a:pt x="72" y="37"/>
                    </a:lnTo>
                    <a:lnTo>
                      <a:pt x="66" y="35"/>
                    </a:lnTo>
                    <a:lnTo>
                      <a:pt x="66" y="32"/>
                    </a:lnTo>
                    <a:lnTo>
                      <a:pt x="66" y="32"/>
                    </a:lnTo>
                    <a:lnTo>
                      <a:pt x="66" y="32"/>
                    </a:lnTo>
                    <a:lnTo>
                      <a:pt x="66" y="32"/>
                    </a:lnTo>
                    <a:close/>
                    <a:moveTo>
                      <a:pt x="60" y="13"/>
                    </a:moveTo>
                    <a:lnTo>
                      <a:pt x="57" y="15"/>
                    </a:lnTo>
                    <a:lnTo>
                      <a:pt x="57" y="17"/>
                    </a:lnTo>
                    <a:lnTo>
                      <a:pt x="57" y="18"/>
                    </a:lnTo>
                    <a:lnTo>
                      <a:pt x="59" y="22"/>
                    </a:lnTo>
                    <a:lnTo>
                      <a:pt x="62" y="24"/>
                    </a:lnTo>
                    <a:lnTo>
                      <a:pt x="64" y="22"/>
                    </a:lnTo>
                    <a:lnTo>
                      <a:pt x="60" y="20"/>
                    </a:lnTo>
                    <a:lnTo>
                      <a:pt x="62" y="17"/>
                    </a:lnTo>
                    <a:lnTo>
                      <a:pt x="62" y="13"/>
                    </a:lnTo>
                    <a:lnTo>
                      <a:pt x="60" y="13"/>
                    </a:lnTo>
                    <a:lnTo>
                      <a:pt x="60" y="13"/>
                    </a:lnTo>
                    <a:lnTo>
                      <a:pt x="60" y="13"/>
                    </a:lnTo>
                    <a:lnTo>
                      <a:pt x="60" y="13"/>
                    </a:lnTo>
                    <a:close/>
                    <a:moveTo>
                      <a:pt x="47" y="7"/>
                    </a:moveTo>
                    <a:lnTo>
                      <a:pt x="47" y="11"/>
                    </a:lnTo>
                    <a:lnTo>
                      <a:pt x="45" y="13"/>
                    </a:lnTo>
                    <a:lnTo>
                      <a:pt x="49" y="13"/>
                    </a:lnTo>
                    <a:lnTo>
                      <a:pt x="51" y="11"/>
                    </a:lnTo>
                    <a:lnTo>
                      <a:pt x="49" y="7"/>
                    </a:lnTo>
                    <a:lnTo>
                      <a:pt x="47" y="7"/>
                    </a:lnTo>
                    <a:lnTo>
                      <a:pt x="47" y="7"/>
                    </a:lnTo>
                    <a:lnTo>
                      <a:pt x="47"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5" name="Freeform 197"/>
              <p:cNvSpPr>
                <a:spLocks noEditPoints="1"/>
              </p:cNvSpPr>
              <p:nvPr/>
            </p:nvSpPr>
            <p:spPr bwMode="auto">
              <a:xfrm>
                <a:off x="5047" y="2056"/>
                <a:ext cx="290" cy="565"/>
              </a:xfrm>
              <a:custGeom>
                <a:avLst/>
                <a:gdLst/>
                <a:ahLst/>
                <a:cxnLst>
                  <a:cxn ang="0">
                    <a:pos x="121" y="267"/>
                  </a:cxn>
                  <a:cxn ang="0">
                    <a:pos x="4" y="565"/>
                  </a:cxn>
                  <a:cxn ang="0">
                    <a:pos x="6" y="561"/>
                  </a:cxn>
                  <a:cxn ang="0">
                    <a:pos x="64" y="507"/>
                  </a:cxn>
                  <a:cxn ang="0">
                    <a:pos x="64" y="516"/>
                  </a:cxn>
                  <a:cxn ang="0">
                    <a:pos x="87" y="471"/>
                  </a:cxn>
                  <a:cxn ang="0">
                    <a:pos x="89" y="467"/>
                  </a:cxn>
                  <a:cxn ang="0">
                    <a:pos x="185" y="100"/>
                  </a:cxn>
                  <a:cxn ang="0">
                    <a:pos x="192" y="96"/>
                  </a:cxn>
                  <a:cxn ang="0">
                    <a:pos x="192" y="68"/>
                  </a:cxn>
                  <a:cxn ang="0">
                    <a:pos x="207" y="54"/>
                  </a:cxn>
                  <a:cxn ang="0">
                    <a:pos x="196" y="7"/>
                  </a:cxn>
                  <a:cxn ang="0">
                    <a:pos x="232" y="24"/>
                  </a:cxn>
                  <a:cxn ang="0">
                    <a:pos x="273" y="26"/>
                  </a:cxn>
                  <a:cxn ang="0">
                    <a:pos x="284" y="51"/>
                  </a:cxn>
                  <a:cxn ang="0">
                    <a:pos x="273" y="64"/>
                  </a:cxn>
                  <a:cxn ang="0">
                    <a:pos x="251" y="94"/>
                  </a:cxn>
                  <a:cxn ang="0">
                    <a:pos x="205" y="83"/>
                  </a:cxn>
                  <a:cxn ang="0">
                    <a:pos x="220" y="109"/>
                  </a:cxn>
                  <a:cxn ang="0">
                    <a:pos x="200" y="216"/>
                  </a:cxn>
                  <a:cxn ang="0">
                    <a:pos x="200" y="222"/>
                  </a:cxn>
                  <a:cxn ang="0">
                    <a:pos x="64" y="348"/>
                  </a:cxn>
                  <a:cxn ang="0">
                    <a:pos x="59" y="352"/>
                  </a:cxn>
                  <a:cxn ang="0">
                    <a:pos x="55" y="358"/>
                  </a:cxn>
                  <a:cxn ang="0">
                    <a:pos x="85" y="363"/>
                  </a:cxn>
                  <a:cxn ang="0">
                    <a:pos x="79" y="371"/>
                  </a:cxn>
                  <a:cxn ang="0">
                    <a:pos x="79" y="363"/>
                  </a:cxn>
                  <a:cxn ang="0">
                    <a:pos x="158" y="316"/>
                  </a:cxn>
                  <a:cxn ang="0">
                    <a:pos x="143" y="316"/>
                  </a:cxn>
                  <a:cxn ang="0">
                    <a:pos x="143" y="333"/>
                  </a:cxn>
                  <a:cxn ang="0">
                    <a:pos x="141" y="316"/>
                  </a:cxn>
                  <a:cxn ang="0">
                    <a:pos x="117" y="337"/>
                  </a:cxn>
                  <a:cxn ang="0">
                    <a:pos x="102" y="414"/>
                  </a:cxn>
                  <a:cxn ang="0">
                    <a:pos x="106" y="403"/>
                  </a:cxn>
                  <a:cxn ang="0">
                    <a:pos x="104" y="390"/>
                  </a:cxn>
                  <a:cxn ang="0">
                    <a:pos x="113" y="352"/>
                  </a:cxn>
                  <a:cxn ang="0">
                    <a:pos x="98" y="337"/>
                  </a:cxn>
                  <a:cxn ang="0">
                    <a:pos x="113" y="316"/>
                  </a:cxn>
                  <a:cxn ang="0">
                    <a:pos x="147" y="307"/>
                  </a:cxn>
                  <a:cxn ang="0">
                    <a:pos x="162" y="324"/>
                  </a:cxn>
                  <a:cxn ang="0">
                    <a:pos x="190" y="316"/>
                  </a:cxn>
                  <a:cxn ang="0">
                    <a:pos x="192" y="303"/>
                  </a:cxn>
                  <a:cxn ang="0">
                    <a:pos x="205" y="303"/>
                  </a:cxn>
                  <a:cxn ang="0">
                    <a:pos x="232" y="297"/>
                  </a:cxn>
                  <a:cxn ang="0">
                    <a:pos x="241" y="282"/>
                  </a:cxn>
                  <a:cxn ang="0">
                    <a:pos x="251" y="264"/>
                  </a:cxn>
                  <a:cxn ang="0">
                    <a:pos x="254" y="201"/>
                  </a:cxn>
                  <a:cxn ang="0">
                    <a:pos x="254" y="169"/>
                  </a:cxn>
                  <a:cxn ang="0">
                    <a:pos x="230" y="115"/>
                  </a:cxn>
                  <a:cxn ang="0">
                    <a:pos x="226" y="126"/>
                  </a:cxn>
                  <a:cxn ang="0">
                    <a:pos x="209" y="124"/>
                  </a:cxn>
                  <a:cxn ang="0">
                    <a:pos x="205" y="158"/>
                  </a:cxn>
                  <a:cxn ang="0">
                    <a:pos x="207" y="222"/>
                  </a:cxn>
                  <a:cxn ang="0">
                    <a:pos x="181" y="233"/>
                  </a:cxn>
                  <a:cxn ang="0">
                    <a:pos x="168" y="262"/>
                  </a:cxn>
                  <a:cxn ang="0">
                    <a:pos x="160" y="282"/>
                  </a:cxn>
                  <a:cxn ang="0">
                    <a:pos x="123" y="286"/>
                  </a:cxn>
                  <a:cxn ang="0">
                    <a:pos x="89" y="318"/>
                  </a:cxn>
                  <a:cxn ang="0">
                    <a:pos x="68" y="346"/>
                  </a:cxn>
                  <a:cxn ang="0">
                    <a:pos x="72" y="361"/>
                  </a:cxn>
                  <a:cxn ang="0">
                    <a:pos x="79" y="352"/>
                  </a:cxn>
                  <a:cxn ang="0">
                    <a:pos x="87" y="386"/>
                  </a:cxn>
                  <a:cxn ang="0">
                    <a:pos x="98" y="384"/>
                  </a:cxn>
                </a:cxnLst>
                <a:rect l="0" t="0" r="r" b="b"/>
                <a:pathLst>
                  <a:path w="290" h="565">
                    <a:moveTo>
                      <a:pt x="117" y="271"/>
                    </a:moveTo>
                    <a:lnTo>
                      <a:pt x="117" y="273"/>
                    </a:lnTo>
                    <a:lnTo>
                      <a:pt x="117" y="273"/>
                    </a:lnTo>
                    <a:lnTo>
                      <a:pt x="113" y="273"/>
                    </a:lnTo>
                    <a:lnTo>
                      <a:pt x="117" y="271"/>
                    </a:lnTo>
                    <a:lnTo>
                      <a:pt x="117" y="271"/>
                    </a:lnTo>
                    <a:lnTo>
                      <a:pt x="117" y="271"/>
                    </a:lnTo>
                    <a:lnTo>
                      <a:pt x="117" y="271"/>
                    </a:lnTo>
                    <a:close/>
                    <a:moveTo>
                      <a:pt x="117" y="271"/>
                    </a:moveTo>
                    <a:lnTo>
                      <a:pt x="117" y="269"/>
                    </a:lnTo>
                    <a:lnTo>
                      <a:pt x="119" y="267"/>
                    </a:lnTo>
                    <a:lnTo>
                      <a:pt x="121" y="267"/>
                    </a:lnTo>
                    <a:lnTo>
                      <a:pt x="121" y="271"/>
                    </a:lnTo>
                    <a:lnTo>
                      <a:pt x="119" y="271"/>
                    </a:lnTo>
                    <a:lnTo>
                      <a:pt x="117" y="271"/>
                    </a:lnTo>
                    <a:lnTo>
                      <a:pt x="117" y="271"/>
                    </a:lnTo>
                    <a:lnTo>
                      <a:pt x="117" y="271"/>
                    </a:lnTo>
                    <a:lnTo>
                      <a:pt x="117" y="271"/>
                    </a:lnTo>
                    <a:close/>
                    <a:moveTo>
                      <a:pt x="4" y="565"/>
                    </a:moveTo>
                    <a:lnTo>
                      <a:pt x="2" y="561"/>
                    </a:lnTo>
                    <a:lnTo>
                      <a:pt x="0" y="561"/>
                    </a:lnTo>
                    <a:lnTo>
                      <a:pt x="0" y="565"/>
                    </a:lnTo>
                    <a:lnTo>
                      <a:pt x="2" y="565"/>
                    </a:lnTo>
                    <a:lnTo>
                      <a:pt x="4" y="565"/>
                    </a:lnTo>
                    <a:lnTo>
                      <a:pt x="4" y="565"/>
                    </a:lnTo>
                    <a:lnTo>
                      <a:pt x="4" y="565"/>
                    </a:lnTo>
                    <a:lnTo>
                      <a:pt x="4" y="565"/>
                    </a:lnTo>
                    <a:close/>
                    <a:moveTo>
                      <a:pt x="6" y="561"/>
                    </a:moveTo>
                    <a:lnTo>
                      <a:pt x="6" y="559"/>
                    </a:lnTo>
                    <a:lnTo>
                      <a:pt x="10" y="561"/>
                    </a:lnTo>
                    <a:lnTo>
                      <a:pt x="10" y="565"/>
                    </a:lnTo>
                    <a:lnTo>
                      <a:pt x="6" y="561"/>
                    </a:lnTo>
                    <a:lnTo>
                      <a:pt x="6" y="561"/>
                    </a:lnTo>
                    <a:lnTo>
                      <a:pt x="6" y="561"/>
                    </a:lnTo>
                    <a:lnTo>
                      <a:pt x="6" y="561"/>
                    </a:lnTo>
                    <a:lnTo>
                      <a:pt x="6" y="561"/>
                    </a:lnTo>
                    <a:close/>
                    <a:moveTo>
                      <a:pt x="23" y="548"/>
                    </a:moveTo>
                    <a:lnTo>
                      <a:pt x="23" y="552"/>
                    </a:lnTo>
                    <a:lnTo>
                      <a:pt x="23" y="554"/>
                    </a:lnTo>
                    <a:lnTo>
                      <a:pt x="27" y="554"/>
                    </a:lnTo>
                    <a:lnTo>
                      <a:pt x="27" y="550"/>
                    </a:lnTo>
                    <a:lnTo>
                      <a:pt x="23" y="548"/>
                    </a:lnTo>
                    <a:lnTo>
                      <a:pt x="23" y="548"/>
                    </a:lnTo>
                    <a:lnTo>
                      <a:pt x="23" y="548"/>
                    </a:lnTo>
                    <a:lnTo>
                      <a:pt x="23" y="548"/>
                    </a:lnTo>
                    <a:close/>
                    <a:moveTo>
                      <a:pt x="64" y="516"/>
                    </a:moveTo>
                    <a:lnTo>
                      <a:pt x="62" y="510"/>
                    </a:lnTo>
                    <a:lnTo>
                      <a:pt x="64" y="507"/>
                    </a:lnTo>
                    <a:lnTo>
                      <a:pt x="64" y="505"/>
                    </a:lnTo>
                    <a:lnTo>
                      <a:pt x="64" y="505"/>
                    </a:lnTo>
                    <a:lnTo>
                      <a:pt x="68" y="505"/>
                    </a:lnTo>
                    <a:lnTo>
                      <a:pt x="68" y="501"/>
                    </a:lnTo>
                    <a:lnTo>
                      <a:pt x="70" y="505"/>
                    </a:lnTo>
                    <a:lnTo>
                      <a:pt x="68" y="505"/>
                    </a:lnTo>
                    <a:lnTo>
                      <a:pt x="68" y="508"/>
                    </a:lnTo>
                    <a:lnTo>
                      <a:pt x="64" y="510"/>
                    </a:lnTo>
                    <a:lnTo>
                      <a:pt x="64" y="514"/>
                    </a:lnTo>
                    <a:lnTo>
                      <a:pt x="64" y="516"/>
                    </a:lnTo>
                    <a:lnTo>
                      <a:pt x="64" y="516"/>
                    </a:lnTo>
                    <a:lnTo>
                      <a:pt x="64" y="516"/>
                    </a:lnTo>
                    <a:lnTo>
                      <a:pt x="64" y="516"/>
                    </a:lnTo>
                    <a:close/>
                    <a:moveTo>
                      <a:pt x="79" y="476"/>
                    </a:moveTo>
                    <a:lnTo>
                      <a:pt x="83" y="480"/>
                    </a:lnTo>
                    <a:lnTo>
                      <a:pt x="83" y="482"/>
                    </a:lnTo>
                    <a:lnTo>
                      <a:pt x="81" y="484"/>
                    </a:lnTo>
                    <a:lnTo>
                      <a:pt x="79" y="480"/>
                    </a:lnTo>
                    <a:lnTo>
                      <a:pt x="79" y="480"/>
                    </a:lnTo>
                    <a:lnTo>
                      <a:pt x="79" y="476"/>
                    </a:lnTo>
                    <a:lnTo>
                      <a:pt x="79" y="476"/>
                    </a:lnTo>
                    <a:lnTo>
                      <a:pt x="79" y="476"/>
                    </a:lnTo>
                    <a:lnTo>
                      <a:pt x="79" y="476"/>
                    </a:lnTo>
                    <a:close/>
                    <a:moveTo>
                      <a:pt x="87" y="471"/>
                    </a:moveTo>
                    <a:lnTo>
                      <a:pt x="87" y="471"/>
                    </a:lnTo>
                    <a:lnTo>
                      <a:pt x="83" y="471"/>
                    </a:lnTo>
                    <a:lnTo>
                      <a:pt x="81" y="467"/>
                    </a:lnTo>
                    <a:lnTo>
                      <a:pt x="83" y="467"/>
                    </a:lnTo>
                    <a:lnTo>
                      <a:pt x="87" y="465"/>
                    </a:lnTo>
                    <a:lnTo>
                      <a:pt x="87" y="465"/>
                    </a:lnTo>
                    <a:lnTo>
                      <a:pt x="89" y="461"/>
                    </a:lnTo>
                    <a:lnTo>
                      <a:pt x="89" y="461"/>
                    </a:lnTo>
                    <a:lnTo>
                      <a:pt x="92" y="461"/>
                    </a:lnTo>
                    <a:lnTo>
                      <a:pt x="92" y="461"/>
                    </a:lnTo>
                    <a:lnTo>
                      <a:pt x="92" y="465"/>
                    </a:lnTo>
                    <a:lnTo>
                      <a:pt x="89" y="467"/>
                    </a:lnTo>
                    <a:lnTo>
                      <a:pt x="89" y="471"/>
                    </a:lnTo>
                    <a:lnTo>
                      <a:pt x="87" y="471"/>
                    </a:lnTo>
                    <a:lnTo>
                      <a:pt x="87" y="471"/>
                    </a:lnTo>
                    <a:lnTo>
                      <a:pt x="87" y="471"/>
                    </a:lnTo>
                    <a:lnTo>
                      <a:pt x="87" y="471"/>
                    </a:lnTo>
                    <a:close/>
                    <a:moveTo>
                      <a:pt x="183" y="102"/>
                    </a:moveTo>
                    <a:lnTo>
                      <a:pt x="181" y="100"/>
                    </a:lnTo>
                    <a:lnTo>
                      <a:pt x="181" y="96"/>
                    </a:lnTo>
                    <a:lnTo>
                      <a:pt x="183" y="92"/>
                    </a:lnTo>
                    <a:lnTo>
                      <a:pt x="185" y="92"/>
                    </a:lnTo>
                    <a:lnTo>
                      <a:pt x="185" y="96"/>
                    </a:lnTo>
                    <a:lnTo>
                      <a:pt x="185" y="100"/>
                    </a:lnTo>
                    <a:lnTo>
                      <a:pt x="183" y="102"/>
                    </a:lnTo>
                    <a:lnTo>
                      <a:pt x="183" y="102"/>
                    </a:lnTo>
                    <a:lnTo>
                      <a:pt x="183" y="102"/>
                    </a:lnTo>
                    <a:lnTo>
                      <a:pt x="183" y="102"/>
                    </a:lnTo>
                    <a:close/>
                    <a:moveTo>
                      <a:pt x="205" y="118"/>
                    </a:moveTo>
                    <a:lnTo>
                      <a:pt x="202" y="118"/>
                    </a:lnTo>
                    <a:lnTo>
                      <a:pt x="200" y="113"/>
                    </a:lnTo>
                    <a:lnTo>
                      <a:pt x="200" y="113"/>
                    </a:lnTo>
                    <a:lnTo>
                      <a:pt x="200" y="107"/>
                    </a:lnTo>
                    <a:lnTo>
                      <a:pt x="196" y="100"/>
                    </a:lnTo>
                    <a:lnTo>
                      <a:pt x="196" y="98"/>
                    </a:lnTo>
                    <a:lnTo>
                      <a:pt x="192" y="96"/>
                    </a:lnTo>
                    <a:lnTo>
                      <a:pt x="190" y="96"/>
                    </a:lnTo>
                    <a:lnTo>
                      <a:pt x="190" y="92"/>
                    </a:lnTo>
                    <a:lnTo>
                      <a:pt x="190" y="88"/>
                    </a:lnTo>
                    <a:lnTo>
                      <a:pt x="188" y="83"/>
                    </a:lnTo>
                    <a:lnTo>
                      <a:pt x="190" y="83"/>
                    </a:lnTo>
                    <a:lnTo>
                      <a:pt x="192" y="79"/>
                    </a:lnTo>
                    <a:lnTo>
                      <a:pt x="192" y="79"/>
                    </a:lnTo>
                    <a:lnTo>
                      <a:pt x="196" y="79"/>
                    </a:lnTo>
                    <a:lnTo>
                      <a:pt x="196" y="75"/>
                    </a:lnTo>
                    <a:lnTo>
                      <a:pt x="200" y="73"/>
                    </a:lnTo>
                    <a:lnTo>
                      <a:pt x="196" y="71"/>
                    </a:lnTo>
                    <a:lnTo>
                      <a:pt x="192" y="68"/>
                    </a:lnTo>
                    <a:lnTo>
                      <a:pt x="192" y="68"/>
                    </a:lnTo>
                    <a:lnTo>
                      <a:pt x="192" y="66"/>
                    </a:lnTo>
                    <a:lnTo>
                      <a:pt x="192" y="64"/>
                    </a:lnTo>
                    <a:lnTo>
                      <a:pt x="196" y="62"/>
                    </a:lnTo>
                    <a:lnTo>
                      <a:pt x="200" y="66"/>
                    </a:lnTo>
                    <a:lnTo>
                      <a:pt x="207" y="68"/>
                    </a:lnTo>
                    <a:lnTo>
                      <a:pt x="209" y="66"/>
                    </a:lnTo>
                    <a:lnTo>
                      <a:pt x="209" y="62"/>
                    </a:lnTo>
                    <a:lnTo>
                      <a:pt x="211" y="60"/>
                    </a:lnTo>
                    <a:lnTo>
                      <a:pt x="209" y="58"/>
                    </a:lnTo>
                    <a:lnTo>
                      <a:pt x="207" y="58"/>
                    </a:lnTo>
                    <a:lnTo>
                      <a:pt x="207" y="54"/>
                    </a:lnTo>
                    <a:lnTo>
                      <a:pt x="205" y="53"/>
                    </a:lnTo>
                    <a:lnTo>
                      <a:pt x="205" y="49"/>
                    </a:lnTo>
                    <a:lnTo>
                      <a:pt x="207" y="45"/>
                    </a:lnTo>
                    <a:lnTo>
                      <a:pt x="209" y="45"/>
                    </a:lnTo>
                    <a:lnTo>
                      <a:pt x="209" y="45"/>
                    </a:lnTo>
                    <a:lnTo>
                      <a:pt x="207" y="41"/>
                    </a:lnTo>
                    <a:lnTo>
                      <a:pt x="205" y="36"/>
                    </a:lnTo>
                    <a:lnTo>
                      <a:pt x="205" y="32"/>
                    </a:lnTo>
                    <a:lnTo>
                      <a:pt x="205" y="24"/>
                    </a:lnTo>
                    <a:lnTo>
                      <a:pt x="205" y="21"/>
                    </a:lnTo>
                    <a:lnTo>
                      <a:pt x="200" y="11"/>
                    </a:lnTo>
                    <a:lnTo>
                      <a:pt x="196" y="7"/>
                    </a:lnTo>
                    <a:lnTo>
                      <a:pt x="196" y="4"/>
                    </a:lnTo>
                    <a:lnTo>
                      <a:pt x="196" y="4"/>
                    </a:lnTo>
                    <a:lnTo>
                      <a:pt x="200" y="4"/>
                    </a:lnTo>
                    <a:lnTo>
                      <a:pt x="200" y="0"/>
                    </a:lnTo>
                    <a:lnTo>
                      <a:pt x="200" y="0"/>
                    </a:lnTo>
                    <a:lnTo>
                      <a:pt x="205" y="0"/>
                    </a:lnTo>
                    <a:lnTo>
                      <a:pt x="205" y="2"/>
                    </a:lnTo>
                    <a:lnTo>
                      <a:pt x="211" y="7"/>
                    </a:lnTo>
                    <a:lnTo>
                      <a:pt x="217" y="9"/>
                    </a:lnTo>
                    <a:lnTo>
                      <a:pt x="217" y="13"/>
                    </a:lnTo>
                    <a:lnTo>
                      <a:pt x="226" y="21"/>
                    </a:lnTo>
                    <a:lnTo>
                      <a:pt x="232" y="24"/>
                    </a:lnTo>
                    <a:lnTo>
                      <a:pt x="234" y="26"/>
                    </a:lnTo>
                    <a:lnTo>
                      <a:pt x="237" y="28"/>
                    </a:lnTo>
                    <a:lnTo>
                      <a:pt x="239" y="32"/>
                    </a:lnTo>
                    <a:lnTo>
                      <a:pt x="247" y="34"/>
                    </a:lnTo>
                    <a:lnTo>
                      <a:pt x="251" y="36"/>
                    </a:lnTo>
                    <a:lnTo>
                      <a:pt x="254" y="39"/>
                    </a:lnTo>
                    <a:lnTo>
                      <a:pt x="256" y="37"/>
                    </a:lnTo>
                    <a:lnTo>
                      <a:pt x="256" y="39"/>
                    </a:lnTo>
                    <a:lnTo>
                      <a:pt x="262" y="37"/>
                    </a:lnTo>
                    <a:lnTo>
                      <a:pt x="268" y="34"/>
                    </a:lnTo>
                    <a:lnTo>
                      <a:pt x="271" y="30"/>
                    </a:lnTo>
                    <a:lnTo>
                      <a:pt x="273" y="26"/>
                    </a:lnTo>
                    <a:lnTo>
                      <a:pt x="273" y="24"/>
                    </a:lnTo>
                    <a:lnTo>
                      <a:pt x="275" y="26"/>
                    </a:lnTo>
                    <a:lnTo>
                      <a:pt x="275" y="30"/>
                    </a:lnTo>
                    <a:lnTo>
                      <a:pt x="273" y="36"/>
                    </a:lnTo>
                    <a:lnTo>
                      <a:pt x="273" y="41"/>
                    </a:lnTo>
                    <a:lnTo>
                      <a:pt x="273" y="43"/>
                    </a:lnTo>
                    <a:lnTo>
                      <a:pt x="279" y="45"/>
                    </a:lnTo>
                    <a:lnTo>
                      <a:pt x="281" y="49"/>
                    </a:lnTo>
                    <a:lnTo>
                      <a:pt x="281" y="51"/>
                    </a:lnTo>
                    <a:lnTo>
                      <a:pt x="279" y="53"/>
                    </a:lnTo>
                    <a:lnTo>
                      <a:pt x="283" y="53"/>
                    </a:lnTo>
                    <a:lnTo>
                      <a:pt x="284" y="51"/>
                    </a:lnTo>
                    <a:lnTo>
                      <a:pt x="288" y="49"/>
                    </a:lnTo>
                    <a:lnTo>
                      <a:pt x="290" y="49"/>
                    </a:lnTo>
                    <a:lnTo>
                      <a:pt x="288" y="51"/>
                    </a:lnTo>
                    <a:lnTo>
                      <a:pt x="286" y="51"/>
                    </a:lnTo>
                    <a:lnTo>
                      <a:pt x="286" y="54"/>
                    </a:lnTo>
                    <a:lnTo>
                      <a:pt x="284" y="58"/>
                    </a:lnTo>
                    <a:lnTo>
                      <a:pt x="281" y="58"/>
                    </a:lnTo>
                    <a:lnTo>
                      <a:pt x="281" y="62"/>
                    </a:lnTo>
                    <a:lnTo>
                      <a:pt x="279" y="64"/>
                    </a:lnTo>
                    <a:lnTo>
                      <a:pt x="275" y="64"/>
                    </a:lnTo>
                    <a:lnTo>
                      <a:pt x="275" y="62"/>
                    </a:lnTo>
                    <a:lnTo>
                      <a:pt x="273" y="64"/>
                    </a:lnTo>
                    <a:lnTo>
                      <a:pt x="273" y="66"/>
                    </a:lnTo>
                    <a:lnTo>
                      <a:pt x="269" y="66"/>
                    </a:lnTo>
                    <a:lnTo>
                      <a:pt x="266" y="66"/>
                    </a:lnTo>
                    <a:lnTo>
                      <a:pt x="262" y="66"/>
                    </a:lnTo>
                    <a:lnTo>
                      <a:pt x="256" y="73"/>
                    </a:lnTo>
                    <a:lnTo>
                      <a:pt x="254" y="83"/>
                    </a:lnTo>
                    <a:lnTo>
                      <a:pt x="254" y="88"/>
                    </a:lnTo>
                    <a:lnTo>
                      <a:pt x="254" y="90"/>
                    </a:lnTo>
                    <a:lnTo>
                      <a:pt x="254" y="94"/>
                    </a:lnTo>
                    <a:lnTo>
                      <a:pt x="254" y="98"/>
                    </a:lnTo>
                    <a:lnTo>
                      <a:pt x="251" y="96"/>
                    </a:lnTo>
                    <a:lnTo>
                      <a:pt x="251" y="94"/>
                    </a:lnTo>
                    <a:lnTo>
                      <a:pt x="245" y="92"/>
                    </a:lnTo>
                    <a:lnTo>
                      <a:pt x="239" y="88"/>
                    </a:lnTo>
                    <a:lnTo>
                      <a:pt x="234" y="85"/>
                    </a:lnTo>
                    <a:lnTo>
                      <a:pt x="230" y="83"/>
                    </a:lnTo>
                    <a:lnTo>
                      <a:pt x="226" y="83"/>
                    </a:lnTo>
                    <a:lnTo>
                      <a:pt x="226" y="79"/>
                    </a:lnTo>
                    <a:lnTo>
                      <a:pt x="224" y="79"/>
                    </a:lnTo>
                    <a:lnTo>
                      <a:pt x="220" y="79"/>
                    </a:lnTo>
                    <a:lnTo>
                      <a:pt x="215" y="83"/>
                    </a:lnTo>
                    <a:lnTo>
                      <a:pt x="211" y="88"/>
                    </a:lnTo>
                    <a:lnTo>
                      <a:pt x="209" y="88"/>
                    </a:lnTo>
                    <a:lnTo>
                      <a:pt x="205" y="83"/>
                    </a:lnTo>
                    <a:lnTo>
                      <a:pt x="202" y="83"/>
                    </a:lnTo>
                    <a:lnTo>
                      <a:pt x="200" y="88"/>
                    </a:lnTo>
                    <a:lnTo>
                      <a:pt x="200" y="90"/>
                    </a:lnTo>
                    <a:lnTo>
                      <a:pt x="200" y="92"/>
                    </a:lnTo>
                    <a:lnTo>
                      <a:pt x="205" y="96"/>
                    </a:lnTo>
                    <a:lnTo>
                      <a:pt x="209" y="94"/>
                    </a:lnTo>
                    <a:lnTo>
                      <a:pt x="213" y="100"/>
                    </a:lnTo>
                    <a:lnTo>
                      <a:pt x="217" y="102"/>
                    </a:lnTo>
                    <a:lnTo>
                      <a:pt x="220" y="102"/>
                    </a:lnTo>
                    <a:lnTo>
                      <a:pt x="224" y="103"/>
                    </a:lnTo>
                    <a:lnTo>
                      <a:pt x="220" y="107"/>
                    </a:lnTo>
                    <a:lnTo>
                      <a:pt x="220" y="109"/>
                    </a:lnTo>
                    <a:lnTo>
                      <a:pt x="217" y="107"/>
                    </a:lnTo>
                    <a:lnTo>
                      <a:pt x="211" y="107"/>
                    </a:lnTo>
                    <a:lnTo>
                      <a:pt x="209" y="109"/>
                    </a:lnTo>
                    <a:lnTo>
                      <a:pt x="211" y="109"/>
                    </a:lnTo>
                    <a:lnTo>
                      <a:pt x="209" y="113"/>
                    </a:lnTo>
                    <a:lnTo>
                      <a:pt x="205" y="118"/>
                    </a:lnTo>
                    <a:lnTo>
                      <a:pt x="205" y="118"/>
                    </a:lnTo>
                    <a:lnTo>
                      <a:pt x="205" y="118"/>
                    </a:lnTo>
                    <a:lnTo>
                      <a:pt x="205" y="118"/>
                    </a:lnTo>
                    <a:close/>
                    <a:moveTo>
                      <a:pt x="200" y="222"/>
                    </a:moveTo>
                    <a:lnTo>
                      <a:pt x="200" y="218"/>
                    </a:lnTo>
                    <a:lnTo>
                      <a:pt x="200" y="216"/>
                    </a:lnTo>
                    <a:lnTo>
                      <a:pt x="200" y="215"/>
                    </a:lnTo>
                    <a:lnTo>
                      <a:pt x="196" y="216"/>
                    </a:lnTo>
                    <a:lnTo>
                      <a:pt x="196" y="215"/>
                    </a:lnTo>
                    <a:lnTo>
                      <a:pt x="200" y="209"/>
                    </a:lnTo>
                    <a:lnTo>
                      <a:pt x="200" y="209"/>
                    </a:lnTo>
                    <a:lnTo>
                      <a:pt x="200" y="209"/>
                    </a:lnTo>
                    <a:lnTo>
                      <a:pt x="200" y="213"/>
                    </a:lnTo>
                    <a:lnTo>
                      <a:pt x="202" y="213"/>
                    </a:lnTo>
                    <a:lnTo>
                      <a:pt x="202" y="215"/>
                    </a:lnTo>
                    <a:lnTo>
                      <a:pt x="202" y="218"/>
                    </a:lnTo>
                    <a:lnTo>
                      <a:pt x="200" y="222"/>
                    </a:lnTo>
                    <a:lnTo>
                      <a:pt x="200" y="222"/>
                    </a:lnTo>
                    <a:lnTo>
                      <a:pt x="200" y="222"/>
                    </a:lnTo>
                    <a:lnTo>
                      <a:pt x="200" y="222"/>
                    </a:lnTo>
                    <a:lnTo>
                      <a:pt x="200" y="222"/>
                    </a:lnTo>
                    <a:close/>
                    <a:moveTo>
                      <a:pt x="64" y="348"/>
                    </a:moveTo>
                    <a:lnTo>
                      <a:pt x="64" y="350"/>
                    </a:lnTo>
                    <a:lnTo>
                      <a:pt x="68" y="348"/>
                    </a:lnTo>
                    <a:lnTo>
                      <a:pt x="64" y="346"/>
                    </a:lnTo>
                    <a:lnTo>
                      <a:pt x="64" y="346"/>
                    </a:lnTo>
                    <a:lnTo>
                      <a:pt x="64" y="348"/>
                    </a:lnTo>
                    <a:lnTo>
                      <a:pt x="64" y="348"/>
                    </a:lnTo>
                    <a:lnTo>
                      <a:pt x="64" y="348"/>
                    </a:lnTo>
                    <a:lnTo>
                      <a:pt x="64" y="348"/>
                    </a:lnTo>
                    <a:close/>
                    <a:moveTo>
                      <a:pt x="62" y="350"/>
                    </a:moveTo>
                    <a:lnTo>
                      <a:pt x="64" y="352"/>
                    </a:lnTo>
                    <a:lnTo>
                      <a:pt x="64" y="350"/>
                    </a:lnTo>
                    <a:lnTo>
                      <a:pt x="62" y="350"/>
                    </a:lnTo>
                    <a:lnTo>
                      <a:pt x="62" y="350"/>
                    </a:lnTo>
                    <a:lnTo>
                      <a:pt x="62" y="350"/>
                    </a:lnTo>
                    <a:lnTo>
                      <a:pt x="62" y="350"/>
                    </a:lnTo>
                    <a:close/>
                    <a:moveTo>
                      <a:pt x="59" y="352"/>
                    </a:moveTo>
                    <a:lnTo>
                      <a:pt x="62" y="354"/>
                    </a:lnTo>
                    <a:lnTo>
                      <a:pt x="62" y="352"/>
                    </a:lnTo>
                    <a:lnTo>
                      <a:pt x="59" y="352"/>
                    </a:lnTo>
                    <a:lnTo>
                      <a:pt x="59" y="352"/>
                    </a:lnTo>
                    <a:lnTo>
                      <a:pt x="59" y="352"/>
                    </a:lnTo>
                    <a:lnTo>
                      <a:pt x="59" y="352"/>
                    </a:lnTo>
                    <a:close/>
                    <a:moveTo>
                      <a:pt x="59" y="354"/>
                    </a:moveTo>
                    <a:lnTo>
                      <a:pt x="59" y="356"/>
                    </a:lnTo>
                    <a:lnTo>
                      <a:pt x="59" y="356"/>
                    </a:lnTo>
                    <a:lnTo>
                      <a:pt x="59" y="354"/>
                    </a:lnTo>
                    <a:lnTo>
                      <a:pt x="59" y="354"/>
                    </a:lnTo>
                    <a:lnTo>
                      <a:pt x="59" y="354"/>
                    </a:lnTo>
                    <a:lnTo>
                      <a:pt x="59" y="354"/>
                    </a:lnTo>
                    <a:close/>
                    <a:moveTo>
                      <a:pt x="55" y="365"/>
                    </a:moveTo>
                    <a:lnTo>
                      <a:pt x="53" y="360"/>
                    </a:lnTo>
                    <a:lnTo>
                      <a:pt x="55" y="358"/>
                    </a:lnTo>
                    <a:lnTo>
                      <a:pt x="55" y="356"/>
                    </a:lnTo>
                    <a:lnTo>
                      <a:pt x="55" y="360"/>
                    </a:lnTo>
                    <a:lnTo>
                      <a:pt x="59" y="360"/>
                    </a:lnTo>
                    <a:lnTo>
                      <a:pt x="59" y="363"/>
                    </a:lnTo>
                    <a:lnTo>
                      <a:pt x="59" y="365"/>
                    </a:lnTo>
                    <a:lnTo>
                      <a:pt x="55" y="365"/>
                    </a:lnTo>
                    <a:lnTo>
                      <a:pt x="55" y="365"/>
                    </a:lnTo>
                    <a:lnTo>
                      <a:pt x="55" y="365"/>
                    </a:lnTo>
                    <a:lnTo>
                      <a:pt x="55" y="365"/>
                    </a:lnTo>
                    <a:close/>
                    <a:moveTo>
                      <a:pt x="83" y="367"/>
                    </a:moveTo>
                    <a:lnTo>
                      <a:pt x="83" y="365"/>
                    </a:lnTo>
                    <a:lnTo>
                      <a:pt x="85" y="363"/>
                    </a:lnTo>
                    <a:lnTo>
                      <a:pt x="85" y="363"/>
                    </a:lnTo>
                    <a:lnTo>
                      <a:pt x="85" y="367"/>
                    </a:lnTo>
                    <a:lnTo>
                      <a:pt x="83" y="367"/>
                    </a:lnTo>
                    <a:lnTo>
                      <a:pt x="83" y="367"/>
                    </a:lnTo>
                    <a:lnTo>
                      <a:pt x="83" y="367"/>
                    </a:lnTo>
                    <a:lnTo>
                      <a:pt x="83" y="367"/>
                    </a:lnTo>
                    <a:close/>
                    <a:moveTo>
                      <a:pt x="79" y="371"/>
                    </a:moveTo>
                    <a:lnTo>
                      <a:pt x="81" y="371"/>
                    </a:lnTo>
                    <a:lnTo>
                      <a:pt x="83" y="371"/>
                    </a:lnTo>
                    <a:lnTo>
                      <a:pt x="81" y="373"/>
                    </a:lnTo>
                    <a:lnTo>
                      <a:pt x="79" y="371"/>
                    </a:lnTo>
                    <a:lnTo>
                      <a:pt x="79" y="371"/>
                    </a:lnTo>
                    <a:lnTo>
                      <a:pt x="79" y="371"/>
                    </a:lnTo>
                    <a:lnTo>
                      <a:pt x="79" y="371"/>
                    </a:lnTo>
                    <a:close/>
                    <a:moveTo>
                      <a:pt x="79" y="363"/>
                    </a:moveTo>
                    <a:lnTo>
                      <a:pt x="77" y="365"/>
                    </a:lnTo>
                    <a:lnTo>
                      <a:pt x="77" y="367"/>
                    </a:lnTo>
                    <a:lnTo>
                      <a:pt x="79" y="371"/>
                    </a:lnTo>
                    <a:lnTo>
                      <a:pt x="81" y="371"/>
                    </a:lnTo>
                    <a:lnTo>
                      <a:pt x="81" y="367"/>
                    </a:lnTo>
                    <a:lnTo>
                      <a:pt x="79" y="363"/>
                    </a:lnTo>
                    <a:lnTo>
                      <a:pt x="79" y="363"/>
                    </a:lnTo>
                    <a:lnTo>
                      <a:pt x="79" y="363"/>
                    </a:lnTo>
                    <a:lnTo>
                      <a:pt x="79" y="363"/>
                    </a:lnTo>
                    <a:lnTo>
                      <a:pt x="79" y="363"/>
                    </a:lnTo>
                    <a:lnTo>
                      <a:pt x="79" y="363"/>
                    </a:lnTo>
                    <a:close/>
                    <a:moveTo>
                      <a:pt x="158" y="316"/>
                    </a:moveTo>
                    <a:lnTo>
                      <a:pt x="156" y="312"/>
                    </a:lnTo>
                    <a:lnTo>
                      <a:pt x="156" y="311"/>
                    </a:lnTo>
                    <a:lnTo>
                      <a:pt x="156" y="309"/>
                    </a:lnTo>
                    <a:lnTo>
                      <a:pt x="158" y="307"/>
                    </a:lnTo>
                    <a:lnTo>
                      <a:pt x="160" y="311"/>
                    </a:lnTo>
                    <a:lnTo>
                      <a:pt x="160" y="312"/>
                    </a:lnTo>
                    <a:lnTo>
                      <a:pt x="160" y="316"/>
                    </a:lnTo>
                    <a:lnTo>
                      <a:pt x="160" y="316"/>
                    </a:lnTo>
                    <a:lnTo>
                      <a:pt x="158" y="316"/>
                    </a:lnTo>
                    <a:lnTo>
                      <a:pt x="158" y="316"/>
                    </a:lnTo>
                    <a:lnTo>
                      <a:pt x="158" y="316"/>
                    </a:lnTo>
                    <a:lnTo>
                      <a:pt x="158" y="316"/>
                    </a:lnTo>
                    <a:close/>
                    <a:moveTo>
                      <a:pt x="143" y="316"/>
                    </a:moveTo>
                    <a:lnTo>
                      <a:pt x="147" y="311"/>
                    </a:lnTo>
                    <a:lnTo>
                      <a:pt x="151" y="311"/>
                    </a:lnTo>
                    <a:lnTo>
                      <a:pt x="151" y="312"/>
                    </a:lnTo>
                    <a:lnTo>
                      <a:pt x="147" y="316"/>
                    </a:lnTo>
                    <a:lnTo>
                      <a:pt x="143" y="316"/>
                    </a:lnTo>
                    <a:lnTo>
                      <a:pt x="143" y="316"/>
                    </a:lnTo>
                    <a:lnTo>
                      <a:pt x="143" y="316"/>
                    </a:lnTo>
                    <a:lnTo>
                      <a:pt x="143" y="316"/>
                    </a:lnTo>
                    <a:close/>
                    <a:moveTo>
                      <a:pt x="128" y="354"/>
                    </a:moveTo>
                    <a:lnTo>
                      <a:pt x="128" y="354"/>
                    </a:lnTo>
                    <a:lnTo>
                      <a:pt x="130" y="352"/>
                    </a:lnTo>
                    <a:lnTo>
                      <a:pt x="132" y="354"/>
                    </a:lnTo>
                    <a:lnTo>
                      <a:pt x="134" y="352"/>
                    </a:lnTo>
                    <a:lnTo>
                      <a:pt x="134" y="350"/>
                    </a:lnTo>
                    <a:lnTo>
                      <a:pt x="130" y="346"/>
                    </a:lnTo>
                    <a:lnTo>
                      <a:pt x="132" y="343"/>
                    </a:lnTo>
                    <a:lnTo>
                      <a:pt x="134" y="337"/>
                    </a:lnTo>
                    <a:lnTo>
                      <a:pt x="138" y="337"/>
                    </a:lnTo>
                    <a:lnTo>
                      <a:pt x="138" y="333"/>
                    </a:lnTo>
                    <a:lnTo>
                      <a:pt x="143" y="333"/>
                    </a:lnTo>
                    <a:lnTo>
                      <a:pt x="151" y="337"/>
                    </a:lnTo>
                    <a:lnTo>
                      <a:pt x="151" y="341"/>
                    </a:lnTo>
                    <a:lnTo>
                      <a:pt x="153" y="341"/>
                    </a:lnTo>
                    <a:lnTo>
                      <a:pt x="155" y="333"/>
                    </a:lnTo>
                    <a:lnTo>
                      <a:pt x="158" y="329"/>
                    </a:lnTo>
                    <a:lnTo>
                      <a:pt x="158" y="326"/>
                    </a:lnTo>
                    <a:lnTo>
                      <a:pt x="158" y="326"/>
                    </a:lnTo>
                    <a:lnTo>
                      <a:pt x="156" y="322"/>
                    </a:lnTo>
                    <a:lnTo>
                      <a:pt x="153" y="318"/>
                    </a:lnTo>
                    <a:lnTo>
                      <a:pt x="151" y="318"/>
                    </a:lnTo>
                    <a:lnTo>
                      <a:pt x="147" y="316"/>
                    </a:lnTo>
                    <a:lnTo>
                      <a:pt x="141" y="316"/>
                    </a:lnTo>
                    <a:lnTo>
                      <a:pt x="138" y="320"/>
                    </a:lnTo>
                    <a:lnTo>
                      <a:pt x="138" y="322"/>
                    </a:lnTo>
                    <a:lnTo>
                      <a:pt x="136" y="326"/>
                    </a:lnTo>
                    <a:lnTo>
                      <a:pt x="134" y="328"/>
                    </a:lnTo>
                    <a:lnTo>
                      <a:pt x="130" y="329"/>
                    </a:lnTo>
                    <a:lnTo>
                      <a:pt x="128" y="328"/>
                    </a:lnTo>
                    <a:lnTo>
                      <a:pt x="126" y="324"/>
                    </a:lnTo>
                    <a:lnTo>
                      <a:pt x="124" y="324"/>
                    </a:lnTo>
                    <a:lnTo>
                      <a:pt x="119" y="329"/>
                    </a:lnTo>
                    <a:lnTo>
                      <a:pt x="119" y="333"/>
                    </a:lnTo>
                    <a:lnTo>
                      <a:pt x="117" y="333"/>
                    </a:lnTo>
                    <a:lnTo>
                      <a:pt x="117" y="337"/>
                    </a:lnTo>
                    <a:lnTo>
                      <a:pt x="121" y="341"/>
                    </a:lnTo>
                    <a:lnTo>
                      <a:pt x="121" y="343"/>
                    </a:lnTo>
                    <a:lnTo>
                      <a:pt x="121" y="343"/>
                    </a:lnTo>
                    <a:lnTo>
                      <a:pt x="121" y="346"/>
                    </a:lnTo>
                    <a:lnTo>
                      <a:pt x="123" y="350"/>
                    </a:lnTo>
                    <a:lnTo>
                      <a:pt x="128" y="350"/>
                    </a:lnTo>
                    <a:lnTo>
                      <a:pt x="128" y="354"/>
                    </a:lnTo>
                    <a:lnTo>
                      <a:pt x="128" y="354"/>
                    </a:lnTo>
                    <a:lnTo>
                      <a:pt x="128" y="354"/>
                    </a:lnTo>
                    <a:lnTo>
                      <a:pt x="128" y="354"/>
                    </a:lnTo>
                    <a:close/>
                    <a:moveTo>
                      <a:pt x="104" y="416"/>
                    </a:moveTo>
                    <a:lnTo>
                      <a:pt x="102" y="414"/>
                    </a:lnTo>
                    <a:lnTo>
                      <a:pt x="98" y="414"/>
                    </a:lnTo>
                    <a:lnTo>
                      <a:pt x="98" y="416"/>
                    </a:lnTo>
                    <a:lnTo>
                      <a:pt x="100" y="420"/>
                    </a:lnTo>
                    <a:lnTo>
                      <a:pt x="104" y="420"/>
                    </a:lnTo>
                    <a:lnTo>
                      <a:pt x="104" y="420"/>
                    </a:lnTo>
                    <a:lnTo>
                      <a:pt x="104" y="416"/>
                    </a:lnTo>
                    <a:lnTo>
                      <a:pt x="104" y="416"/>
                    </a:lnTo>
                    <a:lnTo>
                      <a:pt x="104" y="416"/>
                    </a:lnTo>
                    <a:lnTo>
                      <a:pt x="104" y="416"/>
                    </a:lnTo>
                    <a:close/>
                    <a:moveTo>
                      <a:pt x="108" y="412"/>
                    </a:moveTo>
                    <a:lnTo>
                      <a:pt x="106" y="407"/>
                    </a:lnTo>
                    <a:lnTo>
                      <a:pt x="106" y="403"/>
                    </a:lnTo>
                    <a:lnTo>
                      <a:pt x="109" y="407"/>
                    </a:lnTo>
                    <a:lnTo>
                      <a:pt x="109" y="410"/>
                    </a:lnTo>
                    <a:lnTo>
                      <a:pt x="108" y="410"/>
                    </a:lnTo>
                    <a:lnTo>
                      <a:pt x="108" y="412"/>
                    </a:lnTo>
                    <a:lnTo>
                      <a:pt x="108" y="412"/>
                    </a:lnTo>
                    <a:lnTo>
                      <a:pt x="108" y="412"/>
                    </a:lnTo>
                    <a:lnTo>
                      <a:pt x="108" y="412"/>
                    </a:lnTo>
                    <a:close/>
                    <a:moveTo>
                      <a:pt x="100" y="401"/>
                    </a:moveTo>
                    <a:lnTo>
                      <a:pt x="104" y="401"/>
                    </a:lnTo>
                    <a:lnTo>
                      <a:pt x="108" y="395"/>
                    </a:lnTo>
                    <a:lnTo>
                      <a:pt x="104" y="392"/>
                    </a:lnTo>
                    <a:lnTo>
                      <a:pt x="104" y="390"/>
                    </a:lnTo>
                    <a:lnTo>
                      <a:pt x="106" y="388"/>
                    </a:lnTo>
                    <a:lnTo>
                      <a:pt x="109" y="390"/>
                    </a:lnTo>
                    <a:lnTo>
                      <a:pt x="109" y="392"/>
                    </a:lnTo>
                    <a:lnTo>
                      <a:pt x="111" y="386"/>
                    </a:lnTo>
                    <a:lnTo>
                      <a:pt x="111" y="380"/>
                    </a:lnTo>
                    <a:lnTo>
                      <a:pt x="109" y="377"/>
                    </a:lnTo>
                    <a:lnTo>
                      <a:pt x="109" y="367"/>
                    </a:lnTo>
                    <a:lnTo>
                      <a:pt x="109" y="361"/>
                    </a:lnTo>
                    <a:lnTo>
                      <a:pt x="111" y="358"/>
                    </a:lnTo>
                    <a:lnTo>
                      <a:pt x="113" y="354"/>
                    </a:lnTo>
                    <a:lnTo>
                      <a:pt x="113" y="352"/>
                    </a:lnTo>
                    <a:lnTo>
                      <a:pt x="113" y="352"/>
                    </a:lnTo>
                    <a:lnTo>
                      <a:pt x="113" y="348"/>
                    </a:lnTo>
                    <a:lnTo>
                      <a:pt x="111" y="346"/>
                    </a:lnTo>
                    <a:lnTo>
                      <a:pt x="111" y="346"/>
                    </a:lnTo>
                    <a:lnTo>
                      <a:pt x="106" y="346"/>
                    </a:lnTo>
                    <a:lnTo>
                      <a:pt x="104" y="343"/>
                    </a:lnTo>
                    <a:lnTo>
                      <a:pt x="108" y="341"/>
                    </a:lnTo>
                    <a:lnTo>
                      <a:pt x="108" y="341"/>
                    </a:lnTo>
                    <a:lnTo>
                      <a:pt x="108" y="333"/>
                    </a:lnTo>
                    <a:lnTo>
                      <a:pt x="104" y="333"/>
                    </a:lnTo>
                    <a:lnTo>
                      <a:pt x="102" y="333"/>
                    </a:lnTo>
                    <a:lnTo>
                      <a:pt x="102" y="333"/>
                    </a:lnTo>
                    <a:lnTo>
                      <a:pt x="98" y="337"/>
                    </a:lnTo>
                    <a:lnTo>
                      <a:pt x="96" y="337"/>
                    </a:lnTo>
                    <a:lnTo>
                      <a:pt x="92" y="333"/>
                    </a:lnTo>
                    <a:lnTo>
                      <a:pt x="92" y="329"/>
                    </a:lnTo>
                    <a:lnTo>
                      <a:pt x="98" y="328"/>
                    </a:lnTo>
                    <a:lnTo>
                      <a:pt x="104" y="326"/>
                    </a:lnTo>
                    <a:lnTo>
                      <a:pt x="109" y="328"/>
                    </a:lnTo>
                    <a:lnTo>
                      <a:pt x="113" y="329"/>
                    </a:lnTo>
                    <a:lnTo>
                      <a:pt x="113" y="328"/>
                    </a:lnTo>
                    <a:lnTo>
                      <a:pt x="113" y="326"/>
                    </a:lnTo>
                    <a:lnTo>
                      <a:pt x="113" y="320"/>
                    </a:lnTo>
                    <a:lnTo>
                      <a:pt x="113" y="318"/>
                    </a:lnTo>
                    <a:lnTo>
                      <a:pt x="113" y="316"/>
                    </a:lnTo>
                    <a:lnTo>
                      <a:pt x="117" y="316"/>
                    </a:lnTo>
                    <a:lnTo>
                      <a:pt x="117" y="318"/>
                    </a:lnTo>
                    <a:lnTo>
                      <a:pt x="119" y="318"/>
                    </a:lnTo>
                    <a:lnTo>
                      <a:pt x="123" y="316"/>
                    </a:lnTo>
                    <a:lnTo>
                      <a:pt x="128" y="316"/>
                    </a:lnTo>
                    <a:lnTo>
                      <a:pt x="134" y="312"/>
                    </a:lnTo>
                    <a:lnTo>
                      <a:pt x="138" y="312"/>
                    </a:lnTo>
                    <a:lnTo>
                      <a:pt x="138" y="316"/>
                    </a:lnTo>
                    <a:lnTo>
                      <a:pt x="141" y="312"/>
                    </a:lnTo>
                    <a:lnTo>
                      <a:pt x="141" y="311"/>
                    </a:lnTo>
                    <a:lnTo>
                      <a:pt x="147" y="309"/>
                    </a:lnTo>
                    <a:lnTo>
                      <a:pt x="147" y="307"/>
                    </a:lnTo>
                    <a:lnTo>
                      <a:pt x="151" y="303"/>
                    </a:lnTo>
                    <a:lnTo>
                      <a:pt x="155" y="303"/>
                    </a:lnTo>
                    <a:lnTo>
                      <a:pt x="160" y="303"/>
                    </a:lnTo>
                    <a:lnTo>
                      <a:pt x="162" y="303"/>
                    </a:lnTo>
                    <a:lnTo>
                      <a:pt x="166" y="303"/>
                    </a:lnTo>
                    <a:lnTo>
                      <a:pt x="166" y="307"/>
                    </a:lnTo>
                    <a:lnTo>
                      <a:pt x="162" y="311"/>
                    </a:lnTo>
                    <a:lnTo>
                      <a:pt x="162" y="316"/>
                    </a:lnTo>
                    <a:lnTo>
                      <a:pt x="162" y="316"/>
                    </a:lnTo>
                    <a:lnTo>
                      <a:pt x="162" y="318"/>
                    </a:lnTo>
                    <a:lnTo>
                      <a:pt x="162" y="322"/>
                    </a:lnTo>
                    <a:lnTo>
                      <a:pt x="162" y="324"/>
                    </a:lnTo>
                    <a:lnTo>
                      <a:pt x="166" y="328"/>
                    </a:lnTo>
                    <a:lnTo>
                      <a:pt x="168" y="329"/>
                    </a:lnTo>
                    <a:lnTo>
                      <a:pt x="175" y="333"/>
                    </a:lnTo>
                    <a:lnTo>
                      <a:pt x="175" y="333"/>
                    </a:lnTo>
                    <a:lnTo>
                      <a:pt x="179" y="333"/>
                    </a:lnTo>
                    <a:lnTo>
                      <a:pt x="183" y="329"/>
                    </a:lnTo>
                    <a:lnTo>
                      <a:pt x="183" y="326"/>
                    </a:lnTo>
                    <a:lnTo>
                      <a:pt x="185" y="324"/>
                    </a:lnTo>
                    <a:lnTo>
                      <a:pt x="185" y="322"/>
                    </a:lnTo>
                    <a:lnTo>
                      <a:pt x="185" y="318"/>
                    </a:lnTo>
                    <a:lnTo>
                      <a:pt x="187" y="316"/>
                    </a:lnTo>
                    <a:lnTo>
                      <a:pt x="190" y="316"/>
                    </a:lnTo>
                    <a:lnTo>
                      <a:pt x="192" y="316"/>
                    </a:lnTo>
                    <a:lnTo>
                      <a:pt x="192" y="312"/>
                    </a:lnTo>
                    <a:lnTo>
                      <a:pt x="192" y="311"/>
                    </a:lnTo>
                    <a:lnTo>
                      <a:pt x="192" y="307"/>
                    </a:lnTo>
                    <a:lnTo>
                      <a:pt x="187" y="303"/>
                    </a:lnTo>
                    <a:lnTo>
                      <a:pt x="185" y="303"/>
                    </a:lnTo>
                    <a:lnTo>
                      <a:pt x="187" y="297"/>
                    </a:lnTo>
                    <a:lnTo>
                      <a:pt x="188" y="296"/>
                    </a:lnTo>
                    <a:lnTo>
                      <a:pt x="190" y="296"/>
                    </a:lnTo>
                    <a:lnTo>
                      <a:pt x="190" y="297"/>
                    </a:lnTo>
                    <a:lnTo>
                      <a:pt x="190" y="301"/>
                    </a:lnTo>
                    <a:lnTo>
                      <a:pt x="192" y="303"/>
                    </a:lnTo>
                    <a:lnTo>
                      <a:pt x="192" y="301"/>
                    </a:lnTo>
                    <a:lnTo>
                      <a:pt x="192" y="299"/>
                    </a:lnTo>
                    <a:lnTo>
                      <a:pt x="196" y="301"/>
                    </a:lnTo>
                    <a:lnTo>
                      <a:pt x="196" y="301"/>
                    </a:lnTo>
                    <a:lnTo>
                      <a:pt x="200" y="301"/>
                    </a:lnTo>
                    <a:lnTo>
                      <a:pt x="200" y="301"/>
                    </a:lnTo>
                    <a:lnTo>
                      <a:pt x="200" y="303"/>
                    </a:lnTo>
                    <a:lnTo>
                      <a:pt x="196" y="303"/>
                    </a:lnTo>
                    <a:lnTo>
                      <a:pt x="196" y="303"/>
                    </a:lnTo>
                    <a:lnTo>
                      <a:pt x="196" y="307"/>
                    </a:lnTo>
                    <a:lnTo>
                      <a:pt x="200" y="303"/>
                    </a:lnTo>
                    <a:lnTo>
                      <a:pt x="205" y="303"/>
                    </a:lnTo>
                    <a:lnTo>
                      <a:pt x="215" y="303"/>
                    </a:lnTo>
                    <a:lnTo>
                      <a:pt x="220" y="303"/>
                    </a:lnTo>
                    <a:lnTo>
                      <a:pt x="217" y="301"/>
                    </a:lnTo>
                    <a:lnTo>
                      <a:pt x="217" y="297"/>
                    </a:lnTo>
                    <a:lnTo>
                      <a:pt x="217" y="294"/>
                    </a:lnTo>
                    <a:lnTo>
                      <a:pt x="220" y="292"/>
                    </a:lnTo>
                    <a:lnTo>
                      <a:pt x="226" y="292"/>
                    </a:lnTo>
                    <a:lnTo>
                      <a:pt x="226" y="296"/>
                    </a:lnTo>
                    <a:lnTo>
                      <a:pt x="226" y="299"/>
                    </a:lnTo>
                    <a:lnTo>
                      <a:pt x="226" y="301"/>
                    </a:lnTo>
                    <a:lnTo>
                      <a:pt x="230" y="301"/>
                    </a:lnTo>
                    <a:lnTo>
                      <a:pt x="232" y="297"/>
                    </a:lnTo>
                    <a:lnTo>
                      <a:pt x="230" y="290"/>
                    </a:lnTo>
                    <a:lnTo>
                      <a:pt x="230" y="286"/>
                    </a:lnTo>
                    <a:lnTo>
                      <a:pt x="236" y="282"/>
                    </a:lnTo>
                    <a:lnTo>
                      <a:pt x="237" y="282"/>
                    </a:lnTo>
                    <a:lnTo>
                      <a:pt x="237" y="280"/>
                    </a:lnTo>
                    <a:lnTo>
                      <a:pt x="236" y="279"/>
                    </a:lnTo>
                    <a:lnTo>
                      <a:pt x="237" y="273"/>
                    </a:lnTo>
                    <a:lnTo>
                      <a:pt x="239" y="273"/>
                    </a:lnTo>
                    <a:lnTo>
                      <a:pt x="243" y="273"/>
                    </a:lnTo>
                    <a:lnTo>
                      <a:pt x="245" y="277"/>
                    </a:lnTo>
                    <a:lnTo>
                      <a:pt x="243" y="279"/>
                    </a:lnTo>
                    <a:lnTo>
                      <a:pt x="241" y="282"/>
                    </a:lnTo>
                    <a:lnTo>
                      <a:pt x="243" y="294"/>
                    </a:lnTo>
                    <a:lnTo>
                      <a:pt x="245" y="296"/>
                    </a:lnTo>
                    <a:lnTo>
                      <a:pt x="247" y="294"/>
                    </a:lnTo>
                    <a:lnTo>
                      <a:pt x="249" y="290"/>
                    </a:lnTo>
                    <a:lnTo>
                      <a:pt x="251" y="290"/>
                    </a:lnTo>
                    <a:lnTo>
                      <a:pt x="254" y="286"/>
                    </a:lnTo>
                    <a:lnTo>
                      <a:pt x="254" y="280"/>
                    </a:lnTo>
                    <a:lnTo>
                      <a:pt x="254" y="277"/>
                    </a:lnTo>
                    <a:lnTo>
                      <a:pt x="258" y="273"/>
                    </a:lnTo>
                    <a:lnTo>
                      <a:pt x="258" y="273"/>
                    </a:lnTo>
                    <a:lnTo>
                      <a:pt x="256" y="271"/>
                    </a:lnTo>
                    <a:lnTo>
                      <a:pt x="251" y="264"/>
                    </a:lnTo>
                    <a:lnTo>
                      <a:pt x="251" y="260"/>
                    </a:lnTo>
                    <a:lnTo>
                      <a:pt x="251" y="250"/>
                    </a:lnTo>
                    <a:lnTo>
                      <a:pt x="251" y="239"/>
                    </a:lnTo>
                    <a:lnTo>
                      <a:pt x="251" y="233"/>
                    </a:lnTo>
                    <a:lnTo>
                      <a:pt x="249" y="222"/>
                    </a:lnTo>
                    <a:lnTo>
                      <a:pt x="243" y="213"/>
                    </a:lnTo>
                    <a:lnTo>
                      <a:pt x="243" y="209"/>
                    </a:lnTo>
                    <a:lnTo>
                      <a:pt x="245" y="203"/>
                    </a:lnTo>
                    <a:lnTo>
                      <a:pt x="251" y="201"/>
                    </a:lnTo>
                    <a:lnTo>
                      <a:pt x="254" y="201"/>
                    </a:lnTo>
                    <a:lnTo>
                      <a:pt x="254" y="203"/>
                    </a:lnTo>
                    <a:lnTo>
                      <a:pt x="254" y="201"/>
                    </a:lnTo>
                    <a:lnTo>
                      <a:pt x="254" y="198"/>
                    </a:lnTo>
                    <a:lnTo>
                      <a:pt x="254" y="194"/>
                    </a:lnTo>
                    <a:lnTo>
                      <a:pt x="254" y="194"/>
                    </a:lnTo>
                    <a:lnTo>
                      <a:pt x="251" y="188"/>
                    </a:lnTo>
                    <a:lnTo>
                      <a:pt x="251" y="186"/>
                    </a:lnTo>
                    <a:lnTo>
                      <a:pt x="251" y="184"/>
                    </a:lnTo>
                    <a:lnTo>
                      <a:pt x="254" y="183"/>
                    </a:lnTo>
                    <a:lnTo>
                      <a:pt x="254" y="183"/>
                    </a:lnTo>
                    <a:lnTo>
                      <a:pt x="254" y="179"/>
                    </a:lnTo>
                    <a:lnTo>
                      <a:pt x="251" y="177"/>
                    </a:lnTo>
                    <a:lnTo>
                      <a:pt x="251" y="173"/>
                    </a:lnTo>
                    <a:lnTo>
                      <a:pt x="254" y="169"/>
                    </a:lnTo>
                    <a:lnTo>
                      <a:pt x="251" y="167"/>
                    </a:lnTo>
                    <a:lnTo>
                      <a:pt x="251" y="160"/>
                    </a:lnTo>
                    <a:lnTo>
                      <a:pt x="247" y="154"/>
                    </a:lnTo>
                    <a:lnTo>
                      <a:pt x="245" y="154"/>
                    </a:lnTo>
                    <a:lnTo>
                      <a:pt x="243" y="152"/>
                    </a:lnTo>
                    <a:lnTo>
                      <a:pt x="243" y="145"/>
                    </a:lnTo>
                    <a:lnTo>
                      <a:pt x="239" y="143"/>
                    </a:lnTo>
                    <a:lnTo>
                      <a:pt x="232" y="134"/>
                    </a:lnTo>
                    <a:lnTo>
                      <a:pt x="230" y="130"/>
                    </a:lnTo>
                    <a:lnTo>
                      <a:pt x="230" y="124"/>
                    </a:lnTo>
                    <a:lnTo>
                      <a:pt x="230" y="118"/>
                    </a:lnTo>
                    <a:lnTo>
                      <a:pt x="230" y="115"/>
                    </a:lnTo>
                    <a:lnTo>
                      <a:pt x="226" y="118"/>
                    </a:lnTo>
                    <a:lnTo>
                      <a:pt x="226" y="118"/>
                    </a:lnTo>
                    <a:lnTo>
                      <a:pt x="224" y="118"/>
                    </a:lnTo>
                    <a:lnTo>
                      <a:pt x="220" y="115"/>
                    </a:lnTo>
                    <a:lnTo>
                      <a:pt x="217" y="115"/>
                    </a:lnTo>
                    <a:lnTo>
                      <a:pt x="217" y="115"/>
                    </a:lnTo>
                    <a:lnTo>
                      <a:pt x="217" y="120"/>
                    </a:lnTo>
                    <a:lnTo>
                      <a:pt x="217" y="124"/>
                    </a:lnTo>
                    <a:lnTo>
                      <a:pt x="217" y="124"/>
                    </a:lnTo>
                    <a:lnTo>
                      <a:pt x="220" y="124"/>
                    </a:lnTo>
                    <a:lnTo>
                      <a:pt x="226" y="120"/>
                    </a:lnTo>
                    <a:lnTo>
                      <a:pt x="226" y="126"/>
                    </a:lnTo>
                    <a:lnTo>
                      <a:pt x="226" y="128"/>
                    </a:lnTo>
                    <a:lnTo>
                      <a:pt x="224" y="130"/>
                    </a:lnTo>
                    <a:lnTo>
                      <a:pt x="220" y="128"/>
                    </a:lnTo>
                    <a:lnTo>
                      <a:pt x="220" y="128"/>
                    </a:lnTo>
                    <a:lnTo>
                      <a:pt x="220" y="134"/>
                    </a:lnTo>
                    <a:lnTo>
                      <a:pt x="217" y="135"/>
                    </a:lnTo>
                    <a:lnTo>
                      <a:pt x="217" y="134"/>
                    </a:lnTo>
                    <a:lnTo>
                      <a:pt x="217" y="130"/>
                    </a:lnTo>
                    <a:lnTo>
                      <a:pt x="215" y="126"/>
                    </a:lnTo>
                    <a:lnTo>
                      <a:pt x="215" y="124"/>
                    </a:lnTo>
                    <a:lnTo>
                      <a:pt x="211" y="126"/>
                    </a:lnTo>
                    <a:lnTo>
                      <a:pt x="209" y="124"/>
                    </a:lnTo>
                    <a:lnTo>
                      <a:pt x="209" y="128"/>
                    </a:lnTo>
                    <a:lnTo>
                      <a:pt x="211" y="134"/>
                    </a:lnTo>
                    <a:lnTo>
                      <a:pt x="211" y="137"/>
                    </a:lnTo>
                    <a:lnTo>
                      <a:pt x="207" y="137"/>
                    </a:lnTo>
                    <a:lnTo>
                      <a:pt x="205" y="139"/>
                    </a:lnTo>
                    <a:lnTo>
                      <a:pt x="205" y="143"/>
                    </a:lnTo>
                    <a:lnTo>
                      <a:pt x="211" y="149"/>
                    </a:lnTo>
                    <a:lnTo>
                      <a:pt x="213" y="149"/>
                    </a:lnTo>
                    <a:lnTo>
                      <a:pt x="211" y="154"/>
                    </a:lnTo>
                    <a:lnTo>
                      <a:pt x="207" y="156"/>
                    </a:lnTo>
                    <a:lnTo>
                      <a:pt x="205" y="156"/>
                    </a:lnTo>
                    <a:lnTo>
                      <a:pt x="205" y="158"/>
                    </a:lnTo>
                    <a:lnTo>
                      <a:pt x="207" y="162"/>
                    </a:lnTo>
                    <a:lnTo>
                      <a:pt x="211" y="162"/>
                    </a:lnTo>
                    <a:lnTo>
                      <a:pt x="213" y="158"/>
                    </a:lnTo>
                    <a:lnTo>
                      <a:pt x="217" y="167"/>
                    </a:lnTo>
                    <a:lnTo>
                      <a:pt x="217" y="177"/>
                    </a:lnTo>
                    <a:lnTo>
                      <a:pt x="217" y="179"/>
                    </a:lnTo>
                    <a:lnTo>
                      <a:pt x="217" y="188"/>
                    </a:lnTo>
                    <a:lnTo>
                      <a:pt x="215" y="203"/>
                    </a:lnTo>
                    <a:lnTo>
                      <a:pt x="215" y="209"/>
                    </a:lnTo>
                    <a:lnTo>
                      <a:pt x="213" y="213"/>
                    </a:lnTo>
                    <a:lnTo>
                      <a:pt x="209" y="215"/>
                    </a:lnTo>
                    <a:lnTo>
                      <a:pt x="207" y="222"/>
                    </a:lnTo>
                    <a:lnTo>
                      <a:pt x="207" y="228"/>
                    </a:lnTo>
                    <a:lnTo>
                      <a:pt x="205" y="231"/>
                    </a:lnTo>
                    <a:lnTo>
                      <a:pt x="205" y="233"/>
                    </a:lnTo>
                    <a:lnTo>
                      <a:pt x="200" y="239"/>
                    </a:lnTo>
                    <a:lnTo>
                      <a:pt x="192" y="243"/>
                    </a:lnTo>
                    <a:lnTo>
                      <a:pt x="188" y="247"/>
                    </a:lnTo>
                    <a:lnTo>
                      <a:pt x="187" y="248"/>
                    </a:lnTo>
                    <a:lnTo>
                      <a:pt x="181" y="247"/>
                    </a:lnTo>
                    <a:lnTo>
                      <a:pt x="177" y="239"/>
                    </a:lnTo>
                    <a:lnTo>
                      <a:pt x="177" y="239"/>
                    </a:lnTo>
                    <a:lnTo>
                      <a:pt x="179" y="237"/>
                    </a:lnTo>
                    <a:lnTo>
                      <a:pt x="181" y="233"/>
                    </a:lnTo>
                    <a:lnTo>
                      <a:pt x="181" y="231"/>
                    </a:lnTo>
                    <a:lnTo>
                      <a:pt x="183" y="230"/>
                    </a:lnTo>
                    <a:lnTo>
                      <a:pt x="183" y="230"/>
                    </a:lnTo>
                    <a:lnTo>
                      <a:pt x="179" y="230"/>
                    </a:lnTo>
                    <a:lnTo>
                      <a:pt x="175" y="233"/>
                    </a:lnTo>
                    <a:lnTo>
                      <a:pt x="172" y="233"/>
                    </a:lnTo>
                    <a:lnTo>
                      <a:pt x="172" y="239"/>
                    </a:lnTo>
                    <a:lnTo>
                      <a:pt x="175" y="243"/>
                    </a:lnTo>
                    <a:lnTo>
                      <a:pt x="175" y="250"/>
                    </a:lnTo>
                    <a:lnTo>
                      <a:pt x="175" y="256"/>
                    </a:lnTo>
                    <a:lnTo>
                      <a:pt x="168" y="260"/>
                    </a:lnTo>
                    <a:lnTo>
                      <a:pt x="168" y="262"/>
                    </a:lnTo>
                    <a:lnTo>
                      <a:pt x="168" y="264"/>
                    </a:lnTo>
                    <a:lnTo>
                      <a:pt x="168" y="271"/>
                    </a:lnTo>
                    <a:lnTo>
                      <a:pt x="168" y="273"/>
                    </a:lnTo>
                    <a:lnTo>
                      <a:pt x="168" y="277"/>
                    </a:lnTo>
                    <a:lnTo>
                      <a:pt x="168" y="277"/>
                    </a:lnTo>
                    <a:lnTo>
                      <a:pt x="168" y="277"/>
                    </a:lnTo>
                    <a:lnTo>
                      <a:pt x="168" y="279"/>
                    </a:lnTo>
                    <a:lnTo>
                      <a:pt x="166" y="279"/>
                    </a:lnTo>
                    <a:lnTo>
                      <a:pt x="168" y="280"/>
                    </a:lnTo>
                    <a:lnTo>
                      <a:pt x="162" y="282"/>
                    </a:lnTo>
                    <a:lnTo>
                      <a:pt x="162" y="280"/>
                    </a:lnTo>
                    <a:lnTo>
                      <a:pt x="160" y="282"/>
                    </a:lnTo>
                    <a:lnTo>
                      <a:pt x="158" y="282"/>
                    </a:lnTo>
                    <a:lnTo>
                      <a:pt x="156" y="279"/>
                    </a:lnTo>
                    <a:lnTo>
                      <a:pt x="156" y="277"/>
                    </a:lnTo>
                    <a:lnTo>
                      <a:pt x="155" y="279"/>
                    </a:lnTo>
                    <a:lnTo>
                      <a:pt x="151" y="279"/>
                    </a:lnTo>
                    <a:lnTo>
                      <a:pt x="151" y="279"/>
                    </a:lnTo>
                    <a:lnTo>
                      <a:pt x="141" y="280"/>
                    </a:lnTo>
                    <a:lnTo>
                      <a:pt x="138" y="282"/>
                    </a:lnTo>
                    <a:lnTo>
                      <a:pt x="134" y="284"/>
                    </a:lnTo>
                    <a:lnTo>
                      <a:pt x="130" y="284"/>
                    </a:lnTo>
                    <a:lnTo>
                      <a:pt x="124" y="286"/>
                    </a:lnTo>
                    <a:lnTo>
                      <a:pt x="123" y="286"/>
                    </a:lnTo>
                    <a:lnTo>
                      <a:pt x="119" y="286"/>
                    </a:lnTo>
                    <a:lnTo>
                      <a:pt x="113" y="292"/>
                    </a:lnTo>
                    <a:lnTo>
                      <a:pt x="111" y="296"/>
                    </a:lnTo>
                    <a:lnTo>
                      <a:pt x="109" y="297"/>
                    </a:lnTo>
                    <a:lnTo>
                      <a:pt x="109" y="301"/>
                    </a:lnTo>
                    <a:lnTo>
                      <a:pt x="104" y="307"/>
                    </a:lnTo>
                    <a:lnTo>
                      <a:pt x="100" y="307"/>
                    </a:lnTo>
                    <a:lnTo>
                      <a:pt x="96" y="311"/>
                    </a:lnTo>
                    <a:lnTo>
                      <a:pt x="96" y="312"/>
                    </a:lnTo>
                    <a:lnTo>
                      <a:pt x="92" y="316"/>
                    </a:lnTo>
                    <a:lnTo>
                      <a:pt x="89" y="316"/>
                    </a:lnTo>
                    <a:lnTo>
                      <a:pt x="89" y="318"/>
                    </a:lnTo>
                    <a:lnTo>
                      <a:pt x="89" y="326"/>
                    </a:lnTo>
                    <a:lnTo>
                      <a:pt x="89" y="326"/>
                    </a:lnTo>
                    <a:lnTo>
                      <a:pt x="92" y="329"/>
                    </a:lnTo>
                    <a:lnTo>
                      <a:pt x="89" y="331"/>
                    </a:lnTo>
                    <a:lnTo>
                      <a:pt x="87" y="331"/>
                    </a:lnTo>
                    <a:lnTo>
                      <a:pt x="83" y="333"/>
                    </a:lnTo>
                    <a:lnTo>
                      <a:pt x="83" y="337"/>
                    </a:lnTo>
                    <a:lnTo>
                      <a:pt x="79" y="337"/>
                    </a:lnTo>
                    <a:lnTo>
                      <a:pt x="76" y="341"/>
                    </a:lnTo>
                    <a:lnTo>
                      <a:pt x="74" y="346"/>
                    </a:lnTo>
                    <a:lnTo>
                      <a:pt x="72" y="346"/>
                    </a:lnTo>
                    <a:lnTo>
                      <a:pt x="68" y="346"/>
                    </a:lnTo>
                    <a:lnTo>
                      <a:pt x="70" y="346"/>
                    </a:lnTo>
                    <a:lnTo>
                      <a:pt x="72" y="346"/>
                    </a:lnTo>
                    <a:lnTo>
                      <a:pt x="72" y="350"/>
                    </a:lnTo>
                    <a:lnTo>
                      <a:pt x="74" y="354"/>
                    </a:lnTo>
                    <a:lnTo>
                      <a:pt x="74" y="356"/>
                    </a:lnTo>
                    <a:lnTo>
                      <a:pt x="72" y="352"/>
                    </a:lnTo>
                    <a:lnTo>
                      <a:pt x="70" y="350"/>
                    </a:lnTo>
                    <a:lnTo>
                      <a:pt x="70" y="352"/>
                    </a:lnTo>
                    <a:lnTo>
                      <a:pt x="72" y="356"/>
                    </a:lnTo>
                    <a:lnTo>
                      <a:pt x="74" y="358"/>
                    </a:lnTo>
                    <a:lnTo>
                      <a:pt x="74" y="360"/>
                    </a:lnTo>
                    <a:lnTo>
                      <a:pt x="72" y="361"/>
                    </a:lnTo>
                    <a:lnTo>
                      <a:pt x="74" y="361"/>
                    </a:lnTo>
                    <a:lnTo>
                      <a:pt x="76" y="360"/>
                    </a:lnTo>
                    <a:lnTo>
                      <a:pt x="79" y="358"/>
                    </a:lnTo>
                    <a:lnTo>
                      <a:pt x="81" y="358"/>
                    </a:lnTo>
                    <a:lnTo>
                      <a:pt x="79" y="360"/>
                    </a:lnTo>
                    <a:lnTo>
                      <a:pt x="81" y="361"/>
                    </a:lnTo>
                    <a:lnTo>
                      <a:pt x="83" y="360"/>
                    </a:lnTo>
                    <a:lnTo>
                      <a:pt x="83" y="356"/>
                    </a:lnTo>
                    <a:lnTo>
                      <a:pt x="81" y="354"/>
                    </a:lnTo>
                    <a:lnTo>
                      <a:pt x="77" y="356"/>
                    </a:lnTo>
                    <a:lnTo>
                      <a:pt x="77" y="354"/>
                    </a:lnTo>
                    <a:lnTo>
                      <a:pt x="79" y="352"/>
                    </a:lnTo>
                    <a:lnTo>
                      <a:pt x="77" y="348"/>
                    </a:lnTo>
                    <a:lnTo>
                      <a:pt x="79" y="346"/>
                    </a:lnTo>
                    <a:lnTo>
                      <a:pt x="83" y="348"/>
                    </a:lnTo>
                    <a:lnTo>
                      <a:pt x="87" y="354"/>
                    </a:lnTo>
                    <a:lnTo>
                      <a:pt x="87" y="358"/>
                    </a:lnTo>
                    <a:lnTo>
                      <a:pt x="89" y="360"/>
                    </a:lnTo>
                    <a:lnTo>
                      <a:pt x="89" y="367"/>
                    </a:lnTo>
                    <a:lnTo>
                      <a:pt x="85" y="371"/>
                    </a:lnTo>
                    <a:lnTo>
                      <a:pt x="83" y="373"/>
                    </a:lnTo>
                    <a:lnTo>
                      <a:pt x="83" y="377"/>
                    </a:lnTo>
                    <a:lnTo>
                      <a:pt x="87" y="378"/>
                    </a:lnTo>
                    <a:lnTo>
                      <a:pt x="87" y="386"/>
                    </a:lnTo>
                    <a:lnTo>
                      <a:pt x="89" y="390"/>
                    </a:lnTo>
                    <a:lnTo>
                      <a:pt x="89" y="393"/>
                    </a:lnTo>
                    <a:lnTo>
                      <a:pt x="89" y="395"/>
                    </a:lnTo>
                    <a:lnTo>
                      <a:pt x="92" y="397"/>
                    </a:lnTo>
                    <a:lnTo>
                      <a:pt x="92" y="397"/>
                    </a:lnTo>
                    <a:lnTo>
                      <a:pt x="96" y="397"/>
                    </a:lnTo>
                    <a:lnTo>
                      <a:pt x="96" y="397"/>
                    </a:lnTo>
                    <a:lnTo>
                      <a:pt x="96" y="395"/>
                    </a:lnTo>
                    <a:lnTo>
                      <a:pt x="94" y="392"/>
                    </a:lnTo>
                    <a:lnTo>
                      <a:pt x="94" y="386"/>
                    </a:lnTo>
                    <a:lnTo>
                      <a:pt x="96" y="384"/>
                    </a:lnTo>
                    <a:lnTo>
                      <a:pt x="98" y="384"/>
                    </a:lnTo>
                    <a:lnTo>
                      <a:pt x="96" y="386"/>
                    </a:lnTo>
                    <a:lnTo>
                      <a:pt x="96" y="388"/>
                    </a:lnTo>
                    <a:lnTo>
                      <a:pt x="100" y="392"/>
                    </a:lnTo>
                    <a:lnTo>
                      <a:pt x="100" y="397"/>
                    </a:lnTo>
                    <a:lnTo>
                      <a:pt x="100" y="397"/>
                    </a:lnTo>
                    <a:lnTo>
                      <a:pt x="100" y="401"/>
                    </a:lnTo>
                    <a:lnTo>
                      <a:pt x="100" y="401"/>
                    </a:lnTo>
                    <a:lnTo>
                      <a:pt x="100" y="401"/>
                    </a:ln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6" name="Freeform 198"/>
              <p:cNvSpPr>
                <a:spLocks noEditPoints="1"/>
              </p:cNvSpPr>
              <p:nvPr/>
            </p:nvSpPr>
            <p:spPr bwMode="auto">
              <a:xfrm>
                <a:off x="4947" y="2717"/>
                <a:ext cx="185" cy="281"/>
              </a:xfrm>
              <a:custGeom>
                <a:avLst/>
                <a:gdLst/>
                <a:ahLst/>
                <a:cxnLst>
                  <a:cxn ang="0">
                    <a:pos x="63" y="6"/>
                  </a:cxn>
                  <a:cxn ang="0">
                    <a:pos x="81" y="11"/>
                  </a:cxn>
                  <a:cxn ang="0">
                    <a:pos x="108" y="107"/>
                  </a:cxn>
                  <a:cxn ang="0">
                    <a:pos x="119" y="121"/>
                  </a:cxn>
                  <a:cxn ang="0">
                    <a:pos x="127" y="137"/>
                  </a:cxn>
                  <a:cxn ang="0">
                    <a:pos x="98" y="115"/>
                  </a:cxn>
                  <a:cxn ang="0">
                    <a:pos x="72" y="119"/>
                  </a:cxn>
                  <a:cxn ang="0">
                    <a:pos x="61" y="98"/>
                  </a:cxn>
                  <a:cxn ang="0">
                    <a:pos x="46" y="75"/>
                  </a:cxn>
                  <a:cxn ang="0">
                    <a:pos x="51" y="32"/>
                  </a:cxn>
                  <a:cxn ang="0">
                    <a:pos x="87" y="24"/>
                  </a:cxn>
                  <a:cxn ang="0">
                    <a:pos x="85" y="70"/>
                  </a:cxn>
                  <a:cxn ang="0">
                    <a:pos x="81" y="105"/>
                  </a:cxn>
                  <a:cxn ang="0">
                    <a:pos x="89" y="98"/>
                  </a:cxn>
                  <a:cxn ang="0">
                    <a:pos x="51" y="115"/>
                  </a:cxn>
                  <a:cxn ang="0">
                    <a:pos x="74" y="151"/>
                  </a:cxn>
                  <a:cxn ang="0">
                    <a:pos x="57" y="124"/>
                  </a:cxn>
                  <a:cxn ang="0">
                    <a:pos x="130" y="111"/>
                  </a:cxn>
                  <a:cxn ang="0">
                    <a:pos x="87" y="128"/>
                  </a:cxn>
                  <a:cxn ang="0">
                    <a:pos x="95" y="139"/>
                  </a:cxn>
                  <a:cxn ang="0">
                    <a:pos x="110" y="134"/>
                  </a:cxn>
                  <a:cxn ang="0">
                    <a:pos x="121" y="141"/>
                  </a:cxn>
                  <a:cxn ang="0">
                    <a:pos x="119" y="143"/>
                  </a:cxn>
                  <a:cxn ang="0">
                    <a:pos x="95" y="185"/>
                  </a:cxn>
                  <a:cxn ang="0">
                    <a:pos x="98" y="160"/>
                  </a:cxn>
                  <a:cxn ang="0">
                    <a:pos x="104" y="179"/>
                  </a:cxn>
                  <a:cxn ang="0">
                    <a:pos x="106" y="179"/>
                  </a:cxn>
                  <a:cxn ang="0">
                    <a:pos x="125" y="192"/>
                  </a:cxn>
                  <a:cxn ang="0">
                    <a:pos x="121" y="203"/>
                  </a:cxn>
                  <a:cxn ang="0">
                    <a:pos x="113" y="181"/>
                  </a:cxn>
                  <a:cxn ang="0">
                    <a:pos x="121" y="205"/>
                  </a:cxn>
                  <a:cxn ang="0">
                    <a:pos x="127" y="207"/>
                  </a:cxn>
                  <a:cxn ang="0">
                    <a:pos x="138" y="190"/>
                  </a:cxn>
                  <a:cxn ang="0">
                    <a:pos x="145" y="211"/>
                  </a:cxn>
                  <a:cxn ang="0">
                    <a:pos x="142" y="160"/>
                  </a:cxn>
                  <a:cxn ang="0">
                    <a:pos x="159" y="158"/>
                  </a:cxn>
                  <a:cxn ang="0">
                    <a:pos x="134" y="141"/>
                  </a:cxn>
                  <a:cxn ang="0">
                    <a:pos x="151" y="168"/>
                  </a:cxn>
                  <a:cxn ang="0">
                    <a:pos x="145" y="190"/>
                  </a:cxn>
                  <a:cxn ang="0">
                    <a:pos x="145" y="168"/>
                  </a:cxn>
                  <a:cxn ang="0">
                    <a:pos x="164" y="179"/>
                  </a:cxn>
                  <a:cxn ang="0">
                    <a:pos x="164" y="198"/>
                  </a:cxn>
                  <a:cxn ang="0">
                    <a:pos x="168" y="198"/>
                  </a:cxn>
                  <a:cxn ang="0">
                    <a:pos x="96" y="247"/>
                  </a:cxn>
                  <a:cxn ang="0">
                    <a:pos x="130" y="224"/>
                  </a:cxn>
                  <a:cxn ang="0">
                    <a:pos x="151" y="215"/>
                  </a:cxn>
                  <a:cxn ang="0">
                    <a:pos x="172" y="209"/>
                  </a:cxn>
                  <a:cxn ang="0">
                    <a:pos x="179" y="237"/>
                  </a:cxn>
                  <a:cxn ang="0">
                    <a:pos x="176" y="267"/>
                  </a:cxn>
                  <a:cxn ang="0">
                    <a:pos x="164" y="279"/>
                  </a:cxn>
                  <a:cxn ang="0">
                    <a:pos x="138" y="267"/>
                  </a:cxn>
                  <a:cxn ang="0">
                    <a:pos x="127" y="239"/>
                  </a:cxn>
                  <a:cxn ang="0">
                    <a:pos x="115" y="245"/>
                  </a:cxn>
                  <a:cxn ang="0">
                    <a:pos x="95" y="262"/>
                  </a:cxn>
                  <a:cxn ang="0">
                    <a:pos x="51" y="154"/>
                  </a:cxn>
                  <a:cxn ang="0">
                    <a:pos x="51" y="154"/>
                  </a:cxn>
                  <a:cxn ang="0">
                    <a:pos x="51" y="183"/>
                  </a:cxn>
                  <a:cxn ang="0">
                    <a:pos x="12" y="222"/>
                  </a:cxn>
                  <a:cxn ang="0">
                    <a:pos x="48" y="185"/>
                  </a:cxn>
                  <a:cxn ang="0">
                    <a:pos x="34" y="185"/>
                  </a:cxn>
                  <a:cxn ang="0">
                    <a:pos x="4" y="224"/>
                  </a:cxn>
                  <a:cxn ang="0">
                    <a:pos x="8" y="228"/>
                  </a:cxn>
                </a:cxnLst>
                <a:rect l="0" t="0" r="r" b="b"/>
                <a:pathLst>
                  <a:path w="185" h="281">
                    <a:moveTo>
                      <a:pt x="64" y="15"/>
                    </a:moveTo>
                    <a:lnTo>
                      <a:pt x="70" y="15"/>
                    </a:lnTo>
                    <a:lnTo>
                      <a:pt x="66" y="15"/>
                    </a:lnTo>
                    <a:lnTo>
                      <a:pt x="64" y="15"/>
                    </a:lnTo>
                    <a:lnTo>
                      <a:pt x="64" y="15"/>
                    </a:lnTo>
                    <a:lnTo>
                      <a:pt x="64" y="15"/>
                    </a:lnTo>
                    <a:lnTo>
                      <a:pt x="64" y="15"/>
                    </a:lnTo>
                    <a:close/>
                    <a:moveTo>
                      <a:pt x="63" y="6"/>
                    </a:moveTo>
                    <a:lnTo>
                      <a:pt x="64" y="7"/>
                    </a:lnTo>
                    <a:lnTo>
                      <a:pt x="61" y="9"/>
                    </a:lnTo>
                    <a:lnTo>
                      <a:pt x="63" y="6"/>
                    </a:lnTo>
                    <a:lnTo>
                      <a:pt x="63" y="6"/>
                    </a:lnTo>
                    <a:lnTo>
                      <a:pt x="63" y="6"/>
                    </a:lnTo>
                    <a:lnTo>
                      <a:pt x="63" y="6"/>
                    </a:lnTo>
                    <a:close/>
                    <a:moveTo>
                      <a:pt x="70" y="0"/>
                    </a:moveTo>
                    <a:lnTo>
                      <a:pt x="68" y="2"/>
                    </a:lnTo>
                    <a:lnTo>
                      <a:pt x="70" y="4"/>
                    </a:lnTo>
                    <a:lnTo>
                      <a:pt x="70" y="0"/>
                    </a:lnTo>
                    <a:lnTo>
                      <a:pt x="70" y="0"/>
                    </a:lnTo>
                    <a:lnTo>
                      <a:pt x="70" y="0"/>
                    </a:lnTo>
                    <a:lnTo>
                      <a:pt x="70" y="0"/>
                    </a:lnTo>
                    <a:close/>
                    <a:moveTo>
                      <a:pt x="80" y="9"/>
                    </a:moveTo>
                    <a:lnTo>
                      <a:pt x="78" y="13"/>
                    </a:lnTo>
                    <a:lnTo>
                      <a:pt x="80" y="15"/>
                    </a:lnTo>
                    <a:lnTo>
                      <a:pt x="81" y="11"/>
                    </a:lnTo>
                    <a:lnTo>
                      <a:pt x="81" y="11"/>
                    </a:lnTo>
                    <a:lnTo>
                      <a:pt x="80" y="9"/>
                    </a:lnTo>
                    <a:lnTo>
                      <a:pt x="80" y="9"/>
                    </a:lnTo>
                    <a:lnTo>
                      <a:pt x="80" y="9"/>
                    </a:lnTo>
                    <a:lnTo>
                      <a:pt x="80" y="9"/>
                    </a:lnTo>
                    <a:close/>
                    <a:moveTo>
                      <a:pt x="81" y="105"/>
                    </a:moveTo>
                    <a:lnTo>
                      <a:pt x="81" y="107"/>
                    </a:lnTo>
                    <a:lnTo>
                      <a:pt x="85" y="111"/>
                    </a:lnTo>
                    <a:lnTo>
                      <a:pt x="91" y="113"/>
                    </a:lnTo>
                    <a:lnTo>
                      <a:pt x="91" y="111"/>
                    </a:lnTo>
                    <a:lnTo>
                      <a:pt x="95" y="109"/>
                    </a:lnTo>
                    <a:lnTo>
                      <a:pt x="98" y="104"/>
                    </a:lnTo>
                    <a:lnTo>
                      <a:pt x="102" y="104"/>
                    </a:lnTo>
                    <a:lnTo>
                      <a:pt x="108" y="107"/>
                    </a:lnTo>
                    <a:lnTo>
                      <a:pt x="110" y="113"/>
                    </a:lnTo>
                    <a:lnTo>
                      <a:pt x="110" y="115"/>
                    </a:lnTo>
                    <a:lnTo>
                      <a:pt x="112" y="119"/>
                    </a:lnTo>
                    <a:lnTo>
                      <a:pt x="113" y="115"/>
                    </a:lnTo>
                    <a:lnTo>
                      <a:pt x="113" y="113"/>
                    </a:lnTo>
                    <a:lnTo>
                      <a:pt x="115" y="111"/>
                    </a:lnTo>
                    <a:lnTo>
                      <a:pt x="115" y="115"/>
                    </a:lnTo>
                    <a:lnTo>
                      <a:pt x="121" y="115"/>
                    </a:lnTo>
                    <a:lnTo>
                      <a:pt x="125" y="119"/>
                    </a:lnTo>
                    <a:lnTo>
                      <a:pt x="125" y="119"/>
                    </a:lnTo>
                    <a:lnTo>
                      <a:pt x="125" y="121"/>
                    </a:lnTo>
                    <a:lnTo>
                      <a:pt x="121" y="119"/>
                    </a:lnTo>
                    <a:lnTo>
                      <a:pt x="119" y="121"/>
                    </a:lnTo>
                    <a:lnTo>
                      <a:pt x="121" y="124"/>
                    </a:lnTo>
                    <a:lnTo>
                      <a:pt x="121" y="128"/>
                    </a:lnTo>
                    <a:lnTo>
                      <a:pt x="121" y="134"/>
                    </a:lnTo>
                    <a:lnTo>
                      <a:pt x="125" y="134"/>
                    </a:lnTo>
                    <a:lnTo>
                      <a:pt x="128" y="134"/>
                    </a:lnTo>
                    <a:lnTo>
                      <a:pt x="132" y="134"/>
                    </a:lnTo>
                    <a:lnTo>
                      <a:pt x="132" y="134"/>
                    </a:lnTo>
                    <a:lnTo>
                      <a:pt x="132" y="136"/>
                    </a:lnTo>
                    <a:lnTo>
                      <a:pt x="132" y="139"/>
                    </a:lnTo>
                    <a:lnTo>
                      <a:pt x="130" y="145"/>
                    </a:lnTo>
                    <a:lnTo>
                      <a:pt x="127" y="143"/>
                    </a:lnTo>
                    <a:lnTo>
                      <a:pt x="125" y="139"/>
                    </a:lnTo>
                    <a:lnTo>
                      <a:pt x="127" y="137"/>
                    </a:lnTo>
                    <a:lnTo>
                      <a:pt x="127" y="136"/>
                    </a:lnTo>
                    <a:lnTo>
                      <a:pt x="125" y="136"/>
                    </a:lnTo>
                    <a:lnTo>
                      <a:pt x="125" y="136"/>
                    </a:lnTo>
                    <a:lnTo>
                      <a:pt x="121" y="137"/>
                    </a:lnTo>
                    <a:lnTo>
                      <a:pt x="115" y="134"/>
                    </a:lnTo>
                    <a:lnTo>
                      <a:pt x="115" y="134"/>
                    </a:lnTo>
                    <a:lnTo>
                      <a:pt x="115" y="128"/>
                    </a:lnTo>
                    <a:lnTo>
                      <a:pt x="113" y="124"/>
                    </a:lnTo>
                    <a:lnTo>
                      <a:pt x="108" y="122"/>
                    </a:lnTo>
                    <a:lnTo>
                      <a:pt x="106" y="119"/>
                    </a:lnTo>
                    <a:lnTo>
                      <a:pt x="102" y="115"/>
                    </a:lnTo>
                    <a:lnTo>
                      <a:pt x="100" y="115"/>
                    </a:lnTo>
                    <a:lnTo>
                      <a:pt x="98" y="115"/>
                    </a:lnTo>
                    <a:lnTo>
                      <a:pt x="98" y="115"/>
                    </a:lnTo>
                    <a:lnTo>
                      <a:pt x="102" y="124"/>
                    </a:lnTo>
                    <a:lnTo>
                      <a:pt x="104" y="128"/>
                    </a:lnTo>
                    <a:lnTo>
                      <a:pt x="102" y="128"/>
                    </a:lnTo>
                    <a:lnTo>
                      <a:pt x="98" y="124"/>
                    </a:lnTo>
                    <a:lnTo>
                      <a:pt x="95" y="121"/>
                    </a:lnTo>
                    <a:lnTo>
                      <a:pt x="95" y="115"/>
                    </a:lnTo>
                    <a:lnTo>
                      <a:pt x="85" y="115"/>
                    </a:lnTo>
                    <a:lnTo>
                      <a:pt x="81" y="115"/>
                    </a:lnTo>
                    <a:lnTo>
                      <a:pt x="80" y="115"/>
                    </a:lnTo>
                    <a:lnTo>
                      <a:pt x="80" y="121"/>
                    </a:lnTo>
                    <a:lnTo>
                      <a:pt x="76" y="122"/>
                    </a:lnTo>
                    <a:lnTo>
                      <a:pt x="72" y="119"/>
                    </a:lnTo>
                    <a:lnTo>
                      <a:pt x="70" y="121"/>
                    </a:lnTo>
                    <a:lnTo>
                      <a:pt x="66" y="121"/>
                    </a:lnTo>
                    <a:lnTo>
                      <a:pt x="68" y="115"/>
                    </a:lnTo>
                    <a:lnTo>
                      <a:pt x="66" y="115"/>
                    </a:lnTo>
                    <a:lnTo>
                      <a:pt x="64" y="115"/>
                    </a:lnTo>
                    <a:lnTo>
                      <a:pt x="63" y="119"/>
                    </a:lnTo>
                    <a:lnTo>
                      <a:pt x="61" y="115"/>
                    </a:lnTo>
                    <a:lnTo>
                      <a:pt x="61" y="109"/>
                    </a:lnTo>
                    <a:lnTo>
                      <a:pt x="61" y="107"/>
                    </a:lnTo>
                    <a:lnTo>
                      <a:pt x="63" y="105"/>
                    </a:lnTo>
                    <a:lnTo>
                      <a:pt x="66" y="100"/>
                    </a:lnTo>
                    <a:lnTo>
                      <a:pt x="63" y="98"/>
                    </a:lnTo>
                    <a:lnTo>
                      <a:pt x="61" y="98"/>
                    </a:lnTo>
                    <a:lnTo>
                      <a:pt x="61" y="100"/>
                    </a:lnTo>
                    <a:lnTo>
                      <a:pt x="61" y="102"/>
                    </a:lnTo>
                    <a:lnTo>
                      <a:pt x="61" y="104"/>
                    </a:lnTo>
                    <a:lnTo>
                      <a:pt x="57" y="104"/>
                    </a:lnTo>
                    <a:lnTo>
                      <a:pt x="55" y="100"/>
                    </a:lnTo>
                    <a:lnTo>
                      <a:pt x="55" y="98"/>
                    </a:lnTo>
                    <a:lnTo>
                      <a:pt x="51" y="94"/>
                    </a:lnTo>
                    <a:lnTo>
                      <a:pt x="51" y="98"/>
                    </a:lnTo>
                    <a:lnTo>
                      <a:pt x="49" y="94"/>
                    </a:lnTo>
                    <a:lnTo>
                      <a:pt x="49" y="88"/>
                    </a:lnTo>
                    <a:lnTo>
                      <a:pt x="46" y="85"/>
                    </a:lnTo>
                    <a:lnTo>
                      <a:pt x="46" y="79"/>
                    </a:lnTo>
                    <a:lnTo>
                      <a:pt x="46" y="75"/>
                    </a:lnTo>
                    <a:lnTo>
                      <a:pt x="46" y="73"/>
                    </a:lnTo>
                    <a:lnTo>
                      <a:pt x="44" y="73"/>
                    </a:lnTo>
                    <a:lnTo>
                      <a:pt x="42" y="70"/>
                    </a:lnTo>
                    <a:lnTo>
                      <a:pt x="44" y="64"/>
                    </a:lnTo>
                    <a:lnTo>
                      <a:pt x="46" y="68"/>
                    </a:lnTo>
                    <a:lnTo>
                      <a:pt x="49" y="68"/>
                    </a:lnTo>
                    <a:lnTo>
                      <a:pt x="51" y="68"/>
                    </a:lnTo>
                    <a:lnTo>
                      <a:pt x="51" y="64"/>
                    </a:lnTo>
                    <a:lnTo>
                      <a:pt x="49" y="58"/>
                    </a:lnTo>
                    <a:lnTo>
                      <a:pt x="51" y="55"/>
                    </a:lnTo>
                    <a:lnTo>
                      <a:pt x="51" y="45"/>
                    </a:lnTo>
                    <a:lnTo>
                      <a:pt x="51" y="38"/>
                    </a:lnTo>
                    <a:lnTo>
                      <a:pt x="51" y="32"/>
                    </a:lnTo>
                    <a:lnTo>
                      <a:pt x="55" y="24"/>
                    </a:lnTo>
                    <a:lnTo>
                      <a:pt x="57" y="21"/>
                    </a:lnTo>
                    <a:lnTo>
                      <a:pt x="61" y="19"/>
                    </a:lnTo>
                    <a:lnTo>
                      <a:pt x="68" y="19"/>
                    </a:lnTo>
                    <a:lnTo>
                      <a:pt x="70" y="24"/>
                    </a:lnTo>
                    <a:lnTo>
                      <a:pt x="74" y="24"/>
                    </a:lnTo>
                    <a:lnTo>
                      <a:pt x="74" y="24"/>
                    </a:lnTo>
                    <a:lnTo>
                      <a:pt x="80" y="24"/>
                    </a:lnTo>
                    <a:lnTo>
                      <a:pt x="81" y="21"/>
                    </a:lnTo>
                    <a:lnTo>
                      <a:pt x="81" y="19"/>
                    </a:lnTo>
                    <a:lnTo>
                      <a:pt x="85" y="19"/>
                    </a:lnTo>
                    <a:lnTo>
                      <a:pt x="87" y="24"/>
                    </a:lnTo>
                    <a:lnTo>
                      <a:pt x="87" y="24"/>
                    </a:lnTo>
                    <a:lnTo>
                      <a:pt x="85" y="28"/>
                    </a:lnTo>
                    <a:lnTo>
                      <a:pt x="85" y="36"/>
                    </a:lnTo>
                    <a:lnTo>
                      <a:pt x="87" y="41"/>
                    </a:lnTo>
                    <a:lnTo>
                      <a:pt x="91" y="41"/>
                    </a:lnTo>
                    <a:lnTo>
                      <a:pt x="91" y="47"/>
                    </a:lnTo>
                    <a:lnTo>
                      <a:pt x="91" y="49"/>
                    </a:lnTo>
                    <a:lnTo>
                      <a:pt x="91" y="58"/>
                    </a:lnTo>
                    <a:lnTo>
                      <a:pt x="89" y="62"/>
                    </a:lnTo>
                    <a:lnTo>
                      <a:pt x="91" y="68"/>
                    </a:lnTo>
                    <a:lnTo>
                      <a:pt x="87" y="72"/>
                    </a:lnTo>
                    <a:lnTo>
                      <a:pt x="87" y="70"/>
                    </a:lnTo>
                    <a:lnTo>
                      <a:pt x="89" y="68"/>
                    </a:lnTo>
                    <a:lnTo>
                      <a:pt x="85" y="70"/>
                    </a:lnTo>
                    <a:lnTo>
                      <a:pt x="80" y="75"/>
                    </a:lnTo>
                    <a:lnTo>
                      <a:pt x="78" y="79"/>
                    </a:lnTo>
                    <a:lnTo>
                      <a:pt x="78" y="83"/>
                    </a:lnTo>
                    <a:lnTo>
                      <a:pt x="76" y="85"/>
                    </a:lnTo>
                    <a:lnTo>
                      <a:pt x="76" y="88"/>
                    </a:lnTo>
                    <a:lnTo>
                      <a:pt x="78" y="90"/>
                    </a:lnTo>
                    <a:lnTo>
                      <a:pt x="80" y="98"/>
                    </a:lnTo>
                    <a:lnTo>
                      <a:pt x="81" y="98"/>
                    </a:lnTo>
                    <a:lnTo>
                      <a:pt x="81" y="100"/>
                    </a:lnTo>
                    <a:lnTo>
                      <a:pt x="81" y="105"/>
                    </a:lnTo>
                    <a:lnTo>
                      <a:pt x="81" y="105"/>
                    </a:lnTo>
                    <a:lnTo>
                      <a:pt x="81" y="105"/>
                    </a:lnTo>
                    <a:lnTo>
                      <a:pt x="81" y="105"/>
                    </a:lnTo>
                    <a:close/>
                    <a:moveTo>
                      <a:pt x="89" y="105"/>
                    </a:moveTo>
                    <a:lnTo>
                      <a:pt x="89" y="109"/>
                    </a:lnTo>
                    <a:lnTo>
                      <a:pt x="91" y="111"/>
                    </a:lnTo>
                    <a:lnTo>
                      <a:pt x="91" y="107"/>
                    </a:lnTo>
                    <a:lnTo>
                      <a:pt x="89" y="105"/>
                    </a:lnTo>
                    <a:lnTo>
                      <a:pt x="89" y="105"/>
                    </a:lnTo>
                    <a:lnTo>
                      <a:pt x="89" y="105"/>
                    </a:lnTo>
                    <a:lnTo>
                      <a:pt x="89" y="105"/>
                    </a:lnTo>
                    <a:close/>
                    <a:moveTo>
                      <a:pt x="85" y="90"/>
                    </a:moveTo>
                    <a:lnTo>
                      <a:pt x="87" y="98"/>
                    </a:lnTo>
                    <a:lnTo>
                      <a:pt x="87" y="98"/>
                    </a:lnTo>
                    <a:lnTo>
                      <a:pt x="87" y="102"/>
                    </a:lnTo>
                    <a:lnTo>
                      <a:pt x="89" y="98"/>
                    </a:lnTo>
                    <a:lnTo>
                      <a:pt x="91" y="94"/>
                    </a:lnTo>
                    <a:lnTo>
                      <a:pt x="91" y="90"/>
                    </a:lnTo>
                    <a:lnTo>
                      <a:pt x="89" y="88"/>
                    </a:lnTo>
                    <a:lnTo>
                      <a:pt x="85" y="90"/>
                    </a:lnTo>
                    <a:lnTo>
                      <a:pt x="85" y="90"/>
                    </a:lnTo>
                    <a:lnTo>
                      <a:pt x="85" y="90"/>
                    </a:lnTo>
                    <a:lnTo>
                      <a:pt x="85" y="90"/>
                    </a:lnTo>
                    <a:close/>
                    <a:moveTo>
                      <a:pt x="51" y="115"/>
                    </a:moveTo>
                    <a:lnTo>
                      <a:pt x="51" y="119"/>
                    </a:lnTo>
                    <a:lnTo>
                      <a:pt x="57" y="121"/>
                    </a:lnTo>
                    <a:lnTo>
                      <a:pt x="57" y="121"/>
                    </a:lnTo>
                    <a:lnTo>
                      <a:pt x="55" y="115"/>
                    </a:lnTo>
                    <a:lnTo>
                      <a:pt x="51" y="115"/>
                    </a:lnTo>
                    <a:lnTo>
                      <a:pt x="51" y="115"/>
                    </a:lnTo>
                    <a:lnTo>
                      <a:pt x="51" y="115"/>
                    </a:lnTo>
                    <a:lnTo>
                      <a:pt x="51" y="115"/>
                    </a:lnTo>
                    <a:close/>
                    <a:moveTo>
                      <a:pt x="57" y="124"/>
                    </a:moveTo>
                    <a:lnTo>
                      <a:pt x="57" y="124"/>
                    </a:lnTo>
                    <a:lnTo>
                      <a:pt x="61" y="124"/>
                    </a:lnTo>
                    <a:lnTo>
                      <a:pt x="61" y="130"/>
                    </a:lnTo>
                    <a:lnTo>
                      <a:pt x="64" y="130"/>
                    </a:lnTo>
                    <a:lnTo>
                      <a:pt x="66" y="134"/>
                    </a:lnTo>
                    <a:lnTo>
                      <a:pt x="66" y="139"/>
                    </a:lnTo>
                    <a:lnTo>
                      <a:pt x="70" y="141"/>
                    </a:lnTo>
                    <a:lnTo>
                      <a:pt x="70" y="145"/>
                    </a:lnTo>
                    <a:lnTo>
                      <a:pt x="74" y="151"/>
                    </a:lnTo>
                    <a:lnTo>
                      <a:pt x="78" y="151"/>
                    </a:lnTo>
                    <a:lnTo>
                      <a:pt x="80" y="147"/>
                    </a:lnTo>
                    <a:lnTo>
                      <a:pt x="80" y="145"/>
                    </a:lnTo>
                    <a:lnTo>
                      <a:pt x="81" y="143"/>
                    </a:lnTo>
                    <a:lnTo>
                      <a:pt x="81" y="139"/>
                    </a:lnTo>
                    <a:lnTo>
                      <a:pt x="80" y="137"/>
                    </a:lnTo>
                    <a:lnTo>
                      <a:pt x="81" y="134"/>
                    </a:lnTo>
                    <a:lnTo>
                      <a:pt x="81" y="130"/>
                    </a:lnTo>
                    <a:lnTo>
                      <a:pt x="78" y="128"/>
                    </a:lnTo>
                    <a:lnTo>
                      <a:pt x="70" y="124"/>
                    </a:lnTo>
                    <a:lnTo>
                      <a:pt x="64" y="124"/>
                    </a:lnTo>
                    <a:lnTo>
                      <a:pt x="61" y="122"/>
                    </a:lnTo>
                    <a:lnTo>
                      <a:pt x="57" y="124"/>
                    </a:lnTo>
                    <a:lnTo>
                      <a:pt x="57" y="124"/>
                    </a:lnTo>
                    <a:lnTo>
                      <a:pt x="57" y="124"/>
                    </a:lnTo>
                    <a:lnTo>
                      <a:pt x="57" y="124"/>
                    </a:lnTo>
                    <a:close/>
                    <a:moveTo>
                      <a:pt x="130" y="111"/>
                    </a:moveTo>
                    <a:lnTo>
                      <a:pt x="128" y="113"/>
                    </a:lnTo>
                    <a:lnTo>
                      <a:pt x="130" y="115"/>
                    </a:lnTo>
                    <a:lnTo>
                      <a:pt x="128" y="121"/>
                    </a:lnTo>
                    <a:lnTo>
                      <a:pt x="127" y="121"/>
                    </a:lnTo>
                    <a:lnTo>
                      <a:pt x="128" y="122"/>
                    </a:lnTo>
                    <a:lnTo>
                      <a:pt x="134" y="122"/>
                    </a:lnTo>
                    <a:lnTo>
                      <a:pt x="136" y="119"/>
                    </a:lnTo>
                    <a:lnTo>
                      <a:pt x="134" y="115"/>
                    </a:lnTo>
                    <a:lnTo>
                      <a:pt x="130" y="111"/>
                    </a:lnTo>
                    <a:lnTo>
                      <a:pt x="130" y="111"/>
                    </a:lnTo>
                    <a:lnTo>
                      <a:pt x="130" y="111"/>
                    </a:lnTo>
                    <a:lnTo>
                      <a:pt x="130" y="111"/>
                    </a:lnTo>
                    <a:close/>
                    <a:moveTo>
                      <a:pt x="87" y="128"/>
                    </a:moveTo>
                    <a:lnTo>
                      <a:pt x="91" y="128"/>
                    </a:lnTo>
                    <a:lnTo>
                      <a:pt x="91" y="128"/>
                    </a:lnTo>
                    <a:lnTo>
                      <a:pt x="95" y="124"/>
                    </a:lnTo>
                    <a:lnTo>
                      <a:pt x="91" y="122"/>
                    </a:lnTo>
                    <a:lnTo>
                      <a:pt x="89" y="121"/>
                    </a:lnTo>
                    <a:lnTo>
                      <a:pt x="87" y="124"/>
                    </a:lnTo>
                    <a:lnTo>
                      <a:pt x="87" y="128"/>
                    </a:lnTo>
                    <a:lnTo>
                      <a:pt x="87" y="128"/>
                    </a:lnTo>
                    <a:lnTo>
                      <a:pt x="87" y="128"/>
                    </a:lnTo>
                    <a:lnTo>
                      <a:pt x="87" y="128"/>
                    </a:lnTo>
                    <a:close/>
                    <a:moveTo>
                      <a:pt x="95" y="139"/>
                    </a:moveTo>
                    <a:lnTo>
                      <a:pt x="91" y="143"/>
                    </a:lnTo>
                    <a:lnTo>
                      <a:pt x="91" y="147"/>
                    </a:lnTo>
                    <a:lnTo>
                      <a:pt x="91" y="153"/>
                    </a:lnTo>
                    <a:lnTo>
                      <a:pt x="95" y="153"/>
                    </a:lnTo>
                    <a:lnTo>
                      <a:pt x="95" y="147"/>
                    </a:lnTo>
                    <a:lnTo>
                      <a:pt x="95" y="143"/>
                    </a:lnTo>
                    <a:lnTo>
                      <a:pt x="95" y="139"/>
                    </a:lnTo>
                    <a:lnTo>
                      <a:pt x="95" y="139"/>
                    </a:lnTo>
                    <a:lnTo>
                      <a:pt x="95" y="139"/>
                    </a:lnTo>
                    <a:lnTo>
                      <a:pt x="95" y="139"/>
                    </a:lnTo>
                    <a:lnTo>
                      <a:pt x="95" y="139"/>
                    </a:lnTo>
                    <a:close/>
                    <a:moveTo>
                      <a:pt x="102" y="143"/>
                    </a:moveTo>
                    <a:lnTo>
                      <a:pt x="100" y="145"/>
                    </a:lnTo>
                    <a:lnTo>
                      <a:pt x="100" y="147"/>
                    </a:lnTo>
                    <a:lnTo>
                      <a:pt x="104" y="147"/>
                    </a:lnTo>
                    <a:lnTo>
                      <a:pt x="104" y="145"/>
                    </a:lnTo>
                    <a:lnTo>
                      <a:pt x="102" y="143"/>
                    </a:lnTo>
                    <a:lnTo>
                      <a:pt x="102" y="143"/>
                    </a:lnTo>
                    <a:lnTo>
                      <a:pt x="102" y="143"/>
                    </a:lnTo>
                    <a:lnTo>
                      <a:pt x="102" y="143"/>
                    </a:lnTo>
                    <a:close/>
                    <a:moveTo>
                      <a:pt x="115" y="134"/>
                    </a:moveTo>
                    <a:lnTo>
                      <a:pt x="110" y="130"/>
                    </a:lnTo>
                    <a:lnTo>
                      <a:pt x="110" y="130"/>
                    </a:lnTo>
                    <a:lnTo>
                      <a:pt x="110" y="134"/>
                    </a:lnTo>
                    <a:lnTo>
                      <a:pt x="113" y="137"/>
                    </a:lnTo>
                    <a:lnTo>
                      <a:pt x="115" y="136"/>
                    </a:lnTo>
                    <a:lnTo>
                      <a:pt x="115" y="134"/>
                    </a:lnTo>
                    <a:lnTo>
                      <a:pt x="115" y="134"/>
                    </a:lnTo>
                    <a:lnTo>
                      <a:pt x="115" y="134"/>
                    </a:lnTo>
                    <a:lnTo>
                      <a:pt x="115" y="134"/>
                    </a:lnTo>
                    <a:close/>
                    <a:moveTo>
                      <a:pt x="121" y="141"/>
                    </a:moveTo>
                    <a:lnTo>
                      <a:pt x="121" y="143"/>
                    </a:lnTo>
                    <a:lnTo>
                      <a:pt x="125" y="147"/>
                    </a:lnTo>
                    <a:lnTo>
                      <a:pt x="127" y="147"/>
                    </a:lnTo>
                    <a:lnTo>
                      <a:pt x="125" y="141"/>
                    </a:lnTo>
                    <a:lnTo>
                      <a:pt x="121" y="141"/>
                    </a:lnTo>
                    <a:lnTo>
                      <a:pt x="121" y="141"/>
                    </a:lnTo>
                    <a:lnTo>
                      <a:pt x="121" y="141"/>
                    </a:lnTo>
                    <a:lnTo>
                      <a:pt x="121" y="141"/>
                    </a:lnTo>
                    <a:close/>
                    <a:moveTo>
                      <a:pt x="115" y="154"/>
                    </a:moveTo>
                    <a:lnTo>
                      <a:pt x="119" y="151"/>
                    </a:lnTo>
                    <a:lnTo>
                      <a:pt x="121" y="151"/>
                    </a:lnTo>
                    <a:lnTo>
                      <a:pt x="125" y="154"/>
                    </a:lnTo>
                    <a:lnTo>
                      <a:pt x="128" y="154"/>
                    </a:lnTo>
                    <a:lnTo>
                      <a:pt x="132" y="154"/>
                    </a:lnTo>
                    <a:lnTo>
                      <a:pt x="132" y="154"/>
                    </a:lnTo>
                    <a:lnTo>
                      <a:pt x="128" y="151"/>
                    </a:lnTo>
                    <a:lnTo>
                      <a:pt x="125" y="147"/>
                    </a:lnTo>
                    <a:lnTo>
                      <a:pt x="121" y="147"/>
                    </a:lnTo>
                    <a:lnTo>
                      <a:pt x="119" y="143"/>
                    </a:lnTo>
                    <a:lnTo>
                      <a:pt x="115" y="143"/>
                    </a:lnTo>
                    <a:lnTo>
                      <a:pt x="115" y="143"/>
                    </a:lnTo>
                    <a:lnTo>
                      <a:pt x="115" y="141"/>
                    </a:lnTo>
                    <a:lnTo>
                      <a:pt x="115" y="147"/>
                    </a:lnTo>
                    <a:lnTo>
                      <a:pt x="115" y="149"/>
                    </a:lnTo>
                    <a:lnTo>
                      <a:pt x="115" y="151"/>
                    </a:lnTo>
                    <a:lnTo>
                      <a:pt x="115" y="153"/>
                    </a:lnTo>
                    <a:lnTo>
                      <a:pt x="115" y="154"/>
                    </a:lnTo>
                    <a:lnTo>
                      <a:pt x="115" y="154"/>
                    </a:lnTo>
                    <a:lnTo>
                      <a:pt x="115" y="154"/>
                    </a:lnTo>
                    <a:lnTo>
                      <a:pt x="115" y="154"/>
                    </a:lnTo>
                    <a:close/>
                    <a:moveTo>
                      <a:pt x="96" y="183"/>
                    </a:moveTo>
                    <a:lnTo>
                      <a:pt x="95" y="185"/>
                    </a:lnTo>
                    <a:lnTo>
                      <a:pt x="95" y="185"/>
                    </a:lnTo>
                    <a:lnTo>
                      <a:pt x="91" y="177"/>
                    </a:lnTo>
                    <a:lnTo>
                      <a:pt x="95" y="173"/>
                    </a:lnTo>
                    <a:lnTo>
                      <a:pt x="95" y="168"/>
                    </a:lnTo>
                    <a:lnTo>
                      <a:pt x="95" y="164"/>
                    </a:lnTo>
                    <a:lnTo>
                      <a:pt x="95" y="158"/>
                    </a:lnTo>
                    <a:lnTo>
                      <a:pt x="91" y="158"/>
                    </a:lnTo>
                    <a:lnTo>
                      <a:pt x="89" y="158"/>
                    </a:lnTo>
                    <a:lnTo>
                      <a:pt x="91" y="154"/>
                    </a:lnTo>
                    <a:lnTo>
                      <a:pt x="95" y="154"/>
                    </a:lnTo>
                    <a:lnTo>
                      <a:pt x="96" y="158"/>
                    </a:lnTo>
                    <a:lnTo>
                      <a:pt x="98" y="158"/>
                    </a:lnTo>
                    <a:lnTo>
                      <a:pt x="98" y="160"/>
                    </a:lnTo>
                    <a:lnTo>
                      <a:pt x="100" y="160"/>
                    </a:lnTo>
                    <a:lnTo>
                      <a:pt x="104" y="160"/>
                    </a:lnTo>
                    <a:lnTo>
                      <a:pt x="108" y="160"/>
                    </a:lnTo>
                    <a:lnTo>
                      <a:pt x="110" y="164"/>
                    </a:lnTo>
                    <a:lnTo>
                      <a:pt x="112" y="164"/>
                    </a:lnTo>
                    <a:lnTo>
                      <a:pt x="115" y="160"/>
                    </a:lnTo>
                    <a:lnTo>
                      <a:pt x="115" y="164"/>
                    </a:lnTo>
                    <a:lnTo>
                      <a:pt x="115" y="168"/>
                    </a:lnTo>
                    <a:lnTo>
                      <a:pt x="113" y="168"/>
                    </a:lnTo>
                    <a:lnTo>
                      <a:pt x="112" y="171"/>
                    </a:lnTo>
                    <a:lnTo>
                      <a:pt x="108" y="175"/>
                    </a:lnTo>
                    <a:lnTo>
                      <a:pt x="106" y="179"/>
                    </a:lnTo>
                    <a:lnTo>
                      <a:pt x="104" y="179"/>
                    </a:lnTo>
                    <a:lnTo>
                      <a:pt x="102" y="179"/>
                    </a:lnTo>
                    <a:lnTo>
                      <a:pt x="100" y="179"/>
                    </a:lnTo>
                    <a:lnTo>
                      <a:pt x="96" y="183"/>
                    </a:lnTo>
                    <a:lnTo>
                      <a:pt x="96" y="183"/>
                    </a:lnTo>
                    <a:lnTo>
                      <a:pt x="96" y="183"/>
                    </a:lnTo>
                    <a:lnTo>
                      <a:pt x="96" y="183"/>
                    </a:lnTo>
                    <a:close/>
                    <a:moveTo>
                      <a:pt x="106" y="179"/>
                    </a:moveTo>
                    <a:lnTo>
                      <a:pt x="102" y="181"/>
                    </a:lnTo>
                    <a:lnTo>
                      <a:pt x="102" y="185"/>
                    </a:lnTo>
                    <a:lnTo>
                      <a:pt x="104" y="185"/>
                    </a:lnTo>
                    <a:lnTo>
                      <a:pt x="108" y="183"/>
                    </a:lnTo>
                    <a:lnTo>
                      <a:pt x="108" y="181"/>
                    </a:lnTo>
                    <a:lnTo>
                      <a:pt x="106" y="179"/>
                    </a:lnTo>
                    <a:lnTo>
                      <a:pt x="106" y="179"/>
                    </a:lnTo>
                    <a:lnTo>
                      <a:pt x="106" y="179"/>
                    </a:lnTo>
                    <a:lnTo>
                      <a:pt x="106" y="179"/>
                    </a:lnTo>
                    <a:close/>
                    <a:moveTo>
                      <a:pt x="138" y="179"/>
                    </a:moveTo>
                    <a:lnTo>
                      <a:pt x="138" y="183"/>
                    </a:lnTo>
                    <a:lnTo>
                      <a:pt x="136" y="181"/>
                    </a:lnTo>
                    <a:lnTo>
                      <a:pt x="138" y="179"/>
                    </a:lnTo>
                    <a:lnTo>
                      <a:pt x="138" y="179"/>
                    </a:lnTo>
                    <a:lnTo>
                      <a:pt x="138" y="179"/>
                    </a:lnTo>
                    <a:lnTo>
                      <a:pt x="138" y="179"/>
                    </a:lnTo>
                    <a:close/>
                    <a:moveTo>
                      <a:pt x="121" y="203"/>
                    </a:moveTo>
                    <a:lnTo>
                      <a:pt x="125" y="200"/>
                    </a:lnTo>
                    <a:lnTo>
                      <a:pt x="125" y="192"/>
                    </a:lnTo>
                    <a:lnTo>
                      <a:pt x="130" y="185"/>
                    </a:lnTo>
                    <a:lnTo>
                      <a:pt x="130" y="183"/>
                    </a:lnTo>
                    <a:lnTo>
                      <a:pt x="130" y="179"/>
                    </a:lnTo>
                    <a:lnTo>
                      <a:pt x="132" y="177"/>
                    </a:lnTo>
                    <a:lnTo>
                      <a:pt x="132" y="169"/>
                    </a:lnTo>
                    <a:lnTo>
                      <a:pt x="128" y="171"/>
                    </a:lnTo>
                    <a:lnTo>
                      <a:pt x="128" y="177"/>
                    </a:lnTo>
                    <a:lnTo>
                      <a:pt x="125" y="183"/>
                    </a:lnTo>
                    <a:lnTo>
                      <a:pt x="125" y="188"/>
                    </a:lnTo>
                    <a:lnTo>
                      <a:pt x="125" y="194"/>
                    </a:lnTo>
                    <a:lnTo>
                      <a:pt x="121" y="198"/>
                    </a:lnTo>
                    <a:lnTo>
                      <a:pt x="121" y="200"/>
                    </a:lnTo>
                    <a:lnTo>
                      <a:pt x="121" y="203"/>
                    </a:lnTo>
                    <a:lnTo>
                      <a:pt x="121" y="203"/>
                    </a:lnTo>
                    <a:lnTo>
                      <a:pt x="121" y="203"/>
                    </a:lnTo>
                    <a:lnTo>
                      <a:pt x="121" y="203"/>
                    </a:lnTo>
                    <a:close/>
                    <a:moveTo>
                      <a:pt x="115" y="203"/>
                    </a:moveTo>
                    <a:lnTo>
                      <a:pt x="115" y="194"/>
                    </a:lnTo>
                    <a:lnTo>
                      <a:pt x="119" y="185"/>
                    </a:lnTo>
                    <a:lnTo>
                      <a:pt x="121" y="181"/>
                    </a:lnTo>
                    <a:lnTo>
                      <a:pt x="121" y="177"/>
                    </a:lnTo>
                    <a:lnTo>
                      <a:pt x="121" y="175"/>
                    </a:lnTo>
                    <a:lnTo>
                      <a:pt x="119" y="175"/>
                    </a:lnTo>
                    <a:lnTo>
                      <a:pt x="115" y="175"/>
                    </a:lnTo>
                    <a:lnTo>
                      <a:pt x="113" y="177"/>
                    </a:lnTo>
                    <a:lnTo>
                      <a:pt x="113" y="181"/>
                    </a:lnTo>
                    <a:lnTo>
                      <a:pt x="110" y="185"/>
                    </a:lnTo>
                    <a:lnTo>
                      <a:pt x="112" y="190"/>
                    </a:lnTo>
                    <a:lnTo>
                      <a:pt x="110" y="194"/>
                    </a:lnTo>
                    <a:lnTo>
                      <a:pt x="102" y="194"/>
                    </a:lnTo>
                    <a:lnTo>
                      <a:pt x="102" y="198"/>
                    </a:lnTo>
                    <a:lnTo>
                      <a:pt x="102" y="203"/>
                    </a:lnTo>
                    <a:lnTo>
                      <a:pt x="106" y="203"/>
                    </a:lnTo>
                    <a:lnTo>
                      <a:pt x="110" y="205"/>
                    </a:lnTo>
                    <a:lnTo>
                      <a:pt x="113" y="205"/>
                    </a:lnTo>
                    <a:lnTo>
                      <a:pt x="113" y="211"/>
                    </a:lnTo>
                    <a:lnTo>
                      <a:pt x="115" y="211"/>
                    </a:lnTo>
                    <a:lnTo>
                      <a:pt x="121" y="209"/>
                    </a:lnTo>
                    <a:lnTo>
                      <a:pt x="121" y="205"/>
                    </a:lnTo>
                    <a:lnTo>
                      <a:pt x="115" y="203"/>
                    </a:lnTo>
                    <a:lnTo>
                      <a:pt x="115" y="203"/>
                    </a:lnTo>
                    <a:lnTo>
                      <a:pt x="115" y="203"/>
                    </a:lnTo>
                    <a:lnTo>
                      <a:pt x="115" y="203"/>
                    </a:lnTo>
                    <a:close/>
                    <a:moveTo>
                      <a:pt x="127" y="207"/>
                    </a:moveTo>
                    <a:lnTo>
                      <a:pt x="127" y="209"/>
                    </a:lnTo>
                    <a:lnTo>
                      <a:pt x="127" y="211"/>
                    </a:lnTo>
                    <a:lnTo>
                      <a:pt x="125" y="213"/>
                    </a:lnTo>
                    <a:lnTo>
                      <a:pt x="121" y="211"/>
                    </a:lnTo>
                    <a:lnTo>
                      <a:pt x="125" y="207"/>
                    </a:lnTo>
                    <a:lnTo>
                      <a:pt x="127" y="207"/>
                    </a:lnTo>
                    <a:lnTo>
                      <a:pt x="127" y="207"/>
                    </a:lnTo>
                    <a:lnTo>
                      <a:pt x="127" y="207"/>
                    </a:lnTo>
                    <a:lnTo>
                      <a:pt x="127" y="207"/>
                    </a:lnTo>
                    <a:close/>
                    <a:moveTo>
                      <a:pt x="138" y="190"/>
                    </a:moveTo>
                    <a:lnTo>
                      <a:pt x="140" y="190"/>
                    </a:lnTo>
                    <a:lnTo>
                      <a:pt x="142" y="194"/>
                    </a:lnTo>
                    <a:lnTo>
                      <a:pt x="144" y="198"/>
                    </a:lnTo>
                    <a:lnTo>
                      <a:pt x="142" y="198"/>
                    </a:lnTo>
                    <a:lnTo>
                      <a:pt x="136" y="203"/>
                    </a:lnTo>
                    <a:lnTo>
                      <a:pt x="130" y="203"/>
                    </a:lnTo>
                    <a:lnTo>
                      <a:pt x="130" y="200"/>
                    </a:lnTo>
                    <a:lnTo>
                      <a:pt x="128" y="198"/>
                    </a:lnTo>
                    <a:lnTo>
                      <a:pt x="130" y="194"/>
                    </a:lnTo>
                    <a:lnTo>
                      <a:pt x="138" y="190"/>
                    </a:lnTo>
                    <a:lnTo>
                      <a:pt x="138" y="190"/>
                    </a:lnTo>
                    <a:lnTo>
                      <a:pt x="138" y="190"/>
                    </a:lnTo>
                    <a:lnTo>
                      <a:pt x="138" y="190"/>
                    </a:lnTo>
                    <a:close/>
                    <a:moveTo>
                      <a:pt x="155" y="192"/>
                    </a:moveTo>
                    <a:lnTo>
                      <a:pt x="157" y="194"/>
                    </a:lnTo>
                    <a:lnTo>
                      <a:pt x="157" y="198"/>
                    </a:lnTo>
                    <a:lnTo>
                      <a:pt x="155" y="194"/>
                    </a:lnTo>
                    <a:lnTo>
                      <a:pt x="155" y="192"/>
                    </a:lnTo>
                    <a:lnTo>
                      <a:pt x="155" y="192"/>
                    </a:lnTo>
                    <a:lnTo>
                      <a:pt x="155" y="192"/>
                    </a:lnTo>
                    <a:lnTo>
                      <a:pt x="155" y="192"/>
                    </a:lnTo>
                    <a:close/>
                    <a:moveTo>
                      <a:pt x="145" y="205"/>
                    </a:moveTo>
                    <a:lnTo>
                      <a:pt x="149" y="209"/>
                    </a:lnTo>
                    <a:lnTo>
                      <a:pt x="145" y="211"/>
                    </a:lnTo>
                    <a:lnTo>
                      <a:pt x="145" y="209"/>
                    </a:lnTo>
                    <a:lnTo>
                      <a:pt x="144" y="207"/>
                    </a:lnTo>
                    <a:lnTo>
                      <a:pt x="145" y="205"/>
                    </a:lnTo>
                    <a:lnTo>
                      <a:pt x="145" y="205"/>
                    </a:lnTo>
                    <a:lnTo>
                      <a:pt x="145" y="205"/>
                    </a:lnTo>
                    <a:lnTo>
                      <a:pt x="145" y="205"/>
                    </a:lnTo>
                    <a:close/>
                    <a:moveTo>
                      <a:pt x="142" y="160"/>
                    </a:moveTo>
                    <a:lnTo>
                      <a:pt x="142" y="164"/>
                    </a:lnTo>
                    <a:lnTo>
                      <a:pt x="138" y="164"/>
                    </a:lnTo>
                    <a:lnTo>
                      <a:pt x="136" y="164"/>
                    </a:lnTo>
                    <a:lnTo>
                      <a:pt x="138" y="160"/>
                    </a:lnTo>
                    <a:lnTo>
                      <a:pt x="142" y="160"/>
                    </a:lnTo>
                    <a:lnTo>
                      <a:pt x="142" y="160"/>
                    </a:lnTo>
                    <a:lnTo>
                      <a:pt x="142" y="160"/>
                    </a:lnTo>
                    <a:lnTo>
                      <a:pt x="142" y="160"/>
                    </a:lnTo>
                    <a:close/>
                    <a:moveTo>
                      <a:pt x="151" y="168"/>
                    </a:moveTo>
                    <a:lnTo>
                      <a:pt x="151" y="168"/>
                    </a:lnTo>
                    <a:lnTo>
                      <a:pt x="155" y="171"/>
                    </a:lnTo>
                    <a:lnTo>
                      <a:pt x="159" y="171"/>
                    </a:lnTo>
                    <a:lnTo>
                      <a:pt x="160" y="171"/>
                    </a:lnTo>
                    <a:lnTo>
                      <a:pt x="160" y="169"/>
                    </a:lnTo>
                    <a:lnTo>
                      <a:pt x="164" y="171"/>
                    </a:lnTo>
                    <a:lnTo>
                      <a:pt x="160" y="169"/>
                    </a:lnTo>
                    <a:lnTo>
                      <a:pt x="160" y="168"/>
                    </a:lnTo>
                    <a:lnTo>
                      <a:pt x="157" y="164"/>
                    </a:lnTo>
                    <a:lnTo>
                      <a:pt x="159" y="158"/>
                    </a:lnTo>
                    <a:lnTo>
                      <a:pt x="157" y="153"/>
                    </a:lnTo>
                    <a:lnTo>
                      <a:pt x="157" y="151"/>
                    </a:lnTo>
                    <a:lnTo>
                      <a:pt x="157" y="149"/>
                    </a:lnTo>
                    <a:lnTo>
                      <a:pt x="155" y="145"/>
                    </a:lnTo>
                    <a:lnTo>
                      <a:pt x="151" y="141"/>
                    </a:lnTo>
                    <a:lnTo>
                      <a:pt x="151" y="141"/>
                    </a:lnTo>
                    <a:lnTo>
                      <a:pt x="149" y="141"/>
                    </a:lnTo>
                    <a:lnTo>
                      <a:pt x="145" y="141"/>
                    </a:lnTo>
                    <a:lnTo>
                      <a:pt x="145" y="141"/>
                    </a:lnTo>
                    <a:lnTo>
                      <a:pt x="144" y="143"/>
                    </a:lnTo>
                    <a:lnTo>
                      <a:pt x="140" y="143"/>
                    </a:lnTo>
                    <a:lnTo>
                      <a:pt x="136" y="143"/>
                    </a:lnTo>
                    <a:lnTo>
                      <a:pt x="134" y="141"/>
                    </a:lnTo>
                    <a:lnTo>
                      <a:pt x="134" y="145"/>
                    </a:lnTo>
                    <a:lnTo>
                      <a:pt x="138" y="151"/>
                    </a:lnTo>
                    <a:lnTo>
                      <a:pt x="144" y="154"/>
                    </a:lnTo>
                    <a:lnTo>
                      <a:pt x="145" y="158"/>
                    </a:lnTo>
                    <a:lnTo>
                      <a:pt x="149" y="160"/>
                    </a:lnTo>
                    <a:lnTo>
                      <a:pt x="149" y="164"/>
                    </a:lnTo>
                    <a:lnTo>
                      <a:pt x="145" y="164"/>
                    </a:lnTo>
                    <a:lnTo>
                      <a:pt x="145" y="164"/>
                    </a:lnTo>
                    <a:lnTo>
                      <a:pt x="149" y="164"/>
                    </a:lnTo>
                    <a:lnTo>
                      <a:pt x="149" y="164"/>
                    </a:lnTo>
                    <a:lnTo>
                      <a:pt x="151" y="168"/>
                    </a:lnTo>
                    <a:lnTo>
                      <a:pt x="151" y="168"/>
                    </a:lnTo>
                    <a:lnTo>
                      <a:pt x="151" y="168"/>
                    </a:lnTo>
                    <a:lnTo>
                      <a:pt x="151" y="168"/>
                    </a:lnTo>
                    <a:close/>
                    <a:moveTo>
                      <a:pt x="145" y="168"/>
                    </a:moveTo>
                    <a:lnTo>
                      <a:pt x="144" y="168"/>
                    </a:lnTo>
                    <a:lnTo>
                      <a:pt x="140" y="168"/>
                    </a:lnTo>
                    <a:lnTo>
                      <a:pt x="136" y="168"/>
                    </a:lnTo>
                    <a:lnTo>
                      <a:pt x="138" y="169"/>
                    </a:lnTo>
                    <a:lnTo>
                      <a:pt x="138" y="173"/>
                    </a:lnTo>
                    <a:lnTo>
                      <a:pt x="142" y="177"/>
                    </a:lnTo>
                    <a:lnTo>
                      <a:pt x="144" y="175"/>
                    </a:lnTo>
                    <a:lnTo>
                      <a:pt x="145" y="177"/>
                    </a:lnTo>
                    <a:lnTo>
                      <a:pt x="145" y="181"/>
                    </a:lnTo>
                    <a:lnTo>
                      <a:pt x="145" y="185"/>
                    </a:lnTo>
                    <a:lnTo>
                      <a:pt x="145" y="190"/>
                    </a:lnTo>
                    <a:lnTo>
                      <a:pt x="151" y="194"/>
                    </a:lnTo>
                    <a:lnTo>
                      <a:pt x="151" y="188"/>
                    </a:lnTo>
                    <a:lnTo>
                      <a:pt x="151" y="190"/>
                    </a:lnTo>
                    <a:lnTo>
                      <a:pt x="155" y="190"/>
                    </a:lnTo>
                    <a:lnTo>
                      <a:pt x="155" y="185"/>
                    </a:lnTo>
                    <a:lnTo>
                      <a:pt x="151" y="181"/>
                    </a:lnTo>
                    <a:lnTo>
                      <a:pt x="151" y="179"/>
                    </a:lnTo>
                    <a:lnTo>
                      <a:pt x="149" y="173"/>
                    </a:lnTo>
                    <a:lnTo>
                      <a:pt x="145" y="168"/>
                    </a:lnTo>
                    <a:lnTo>
                      <a:pt x="145" y="168"/>
                    </a:lnTo>
                    <a:lnTo>
                      <a:pt x="145" y="168"/>
                    </a:lnTo>
                    <a:lnTo>
                      <a:pt x="145" y="168"/>
                    </a:lnTo>
                    <a:lnTo>
                      <a:pt x="145" y="168"/>
                    </a:lnTo>
                    <a:close/>
                    <a:moveTo>
                      <a:pt x="164" y="177"/>
                    </a:moveTo>
                    <a:lnTo>
                      <a:pt x="166" y="175"/>
                    </a:lnTo>
                    <a:lnTo>
                      <a:pt x="164" y="175"/>
                    </a:lnTo>
                    <a:lnTo>
                      <a:pt x="164" y="175"/>
                    </a:lnTo>
                    <a:lnTo>
                      <a:pt x="164" y="177"/>
                    </a:lnTo>
                    <a:lnTo>
                      <a:pt x="164" y="177"/>
                    </a:lnTo>
                    <a:lnTo>
                      <a:pt x="164" y="177"/>
                    </a:lnTo>
                    <a:lnTo>
                      <a:pt x="164" y="177"/>
                    </a:lnTo>
                    <a:close/>
                    <a:moveTo>
                      <a:pt x="164" y="179"/>
                    </a:moveTo>
                    <a:lnTo>
                      <a:pt x="164" y="179"/>
                    </a:lnTo>
                    <a:lnTo>
                      <a:pt x="164" y="181"/>
                    </a:lnTo>
                    <a:lnTo>
                      <a:pt x="164" y="181"/>
                    </a:lnTo>
                    <a:lnTo>
                      <a:pt x="164" y="179"/>
                    </a:lnTo>
                    <a:lnTo>
                      <a:pt x="164" y="179"/>
                    </a:lnTo>
                    <a:lnTo>
                      <a:pt x="164" y="179"/>
                    </a:lnTo>
                    <a:lnTo>
                      <a:pt x="164" y="179"/>
                    </a:lnTo>
                    <a:close/>
                    <a:moveTo>
                      <a:pt x="164" y="198"/>
                    </a:moveTo>
                    <a:lnTo>
                      <a:pt x="166" y="194"/>
                    </a:lnTo>
                    <a:lnTo>
                      <a:pt x="164" y="192"/>
                    </a:lnTo>
                    <a:lnTo>
                      <a:pt x="164" y="188"/>
                    </a:lnTo>
                    <a:lnTo>
                      <a:pt x="164" y="185"/>
                    </a:lnTo>
                    <a:lnTo>
                      <a:pt x="164" y="185"/>
                    </a:lnTo>
                    <a:lnTo>
                      <a:pt x="160" y="185"/>
                    </a:lnTo>
                    <a:lnTo>
                      <a:pt x="160" y="190"/>
                    </a:lnTo>
                    <a:lnTo>
                      <a:pt x="164" y="194"/>
                    </a:lnTo>
                    <a:lnTo>
                      <a:pt x="164" y="198"/>
                    </a:lnTo>
                    <a:lnTo>
                      <a:pt x="164" y="198"/>
                    </a:lnTo>
                    <a:lnTo>
                      <a:pt x="164" y="198"/>
                    </a:lnTo>
                    <a:lnTo>
                      <a:pt x="164" y="198"/>
                    </a:lnTo>
                    <a:lnTo>
                      <a:pt x="164" y="198"/>
                    </a:lnTo>
                    <a:lnTo>
                      <a:pt x="164" y="198"/>
                    </a:lnTo>
                    <a:close/>
                    <a:moveTo>
                      <a:pt x="168" y="198"/>
                    </a:moveTo>
                    <a:lnTo>
                      <a:pt x="168" y="200"/>
                    </a:lnTo>
                    <a:lnTo>
                      <a:pt x="170" y="203"/>
                    </a:lnTo>
                    <a:lnTo>
                      <a:pt x="170" y="200"/>
                    </a:lnTo>
                    <a:lnTo>
                      <a:pt x="168" y="198"/>
                    </a:lnTo>
                    <a:lnTo>
                      <a:pt x="168" y="198"/>
                    </a:lnTo>
                    <a:lnTo>
                      <a:pt x="168" y="198"/>
                    </a:lnTo>
                    <a:lnTo>
                      <a:pt x="168" y="198"/>
                    </a:lnTo>
                    <a:close/>
                    <a:moveTo>
                      <a:pt x="172" y="192"/>
                    </a:moveTo>
                    <a:lnTo>
                      <a:pt x="170" y="194"/>
                    </a:lnTo>
                    <a:lnTo>
                      <a:pt x="170" y="198"/>
                    </a:lnTo>
                    <a:lnTo>
                      <a:pt x="172" y="198"/>
                    </a:lnTo>
                    <a:lnTo>
                      <a:pt x="176" y="198"/>
                    </a:lnTo>
                    <a:lnTo>
                      <a:pt x="174" y="194"/>
                    </a:lnTo>
                    <a:lnTo>
                      <a:pt x="172" y="192"/>
                    </a:lnTo>
                    <a:lnTo>
                      <a:pt x="172" y="192"/>
                    </a:lnTo>
                    <a:lnTo>
                      <a:pt x="172" y="192"/>
                    </a:lnTo>
                    <a:lnTo>
                      <a:pt x="172" y="192"/>
                    </a:lnTo>
                    <a:close/>
                    <a:moveTo>
                      <a:pt x="98" y="254"/>
                    </a:moveTo>
                    <a:lnTo>
                      <a:pt x="95" y="252"/>
                    </a:lnTo>
                    <a:lnTo>
                      <a:pt x="96" y="247"/>
                    </a:lnTo>
                    <a:lnTo>
                      <a:pt x="98" y="241"/>
                    </a:lnTo>
                    <a:lnTo>
                      <a:pt x="96" y="239"/>
                    </a:lnTo>
                    <a:lnTo>
                      <a:pt x="100" y="234"/>
                    </a:lnTo>
                    <a:lnTo>
                      <a:pt x="104" y="234"/>
                    </a:lnTo>
                    <a:lnTo>
                      <a:pt x="108" y="230"/>
                    </a:lnTo>
                    <a:lnTo>
                      <a:pt x="112" y="234"/>
                    </a:lnTo>
                    <a:lnTo>
                      <a:pt x="115" y="230"/>
                    </a:lnTo>
                    <a:lnTo>
                      <a:pt x="115" y="228"/>
                    </a:lnTo>
                    <a:lnTo>
                      <a:pt x="115" y="224"/>
                    </a:lnTo>
                    <a:lnTo>
                      <a:pt x="121" y="224"/>
                    </a:lnTo>
                    <a:lnTo>
                      <a:pt x="121" y="220"/>
                    </a:lnTo>
                    <a:lnTo>
                      <a:pt x="125" y="220"/>
                    </a:lnTo>
                    <a:lnTo>
                      <a:pt x="130" y="224"/>
                    </a:lnTo>
                    <a:lnTo>
                      <a:pt x="130" y="230"/>
                    </a:lnTo>
                    <a:lnTo>
                      <a:pt x="127" y="237"/>
                    </a:lnTo>
                    <a:lnTo>
                      <a:pt x="130" y="234"/>
                    </a:lnTo>
                    <a:lnTo>
                      <a:pt x="134" y="230"/>
                    </a:lnTo>
                    <a:lnTo>
                      <a:pt x="138" y="230"/>
                    </a:lnTo>
                    <a:lnTo>
                      <a:pt x="140" y="224"/>
                    </a:lnTo>
                    <a:lnTo>
                      <a:pt x="144" y="222"/>
                    </a:lnTo>
                    <a:lnTo>
                      <a:pt x="145" y="224"/>
                    </a:lnTo>
                    <a:lnTo>
                      <a:pt x="149" y="224"/>
                    </a:lnTo>
                    <a:lnTo>
                      <a:pt x="149" y="222"/>
                    </a:lnTo>
                    <a:lnTo>
                      <a:pt x="145" y="220"/>
                    </a:lnTo>
                    <a:lnTo>
                      <a:pt x="149" y="213"/>
                    </a:lnTo>
                    <a:lnTo>
                      <a:pt x="151" y="215"/>
                    </a:lnTo>
                    <a:lnTo>
                      <a:pt x="155" y="217"/>
                    </a:lnTo>
                    <a:lnTo>
                      <a:pt x="155" y="215"/>
                    </a:lnTo>
                    <a:lnTo>
                      <a:pt x="155" y="209"/>
                    </a:lnTo>
                    <a:lnTo>
                      <a:pt x="157" y="209"/>
                    </a:lnTo>
                    <a:lnTo>
                      <a:pt x="159" y="213"/>
                    </a:lnTo>
                    <a:lnTo>
                      <a:pt x="160" y="209"/>
                    </a:lnTo>
                    <a:lnTo>
                      <a:pt x="159" y="203"/>
                    </a:lnTo>
                    <a:lnTo>
                      <a:pt x="159" y="198"/>
                    </a:lnTo>
                    <a:lnTo>
                      <a:pt x="160" y="198"/>
                    </a:lnTo>
                    <a:lnTo>
                      <a:pt x="164" y="198"/>
                    </a:lnTo>
                    <a:lnTo>
                      <a:pt x="164" y="203"/>
                    </a:lnTo>
                    <a:lnTo>
                      <a:pt x="168" y="205"/>
                    </a:lnTo>
                    <a:lnTo>
                      <a:pt x="172" y="209"/>
                    </a:lnTo>
                    <a:lnTo>
                      <a:pt x="176" y="207"/>
                    </a:lnTo>
                    <a:lnTo>
                      <a:pt x="176" y="211"/>
                    </a:lnTo>
                    <a:lnTo>
                      <a:pt x="176" y="215"/>
                    </a:lnTo>
                    <a:lnTo>
                      <a:pt x="176" y="218"/>
                    </a:lnTo>
                    <a:lnTo>
                      <a:pt x="176" y="218"/>
                    </a:lnTo>
                    <a:lnTo>
                      <a:pt x="174" y="220"/>
                    </a:lnTo>
                    <a:lnTo>
                      <a:pt x="176" y="224"/>
                    </a:lnTo>
                    <a:lnTo>
                      <a:pt x="176" y="224"/>
                    </a:lnTo>
                    <a:lnTo>
                      <a:pt x="176" y="224"/>
                    </a:lnTo>
                    <a:lnTo>
                      <a:pt x="176" y="230"/>
                    </a:lnTo>
                    <a:lnTo>
                      <a:pt x="179" y="228"/>
                    </a:lnTo>
                    <a:lnTo>
                      <a:pt x="179" y="234"/>
                    </a:lnTo>
                    <a:lnTo>
                      <a:pt x="179" y="237"/>
                    </a:lnTo>
                    <a:lnTo>
                      <a:pt x="183" y="239"/>
                    </a:lnTo>
                    <a:lnTo>
                      <a:pt x="185" y="243"/>
                    </a:lnTo>
                    <a:lnTo>
                      <a:pt x="185" y="249"/>
                    </a:lnTo>
                    <a:lnTo>
                      <a:pt x="183" y="254"/>
                    </a:lnTo>
                    <a:lnTo>
                      <a:pt x="181" y="254"/>
                    </a:lnTo>
                    <a:lnTo>
                      <a:pt x="181" y="254"/>
                    </a:lnTo>
                    <a:lnTo>
                      <a:pt x="181" y="254"/>
                    </a:lnTo>
                    <a:lnTo>
                      <a:pt x="176" y="254"/>
                    </a:lnTo>
                    <a:lnTo>
                      <a:pt x="176" y="254"/>
                    </a:lnTo>
                    <a:lnTo>
                      <a:pt x="179" y="262"/>
                    </a:lnTo>
                    <a:lnTo>
                      <a:pt x="179" y="267"/>
                    </a:lnTo>
                    <a:lnTo>
                      <a:pt x="176" y="267"/>
                    </a:lnTo>
                    <a:lnTo>
                      <a:pt x="176" y="267"/>
                    </a:lnTo>
                    <a:lnTo>
                      <a:pt x="176" y="262"/>
                    </a:lnTo>
                    <a:lnTo>
                      <a:pt x="176" y="258"/>
                    </a:lnTo>
                    <a:lnTo>
                      <a:pt x="174" y="254"/>
                    </a:lnTo>
                    <a:lnTo>
                      <a:pt x="172" y="250"/>
                    </a:lnTo>
                    <a:lnTo>
                      <a:pt x="170" y="247"/>
                    </a:lnTo>
                    <a:lnTo>
                      <a:pt x="168" y="249"/>
                    </a:lnTo>
                    <a:lnTo>
                      <a:pt x="164" y="254"/>
                    </a:lnTo>
                    <a:lnTo>
                      <a:pt x="164" y="260"/>
                    </a:lnTo>
                    <a:lnTo>
                      <a:pt x="164" y="262"/>
                    </a:lnTo>
                    <a:lnTo>
                      <a:pt x="168" y="267"/>
                    </a:lnTo>
                    <a:lnTo>
                      <a:pt x="168" y="267"/>
                    </a:lnTo>
                    <a:lnTo>
                      <a:pt x="168" y="273"/>
                    </a:lnTo>
                    <a:lnTo>
                      <a:pt x="164" y="279"/>
                    </a:lnTo>
                    <a:lnTo>
                      <a:pt x="160" y="281"/>
                    </a:lnTo>
                    <a:lnTo>
                      <a:pt x="159" y="281"/>
                    </a:lnTo>
                    <a:lnTo>
                      <a:pt x="159" y="277"/>
                    </a:lnTo>
                    <a:lnTo>
                      <a:pt x="159" y="273"/>
                    </a:lnTo>
                    <a:lnTo>
                      <a:pt x="159" y="273"/>
                    </a:lnTo>
                    <a:lnTo>
                      <a:pt x="157" y="273"/>
                    </a:lnTo>
                    <a:lnTo>
                      <a:pt x="155" y="275"/>
                    </a:lnTo>
                    <a:lnTo>
                      <a:pt x="155" y="277"/>
                    </a:lnTo>
                    <a:lnTo>
                      <a:pt x="151" y="277"/>
                    </a:lnTo>
                    <a:lnTo>
                      <a:pt x="145" y="273"/>
                    </a:lnTo>
                    <a:lnTo>
                      <a:pt x="142" y="273"/>
                    </a:lnTo>
                    <a:lnTo>
                      <a:pt x="138" y="269"/>
                    </a:lnTo>
                    <a:lnTo>
                      <a:pt x="138" y="267"/>
                    </a:lnTo>
                    <a:lnTo>
                      <a:pt x="136" y="264"/>
                    </a:lnTo>
                    <a:lnTo>
                      <a:pt x="136" y="262"/>
                    </a:lnTo>
                    <a:lnTo>
                      <a:pt x="136" y="258"/>
                    </a:lnTo>
                    <a:lnTo>
                      <a:pt x="134" y="254"/>
                    </a:lnTo>
                    <a:lnTo>
                      <a:pt x="136" y="254"/>
                    </a:lnTo>
                    <a:lnTo>
                      <a:pt x="136" y="250"/>
                    </a:lnTo>
                    <a:lnTo>
                      <a:pt x="138" y="250"/>
                    </a:lnTo>
                    <a:lnTo>
                      <a:pt x="140" y="252"/>
                    </a:lnTo>
                    <a:lnTo>
                      <a:pt x="138" y="249"/>
                    </a:lnTo>
                    <a:lnTo>
                      <a:pt x="136" y="245"/>
                    </a:lnTo>
                    <a:lnTo>
                      <a:pt x="132" y="243"/>
                    </a:lnTo>
                    <a:lnTo>
                      <a:pt x="130" y="241"/>
                    </a:lnTo>
                    <a:lnTo>
                      <a:pt x="127" y="239"/>
                    </a:lnTo>
                    <a:lnTo>
                      <a:pt x="125" y="239"/>
                    </a:lnTo>
                    <a:lnTo>
                      <a:pt x="125" y="239"/>
                    </a:lnTo>
                    <a:lnTo>
                      <a:pt x="125" y="241"/>
                    </a:lnTo>
                    <a:lnTo>
                      <a:pt x="125" y="243"/>
                    </a:lnTo>
                    <a:lnTo>
                      <a:pt x="125" y="247"/>
                    </a:lnTo>
                    <a:lnTo>
                      <a:pt x="125" y="247"/>
                    </a:lnTo>
                    <a:lnTo>
                      <a:pt x="121" y="245"/>
                    </a:lnTo>
                    <a:lnTo>
                      <a:pt x="119" y="245"/>
                    </a:lnTo>
                    <a:lnTo>
                      <a:pt x="121" y="241"/>
                    </a:lnTo>
                    <a:lnTo>
                      <a:pt x="115" y="241"/>
                    </a:lnTo>
                    <a:lnTo>
                      <a:pt x="115" y="243"/>
                    </a:lnTo>
                    <a:lnTo>
                      <a:pt x="115" y="247"/>
                    </a:lnTo>
                    <a:lnTo>
                      <a:pt x="115" y="245"/>
                    </a:lnTo>
                    <a:lnTo>
                      <a:pt x="113" y="245"/>
                    </a:lnTo>
                    <a:lnTo>
                      <a:pt x="112" y="245"/>
                    </a:lnTo>
                    <a:lnTo>
                      <a:pt x="112" y="241"/>
                    </a:lnTo>
                    <a:lnTo>
                      <a:pt x="110" y="237"/>
                    </a:lnTo>
                    <a:lnTo>
                      <a:pt x="108" y="239"/>
                    </a:lnTo>
                    <a:lnTo>
                      <a:pt x="106" y="243"/>
                    </a:lnTo>
                    <a:lnTo>
                      <a:pt x="102" y="247"/>
                    </a:lnTo>
                    <a:lnTo>
                      <a:pt x="100" y="254"/>
                    </a:lnTo>
                    <a:lnTo>
                      <a:pt x="98" y="254"/>
                    </a:lnTo>
                    <a:lnTo>
                      <a:pt x="98" y="254"/>
                    </a:lnTo>
                    <a:lnTo>
                      <a:pt x="98" y="254"/>
                    </a:lnTo>
                    <a:lnTo>
                      <a:pt x="98" y="254"/>
                    </a:lnTo>
                    <a:close/>
                    <a:moveTo>
                      <a:pt x="95" y="262"/>
                    </a:moveTo>
                    <a:lnTo>
                      <a:pt x="95" y="264"/>
                    </a:lnTo>
                    <a:lnTo>
                      <a:pt x="95" y="267"/>
                    </a:lnTo>
                    <a:lnTo>
                      <a:pt x="96" y="267"/>
                    </a:lnTo>
                    <a:lnTo>
                      <a:pt x="102" y="264"/>
                    </a:lnTo>
                    <a:lnTo>
                      <a:pt x="102" y="262"/>
                    </a:lnTo>
                    <a:lnTo>
                      <a:pt x="100" y="262"/>
                    </a:lnTo>
                    <a:lnTo>
                      <a:pt x="98" y="260"/>
                    </a:lnTo>
                    <a:lnTo>
                      <a:pt x="96" y="262"/>
                    </a:lnTo>
                    <a:lnTo>
                      <a:pt x="95" y="262"/>
                    </a:lnTo>
                    <a:lnTo>
                      <a:pt x="95" y="262"/>
                    </a:lnTo>
                    <a:lnTo>
                      <a:pt x="95" y="262"/>
                    </a:lnTo>
                    <a:lnTo>
                      <a:pt x="95" y="262"/>
                    </a:lnTo>
                    <a:close/>
                    <a:moveTo>
                      <a:pt x="51" y="154"/>
                    </a:moveTo>
                    <a:lnTo>
                      <a:pt x="49" y="151"/>
                    </a:lnTo>
                    <a:lnTo>
                      <a:pt x="48" y="149"/>
                    </a:lnTo>
                    <a:lnTo>
                      <a:pt x="49" y="147"/>
                    </a:lnTo>
                    <a:lnTo>
                      <a:pt x="51" y="147"/>
                    </a:lnTo>
                    <a:lnTo>
                      <a:pt x="55" y="151"/>
                    </a:lnTo>
                    <a:lnTo>
                      <a:pt x="57" y="151"/>
                    </a:lnTo>
                    <a:lnTo>
                      <a:pt x="57" y="153"/>
                    </a:lnTo>
                    <a:lnTo>
                      <a:pt x="57" y="154"/>
                    </a:lnTo>
                    <a:lnTo>
                      <a:pt x="55" y="154"/>
                    </a:lnTo>
                    <a:lnTo>
                      <a:pt x="51" y="154"/>
                    </a:lnTo>
                    <a:lnTo>
                      <a:pt x="51" y="154"/>
                    </a:lnTo>
                    <a:lnTo>
                      <a:pt x="51" y="154"/>
                    </a:lnTo>
                    <a:lnTo>
                      <a:pt x="51" y="154"/>
                    </a:lnTo>
                    <a:close/>
                    <a:moveTo>
                      <a:pt x="49" y="154"/>
                    </a:moveTo>
                    <a:lnTo>
                      <a:pt x="51" y="154"/>
                    </a:lnTo>
                    <a:lnTo>
                      <a:pt x="51" y="158"/>
                    </a:lnTo>
                    <a:lnTo>
                      <a:pt x="51" y="158"/>
                    </a:lnTo>
                    <a:lnTo>
                      <a:pt x="51" y="160"/>
                    </a:lnTo>
                    <a:lnTo>
                      <a:pt x="49" y="160"/>
                    </a:lnTo>
                    <a:lnTo>
                      <a:pt x="48" y="158"/>
                    </a:lnTo>
                    <a:lnTo>
                      <a:pt x="49" y="154"/>
                    </a:lnTo>
                    <a:lnTo>
                      <a:pt x="49" y="154"/>
                    </a:lnTo>
                    <a:lnTo>
                      <a:pt x="49" y="154"/>
                    </a:lnTo>
                    <a:lnTo>
                      <a:pt x="49" y="154"/>
                    </a:lnTo>
                    <a:close/>
                    <a:moveTo>
                      <a:pt x="51" y="183"/>
                    </a:moveTo>
                    <a:lnTo>
                      <a:pt x="51" y="183"/>
                    </a:lnTo>
                    <a:lnTo>
                      <a:pt x="51" y="181"/>
                    </a:lnTo>
                    <a:lnTo>
                      <a:pt x="55" y="183"/>
                    </a:lnTo>
                    <a:lnTo>
                      <a:pt x="57" y="185"/>
                    </a:lnTo>
                    <a:lnTo>
                      <a:pt x="55" y="185"/>
                    </a:lnTo>
                    <a:lnTo>
                      <a:pt x="51" y="185"/>
                    </a:lnTo>
                    <a:lnTo>
                      <a:pt x="49" y="185"/>
                    </a:lnTo>
                    <a:lnTo>
                      <a:pt x="51" y="183"/>
                    </a:lnTo>
                    <a:lnTo>
                      <a:pt x="51" y="183"/>
                    </a:lnTo>
                    <a:lnTo>
                      <a:pt x="51" y="183"/>
                    </a:lnTo>
                    <a:lnTo>
                      <a:pt x="51" y="183"/>
                    </a:lnTo>
                    <a:close/>
                    <a:moveTo>
                      <a:pt x="4" y="224"/>
                    </a:moveTo>
                    <a:lnTo>
                      <a:pt x="8" y="222"/>
                    </a:lnTo>
                    <a:lnTo>
                      <a:pt x="12" y="222"/>
                    </a:lnTo>
                    <a:lnTo>
                      <a:pt x="14" y="218"/>
                    </a:lnTo>
                    <a:lnTo>
                      <a:pt x="17" y="218"/>
                    </a:lnTo>
                    <a:lnTo>
                      <a:pt x="21" y="211"/>
                    </a:lnTo>
                    <a:lnTo>
                      <a:pt x="27" y="209"/>
                    </a:lnTo>
                    <a:lnTo>
                      <a:pt x="31" y="207"/>
                    </a:lnTo>
                    <a:lnTo>
                      <a:pt x="31" y="205"/>
                    </a:lnTo>
                    <a:lnTo>
                      <a:pt x="31" y="203"/>
                    </a:lnTo>
                    <a:lnTo>
                      <a:pt x="31" y="198"/>
                    </a:lnTo>
                    <a:lnTo>
                      <a:pt x="34" y="194"/>
                    </a:lnTo>
                    <a:lnTo>
                      <a:pt x="40" y="194"/>
                    </a:lnTo>
                    <a:lnTo>
                      <a:pt x="42" y="190"/>
                    </a:lnTo>
                    <a:lnTo>
                      <a:pt x="44" y="185"/>
                    </a:lnTo>
                    <a:lnTo>
                      <a:pt x="48" y="185"/>
                    </a:lnTo>
                    <a:lnTo>
                      <a:pt x="49" y="183"/>
                    </a:lnTo>
                    <a:lnTo>
                      <a:pt x="48" y="179"/>
                    </a:lnTo>
                    <a:lnTo>
                      <a:pt x="44" y="175"/>
                    </a:lnTo>
                    <a:lnTo>
                      <a:pt x="44" y="171"/>
                    </a:lnTo>
                    <a:lnTo>
                      <a:pt x="44" y="168"/>
                    </a:lnTo>
                    <a:lnTo>
                      <a:pt x="42" y="168"/>
                    </a:lnTo>
                    <a:lnTo>
                      <a:pt x="42" y="173"/>
                    </a:lnTo>
                    <a:lnTo>
                      <a:pt x="42" y="179"/>
                    </a:lnTo>
                    <a:lnTo>
                      <a:pt x="38" y="177"/>
                    </a:lnTo>
                    <a:lnTo>
                      <a:pt x="42" y="181"/>
                    </a:lnTo>
                    <a:lnTo>
                      <a:pt x="40" y="183"/>
                    </a:lnTo>
                    <a:lnTo>
                      <a:pt x="38" y="185"/>
                    </a:lnTo>
                    <a:lnTo>
                      <a:pt x="34" y="185"/>
                    </a:lnTo>
                    <a:lnTo>
                      <a:pt x="32" y="190"/>
                    </a:lnTo>
                    <a:lnTo>
                      <a:pt x="31" y="194"/>
                    </a:lnTo>
                    <a:lnTo>
                      <a:pt x="27" y="194"/>
                    </a:lnTo>
                    <a:lnTo>
                      <a:pt x="25" y="203"/>
                    </a:lnTo>
                    <a:lnTo>
                      <a:pt x="19" y="207"/>
                    </a:lnTo>
                    <a:lnTo>
                      <a:pt x="16" y="209"/>
                    </a:lnTo>
                    <a:lnTo>
                      <a:pt x="14" y="215"/>
                    </a:lnTo>
                    <a:lnTo>
                      <a:pt x="12" y="215"/>
                    </a:lnTo>
                    <a:lnTo>
                      <a:pt x="6" y="222"/>
                    </a:lnTo>
                    <a:lnTo>
                      <a:pt x="4" y="224"/>
                    </a:lnTo>
                    <a:lnTo>
                      <a:pt x="4" y="224"/>
                    </a:lnTo>
                    <a:lnTo>
                      <a:pt x="4" y="224"/>
                    </a:lnTo>
                    <a:lnTo>
                      <a:pt x="4" y="224"/>
                    </a:lnTo>
                    <a:lnTo>
                      <a:pt x="4" y="224"/>
                    </a:lnTo>
                    <a:close/>
                    <a:moveTo>
                      <a:pt x="6" y="228"/>
                    </a:moveTo>
                    <a:lnTo>
                      <a:pt x="4" y="230"/>
                    </a:lnTo>
                    <a:lnTo>
                      <a:pt x="6" y="230"/>
                    </a:lnTo>
                    <a:lnTo>
                      <a:pt x="6" y="228"/>
                    </a:lnTo>
                    <a:lnTo>
                      <a:pt x="6" y="228"/>
                    </a:lnTo>
                    <a:lnTo>
                      <a:pt x="6" y="228"/>
                    </a:lnTo>
                    <a:lnTo>
                      <a:pt x="6" y="228"/>
                    </a:lnTo>
                    <a:close/>
                    <a:moveTo>
                      <a:pt x="8" y="228"/>
                    </a:moveTo>
                    <a:lnTo>
                      <a:pt x="6" y="230"/>
                    </a:lnTo>
                    <a:lnTo>
                      <a:pt x="8" y="230"/>
                    </a:lnTo>
                    <a:lnTo>
                      <a:pt x="8" y="228"/>
                    </a:lnTo>
                    <a:lnTo>
                      <a:pt x="8" y="228"/>
                    </a:lnTo>
                    <a:lnTo>
                      <a:pt x="8" y="228"/>
                    </a:lnTo>
                    <a:lnTo>
                      <a:pt x="8" y="228"/>
                    </a:lnTo>
                    <a:close/>
                    <a:moveTo>
                      <a:pt x="2" y="234"/>
                    </a:moveTo>
                    <a:lnTo>
                      <a:pt x="0" y="234"/>
                    </a:lnTo>
                    <a:lnTo>
                      <a:pt x="0" y="237"/>
                    </a:lnTo>
                    <a:lnTo>
                      <a:pt x="0" y="239"/>
                    </a:lnTo>
                    <a:lnTo>
                      <a:pt x="2" y="239"/>
                    </a:lnTo>
                    <a:lnTo>
                      <a:pt x="2" y="234"/>
                    </a:lnTo>
                    <a:lnTo>
                      <a:pt x="4" y="234"/>
                    </a:lnTo>
                    <a:lnTo>
                      <a:pt x="2" y="234"/>
                    </a:lnTo>
                    <a:lnTo>
                      <a:pt x="2" y="234"/>
                    </a:lnTo>
                    <a:lnTo>
                      <a:pt x="2" y="234"/>
                    </a:ln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7" name="Freeform 199"/>
              <p:cNvSpPr>
                <a:spLocks noEditPoints="1"/>
              </p:cNvSpPr>
              <p:nvPr/>
            </p:nvSpPr>
            <p:spPr bwMode="auto">
              <a:xfrm>
                <a:off x="4635" y="2966"/>
                <a:ext cx="360" cy="120"/>
              </a:xfrm>
              <a:custGeom>
                <a:avLst/>
                <a:gdLst/>
                <a:ahLst/>
                <a:cxnLst>
                  <a:cxn ang="0">
                    <a:pos x="216" y="88"/>
                  </a:cxn>
                  <a:cxn ang="0">
                    <a:pos x="0" y="32"/>
                  </a:cxn>
                  <a:cxn ang="0">
                    <a:pos x="2" y="34"/>
                  </a:cxn>
                  <a:cxn ang="0">
                    <a:pos x="183" y="101"/>
                  </a:cxn>
                  <a:cxn ang="0">
                    <a:pos x="200" y="120"/>
                  </a:cxn>
                  <a:cxn ang="0">
                    <a:pos x="215" y="116"/>
                  </a:cxn>
                  <a:cxn ang="0">
                    <a:pos x="252" y="115"/>
                  </a:cxn>
                  <a:cxn ang="0">
                    <a:pos x="273" y="107"/>
                  </a:cxn>
                  <a:cxn ang="0">
                    <a:pos x="294" y="64"/>
                  </a:cxn>
                  <a:cxn ang="0">
                    <a:pos x="309" y="54"/>
                  </a:cxn>
                  <a:cxn ang="0">
                    <a:pos x="329" y="54"/>
                  </a:cxn>
                  <a:cxn ang="0">
                    <a:pos x="344" y="54"/>
                  </a:cxn>
                  <a:cxn ang="0">
                    <a:pos x="356" y="43"/>
                  </a:cxn>
                  <a:cxn ang="0">
                    <a:pos x="348" y="35"/>
                  </a:cxn>
                  <a:cxn ang="0">
                    <a:pos x="333" y="32"/>
                  </a:cxn>
                  <a:cxn ang="0">
                    <a:pos x="329" y="28"/>
                  </a:cxn>
                  <a:cxn ang="0">
                    <a:pos x="326" y="17"/>
                  </a:cxn>
                  <a:cxn ang="0">
                    <a:pos x="316" y="7"/>
                  </a:cxn>
                  <a:cxn ang="0">
                    <a:pos x="312" y="7"/>
                  </a:cxn>
                  <a:cxn ang="0">
                    <a:pos x="299" y="30"/>
                  </a:cxn>
                  <a:cxn ang="0">
                    <a:pos x="284" y="39"/>
                  </a:cxn>
                  <a:cxn ang="0">
                    <a:pos x="284" y="45"/>
                  </a:cxn>
                  <a:cxn ang="0">
                    <a:pos x="282" y="54"/>
                  </a:cxn>
                  <a:cxn ang="0">
                    <a:pos x="279" y="47"/>
                  </a:cxn>
                  <a:cxn ang="0">
                    <a:pos x="269" y="52"/>
                  </a:cxn>
                  <a:cxn ang="0">
                    <a:pos x="256" y="62"/>
                  </a:cxn>
                  <a:cxn ang="0">
                    <a:pos x="239" y="82"/>
                  </a:cxn>
                  <a:cxn ang="0">
                    <a:pos x="224" y="94"/>
                  </a:cxn>
                  <a:cxn ang="0">
                    <a:pos x="213" y="105"/>
                  </a:cxn>
                  <a:cxn ang="0">
                    <a:pos x="190" y="109"/>
                  </a:cxn>
                  <a:cxn ang="0">
                    <a:pos x="183" y="101"/>
                  </a:cxn>
                  <a:cxn ang="0">
                    <a:pos x="316" y="1"/>
                  </a:cxn>
                  <a:cxn ang="0">
                    <a:pos x="320" y="0"/>
                  </a:cxn>
                  <a:cxn ang="0">
                    <a:pos x="320" y="0"/>
                  </a:cxn>
                  <a:cxn ang="0">
                    <a:pos x="215" y="96"/>
                  </a:cxn>
                  <a:cxn ang="0">
                    <a:pos x="216" y="94"/>
                  </a:cxn>
                  <a:cxn ang="0">
                    <a:pos x="220" y="94"/>
                  </a:cxn>
                  <a:cxn ang="0">
                    <a:pos x="224" y="92"/>
                  </a:cxn>
                  <a:cxn ang="0">
                    <a:pos x="220" y="88"/>
                  </a:cxn>
                  <a:cxn ang="0">
                    <a:pos x="0" y="17"/>
                  </a:cxn>
                  <a:cxn ang="0">
                    <a:pos x="15" y="17"/>
                  </a:cxn>
                  <a:cxn ang="0">
                    <a:pos x="17" y="28"/>
                  </a:cxn>
                  <a:cxn ang="0">
                    <a:pos x="36" y="26"/>
                  </a:cxn>
                  <a:cxn ang="0">
                    <a:pos x="41" y="20"/>
                  </a:cxn>
                  <a:cxn ang="0">
                    <a:pos x="66" y="52"/>
                  </a:cxn>
                  <a:cxn ang="0">
                    <a:pos x="66" y="69"/>
                  </a:cxn>
                  <a:cxn ang="0">
                    <a:pos x="75" y="88"/>
                  </a:cxn>
                  <a:cxn ang="0">
                    <a:pos x="77" y="98"/>
                  </a:cxn>
                  <a:cxn ang="0">
                    <a:pos x="79" y="109"/>
                  </a:cxn>
                  <a:cxn ang="0">
                    <a:pos x="75" y="111"/>
                  </a:cxn>
                  <a:cxn ang="0">
                    <a:pos x="72" y="113"/>
                  </a:cxn>
                  <a:cxn ang="0">
                    <a:pos x="51" y="101"/>
                  </a:cxn>
                  <a:cxn ang="0">
                    <a:pos x="40" y="92"/>
                  </a:cxn>
                  <a:cxn ang="0">
                    <a:pos x="26" y="79"/>
                  </a:cxn>
                  <a:cxn ang="0">
                    <a:pos x="11" y="64"/>
                  </a:cxn>
                  <a:cxn ang="0">
                    <a:pos x="11" y="47"/>
                  </a:cxn>
                  <a:cxn ang="0">
                    <a:pos x="0" y="17"/>
                  </a:cxn>
                </a:cxnLst>
                <a:rect l="0" t="0" r="r" b="b"/>
                <a:pathLst>
                  <a:path w="360" h="120">
                    <a:moveTo>
                      <a:pt x="216" y="88"/>
                    </a:moveTo>
                    <a:lnTo>
                      <a:pt x="216" y="90"/>
                    </a:lnTo>
                    <a:lnTo>
                      <a:pt x="216" y="92"/>
                    </a:lnTo>
                    <a:lnTo>
                      <a:pt x="216" y="90"/>
                    </a:lnTo>
                    <a:lnTo>
                      <a:pt x="216" y="88"/>
                    </a:lnTo>
                    <a:lnTo>
                      <a:pt x="216" y="88"/>
                    </a:lnTo>
                    <a:lnTo>
                      <a:pt x="216" y="88"/>
                    </a:lnTo>
                    <a:lnTo>
                      <a:pt x="216" y="88"/>
                    </a:lnTo>
                    <a:lnTo>
                      <a:pt x="216" y="88"/>
                    </a:lnTo>
                    <a:close/>
                    <a:moveTo>
                      <a:pt x="0" y="32"/>
                    </a:moveTo>
                    <a:lnTo>
                      <a:pt x="0" y="37"/>
                    </a:lnTo>
                    <a:lnTo>
                      <a:pt x="4" y="39"/>
                    </a:lnTo>
                    <a:lnTo>
                      <a:pt x="4" y="39"/>
                    </a:lnTo>
                    <a:lnTo>
                      <a:pt x="4" y="35"/>
                    </a:lnTo>
                    <a:lnTo>
                      <a:pt x="2" y="34"/>
                    </a:lnTo>
                    <a:lnTo>
                      <a:pt x="0" y="32"/>
                    </a:lnTo>
                    <a:lnTo>
                      <a:pt x="0" y="32"/>
                    </a:lnTo>
                    <a:lnTo>
                      <a:pt x="0" y="32"/>
                    </a:lnTo>
                    <a:lnTo>
                      <a:pt x="0" y="32"/>
                    </a:lnTo>
                    <a:close/>
                    <a:moveTo>
                      <a:pt x="183" y="101"/>
                    </a:moveTo>
                    <a:lnTo>
                      <a:pt x="186" y="109"/>
                    </a:lnTo>
                    <a:lnTo>
                      <a:pt x="194" y="113"/>
                    </a:lnTo>
                    <a:lnTo>
                      <a:pt x="194" y="115"/>
                    </a:lnTo>
                    <a:lnTo>
                      <a:pt x="196" y="116"/>
                    </a:lnTo>
                    <a:lnTo>
                      <a:pt x="200" y="120"/>
                    </a:lnTo>
                    <a:lnTo>
                      <a:pt x="201" y="120"/>
                    </a:lnTo>
                    <a:lnTo>
                      <a:pt x="207" y="120"/>
                    </a:lnTo>
                    <a:lnTo>
                      <a:pt x="207" y="116"/>
                    </a:lnTo>
                    <a:lnTo>
                      <a:pt x="213" y="120"/>
                    </a:lnTo>
                    <a:lnTo>
                      <a:pt x="215" y="116"/>
                    </a:lnTo>
                    <a:lnTo>
                      <a:pt x="226" y="116"/>
                    </a:lnTo>
                    <a:lnTo>
                      <a:pt x="235" y="115"/>
                    </a:lnTo>
                    <a:lnTo>
                      <a:pt x="239" y="111"/>
                    </a:lnTo>
                    <a:lnTo>
                      <a:pt x="247" y="111"/>
                    </a:lnTo>
                    <a:lnTo>
                      <a:pt x="252" y="115"/>
                    </a:lnTo>
                    <a:lnTo>
                      <a:pt x="254" y="116"/>
                    </a:lnTo>
                    <a:lnTo>
                      <a:pt x="256" y="116"/>
                    </a:lnTo>
                    <a:lnTo>
                      <a:pt x="265" y="111"/>
                    </a:lnTo>
                    <a:lnTo>
                      <a:pt x="275" y="111"/>
                    </a:lnTo>
                    <a:lnTo>
                      <a:pt x="273" y="107"/>
                    </a:lnTo>
                    <a:lnTo>
                      <a:pt x="280" y="98"/>
                    </a:lnTo>
                    <a:lnTo>
                      <a:pt x="284" y="88"/>
                    </a:lnTo>
                    <a:lnTo>
                      <a:pt x="290" y="82"/>
                    </a:lnTo>
                    <a:lnTo>
                      <a:pt x="294" y="67"/>
                    </a:lnTo>
                    <a:lnTo>
                      <a:pt x="294" y="64"/>
                    </a:lnTo>
                    <a:lnTo>
                      <a:pt x="296" y="62"/>
                    </a:lnTo>
                    <a:lnTo>
                      <a:pt x="296" y="60"/>
                    </a:lnTo>
                    <a:lnTo>
                      <a:pt x="299" y="54"/>
                    </a:lnTo>
                    <a:lnTo>
                      <a:pt x="301" y="54"/>
                    </a:lnTo>
                    <a:lnTo>
                      <a:pt x="309" y="54"/>
                    </a:lnTo>
                    <a:lnTo>
                      <a:pt x="316" y="54"/>
                    </a:lnTo>
                    <a:lnTo>
                      <a:pt x="318" y="54"/>
                    </a:lnTo>
                    <a:lnTo>
                      <a:pt x="324" y="54"/>
                    </a:lnTo>
                    <a:lnTo>
                      <a:pt x="329" y="58"/>
                    </a:lnTo>
                    <a:lnTo>
                      <a:pt x="329" y="54"/>
                    </a:lnTo>
                    <a:lnTo>
                      <a:pt x="333" y="60"/>
                    </a:lnTo>
                    <a:lnTo>
                      <a:pt x="335" y="60"/>
                    </a:lnTo>
                    <a:lnTo>
                      <a:pt x="339" y="58"/>
                    </a:lnTo>
                    <a:lnTo>
                      <a:pt x="344" y="58"/>
                    </a:lnTo>
                    <a:lnTo>
                      <a:pt x="344" y="54"/>
                    </a:lnTo>
                    <a:lnTo>
                      <a:pt x="339" y="50"/>
                    </a:lnTo>
                    <a:lnTo>
                      <a:pt x="339" y="45"/>
                    </a:lnTo>
                    <a:lnTo>
                      <a:pt x="341" y="43"/>
                    </a:lnTo>
                    <a:lnTo>
                      <a:pt x="350" y="45"/>
                    </a:lnTo>
                    <a:lnTo>
                      <a:pt x="356" y="43"/>
                    </a:lnTo>
                    <a:lnTo>
                      <a:pt x="360" y="39"/>
                    </a:lnTo>
                    <a:lnTo>
                      <a:pt x="360" y="39"/>
                    </a:lnTo>
                    <a:lnTo>
                      <a:pt x="356" y="39"/>
                    </a:lnTo>
                    <a:lnTo>
                      <a:pt x="352" y="37"/>
                    </a:lnTo>
                    <a:lnTo>
                      <a:pt x="348" y="35"/>
                    </a:lnTo>
                    <a:lnTo>
                      <a:pt x="344" y="35"/>
                    </a:lnTo>
                    <a:lnTo>
                      <a:pt x="339" y="30"/>
                    </a:lnTo>
                    <a:lnTo>
                      <a:pt x="339" y="30"/>
                    </a:lnTo>
                    <a:lnTo>
                      <a:pt x="335" y="34"/>
                    </a:lnTo>
                    <a:lnTo>
                      <a:pt x="333" y="32"/>
                    </a:lnTo>
                    <a:lnTo>
                      <a:pt x="339" y="28"/>
                    </a:lnTo>
                    <a:lnTo>
                      <a:pt x="335" y="26"/>
                    </a:lnTo>
                    <a:lnTo>
                      <a:pt x="335" y="26"/>
                    </a:lnTo>
                    <a:lnTo>
                      <a:pt x="329" y="30"/>
                    </a:lnTo>
                    <a:lnTo>
                      <a:pt x="329" y="28"/>
                    </a:lnTo>
                    <a:lnTo>
                      <a:pt x="326" y="26"/>
                    </a:lnTo>
                    <a:lnTo>
                      <a:pt x="329" y="20"/>
                    </a:lnTo>
                    <a:lnTo>
                      <a:pt x="329" y="20"/>
                    </a:lnTo>
                    <a:lnTo>
                      <a:pt x="329" y="18"/>
                    </a:lnTo>
                    <a:lnTo>
                      <a:pt x="326" y="17"/>
                    </a:lnTo>
                    <a:lnTo>
                      <a:pt x="326" y="17"/>
                    </a:lnTo>
                    <a:lnTo>
                      <a:pt x="322" y="13"/>
                    </a:lnTo>
                    <a:lnTo>
                      <a:pt x="322" y="7"/>
                    </a:lnTo>
                    <a:lnTo>
                      <a:pt x="318" y="5"/>
                    </a:lnTo>
                    <a:lnTo>
                      <a:pt x="316" y="7"/>
                    </a:lnTo>
                    <a:lnTo>
                      <a:pt x="316" y="11"/>
                    </a:lnTo>
                    <a:lnTo>
                      <a:pt x="312" y="15"/>
                    </a:lnTo>
                    <a:lnTo>
                      <a:pt x="311" y="15"/>
                    </a:lnTo>
                    <a:lnTo>
                      <a:pt x="312" y="11"/>
                    </a:lnTo>
                    <a:lnTo>
                      <a:pt x="312" y="7"/>
                    </a:lnTo>
                    <a:lnTo>
                      <a:pt x="309" y="7"/>
                    </a:lnTo>
                    <a:lnTo>
                      <a:pt x="309" y="17"/>
                    </a:lnTo>
                    <a:lnTo>
                      <a:pt x="305" y="17"/>
                    </a:lnTo>
                    <a:lnTo>
                      <a:pt x="299" y="24"/>
                    </a:lnTo>
                    <a:lnTo>
                      <a:pt x="299" y="30"/>
                    </a:lnTo>
                    <a:lnTo>
                      <a:pt x="294" y="37"/>
                    </a:lnTo>
                    <a:lnTo>
                      <a:pt x="290" y="37"/>
                    </a:lnTo>
                    <a:lnTo>
                      <a:pt x="284" y="39"/>
                    </a:lnTo>
                    <a:lnTo>
                      <a:pt x="282" y="39"/>
                    </a:lnTo>
                    <a:lnTo>
                      <a:pt x="284" y="39"/>
                    </a:lnTo>
                    <a:lnTo>
                      <a:pt x="282" y="43"/>
                    </a:lnTo>
                    <a:lnTo>
                      <a:pt x="284" y="43"/>
                    </a:lnTo>
                    <a:lnTo>
                      <a:pt x="290" y="43"/>
                    </a:lnTo>
                    <a:lnTo>
                      <a:pt x="288" y="45"/>
                    </a:lnTo>
                    <a:lnTo>
                      <a:pt x="284" y="45"/>
                    </a:lnTo>
                    <a:lnTo>
                      <a:pt x="284" y="47"/>
                    </a:lnTo>
                    <a:lnTo>
                      <a:pt x="284" y="49"/>
                    </a:lnTo>
                    <a:lnTo>
                      <a:pt x="286" y="54"/>
                    </a:lnTo>
                    <a:lnTo>
                      <a:pt x="284" y="58"/>
                    </a:lnTo>
                    <a:lnTo>
                      <a:pt x="282" y="54"/>
                    </a:lnTo>
                    <a:lnTo>
                      <a:pt x="282" y="52"/>
                    </a:lnTo>
                    <a:lnTo>
                      <a:pt x="280" y="49"/>
                    </a:lnTo>
                    <a:lnTo>
                      <a:pt x="280" y="49"/>
                    </a:lnTo>
                    <a:lnTo>
                      <a:pt x="280" y="47"/>
                    </a:lnTo>
                    <a:lnTo>
                      <a:pt x="279" y="47"/>
                    </a:lnTo>
                    <a:lnTo>
                      <a:pt x="277" y="50"/>
                    </a:lnTo>
                    <a:lnTo>
                      <a:pt x="279" y="60"/>
                    </a:lnTo>
                    <a:lnTo>
                      <a:pt x="277" y="60"/>
                    </a:lnTo>
                    <a:lnTo>
                      <a:pt x="273" y="58"/>
                    </a:lnTo>
                    <a:lnTo>
                      <a:pt x="269" y="52"/>
                    </a:lnTo>
                    <a:lnTo>
                      <a:pt x="269" y="52"/>
                    </a:lnTo>
                    <a:lnTo>
                      <a:pt x="265" y="50"/>
                    </a:lnTo>
                    <a:lnTo>
                      <a:pt x="264" y="54"/>
                    </a:lnTo>
                    <a:lnTo>
                      <a:pt x="264" y="58"/>
                    </a:lnTo>
                    <a:lnTo>
                      <a:pt x="256" y="62"/>
                    </a:lnTo>
                    <a:lnTo>
                      <a:pt x="256" y="67"/>
                    </a:lnTo>
                    <a:lnTo>
                      <a:pt x="250" y="69"/>
                    </a:lnTo>
                    <a:lnTo>
                      <a:pt x="248" y="73"/>
                    </a:lnTo>
                    <a:lnTo>
                      <a:pt x="245" y="79"/>
                    </a:lnTo>
                    <a:lnTo>
                      <a:pt x="239" y="82"/>
                    </a:lnTo>
                    <a:lnTo>
                      <a:pt x="224" y="86"/>
                    </a:lnTo>
                    <a:lnTo>
                      <a:pt x="222" y="86"/>
                    </a:lnTo>
                    <a:lnTo>
                      <a:pt x="224" y="92"/>
                    </a:lnTo>
                    <a:lnTo>
                      <a:pt x="226" y="94"/>
                    </a:lnTo>
                    <a:lnTo>
                      <a:pt x="224" y="94"/>
                    </a:lnTo>
                    <a:lnTo>
                      <a:pt x="220" y="94"/>
                    </a:lnTo>
                    <a:lnTo>
                      <a:pt x="216" y="96"/>
                    </a:lnTo>
                    <a:lnTo>
                      <a:pt x="215" y="98"/>
                    </a:lnTo>
                    <a:lnTo>
                      <a:pt x="213" y="101"/>
                    </a:lnTo>
                    <a:lnTo>
                      <a:pt x="213" y="105"/>
                    </a:lnTo>
                    <a:lnTo>
                      <a:pt x="209" y="111"/>
                    </a:lnTo>
                    <a:lnTo>
                      <a:pt x="209" y="113"/>
                    </a:lnTo>
                    <a:lnTo>
                      <a:pt x="201" y="111"/>
                    </a:lnTo>
                    <a:lnTo>
                      <a:pt x="196" y="109"/>
                    </a:lnTo>
                    <a:lnTo>
                      <a:pt x="190" y="109"/>
                    </a:lnTo>
                    <a:lnTo>
                      <a:pt x="186" y="105"/>
                    </a:lnTo>
                    <a:lnTo>
                      <a:pt x="184" y="101"/>
                    </a:lnTo>
                    <a:lnTo>
                      <a:pt x="183" y="101"/>
                    </a:lnTo>
                    <a:lnTo>
                      <a:pt x="183" y="101"/>
                    </a:lnTo>
                    <a:lnTo>
                      <a:pt x="183" y="101"/>
                    </a:lnTo>
                    <a:lnTo>
                      <a:pt x="183" y="101"/>
                    </a:lnTo>
                    <a:close/>
                    <a:moveTo>
                      <a:pt x="316" y="0"/>
                    </a:moveTo>
                    <a:lnTo>
                      <a:pt x="311" y="1"/>
                    </a:lnTo>
                    <a:lnTo>
                      <a:pt x="312" y="1"/>
                    </a:lnTo>
                    <a:lnTo>
                      <a:pt x="316" y="1"/>
                    </a:lnTo>
                    <a:lnTo>
                      <a:pt x="316" y="0"/>
                    </a:lnTo>
                    <a:lnTo>
                      <a:pt x="316" y="0"/>
                    </a:lnTo>
                    <a:lnTo>
                      <a:pt x="316" y="0"/>
                    </a:lnTo>
                    <a:lnTo>
                      <a:pt x="316" y="0"/>
                    </a:lnTo>
                    <a:close/>
                    <a:moveTo>
                      <a:pt x="320" y="0"/>
                    </a:moveTo>
                    <a:lnTo>
                      <a:pt x="316" y="1"/>
                    </a:lnTo>
                    <a:lnTo>
                      <a:pt x="318" y="5"/>
                    </a:lnTo>
                    <a:lnTo>
                      <a:pt x="322" y="1"/>
                    </a:lnTo>
                    <a:lnTo>
                      <a:pt x="322" y="1"/>
                    </a:lnTo>
                    <a:lnTo>
                      <a:pt x="320" y="0"/>
                    </a:lnTo>
                    <a:lnTo>
                      <a:pt x="320" y="0"/>
                    </a:lnTo>
                    <a:lnTo>
                      <a:pt x="320" y="0"/>
                    </a:lnTo>
                    <a:lnTo>
                      <a:pt x="320" y="0"/>
                    </a:lnTo>
                    <a:close/>
                    <a:moveTo>
                      <a:pt x="216" y="94"/>
                    </a:moveTo>
                    <a:lnTo>
                      <a:pt x="215" y="96"/>
                    </a:lnTo>
                    <a:lnTo>
                      <a:pt x="216" y="92"/>
                    </a:lnTo>
                    <a:lnTo>
                      <a:pt x="216" y="94"/>
                    </a:lnTo>
                    <a:lnTo>
                      <a:pt x="216" y="94"/>
                    </a:lnTo>
                    <a:lnTo>
                      <a:pt x="216" y="94"/>
                    </a:lnTo>
                    <a:lnTo>
                      <a:pt x="216" y="94"/>
                    </a:lnTo>
                    <a:close/>
                    <a:moveTo>
                      <a:pt x="220" y="94"/>
                    </a:moveTo>
                    <a:lnTo>
                      <a:pt x="218" y="94"/>
                    </a:lnTo>
                    <a:lnTo>
                      <a:pt x="216" y="92"/>
                    </a:lnTo>
                    <a:lnTo>
                      <a:pt x="218" y="92"/>
                    </a:lnTo>
                    <a:lnTo>
                      <a:pt x="220" y="94"/>
                    </a:lnTo>
                    <a:lnTo>
                      <a:pt x="220" y="94"/>
                    </a:lnTo>
                    <a:lnTo>
                      <a:pt x="220" y="94"/>
                    </a:lnTo>
                    <a:lnTo>
                      <a:pt x="220" y="94"/>
                    </a:lnTo>
                    <a:close/>
                    <a:moveTo>
                      <a:pt x="222" y="86"/>
                    </a:moveTo>
                    <a:lnTo>
                      <a:pt x="224" y="92"/>
                    </a:lnTo>
                    <a:lnTo>
                      <a:pt x="220" y="94"/>
                    </a:lnTo>
                    <a:lnTo>
                      <a:pt x="218" y="90"/>
                    </a:lnTo>
                    <a:lnTo>
                      <a:pt x="218" y="88"/>
                    </a:lnTo>
                    <a:lnTo>
                      <a:pt x="218" y="88"/>
                    </a:lnTo>
                    <a:lnTo>
                      <a:pt x="220" y="88"/>
                    </a:lnTo>
                    <a:lnTo>
                      <a:pt x="222" y="86"/>
                    </a:lnTo>
                    <a:lnTo>
                      <a:pt x="222" y="86"/>
                    </a:lnTo>
                    <a:lnTo>
                      <a:pt x="222" y="86"/>
                    </a:lnTo>
                    <a:lnTo>
                      <a:pt x="222" y="86"/>
                    </a:lnTo>
                    <a:close/>
                    <a:moveTo>
                      <a:pt x="0" y="17"/>
                    </a:moveTo>
                    <a:lnTo>
                      <a:pt x="2" y="13"/>
                    </a:lnTo>
                    <a:lnTo>
                      <a:pt x="4" y="9"/>
                    </a:lnTo>
                    <a:lnTo>
                      <a:pt x="8" y="13"/>
                    </a:lnTo>
                    <a:lnTo>
                      <a:pt x="13" y="15"/>
                    </a:lnTo>
                    <a:lnTo>
                      <a:pt x="15" y="17"/>
                    </a:lnTo>
                    <a:lnTo>
                      <a:pt x="17" y="17"/>
                    </a:lnTo>
                    <a:lnTo>
                      <a:pt x="21" y="18"/>
                    </a:lnTo>
                    <a:lnTo>
                      <a:pt x="21" y="24"/>
                    </a:lnTo>
                    <a:lnTo>
                      <a:pt x="17" y="26"/>
                    </a:lnTo>
                    <a:lnTo>
                      <a:pt x="17" y="28"/>
                    </a:lnTo>
                    <a:lnTo>
                      <a:pt x="23" y="30"/>
                    </a:lnTo>
                    <a:lnTo>
                      <a:pt x="26" y="26"/>
                    </a:lnTo>
                    <a:lnTo>
                      <a:pt x="30" y="26"/>
                    </a:lnTo>
                    <a:lnTo>
                      <a:pt x="32" y="28"/>
                    </a:lnTo>
                    <a:lnTo>
                      <a:pt x="36" y="26"/>
                    </a:lnTo>
                    <a:lnTo>
                      <a:pt x="36" y="24"/>
                    </a:lnTo>
                    <a:lnTo>
                      <a:pt x="36" y="24"/>
                    </a:lnTo>
                    <a:lnTo>
                      <a:pt x="36" y="24"/>
                    </a:lnTo>
                    <a:lnTo>
                      <a:pt x="40" y="24"/>
                    </a:lnTo>
                    <a:lnTo>
                      <a:pt x="41" y="20"/>
                    </a:lnTo>
                    <a:lnTo>
                      <a:pt x="41" y="20"/>
                    </a:lnTo>
                    <a:lnTo>
                      <a:pt x="45" y="24"/>
                    </a:lnTo>
                    <a:lnTo>
                      <a:pt x="60" y="39"/>
                    </a:lnTo>
                    <a:lnTo>
                      <a:pt x="62" y="45"/>
                    </a:lnTo>
                    <a:lnTo>
                      <a:pt x="66" y="52"/>
                    </a:lnTo>
                    <a:lnTo>
                      <a:pt x="62" y="54"/>
                    </a:lnTo>
                    <a:lnTo>
                      <a:pt x="62" y="64"/>
                    </a:lnTo>
                    <a:lnTo>
                      <a:pt x="62" y="64"/>
                    </a:lnTo>
                    <a:lnTo>
                      <a:pt x="62" y="67"/>
                    </a:lnTo>
                    <a:lnTo>
                      <a:pt x="66" y="69"/>
                    </a:lnTo>
                    <a:lnTo>
                      <a:pt x="66" y="79"/>
                    </a:lnTo>
                    <a:lnTo>
                      <a:pt x="66" y="82"/>
                    </a:lnTo>
                    <a:lnTo>
                      <a:pt x="70" y="86"/>
                    </a:lnTo>
                    <a:lnTo>
                      <a:pt x="73" y="86"/>
                    </a:lnTo>
                    <a:lnTo>
                      <a:pt x="75" y="88"/>
                    </a:lnTo>
                    <a:lnTo>
                      <a:pt x="73" y="90"/>
                    </a:lnTo>
                    <a:lnTo>
                      <a:pt x="75" y="96"/>
                    </a:lnTo>
                    <a:lnTo>
                      <a:pt x="75" y="98"/>
                    </a:lnTo>
                    <a:lnTo>
                      <a:pt x="77" y="98"/>
                    </a:lnTo>
                    <a:lnTo>
                      <a:pt x="77" y="98"/>
                    </a:lnTo>
                    <a:lnTo>
                      <a:pt x="77" y="101"/>
                    </a:lnTo>
                    <a:lnTo>
                      <a:pt x="83" y="107"/>
                    </a:lnTo>
                    <a:lnTo>
                      <a:pt x="83" y="111"/>
                    </a:lnTo>
                    <a:lnTo>
                      <a:pt x="79" y="111"/>
                    </a:lnTo>
                    <a:lnTo>
                      <a:pt x="79" y="109"/>
                    </a:lnTo>
                    <a:lnTo>
                      <a:pt x="79" y="107"/>
                    </a:lnTo>
                    <a:lnTo>
                      <a:pt x="77" y="105"/>
                    </a:lnTo>
                    <a:lnTo>
                      <a:pt x="77" y="107"/>
                    </a:lnTo>
                    <a:lnTo>
                      <a:pt x="77" y="109"/>
                    </a:lnTo>
                    <a:lnTo>
                      <a:pt x="75" y="111"/>
                    </a:lnTo>
                    <a:lnTo>
                      <a:pt x="77" y="111"/>
                    </a:lnTo>
                    <a:lnTo>
                      <a:pt x="77" y="111"/>
                    </a:lnTo>
                    <a:lnTo>
                      <a:pt x="73" y="115"/>
                    </a:lnTo>
                    <a:lnTo>
                      <a:pt x="73" y="111"/>
                    </a:lnTo>
                    <a:lnTo>
                      <a:pt x="72" y="113"/>
                    </a:lnTo>
                    <a:lnTo>
                      <a:pt x="68" y="111"/>
                    </a:lnTo>
                    <a:lnTo>
                      <a:pt x="66" y="109"/>
                    </a:lnTo>
                    <a:lnTo>
                      <a:pt x="60" y="107"/>
                    </a:lnTo>
                    <a:lnTo>
                      <a:pt x="55" y="105"/>
                    </a:lnTo>
                    <a:lnTo>
                      <a:pt x="51" y="101"/>
                    </a:lnTo>
                    <a:lnTo>
                      <a:pt x="49" y="101"/>
                    </a:lnTo>
                    <a:lnTo>
                      <a:pt x="47" y="101"/>
                    </a:lnTo>
                    <a:lnTo>
                      <a:pt x="43" y="101"/>
                    </a:lnTo>
                    <a:lnTo>
                      <a:pt x="40" y="96"/>
                    </a:lnTo>
                    <a:lnTo>
                      <a:pt x="40" y="92"/>
                    </a:lnTo>
                    <a:lnTo>
                      <a:pt x="34" y="88"/>
                    </a:lnTo>
                    <a:lnTo>
                      <a:pt x="26" y="86"/>
                    </a:lnTo>
                    <a:lnTo>
                      <a:pt x="26" y="82"/>
                    </a:lnTo>
                    <a:lnTo>
                      <a:pt x="26" y="82"/>
                    </a:lnTo>
                    <a:lnTo>
                      <a:pt x="26" y="79"/>
                    </a:lnTo>
                    <a:lnTo>
                      <a:pt x="26" y="75"/>
                    </a:lnTo>
                    <a:lnTo>
                      <a:pt x="23" y="73"/>
                    </a:lnTo>
                    <a:lnTo>
                      <a:pt x="17" y="67"/>
                    </a:lnTo>
                    <a:lnTo>
                      <a:pt x="15" y="67"/>
                    </a:lnTo>
                    <a:lnTo>
                      <a:pt x="11" y="64"/>
                    </a:lnTo>
                    <a:lnTo>
                      <a:pt x="13" y="62"/>
                    </a:lnTo>
                    <a:lnTo>
                      <a:pt x="9" y="58"/>
                    </a:lnTo>
                    <a:lnTo>
                      <a:pt x="9" y="54"/>
                    </a:lnTo>
                    <a:lnTo>
                      <a:pt x="11" y="52"/>
                    </a:lnTo>
                    <a:lnTo>
                      <a:pt x="11" y="47"/>
                    </a:lnTo>
                    <a:lnTo>
                      <a:pt x="9" y="43"/>
                    </a:lnTo>
                    <a:lnTo>
                      <a:pt x="8" y="39"/>
                    </a:lnTo>
                    <a:lnTo>
                      <a:pt x="6" y="24"/>
                    </a:lnTo>
                    <a:lnTo>
                      <a:pt x="0" y="17"/>
                    </a:lnTo>
                    <a:lnTo>
                      <a:pt x="0" y="17"/>
                    </a:lnTo>
                    <a:lnTo>
                      <a:pt x="0" y="17"/>
                    </a:ln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8" name="Freeform 200"/>
              <p:cNvSpPr>
                <a:spLocks noEditPoints="1"/>
              </p:cNvSpPr>
              <p:nvPr/>
            </p:nvSpPr>
            <p:spPr bwMode="auto">
              <a:xfrm>
                <a:off x="4652" y="2644"/>
                <a:ext cx="152" cy="295"/>
              </a:xfrm>
              <a:custGeom>
                <a:avLst/>
                <a:gdLst/>
                <a:ahLst/>
                <a:cxnLst>
                  <a:cxn ang="0">
                    <a:pos x="9" y="13"/>
                  </a:cxn>
                  <a:cxn ang="0">
                    <a:pos x="19" y="11"/>
                  </a:cxn>
                  <a:cxn ang="0">
                    <a:pos x="34" y="9"/>
                  </a:cxn>
                  <a:cxn ang="0">
                    <a:pos x="55" y="0"/>
                  </a:cxn>
                  <a:cxn ang="0">
                    <a:pos x="75" y="7"/>
                  </a:cxn>
                  <a:cxn ang="0">
                    <a:pos x="79" y="20"/>
                  </a:cxn>
                  <a:cxn ang="0">
                    <a:pos x="100" y="33"/>
                  </a:cxn>
                  <a:cxn ang="0">
                    <a:pos x="111" y="35"/>
                  </a:cxn>
                  <a:cxn ang="0">
                    <a:pos x="94" y="41"/>
                  </a:cxn>
                  <a:cxn ang="0">
                    <a:pos x="88" y="48"/>
                  </a:cxn>
                  <a:cxn ang="0">
                    <a:pos x="81" y="52"/>
                  </a:cxn>
                  <a:cxn ang="0">
                    <a:pos x="81" y="64"/>
                  </a:cxn>
                  <a:cxn ang="0">
                    <a:pos x="73" y="69"/>
                  </a:cxn>
                  <a:cxn ang="0">
                    <a:pos x="70" y="88"/>
                  </a:cxn>
                  <a:cxn ang="0">
                    <a:pos x="77" y="99"/>
                  </a:cxn>
                  <a:cxn ang="0">
                    <a:pos x="88" y="114"/>
                  </a:cxn>
                  <a:cxn ang="0">
                    <a:pos x="120" y="139"/>
                  </a:cxn>
                  <a:cxn ang="0">
                    <a:pos x="134" y="158"/>
                  </a:cxn>
                  <a:cxn ang="0">
                    <a:pos x="141" y="178"/>
                  </a:cxn>
                  <a:cxn ang="0">
                    <a:pos x="147" y="195"/>
                  </a:cxn>
                  <a:cxn ang="0">
                    <a:pos x="152" y="212"/>
                  </a:cxn>
                  <a:cxn ang="0">
                    <a:pos x="149" y="216"/>
                  </a:cxn>
                  <a:cxn ang="0">
                    <a:pos x="147" y="227"/>
                  </a:cxn>
                  <a:cxn ang="0">
                    <a:pos x="139" y="242"/>
                  </a:cxn>
                  <a:cxn ang="0">
                    <a:pos x="124" y="254"/>
                  </a:cxn>
                  <a:cxn ang="0">
                    <a:pos x="103" y="258"/>
                  </a:cxn>
                  <a:cxn ang="0">
                    <a:pos x="103" y="259"/>
                  </a:cxn>
                  <a:cxn ang="0">
                    <a:pos x="100" y="269"/>
                  </a:cxn>
                  <a:cxn ang="0">
                    <a:pos x="94" y="271"/>
                  </a:cxn>
                  <a:cxn ang="0">
                    <a:pos x="92" y="276"/>
                  </a:cxn>
                  <a:cxn ang="0">
                    <a:pos x="81" y="288"/>
                  </a:cxn>
                  <a:cxn ang="0">
                    <a:pos x="70" y="291"/>
                  </a:cxn>
                  <a:cxn ang="0">
                    <a:pos x="70" y="282"/>
                  </a:cxn>
                  <a:cxn ang="0">
                    <a:pos x="79" y="263"/>
                  </a:cxn>
                  <a:cxn ang="0">
                    <a:pos x="64" y="263"/>
                  </a:cxn>
                  <a:cxn ang="0">
                    <a:pos x="73" y="246"/>
                  </a:cxn>
                  <a:cxn ang="0">
                    <a:pos x="98" y="250"/>
                  </a:cxn>
                  <a:cxn ang="0">
                    <a:pos x="92" y="231"/>
                  </a:cxn>
                  <a:cxn ang="0">
                    <a:pos x="115" y="220"/>
                  </a:cxn>
                  <a:cxn ang="0">
                    <a:pos x="113" y="188"/>
                  </a:cxn>
                  <a:cxn ang="0">
                    <a:pos x="109" y="171"/>
                  </a:cxn>
                  <a:cxn ang="0">
                    <a:pos x="111" y="150"/>
                  </a:cxn>
                  <a:cxn ang="0">
                    <a:pos x="100" y="141"/>
                  </a:cxn>
                  <a:cxn ang="0">
                    <a:pos x="92" y="131"/>
                  </a:cxn>
                  <a:cxn ang="0">
                    <a:pos x="75" y="113"/>
                  </a:cxn>
                  <a:cxn ang="0">
                    <a:pos x="47" y="94"/>
                  </a:cxn>
                  <a:cxn ang="0">
                    <a:pos x="39" y="77"/>
                  </a:cxn>
                  <a:cxn ang="0">
                    <a:pos x="58" y="64"/>
                  </a:cxn>
                  <a:cxn ang="0">
                    <a:pos x="43" y="50"/>
                  </a:cxn>
                  <a:cxn ang="0">
                    <a:pos x="13" y="37"/>
                  </a:cxn>
                  <a:cxn ang="0">
                    <a:pos x="0" y="18"/>
                  </a:cxn>
                  <a:cxn ang="0">
                    <a:pos x="53" y="265"/>
                  </a:cxn>
                  <a:cxn ang="0">
                    <a:pos x="51" y="259"/>
                  </a:cxn>
                </a:cxnLst>
                <a:rect l="0" t="0" r="r" b="b"/>
                <a:pathLst>
                  <a:path w="152" h="295">
                    <a:moveTo>
                      <a:pt x="0" y="18"/>
                    </a:moveTo>
                    <a:lnTo>
                      <a:pt x="0" y="18"/>
                    </a:lnTo>
                    <a:lnTo>
                      <a:pt x="0" y="18"/>
                    </a:lnTo>
                    <a:lnTo>
                      <a:pt x="4" y="15"/>
                    </a:lnTo>
                    <a:lnTo>
                      <a:pt x="6" y="15"/>
                    </a:lnTo>
                    <a:lnTo>
                      <a:pt x="9" y="13"/>
                    </a:lnTo>
                    <a:lnTo>
                      <a:pt x="13" y="13"/>
                    </a:lnTo>
                    <a:lnTo>
                      <a:pt x="13" y="15"/>
                    </a:lnTo>
                    <a:lnTo>
                      <a:pt x="13" y="16"/>
                    </a:lnTo>
                    <a:lnTo>
                      <a:pt x="15" y="16"/>
                    </a:lnTo>
                    <a:lnTo>
                      <a:pt x="15" y="13"/>
                    </a:lnTo>
                    <a:lnTo>
                      <a:pt x="19" y="11"/>
                    </a:lnTo>
                    <a:lnTo>
                      <a:pt x="23" y="15"/>
                    </a:lnTo>
                    <a:lnTo>
                      <a:pt x="24" y="13"/>
                    </a:lnTo>
                    <a:lnTo>
                      <a:pt x="26" y="13"/>
                    </a:lnTo>
                    <a:lnTo>
                      <a:pt x="28" y="15"/>
                    </a:lnTo>
                    <a:lnTo>
                      <a:pt x="32" y="13"/>
                    </a:lnTo>
                    <a:lnTo>
                      <a:pt x="34" y="9"/>
                    </a:lnTo>
                    <a:lnTo>
                      <a:pt x="38" y="9"/>
                    </a:lnTo>
                    <a:lnTo>
                      <a:pt x="39" y="11"/>
                    </a:lnTo>
                    <a:lnTo>
                      <a:pt x="47" y="9"/>
                    </a:lnTo>
                    <a:lnTo>
                      <a:pt x="45" y="1"/>
                    </a:lnTo>
                    <a:lnTo>
                      <a:pt x="51" y="0"/>
                    </a:lnTo>
                    <a:lnTo>
                      <a:pt x="55" y="0"/>
                    </a:lnTo>
                    <a:lnTo>
                      <a:pt x="58" y="0"/>
                    </a:lnTo>
                    <a:lnTo>
                      <a:pt x="62" y="1"/>
                    </a:lnTo>
                    <a:lnTo>
                      <a:pt x="62" y="3"/>
                    </a:lnTo>
                    <a:lnTo>
                      <a:pt x="64" y="3"/>
                    </a:lnTo>
                    <a:lnTo>
                      <a:pt x="68" y="7"/>
                    </a:lnTo>
                    <a:lnTo>
                      <a:pt x="75" y="7"/>
                    </a:lnTo>
                    <a:lnTo>
                      <a:pt x="77" y="9"/>
                    </a:lnTo>
                    <a:lnTo>
                      <a:pt x="83" y="7"/>
                    </a:lnTo>
                    <a:lnTo>
                      <a:pt x="85" y="9"/>
                    </a:lnTo>
                    <a:lnTo>
                      <a:pt x="85" y="13"/>
                    </a:lnTo>
                    <a:lnTo>
                      <a:pt x="83" y="13"/>
                    </a:lnTo>
                    <a:lnTo>
                      <a:pt x="79" y="20"/>
                    </a:lnTo>
                    <a:lnTo>
                      <a:pt x="83" y="20"/>
                    </a:lnTo>
                    <a:lnTo>
                      <a:pt x="83" y="24"/>
                    </a:lnTo>
                    <a:lnTo>
                      <a:pt x="92" y="26"/>
                    </a:lnTo>
                    <a:lnTo>
                      <a:pt x="92" y="30"/>
                    </a:lnTo>
                    <a:lnTo>
                      <a:pt x="94" y="33"/>
                    </a:lnTo>
                    <a:lnTo>
                      <a:pt x="100" y="33"/>
                    </a:lnTo>
                    <a:lnTo>
                      <a:pt x="103" y="33"/>
                    </a:lnTo>
                    <a:lnTo>
                      <a:pt x="103" y="33"/>
                    </a:lnTo>
                    <a:lnTo>
                      <a:pt x="107" y="33"/>
                    </a:lnTo>
                    <a:lnTo>
                      <a:pt x="109" y="33"/>
                    </a:lnTo>
                    <a:lnTo>
                      <a:pt x="109" y="33"/>
                    </a:lnTo>
                    <a:lnTo>
                      <a:pt x="111" y="35"/>
                    </a:lnTo>
                    <a:lnTo>
                      <a:pt x="109" y="37"/>
                    </a:lnTo>
                    <a:lnTo>
                      <a:pt x="107" y="39"/>
                    </a:lnTo>
                    <a:lnTo>
                      <a:pt x="107" y="39"/>
                    </a:lnTo>
                    <a:lnTo>
                      <a:pt x="103" y="41"/>
                    </a:lnTo>
                    <a:lnTo>
                      <a:pt x="100" y="41"/>
                    </a:lnTo>
                    <a:lnTo>
                      <a:pt x="94" y="41"/>
                    </a:lnTo>
                    <a:lnTo>
                      <a:pt x="94" y="43"/>
                    </a:lnTo>
                    <a:lnTo>
                      <a:pt x="94" y="45"/>
                    </a:lnTo>
                    <a:lnTo>
                      <a:pt x="94" y="45"/>
                    </a:lnTo>
                    <a:lnTo>
                      <a:pt x="94" y="48"/>
                    </a:lnTo>
                    <a:lnTo>
                      <a:pt x="92" y="48"/>
                    </a:lnTo>
                    <a:lnTo>
                      <a:pt x="88" y="48"/>
                    </a:lnTo>
                    <a:lnTo>
                      <a:pt x="87" y="50"/>
                    </a:lnTo>
                    <a:lnTo>
                      <a:pt x="87" y="50"/>
                    </a:lnTo>
                    <a:lnTo>
                      <a:pt x="85" y="48"/>
                    </a:lnTo>
                    <a:lnTo>
                      <a:pt x="83" y="48"/>
                    </a:lnTo>
                    <a:lnTo>
                      <a:pt x="83" y="50"/>
                    </a:lnTo>
                    <a:lnTo>
                      <a:pt x="81" y="52"/>
                    </a:lnTo>
                    <a:lnTo>
                      <a:pt x="83" y="54"/>
                    </a:lnTo>
                    <a:lnTo>
                      <a:pt x="83" y="58"/>
                    </a:lnTo>
                    <a:lnTo>
                      <a:pt x="83" y="58"/>
                    </a:lnTo>
                    <a:lnTo>
                      <a:pt x="81" y="60"/>
                    </a:lnTo>
                    <a:lnTo>
                      <a:pt x="83" y="62"/>
                    </a:lnTo>
                    <a:lnTo>
                      <a:pt x="81" y="64"/>
                    </a:lnTo>
                    <a:lnTo>
                      <a:pt x="81" y="64"/>
                    </a:lnTo>
                    <a:lnTo>
                      <a:pt x="77" y="69"/>
                    </a:lnTo>
                    <a:lnTo>
                      <a:pt x="75" y="69"/>
                    </a:lnTo>
                    <a:lnTo>
                      <a:pt x="73" y="67"/>
                    </a:lnTo>
                    <a:lnTo>
                      <a:pt x="73" y="69"/>
                    </a:lnTo>
                    <a:lnTo>
                      <a:pt x="73" y="69"/>
                    </a:lnTo>
                    <a:lnTo>
                      <a:pt x="73" y="73"/>
                    </a:lnTo>
                    <a:lnTo>
                      <a:pt x="70" y="75"/>
                    </a:lnTo>
                    <a:lnTo>
                      <a:pt x="70" y="79"/>
                    </a:lnTo>
                    <a:lnTo>
                      <a:pt x="73" y="79"/>
                    </a:lnTo>
                    <a:lnTo>
                      <a:pt x="73" y="79"/>
                    </a:lnTo>
                    <a:lnTo>
                      <a:pt x="70" y="88"/>
                    </a:lnTo>
                    <a:lnTo>
                      <a:pt x="70" y="88"/>
                    </a:lnTo>
                    <a:lnTo>
                      <a:pt x="73" y="92"/>
                    </a:lnTo>
                    <a:lnTo>
                      <a:pt x="73" y="94"/>
                    </a:lnTo>
                    <a:lnTo>
                      <a:pt x="70" y="96"/>
                    </a:lnTo>
                    <a:lnTo>
                      <a:pt x="73" y="96"/>
                    </a:lnTo>
                    <a:lnTo>
                      <a:pt x="77" y="99"/>
                    </a:lnTo>
                    <a:lnTo>
                      <a:pt x="83" y="103"/>
                    </a:lnTo>
                    <a:lnTo>
                      <a:pt x="85" y="103"/>
                    </a:lnTo>
                    <a:lnTo>
                      <a:pt x="87" y="109"/>
                    </a:lnTo>
                    <a:lnTo>
                      <a:pt x="87" y="109"/>
                    </a:lnTo>
                    <a:lnTo>
                      <a:pt x="87" y="113"/>
                    </a:lnTo>
                    <a:lnTo>
                      <a:pt x="88" y="114"/>
                    </a:lnTo>
                    <a:lnTo>
                      <a:pt x="88" y="118"/>
                    </a:lnTo>
                    <a:lnTo>
                      <a:pt x="94" y="124"/>
                    </a:lnTo>
                    <a:lnTo>
                      <a:pt x="100" y="126"/>
                    </a:lnTo>
                    <a:lnTo>
                      <a:pt x="100" y="128"/>
                    </a:lnTo>
                    <a:lnTo>
                      <a:pt x="111" y="133"/>
                    </a:lnTo>
                    <a:lnTo>
                      <a:pt x="120" y="139"/>
                    </a:lnTo>
                    <a:lnTo>
                      <a:pt x="122" y="143"/>
                    </a:lnTo>
                    <a:lnTo>
                      <a:pt x="128" y="148"/>
                    </a:lnTo>
                    <a:lnTo>
                      <a:pt x="134" y="154"/>
                    </a:lnTo>
                    <a:lnTo>
                      <a:pt x="134" y="158"/>
                    </a:lnTo>
                    <a:lnTo>
                      <a:pt x="134" y="158"/>
                    </a:lnTo>
                    <a:lnTo>
                      <a:pt x="134" y="158"/>
                    </a:lnTo>
                    <a:lnTo>
                      <a:pt x="137" y="163"/>
                    </a:lnTo>
                    <a:lnTo>
                      <a:pt x="137" y="167"/>
                    </a:lnTo>
                    <a:lnTo>
                      <a:pt x="139" y="167"/>
                    </a:lnTo>
                    <a:lnTo>
                      <a:pt x="137" y="167"/>
                    </a:lnTo>
                    <a:lnTo>
                      <a:pt x="141" y="173"/>
                    </a:lnTo>
                    <a:lnTo>
                      <a:pt x="141" y="178"/>
                    </a:lnTo>
                    <a:lnTo>
                      <a:pt x="143" y="180"/>
                    </a:lnTo>
                    <a:lnTo>
                      <a:pt x="145" y="186"/>
                    </a:lnTo>
                    <a:lnTo>
                      <a:pt x="147" y="188"/>
                    </a:lnTo>
                    <a:lnTo>
                      <a:pt x="147" y="192"/>
                    </a:lnTo>
                    <a:lnTo>
                      <a:pt x="147" y="192"/>
                    </a:lnTo>
                    <a:lnTo>
                      <a:pt x="147" y="195"/>
                    </a:lnTo>
                    <a:lnTo>
                      <a:pt x="147" y="197"/>
                    </a:lnTo>
                    <a:lnTo>
                      <a:pt x="147" y="201"/>
                    </a:lnTo>
                    <a:lnTo>
                      <a:pt x="149" y="203"/>
                    </a:lnTo>
                    <a:lnTo>
                      <a:pt x="149" y="205"/>
                    </a:lnTo>
                    <a:lnTo>
                      <a:pt x="151" y="207"/>
                    </a:lnTo>
                    <a:lnTo>
                      <a:pt x="152" y="212"/>
                    </a:lnTo>
                    <a:lnTo>
                      <a:pt x="152" y="214"/>
                    </a:lnTo>
                    <a:lnTo>
                      <a:pt x="151" y="214"/>
                    </a:lnTo>
                    <a:lnTo>
                      <a:pt x="151" y="212"/>
                    </a:lnTo>
                    <a:lnTo>
                      <a:pt x="151" y="212"/>
                    </a:lnTo>
                    <a:lnTo>
                      <a:pt x="149" y="212"/>
                    </a:lnTo>
                    <a:lnTo>
                      <a:pt x="149" y="216"/>
                    </a:lnTo>
                    <a:lnTo>
                      <a:pt x="151" y="216"/>
                    </a:lnTo>
                    <a:lnTo>
                      <a:pt x="151" y="220"/>
                    </a:lnTo>
                    <a:lnTo>
                      <a:pt x="149" y="222"/>
                    </a:lnTo>
                    <a:lnTo>
                      <a:pt x="149" y="222"/>
                    </a:lnTo>
                    <a:lnTo>
                      <a:pt x="145" y="226"/>
                    </a:lnTo>
                    <a:lnTo>
                      <a:pt x="147" y="227"/>
                    </a:lnTo>
                    <a:lnTo>
                      <a:pt x="147" y="231"/>
                    </a:lnTo>
                    <a:lnTo>
                      <a:pt x="147" y="233"/>
                    </a:lnTo>
                    <a:lnTo>
                      <a:pt x="145" y="235"/>
                    </a:lnTo>
                    <a:lnTo>
                      <a:pt x="143" y="237"/>
                    </a:lnTo>
                    <a:lnTo>
                      <a:pt x="141" y="241"/>
                    </a:lnTo>
                    <a:lnTo>
                      <a:pt x="139" y="242"/>
                    </a:lnTo>
                    <a:lnTo>
                      <a:pt x="137" y="246"/>
                    </a:lnTo>
                    <a:lnTo>
                      <a:pt x="134" y="246"/>
                    </a:lnTo>
                    <a:lnTo>
                      <a:pt x="128" y="250"/>
                    </a:lnTo>
                    <a:lnTo>
                      <a:pt x="128" y="252"/>
                    </a:lnTo>
                    <a:lnTo>
                      <a:pt x="126" y="252"/>
                    </a:lnTo>
                    <a:lnTo>
                      <a:pt x="124" y="254"/>
                    </a:lnTo>
                    <a:lnTo>
                      <a:pt x="115" y="259"/>
                    </a:lnTo>
                    <a:lnTo>
                      <a:pt x="111" y="259"/>
                    </a:lnTo>
                    <a:lnTo>
                      <a:pt x="109" y="259"/>
                    </a:lnTo>
                    <a:lnTo>
                      <a:pt x="107" y="259"/>
                    </a:lnTo>
                    <a:lnTo>
                      <a:pt x="103" y="259"/>
                    </a:lnTo>
                    <a:lnTo>
                      <a:pt x="103" y="258"/>
                    </a:lnTo>
                    <a:lnTo>
                      <a:pt x="103" y="254"/>
                    </a:lnTo>
                    <a:lnTo>
                      <a:pt x="103" y="258"/>
                    </a:lnTo>
                    <a:lnTo>
                      <a:pt x="103" y="258"/>
                    </a:lnTo>
                    <a:lnTo>
                      <a:pt x="100" y="258"/>
                    </a:lnTo>
                    <a:lnTo>
                      <a:pt x="103" y="259"/>
                    </a:lnTo>
                    <a:lnTo>
                      <a:pt x="103" y="259"/>
                    </a:lnTo>
                    <a:lnTo>
                      <a:pt x="100" y="261"/>
                    </a:lnTo>
                    <a:lnTo>
                      <a:pt x="100" y="259"/>
                    </a:lnTo>
                    <a:lnTo>
                      <a:pt x="103" y="263"/>
                    </a:lnTo>
                    <a:lnTo>
                      <a:pt x="103" y="265"/>
                    </a:lnTo>
                    <a:lnTo>
                      <a:pt x="103" y="267"/>
                    </a:lnTo>
                    <a:lnTo>
                      <a:pt x="100" y="269"/>
                    </a:lnTo>
                    <a:lnTo>
                      <a:pt x="98" y="265"/>
                    </a:lnTo>
                    <a:lnTo>
                      <a:pt x="100" y="271"/>
                    </a:lnTo>
                    <a:lnTo>
                      <a:pt x="100" y="271"/>
                    </a:lnTo>
                    <a:lnTo>
                      <a:pt x="100" y="275"/>
                    </a:lnTo>
                    <a:lnTo>
                      <a:pt x="98" y="271"/>
                    </a:lnTo>
                    <a:lnTo>
                      <a:pt x="94" y="271"/>
                    </a:lnTo>
                    <a:lnTo>
                      <a:pt x="94" y="271"/>
                    </a:lnTo>
                    <a:lnTo>
                      <a:pt x="94" y="275"/>
                    </a:lnTo>
                    <a:lnTo>
                      <a:pt x="94" y="275"/>
                    </a:lnTo>
                    <a:lnTo>
                      <a:pt x="94" y="276"/>
                    </a:lnTo>
                    <a:lnTo>
                      <a:pt x="94" y="276"/>
                    </a:lnTo>
                    <a:lnTo>
                      <a:pt x="92" y="276"/>
                    </a:lnTo>
                    <a:lnTo>
                      <a:pt x="90" y="276"/>
                    </a:lnTo>
                    <a:lnTo>
                      <a:pt x="87" y="280"/>
                    </a:lnTo>
                    <a:lnTo>
                      <a:pt x="85" y="282"/>
                    </a:lnTo>
                    <a:lnTo>
                      <a:pt x="83" y="282"/>
                    </a:lnTo>
                    <a:lnTo>
                      <a:pt x="83" y="284"/>
                    </a:lnTo>
                    <a:lnTo>
                      <a:pt x="81" y="288"/>
                    </a:lnTo>
                    <a:lnTo>
                      <a:pt x="79" y="290"/>
                    </a:lnTo>
                    <a:lnTo>
                      <a:pt x="77" y="290"/>
                    </a:lnTo>
                    <a:lnTo>
                      <a:pt x="79" y="291"/>
                    </a:lnTo>
                    <a:lnTo>
                      <a:pt x="70" y="295"/>
                    </a:lnTo>
                    <a:lnTo>
                      <a:pt x="68" y="293"/>
                    </a:lnTo>
                    <a:lnTo>
                      <a:pt x="70" y="291"/>
                    </a:lnTo>
                    <a:lnTo>
                      <a:pt x="73" y="291"/>
                    </a:lnTo>
                    <a:lnTo>
                      <a:pt x="73" y="288"/>
                    </a:lnTo>
                    <a:lnTo>
                      <a:pt x="73" y="290"/>
                    </a:lnTo>
                    <a:lnTo>
                      <a:pt x="70" y="288"/>
                    </a:lnTo>
                    <a:lnTo>
                      <a:pt x="70" y="282"/>
                    </a:lnTo>
                    <a:lnTo>
                      <a:pt x="70" y="282"/>
                    </a:lnTo>
                    <a:lnTo>
                      <a:pt x="70" y="280"/>
                    </a:lnTo>
                    <a:lnTo>
                      <a:pt x="70" y="280"/>
                    </a:lnTo>
                    <a:lnTo>
                      <a:pt x="70" y="275"/>
                    </a:lnTo>
                    <a:lnTo>
                      <a:pt x="73" y="269"/>
                    </a:lnTo>
                    <a:lnTo>
                      <a:pt x="77" y="265"/>
                    </a:lnTo>
                    <a:lnTo>
                      <a:pt x="79" y="263"/>
                    </a:lnTo>
                    <a:lnTo>
                      <a:pt x="75" y="263"/>
                    </a:lnTo>
                    <a:lnTo>
                      <a:pt x="73" y="263"/>
                    </a:lnTo>
                    <a:lnTo>
                      <a:pt x="70" y="265"/>
                    </a:lnTo>
                    <a:lnTo>
                      <a:pt x="70" y="263"/>
                    </a:lnTo>
                    <a:lnTo>
                      <a:pt x="68" y="263"/>
                    </a:lnTo>
                    <a:lnTo>
                      <a:pt x="64" y="263"/>
                    </a:lnTo>
                    <a:lnTo>
                      <a:pt x="64" y="261"/>
                    </a:lnTo>
                    <a:lnTo>
                      <a:pt x="64" y="259"/>
                    </a:lnTo>
                    <a:lnTo>
                      <a:pt x="62" y="258"/>
                    </a:lnTo>
                    <a:lnTo>
                      <a:pt x="64" y="254"/>
                    </a:lnTo>
                    <a:lnTo>
                      <a:pt x="70" y="252"/>
                    </a:lnTo>
                    <a:lnTo>
                      <a:pt x="73" y="246"/>
                    </a:lnTo>
                    <a:lnTo>
                      <a:pt x="75" y="246"/>
                    </a:lnTo>
                    <a:lnTo>
                      <a:pt x="77" y="250"/>
                    </a:lnTo>
                    <a:lnTo>
                      <a:pt x="87" y="246"/>
                    </a:lnTo>
                    <a:lnTo>
                      <a:pt x="90" y="250"/>
                    </a:lnTo>
                    <a:lnTo>
                      <a:pt x="92" y="252"/>
                    </a:lnTo>
                    <a:lnTo>
                      <a:pt x="98" y="250"/>
                    </a:lnTo>
                    <a:lnTo>
                      <a:pt x="94" y="246"/>
                    </a:lnTo>
                    <a:lnTo>
                      <a:pt x="94" y="246"/>
                    </a:lnTo>
                    <a:lnTo>
                      <a:pt x="92" y="242"/>
                    </a:lnTo>
                    <a:lnTo>
                      <a:pt x="88" y="241"/>
                    </a:lnTo>
                    <a:lnTo>
                      <a:pt x="88" y="233"/>
                    </a:lnTo>
                    <a:lnTo>
                      <a:pt x="92" y="231"/>
                    </a:lnTo>
                    <a:lnTo>
                      <a:pt x="100" y="231"/>
                    </a:lnTo>
                    <a:lnTo>
                      <a:pt x="100" y="227"/>
                    </a:lnTo>
                    <a:lnTo>
                      <a:pt x="107" y="226"/>
                    </a:lnTo>
                    <a:lnTo>
                      <a:pt x="109" y="222"/>
                    </a:lnTo>
                    <a:lnTo>
                      <a:pt x="111" y="222"/>
                    </a:lnTo>
                    <a:lnTo>
                      <a:pt x="115" y="220"/>
                    </a:lnTo>
                    <a:lnTo>
                      <a:pt x="117" y="214"/>
                    </a:lnTo>
                    <a:lnTo>
                      <a:pt x="117" y="210"/>
                    </a:lnTo>
                    <a:lnTo>
                      <a:pt x="117" y="205"/>
                    </a:lnTo>
                    <a:lnTo>
                      <a:pt x="117" y="201"/>
                    </a:lnTo>
                    <a:lnTo>
                      <a:pt x="117" y="195"/>
                    </a:lnTo>
                    <a:lnTo>
                      <a:pt x="113" y="188"/>
                    </a:lnTo>
                    <a:lnTo>
                      <a:pt x="109" y="186"/>
                    </a:lnTo>
                    <a:lnTo>
                      <a:pt x="107" y="180"/>
                    </a:lnTo>
                    <a:lnTo>
                      <a:pt x="107" y="180"/>
                    </a:lnTo>
                    <a:lnTo>
                      <a:pt x="111" y="178"/>
                    </a:lnTo>
                    <a:lnTo>
                      <a:pt x="111" y="173"/>
                    </a:lnTo>
                    <a:lnTo>
                      <a:pt x="109" y="171"/>
                    </a:lnTo>
                    <a:lnTo>
                      <a:pt x="109" y="167"/>
                    </a:lnTo>
                    <a:lnTo>
                      <a:pt x="115" y="161"/>
                    </a:lnTo>
                    <a:lnTo>
                      <a:pt x="115" y="158"/>
                    </a:lnTo>
                    <a:lnTo>
                      <a:pt x="111" y="158"/>
                    </a:lnTo>
                    <a:lnTo>
                      <a:pt x="109" y="154"/>
                    </a:lnTo>
                    <a:lnTo>
                      <a:pt x="111" y="150"/>
                    </a:lnTo>
                    <a:lnTo>
                      <a:pt x="113" y="146"/>
                    </a:lnTo>
                    <a:lnTo>
                      <a:pt x="113" y="146"/>
                    </a:lnTo>
                    <a:lnTo>
                      <a:pt x="109" y="146"/>
                    </a:lnTo>
                    <a:lnTo>
                      <a:pt x="107" y="146"/>
                    </a:lnTo>
                    <a:lnTo>
                      <a:pt x="103" y="141"/>
                    </a:lnTo>
                    <a:lnTo>
                      <a:pt x="100" y="141"/>
                    </a:lnTo>
                    <a:lnTo>
                      <a:pt x="100" y="139"/>
                    </a:lnTo>
                    <a:lnTo>
                      <a:pt x="100" y="137"/>
                    </a:lnTo>
                    <a:lnTo>
                      <a:pt x="98" y="137"/>
                    </a:lnTo>
                    <a:lnTo>
                      <a:pt x="94" y="137"/>
                    </a:lnTo>
                    <a:lnTo>
                      <a:pt x="94" y="133"/>
                    </a:lnTo>
                    <a:lnTo>
                      <a:pt x="92" y="131"/>
                    </a:lnTo>
                    <a:lnTo>
                      <a:pt x="90" y="128"/>
                    </a:lnTo>
                    <a:lnTo>
                      <a:pt x="87" y="128"/>
                    </a:lnTo>
                    <a:lnTo>
                      <a:pt x="83" y="126"/>
                    </a:lnTo>
                    <a:lnTo>
                      <a:pt x="81" y="122"/>
                    </a:lnTo>
                    <a:lnTo>
                      <a:pt x="75" y="114"/>
                    </a:lnTo>
                    <a:lnTo>
                      <a:pt x="75" y="113"/>
                    </a:lnTo>
                    <a:lnTo>
                      <a:pt x="73" y="109"/>
                    </a:lnTo>
                    <a:lnTo>
                      <a:pt x="68" y="103"/>
                    </a:lnTo>
                    <a:lnTo>
                      <a:pt x="62" y="99"/>
                    </a:lnTo>
                    <a:lnTo>
                      <a:pt x="58" y="97"/>
                    </a:lnTo>
                    <a:lnTo>
                      <a:pt x="53" y="96"/>
                    </a:lnTo>
                    <a:lnTo>
                      <a:pt x="47" y="94"/>
                    </a:lnTo>
                    <a:lnTo>
                      <a:pt x="45" y="90"/>
                    </a:lnTo>
                    <a:lnTo>
                      <a:pt x="43" y="90"/>
                    </a:lnTo>
                    <a:lnTo>
                      <a:pt x="39" y="88"/>
                    </a:lnTo>
                    <a:lnTo>
                      <a:pt x="43" y="84"/>
                    </a:lnTo>
                    <a:lnTo>
                      <a:pt x="39" y="79"/>
                    </a:lnTo>
                    <a:lnTo>
                      <a:pt x="39" y="77"/>
                    </a:lnTo>
                    <a:lnTo>
                      <a:pt x="43" y="77"/>
                    </a:lnTo>
                    <a:lnTo>
                      <a:pt x="47" y="75"/>
                    </a:lnTo>
                    <a:lnTo>
                      <a:pt x="51" y="75"/>
                    </a:lnTo>
                    <a:lnTo>
                      <a:pt x="53" y="73"/>
                    </a:lnTo>
                    <a:lnTo>
                      <a:pt x="55" y="65"/>
                    </a:lnTo>
                    <a:lnTo>
                      <a:pt x="58" y="64"/>
                    </a:lnTo>
                    <a:lnTo>
                      <a:pt x="58" y="62"/>
                    </a:lnTo>
                    <a:lnTo>
                      <a:pt x="53" y="60"/>
                    </a:lnTo>
                    <a:lnTo>
                      <a:pt x="53" y="58"/>
                    </a:lnTo>
                    <a:lnTo>
                      <a:pt x="53" y="54"/>
                    </a:lnTo>
                    <a:lnTo>
                      <a:pt x="47" y="54"/>
                    </a:lnTo>
                    <a:lnTo>
                      <a:pt x="43" y="50"/>
                    </a:lnTo>
                    <a:lnTo>
                      <a:pt x="39" y="50"/>
                    </a:lnTo>
                    <a:lnTo>
                      <a:pt x="36" y="52"/>
                    </a:lnTo>
                    <a:lnTo>
                      <a:pt x="32" y="50"/>
                    </a:lnTo>
                    <a:lnTo>
                      <a:pt x="23" y="50"/>
                    </a:lnTo>
                    <a:lnTo>
                      <a:pt x="19" y="45"/>
                    </a:lnTo>
                    <a:lnTo>
                      <a:pt x="13" y="37"/>
                    </a:lnTo>
                    <a:lnTo>
                      <a:pt x="13" y="35"/>
                    </a:lnTo>
                    <a:lnTo>
                      <a:pt x="13" y="30"/>
                    </a:lnTo>
                    <a:lnTo>
                      <a:pt x="9" y="28"/>
                    </a:lnTo>
                    <a:lnTo>
                      <a:pt x="6" y="24"/>
                    </a:lnTo>
                    <a:lnTo>
                      <a:pt x="0" y="20"/>
                    </a:lnTo>
                    <a:lnTo>
                      <a:pt x="0" y="18"/>
                    </a:lnTo>
                    <a:lnTo>
                      <a:pt x="0" y="18"/>
                    </a:lnTo>
                    <a:lnTo>
                      <a:pt x="0" y="18"/>
                    </a:lnTo>
                    <a:lnTo>
                      <a:pt x="0" y="18"/>
                    </a:lnTo>
                    <a:close/>
                    <a:moveTo>
                      <a:pt x="51" y="259"/>
                    </a:moveTo>
                    <a:lnTo>
                      <a:pt x="53" y="261"/>
                    </a:lnTo>
                    <a:lnTo>
                      <a:pt x="53" y="265"/>
                    </a:lnTo>
                    <a:lnTo>
                      <a:pt x="53" y="267"/>
                    </a:lnTo>
                    <a:lnTo>
                      <a:pt x="56" y="267"/>
                    </a:lnTo>
                    <a:lnTo>
                      <a:pt x="56" y="261"/>
                    </a:lnTo>
                    <a:lnTo>
                      <a:pt x="55" y="259"/>
                    </a:lnTo>
                    <a:lnTo>
                      <a:pt x="55" y="258"/>
                    </a:lnTo>
                    <a:lnTo>
                      <a:pt x="51" y="259"/>
                    </a:lnTo>
                    <a:lnTo>
                      <a:pt x="51" y="259"/>
                    </a:lnTo>
                    <a:lnTo>
                      <a:pt x="51" y="259"/>
                    </a:ln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9" name="Freeform 201"/>
              <p:cNvSpPr>
                <a:spLocks noEditPoints="1"/>
              </p:cNvSpPr>
              <p:nvPr/>
            </p:nvSpPr>
            <p:spPr bwMode="auto">
              <a:xfrm>
                <a:off x="4842" y="3305"/>
                <a:ext cx="747" cy="802"/>
              </a:xfrm>
              <a:custGeom>
                <a:avLst/>
                <a:gdLst/>
                <a:ahLst/>
                <a:cxnLst>
                  <a:cxn ang="0">
                    <a:pos x="744" y="337"/>
                  </a:cxn>
                  <a:cxn ang="0">
                    <a:pos x="706" y="256"/>
                  </a:cxn>
                  <a:cxn ang="0">
                    <a:pos x="572" y="9"/>
                  </a:cxn>
                  <a:cxn ang="0">
                    <a:pos x="518" y="132"/>
                  </a:cxn>
                  <a:cxn ang="0">
                    <a:pos x="459" y="71"/>
                  </a:cxn>
                  <a:cxn ang="0">
                    <a:pos x="463" y="75"/>
                  </a:cxn>
                  <a:cxn ang="0">
                    <a:pos x="463" y="28"/>
                  </a:cxn>
                  <a:cxn ang="0">
                    <a:pos x="454" y="34"/>
                  </a:cxn>
                  <a:cxn ang="0">
                    <a:pos x="395" y="24"/>
                  </a:cxn>
                  <a:cxn ang="0">
                    <a:pos x="354" y="20"/>
                  </a:cxn>
                  <a:cxn ang="0">
                    <a:pos x="354" y="24"/>
                  </a:cxn>
                  <a:cxn ang="0">
                    <a:pos x="250" y="86"/>
                  </a:cxn>
                  <a:cxn ang="0">
                    <a:pos x="0" y="310"/>
                  </a:cxn>
                  <a:cxn ang="0">
                    <a:pos x="407" y="574"/>
                  </a:cxn>
                  <a:cxn ang="0">
                    <a:pos x="531" y="650"/>
                  </a:cxn>
                  <a:cxn ang="0">
                    <a:pos x="508" y="708"/>
                  </a:cxn>
                  <a:cxn ang="0">
                    <a:pos x="497" y="680"/>
                  </a:cxn>
                  <a:cxn ang="0">
                    <a:pos x="565" y="704"/>
                  </a:cxn>
                  <a:cxn ang="0">
                    <a:pos x="546" y="774"/>
                  </a:cxn>
                  <a:cxn ang="0">
                    <a:pos x="497" y="785"/>
                  </a:cxn>
                  <a:cxn ang="0">
                    <a:pos x="501" y="712"/>
                  </a:cxn>
                  <a:cxn ang="0">
                    <a:pos x="559" y="723"/>
                  </a:cxn>
                  <a:cxn ang="0">
                    <a:pos x="544" y="783"/>
                  </a:cxn>
                  <a:cxn ang="0">
                    <a:pos x="510" y="796"/>
                  </a:cxn>
                  <a:cxn ang="0">
                    <a:pos x="45" y="529"/>
                  </a:cxn>
                  <a:cxn ang="0">
                    <a:pos x="107" y="504"/>
                  </a:cxn>
                  <a:cxn ang="0">
                    <a:pos x="175" y="486"/>
                  </a:cxn>
                  <a:cxn ang="0">
                    <a:pos x="305" y="459"/>
                  </a:cxn>
                  <a:cxn ang="0">
                    <a:pos x="360" y="491"/>
                  </a:cxn>
                  <a:cxn ang="0">
                    <a:pos x="388" y="533"/>
                  </a:cxn>
                  <a:cxn ang="0">
                    <a:pos x="420" y="516"/>
                  </a:cxn>
                  <a:cxn ang="0">
                    <a:pos x="429" y="553"/>
                  </a:cxn>
                  <a:cxn ang="0">
                    <a:pos x="439" y="604"/>
                  </a:cxn>
                  <a:cxn ang="0">
                    <a:pos x="505" y="653"/>
                  </a:cxn>
                  <a:cxn ang="0">
                    <a:pos x="537" y="661"/>
                  </a:cxn>
                  <a:cxn ang="0">
                    <a:pos x="572" y="642"/>
                  </a:cxn>
                  <a:cxn ang="0">
                    <a:pos x="659" y="553"/>
                  </a:cxn>
                  <a:cxn ang="0">
                    <a:pos x="708" y="480"/>
                  </a:cxn>
                  <a:cxn ang="0">
                    <a:pos x="736" y="367"/>
                  </a:cxn>
                  <a:cxn ang="0">
                    <a:pos x="713" y="292"/>
                  </a:cxn>
                  <a:cxn ang="0">
                    <a:pos x="689" y="258"/>
                  </a:cxn>
                  <a:cxn ang="0">
                    <a:pos x="663" y="199"/>
                  </a:cxn>
                  <a:cxn ang="0">
                    <a:pos x="631" y="141"/>
                  </a:cxn>
                  <a:cxn ang="0">
                    <a:pos x="601" y="86"/>
                  </a:cxn>
                  <a:cxn ang="0">
                    <a:pos x="580" y="15"/>
                  </a:cxn>
                  <a:cxn ang="0">
                    <a:pos x="559" y="83"/>
                  </a:cxn>
                  <a:cxn ang="0">
                    <a:pos x="506" y="137"/>
                  </a:cxn>
                  <a:cxn ang="0">
                    <a:pos x="448" y="86"/>
                  </a:cxn>
                  <a:cxn ang="0">
                    <a:pos x="476" y="41"/>
                  </a:cxn>
                  <a:cxn ang="0">
                    <a:pos x="442" y="43"/>
                  </a:cxn>
                  <a:cxn ang="0">
                    <a:pos x="393" y="24"/>
                  </a:cxn>
                  <a:cxn ang="0">
                    <a:pos x="363" y="41"/>
                  </a:cxn>
                  <a:cxn ang="0">
                    <a:pos x="333" y="77"/>
                  </a:cxn>
                  <a:cxn ang="0">
                    <a:pos x="326" y="98"/>
                  </a:cxn>
                  <a:cxn ang="0">
                    <a:pos x="296" y="81"/>
                  </a:cxn>
                  <a:cxn ang="0">
                    <a:pos x="260" y="86"/>
                  </a:cxn>
                  <a:cxn ang="0">
                    <a:pos x="237" y="113"/>
                  </a:cxn>
                  <a:cxn ang="0">
                    <a:pos x="222" y="135"/>
                  </a:cxn>
                  <a:cxn ang="0">
                    <a:pos x="192" y="156"/>
                  </a:cxn>
                  <a:cxn ang="0">
                    <a:pos x="104" y="209"/>
                  </a:cxn>
                  <a:cxn ang="0">
                    <a:pos x="34" y="229"/>
                  </a:cxn>
                  <a:cxn ang="0">
                    <a:pos x="13" y="318"/>
                  </a:cxn>
                  <a:cxn ang="0">
                    <a:pos x="25" y="435"/>
                  </a:cxn>
                </a:cxnLst>
                <a:rect l="0" t="0" r="r" b="b"/>
                <a:pathLst>
                  <a:path w="747" h="802">
                    <a:moveTo>
                      <a:pt x="740" y="382"/>
                    </a:moveTo>
                    <a:lnTo>
                      <a:pt x="742" y="376"/>
                    </a:lnTo>
                    <a:lnTo>
                      <a:pt x="742" y="380"/>
                    </a:lnTo>
                    <a:lnTo>
                      <a:pt x="740" y="382"/>
                    </a:lnTo>
                    <a:lnTo>
                      <a:pt x="740" y="382"/>
                    </a:lnTo>
                    <a:lnTo>
                      <a:pt x="740" y="382"/>
                    </a:lnTo>
                    <a:lnTo>
                      <a:pt x="740" y="382"/>
                    </a:lnTo>
                    <a:close/>
                    <a:moveTo>
                      <a:pt x="742" y="337"/>
                    </a:moveTo>
                    <a:lnTo>
                      <a:pt x="740" y="331"/>
                    </a:lnTo>
                    <a:lnTo>
                      <a:pt x="742" y="326"/>
                    </a:lnTo>
                    <a:lnTo>
                      <a:pt x="742" y="324"/>
                    </a:lnTo>
                    <a:lnTo>
                      <a:pt x="744" y="318"/>
                    </a:lnTo>
                    <a:lnTo>
                      <a:pt x="747" y="316"/>
                    </a:lnTo>
                    <a:lnTo>
                      <a:pt x="744" y="314"/>
                    </a:lnTo>
                    <a:lnTo>
                      <a:pt x="747" y="310"/>
                    </a:lnTo>
                    <a:lnTo>
                      <a:pt x="747" y="310"/>
                    </a:lnTo>
                    <a:lnTo>
                      <a:pt x="747" y="316"/>
                    </a:lnTo>
                    <a:lnTo>
                      <a:pt x="747" y="322"/>
                    </a:lnTo>
                    <a:lnTo>
                      <a:pt x="744" y="326"/>
                    </a:lnTo>
                    <a:lnTo>
                      <a:pt x="744" y="333"/>
                    </a:lnTo>
                    <a:lnTo>
                      <a:pt x="744" y="337"/>
                    </a:lnTo>
                    <a:lnTo>
                      <a:pt x="742" y="337"/>
                    </a:lnTo>
                    <a:lnTo>
                      <a:pt x="742" y="337"/>
                    </a:lnTo>
                    <a:lnTo>
                      <a:pt x="742" y="337"/>
                    </a:lnTo>
                    <a:lnTo>
                      <a:pt x="742" y="337"/>
                    </a:lnTo>
                    <a:close/>
                    <a:moveTo>
                      <a:pt x="712" y="282"/>
                    </a:moveTo>
                    <a:lnTo>
                      <a:pt x="713" y="286"/>
                    </a:lnTo>
                    <a:lnTo>
                      <a:pt x="717" y="290"/>
                    </a:lnTo>
                    <a:lnTo>
                      <a:pt x="717" y="286"/>
                    </a:lnTo>
                    <a:lnTo>
                      <a:pt x="713" y="284"/>
                    </a:lnTo>
                    <a:lnTo>
                      <a:pt x="713" y="282"/>
                    </a:lnTo>
                    <a:lnTo>
                      <a:pt x="713" y="282"/>
                    </a:lnTo>
                    <a:lnTo>
                      <a:pt x="712" y="280"/>
                    </a:lnTo>
                    <a:lnTo>
                      <a:pt x="712" y="282"/>
                    </a:lnTo>
                    <a:lnTo>
                      <a:pt x="712" y="282"/>
                    </a:lnTo>
                    <a:lnTo>
                      <a:pt x="712" y="282"/>
                    </a:lnTo>
                    <a:lnTo>
                      <a:pt x="712" y="282"/>
                    </a:lnTo>
                    <a:close/>
                    <a:moveTo>
                      <a:pt x="706" y="256"/>
                    </a:moveTo>
                    <a:lnTo>
                      <a:pt x="706" y="254"/>
                    </a:lnTo>
                    <a:lnTo>
                      <a:pt x="704" y="254"/>
                    </a:lnTo>
                    <a:lnTo>
                      <a:pt x="706" y="256"/>
                    </a:lnTo>
                    <a:lnTo>
                      <a:pt x="706" y="256"/>
                    </a:lnTo>
                    <a:lnTo>
                      <a:pt x="706" y="256"/>
                    </a:lnTo>
                    <a:lnTo>
                      <a:pt x="706" y="256"/>
                    </a:lnTo>
                    <a:close/>
                    <a:moveTo>
                      <a:pt x="634" y="175"/>
                    </a:moveTo>
                    <a:lnTo>
                      <a:pt x="638" y="171"/>
                    </a:lnTo>
                    <a:lnTo>
                      <a:pt x="634" y="169"/>
                    </a:lnTo>
                    <a:lnTo>
                      <a:pt x="638" y="169"/>
                    </a:lnTo>
                    <a:lnTo>
                      <a:pt x="638" y="165"/>
                    </a:lnTo>
                    <a:lnTo>
                      <a:pt x="638" y="173"/>
                    </a:lnTo>
                    <a:lnTo>
                      <a:pt x="638" y="177"/>
                    </a:lnTo>
                    <a:lnTo>
                      <a:pt x="634" y="175"/>
                    </a:lnTo>
                    <a:lnTo>
                      <a:pt x="634" y="175"/>
                    </a:lnTo>
                    <a:lnTo>
                      <a:pt x="634" y="175"/>
                    </a:lnTo>
                    <a:lnTo>
                      <a:pt x="634" y="175"/>
                    </a:lnTo>
                    <a:close/>
                    <a:moveTo>
                      <a:pt x="576" y="0"/>
                    </a:moveTo>
                    <a:lnTo>
                      <a:pt x="576" y="3"/>
                    </a:lnTo>
                    <a:lnTo>
                      <a:pt x="576" y="0"/>
                    </a:lnTo>
                    <a:lnTo>
                      <a:pt x="576" y="0"/>
                    </a:lnTo>
                    <a:lnTo>
                      <a:pt x="576" y="0"/>
                    </a:lnTo>
                    <a:lnTo>
                      <a:pt x="576" y="0"/>
                    </a:lnTo>
                    <a:lnTo>
                      <a:pt x="576" y="0"/>
                    </a:lnTo>
                    <a:close/>
                    <a:moveTo>
                      <a:pt x="572" y="9"/>
                    </a:moveTo>
                    <a:lnTo>
                      <a:pt x="572" y="13"/>
                    </a:lnTo>
                    <a:lnTo>
                      <a:pt x="574" y="13"/>
                    </a:lnTo>
                    <a:lnTo>
                      <a:pt x="576" y="11"/>
                    </a:lnTo>
                    <a:lnTo>
                      <a:pt x="576" y="9"/>
                    </a:lnTo>
                    <a:lnTo>
                      <a:pt x="572" y="9"/>
                    </a:lnTo>
                    <a:lnTo>
                      <a:pt x="572" y="9"/>
                    </a:lnTo>
                    <a:lnTo>
                      <a:pt x="572" y="9"/>
                    </a:lnTo>
                    <a:lnTo>
                      <a:pt x="572" y="9"/>
                    </a:lnTo>
                    <a:close/>
                    <a:moveTo>
                      <a:pt x="514" y="141"/>
                    </a:moveTo>
                    <a:lnTo>
                      <a:pt x="514" y="145"/>
                    </a:lnTo>
                    <a:lnTo>
                      <a:pt x="516" y="141"/>
                    </a:lnTo>
                    <a:lnTo>
                      <a:pt x="516" y="141"/>
                    </a:lnTo>
                    <a:lnTo>
                      <a:pt x="514" y="141"/>
                    </a:lnTo>
                    <a:lnTo>
                      <a:pt x="514" y="141"/>
                    </a:lnTo>
                    <a:lnTo>
                      <a:pt x="514" y="141"/>
                    </a:lnTo>
                    <a:lnTo>
                      <a:pt x="514" y="141"/>
                    </a:lnTo>
                    <a:close/>
                    <a:moveTo>
                      <a:pt x="508" y="132"/>
                    </a:moveTo>
                    <a:lnTo>
                      <a:pt x="510" y="135"/>
                    </a:lnTo>
                    <a:lnTo>
                      <a:pt x="512" y="135"/>
                    </a:lnTo>
                    <a:lnTo>
                      <a:pt x="516" y="132"/>
                    </a:lnTo>
                    <a:lnTo>
                      <a:pt x="518" y="132"/>
                    </a:lnTo>
                    <a:lnTo>
                      <a:pt x="518" y="130"/>
                    </a:lnTo>
                    <a:lnTo>
                      <a:pt x="514" y="130"/>
                    </a:lnTo>
                    <a:lnTo>
                      <a:pt x="510" y="132"/>
                    </a:lnTo>
                    <a:lnTo>
                      <a:pt x="510" y="132"/>
                    </a:lnTo>
                    <a:lnTo>
                      <a:pt x="508" y="132"/>
                    </a:lnTo>
                    <a:lnTo>
                      <a:pt x="508" y="132"/>
                    </a:lnTo>
                    <a:lnTo>
                      <a:pt x="508" y="132"/>
                    </a:lnTo>
                    <a:lnTo>
                      <a:pt x="508" y="132"/>
                    </a:lnTo>
                    <a:close/>
                    <a:moveTo>
                      <a:pt x="473" y="115"/>
                    </a:moveTo>
                    <a:lnTo>
                      <a:pt x="469" y="113"/>
                    </a:lnTo>
                    <a:lnTo>
                      <a:pt x="473" y="111"/>
                    </a:lnTo>
                    <a:lnTo>
                      <a:pt x="473" y="113"/>
                    </a:lnTo>
                    <a:lnTo>
                      <a:pt x="473" y="115"/>
                    </a:lnTo>
                    <a:lnTo>
                      <a:pt x="473" y="115"/>
                    </a:lnTo>
                    <a:lnTo>
                      <a:pt x="473" y="115"/>
                    </a:lnTo>
                    <a:lnTo>
                      <a:pt x="473" y="115"/>
                    </a:lnTo>
                    <a:close/>
                    <a:moveTo>
                      <a:pt x="459" y="77"/>
                    </a:moveTo>
                    <a:lnTo>
                      <a:pt x="459" y="75"/>
                    </a:lnTo>
                    <a:lnTo>
                      <a:pt x="457" y="75"/>
                    </a:lnTo>
                    <a:lnTo>
                      <a:pt x="457" y="73"/>
                    </a:lnTo>
                    <a:lnTo>
                      <a:pt x="459" y="71"/>
                    </a:lnTo>
                    <a:lnTo>
                      <a:pt x="461" y="75"/>
                    </a:lnTo>
                    <a:lnTo>
                      <a:pt x="459" y="77"/>
                    </a:lnTo>
                    <a:lnTo>
                      <a:pt x="459" y="77"/>
                    </a:lnTo>
                    <a:lnTo>
                      <a:pt x="459" y="77"/>
                    </a:lnTo>
                    <a:lnTo>
                      <a:pt x="459" y="77"/>
                    </a:lnTo>
                    <a:close/>
                    <a:moveTo>
                      <a:pt x="463" y="81"/>
                    </a:moveTo>
                    <a:lnTo>
                      <a:pt x="463" y="83"/>
                    </a:lnTo>
                    <a:lnTo>
                      <a:pt x="463" y="83"/>
                    </a:lnTo>
                    <a:lnTo>
                      <a:pt x="467" y="83"/>
                    </a:lnTo>
                    <a:lnTo>
                      <a:pt x="473" y="83"/>
                    </a:lnTo>
                    <a:lnTo>
                      <a:pt x="473" y="81"/>
                    </a:lnTo>
                    <a:lnTo>
                      <a:pt x="473" y="79"/>
                    </a:lnTo>
                    <a:lnTo>
                      <a:pt x="469" y="79"/>
                    </a:lnTo>
                    <a:lnTo>
                      <a:pt x="467" y="79"/>
                    </a:lnTo>
                    <a:lnTo>
                      <a:pt x="473" y="75"/>
                    </a:lnTo>
                    <a:lnTo>
                      <a:pt x="473" y="75"/>
                    </a:lnTo>
                    <a:lnTo>
                      <a:pt x="467" y="75"/>
                    </a:lnTo>
                    <a:lnTo>
                      <a:pt x="467" y="73"/>
                    </a:lnTo>
                    <a:lnTo>
                      <a:pt x="467" y="73"/>
                    </a:lnTo>
                    <a:lnTo>
                      <a:pt x="463" y="75"/>
                    </a:lnTo>
                    <a:lnTo>
                      <a:pt x="463" y="75"/>
                    </a:lnTo>
                    <a:lnTo>
                      <a:pt x="463" y="77"/>
                    </a:lnTo>
                    <a:lnTo>
                      <a:pt x="463" y="77"/>
                    </a:lnTo>
                    <a:lnTo>
                      <a:pt x="463" y="81"/>
                    </a:lnTo>
                    <a:lnTo>
                      <a:pt x="463" y="81"/>
                    </a:lnTo>
                    <a:lnTo>
                      <a:pt x="463" y="81"/>
                    </a:lnTo>
                    <a:lnTo>
                      <a:pt x="463" y="81"/>
                    </a:lnTo>
                    <a:close/>
                    <a:moveTo>
                      <a:pt x="467" y="24"/>
                    </a:moveTo>
                    <a:lnTo>
                      <a:pt x="467" y="26"/>
                    </a:lnTo>
                    <a:lnTo>
                      <a:pt x="469" y="22"/>
                    </a:lnTo>
                    <a:lnTo>
                      <a:pt x="473" y="20"/>
                    </a:lnTo>
                    <a:lnTo>
                      <a:pt x="473" y="18"/>
                    </a:lnTo>
                    <a:lnTo>
                      <a:pt x="467" y="22"/>
                    </a:lnTo>
                    <a:lnTo>
                      <a:pt x="467" y="24"/>
                    </a:lnTo>
                    <a:lnTo>
                      <a:pt x="467" y="24"/>
                    </a:lnTo>
                    <a:lnTo>
                      <a:pt x="467" y="24"/>
                    </a:lnTo>
                    <a:lnTo>
                      <a:pt x="467" y="24"/>
                    </a:lnTo>
                    <a:close/>
                    <a:moveTo>
                      <a:pt x="463" y="28"/>
                    </a:moveTo>
                    <a:lnTo>
                      <a:pt x="463" y="28"/>
                    </a:lnTo>
                    <a:lnTo>
                      <a:pt x="463" y="26"/>
                    </a:lnTo>
                    <a:lnTo>
                      <a:pt x="463" y="28"/>
                    </a:lnTo>
                    <a:lnTo>
                      <a:pt x="463" y="28"/>
                    </a:lnTo>
                    <a:lnTo>
                      <a:pt x="463" y="28"/>
                    </a:lnTo>
                    <a:lnTo>
                      <a:pt x="463" y="28"/>
                    </a:lnTo>
                    <a:close/>
                    <a:moveTo>
                      <a:pt x="459" y="28"/>
                    </a:moveTo>
                    <a:lnTo>
                      <a:pt x="461" y="32"/>
                    </a:lnTo>
                    <a:lnTo>
                      <a:pt x="461" y="28"/>
                    </a:lnTo>
                    <a:lnTo>
                      <a:pt x="459" y="28"/>
                    </a:lnTo>
                    <a:lnTo>
                      <a:pt x="459" y="28"/>
                    </a:lnTo>
                    <a:lnTo>
                      <a:pt x="459" y="28"/>
                    </a:lnTo>
                    <a:lnTo>
                      <a:pt x="459" y="28"/>
                    </a:lnTo>
                    <a:close/>
                    <a:moveTo>
                      <a:pt x="452" y="32"/>
                    </a:moveTo>
                    <a:lnTo>
                      <a:pt x="456" y="32"/>
                    </a:lnTo>
                    <a:lnTo>
                      <a:pt x="456" y="32"/>
                    </a:lnTo>
                    <a:lnTo>
                      <a:pt x="452" y="32"/>
                    </a:lnTo>
                    <a:lnTo>
                      <a:pt x="452" y="32"/>
                    </a:lnTo>
                    <a:lnTo>
                      <a:pt x="452" y="32"/>
                    </a:lnTo>
                    <a:lnTo>
                      <a:pt x="452" y="32"/>
                    </a:lnTo>
                    <a:close/>
                    <a:moveTo>
                      <a:pt x="448" y="37"/>
                    </a:moveTo>
                    <a:lnTo>
                      <a:pt x="448" y="37"/>
                    </a:lnTo>
                    <a:lnTo>
                      <a:pt x="452" y="32"/>
                    </a:lnTo>
                    <a:lnTo>
                      <a:pt x="454" y="32"/>
                    </a:lnTo>
                    <a:lnTo>
                      <a:pt x="454" y="34"/>
                    </a:lnTo>
                    <a:lnTo>
                      <a:pt x="450" y="37"/>
                    </a:lnTo>
                    <a:lnTo>
                      <a:pt x="448" y="37"/>
                    </a:lnTo>
                    <a:lnTo>
                      <a:pt x="448" y="37"/>
                    </a:lnTo>
                    <a:lnTo>
                      <a:pt x="448" y="37"/>
                    </a:lnTo>
                    <a:lnTo>
                      <a:pt x="448" y="37"/>
                    </a:lnTo>
                    <a:close/>
                    <a:moveTo>
                      <a:pt x="442" y="39"/>
                    </a:moveTo>
                    <a:lnTo>
                      <a:pt x="442" y="39"/>
                    </a:lnTo>
                    <a:lnTo>
                      <a:pt x="446" y="37"/>
                    </a:lnTo>
                    <a:lnTo>
                      <a:pt x="446" y="37"/>
                    </a:lnTo>
                    <a:lnTo>
                      <a:pt x="442" y="39"/>
                    </a:lnTo>
                    <a:lnTo>
                      <a:pt x="442" y="39"/>
                    </a:lnTo>
                    <a:lnTo>
                      <a:pt x="442" y="39"/>
                    </a:lnTo>
                    <a:lnTo>
                      <a:pt x="442" y="39"/>
                    </a:lnTo>
                    <a:close/>
                    <a:moveTo>
                      <a:pt x="395" y="24"/>
                    </a:moveTo>
                    <a:lnTo>
                      <a:pt x="393" y="20"/>
                    </a:lnTo>
                    <a:lnTo>
                      <a:pt x="393" y="18"/>
                    </a:lnTo>
                    <a:lnTo>
                      <a:pt x="397" y="17"/>
                    </a:lnTo>
                    <a:lnTo>
                      <a:pt x="395" y="20"/>
                    </a:lnTo>
                    <a:lnTo>
                      <a:pt x="395" y="24"/>
                    </a:lnTo>
                    <a:lnTo>
                      <a:pt x="395" y="24"/>
                    </a:lnTo>
                    <a:lnTo>
                      <a:pt x="395" y="24"/>
                    </a:lnTo>
                    <a:lnTo>
                      <a:pt x="395" y="24"/>
                    </a:lnTo>
                    <a:close/>
                    <a:moveTo>
                      <a:pt x="354" y="22"/>
                    </a:moveTo>
                    <a:lnTo>
                      <a:pt x="354" y="26"/>
                    </a:lnTo>
                    <a:lnTo>
                      <a:pt x="360" y="28"/>
                    </a:lnTo>
                    <a:lnTo>
                      <a:pt x="360" y="32"/>
                    </a:lnTo>
                    <a:lnTo>
                      <a:pt x="365" y="37"/>
                    </a:lnTo>
                    <a:lnTo>
                      <a:pt x="373" y="28"/>
                    </a:lnTo>
                    <a:lnTo>
                      <a:pt x="373" y="28"/>
                    </a:lnTo>
                    <a:lnTo>
                      <a:pt x="375" y="28"/>
                    </a:lnTo>
                    <a:lnTo>
                      <a:pt x="377" y="26"/>
                    </a:lnTo>
                    <a:lnTo>
                      <a:pt x="375" y="24"/>
                    </a:lnTo>
                    <a:lnTo>
                      <a:pt x="373" y="22"/>
                    </a:lnTo>
                    <a:lnTo>
                      <a:pt x="371" y="22"/>
                    </a:lnTo>
                    <a:lnTo>
                      <a:pt x="369" y="24"/>
                    </a:lnTo>
                    <a:lnTo>
                      <a:pt x="363" y="24"/>
                    </a:lnTo>
                    <a:lnTo>
                      <a:pt x="363" y="26"/>
                    </a:lnTo>
                    <a:lnTo>
                      <a:pt x="360" y="26"/>
                    </a:lnTo>
                    <a:lnTo>
                      <a:pt x="360" y="24"/>
                    </a:lnTo>
                    <a:lnTo>
                      <a:pt x="358" y="24"/>
                    </a:lnTo>
                    <a:lnTo>
                      <a:pt x="354" y="20"/>
                    </a:lnTo>
                    <a:lnTo>
                      <a:pt x="354" y="20"/>
                    </a:lnTo>
                    <a:lnTo>
                      <a:pt x="354" y="22"/>
                    </a:lnTo>
                    <a:lnTo>
                      <a:pt x="354" y="22"/>
                    </a:lnTo>
                    <a:lnTo>
                      <a:pt x="354" y="22"/>
                    </a:lnTo>
                    <a:lnTo>
                      <a:pt x="354" y="22"/>
                    </a:lnTo>
                    <a:close/>
                    <a:moveTo>
                      <a:pt x="354" y="24"/>
                    </a:moveTo>
                    <a:lnTo>
                      <a:pt x="354" y="28"/>
                    </a:lnTo>
                    <a:lnTo>
                      <a:pt x="360" y="32"/>
                    </a:lnTo>
                    <a:lnTo>
                      <a:pt x="360" y="32"/>
                    </a:lnTo>
                    <a:lnTo>
                      <a:pt x="354" y="32"/>
                    </a:lnTo>
                    <a:lnTo>
                      <a:pt x="354" y="32"/>
                    </a:lnTo>
                    <a:lnTo>
                      <a:pt x="348" y="28"/>
                    </a:lnTo>
                    <a:lnTo>
                      <a:pt x="348" y="28"/>
                    </a:lnTo>
                    <a:lnTo>
                      <a:pt x="350" y="28"/>
                    </a:lnTo>
                    <a:lnTo>
                      <a:pt x="350" y="28"/>
                    </a:lnTo>
                    <a:lnTo>
                      <a:pt x="350" y="28"/>
                    </a:lnTo>
                    <a:lnTo>
                      <a:pt x="350" y="28"/>
                    </a:lnTo>
                    <a:lnTo>
                      <a:pt x="350" y="26"/>
                    </a:lnTo>
                    <a:lnTo>
                      <a:pt x="350" y="24"/>
                    </a:lnTo>
                    <a:lnTo>
                      <a:pt x="354" y="24"/>
                    </a:lnTo>
                    <a:lnTo>
                      <a:pt x="354" y="24"/>
                    </a:lnTo>
                    <a:lnTo>
                      <a:pt x="354" y="24"/>
                    </a:lnTo>
                    <a:lnTo>
                      <a:pt x="354" y="24"/>
                    </a:lnTo>
                    <a:close/>
                    <a:moveTo>
                      <a:pt x="235" y="103"/>
                    </a:moveTo>
                    <a:lnTo>
                      <a:pt x="237" y="105"/>
                    </a:lnTo>
                    <a:lnTo>
                      <a:pt x="241" y="103"/>
                    </a:lnTo>
                    <a:lnTo>
                      <a:pt x="237" y="99"/>
                    </a:lnTo>
                    <a:lnTo>
                      <a:pt x="237" y="99"/>
                    </a:lnTo>
                    <a:lnTo>
                      <a:pt x="235" y="103"/>
                    </a:lnTo>
                    <a:lnTo>
                      <a:pt x="235" y="103"/>
                    </a:lnTo>
                    <a:lnTo>
                      <a:pt x="235" y="103"/>
                    </a:lnTo>
                    <a:lnTo>
                      <a:pt x="235" y="103"/>
                    </a:lnTo>
                    <a:close/>
                    <a:moveTo>
                      <a:pt x="237" y="115"/>
                    </a:moveTo>
                    <a:lnTo>
                      <a:pt x="235" y="111"/>
                    </a:lnTo>
                    <a:lnTo>
                      <a:pt x="233" y="107"/>
                    </a:lnTo>
                    <a:lnTo>
                      <a:pt x="233" y="113"/>
                    </a:lnTo>
                    <a:lnTo>
                      <a:pt x="237" y="115"/>
                    </a:lnTo>
                    <a:lnTo>
                      <a:pt x="237" y="115"/>
                    </a:lnTo>
                    <a:lnTo>
                      <a:pt x="237" y="115"/>
                    </a:lnTo>
                    <a:lnTo>
                      <a:pt x="237" y="115"/>
                    </a:lnTo>
                    <a:close/>
                    <a:moveTo>
                      <a:pt x="250" y="86"/>
                    </a:moveTo>
                    <a:lnTo>
                      <a:pt x="250" y="86"/>
                    </a:lnTo>
                    <a:lnTo>
                      <a:pt x="250" y="86"/>
                    </a:lnTo>
                    <a:lnTo>
                      <a:pt x="252" y="86"/>
                    </a:lnTo>
                    <a:lnTo>
                      <a:pt x="250" y="86"/>
                    </a:lnTo>
                    <a:lnTo>
                      <a:pt x="250" y="86"/>
                    </a:lnTo>
                    <a:lnTo>
                      <a:pt x="250" y="86"/>
                    </a:lnTo>
                    <a:lnTo>
                      <a:pt x="250" y="86"/>
                    </a:lnTo>
                    <a:close/>
                    <a:moveTo>
                      <a:pt x="55" y="214"/>
                    </a:moveTo>
                    <a:lnTo>
                      <a:pt x="55" y="213"/>
                    </a:lnTo>
                    <a:lnTo>
                      <a:pt x="58" y="209"/>
                    </a:lnTo>
                    <a:lnTo>
                      <a:pt x="58" y="213"/>
                    </a:lnTo>
                    <a:lnTo>
                      <a:pt x="55" y="214"/>
                    </a:lnTo>
                    <a:lnTo>
                      <a:pt x="55" y="214"/>
                    </a:lnTo>
                    <a:lnTo>
                      <a:pt x="55" y="214"/>
                    </a:lnTo>
                    <a:lnTo>
                      <a:pt x="55" y="214"/>
                    </a:lnTo>
                    <a:close/>
                    <a:moveTo>
                      <a:pt x="0" y="310"/>
                    </a:moveTo>
                    <a:lnTo>
                      <a:pt x="2" y="301"/>
                    </a:lnTo>
                    <a:lnTo>
                      <a:pt x="2" y="307"/>
                    </a:lnTo>
                    <a:lnTo>
                      <a:pt x="2" y="307"/>
                    </a:lnTo>
                    <a:lnTo>
                      <a:pt x="0" y="310"/>
                    </a:lnTo>
                    <a:lnTo>
                      <a:pt x="0" y="310"/>
                    </a:lnTo>
                    <a:lnTo>
                      <a:pt x="0" y="310"/>
                    </a:lnTo>
                    <a:lnTo>
                      <a:pt x="0" y="310"/>
                    </a:lnTo>
                    <a:close/>
                    <a:moveTo>
                      <a:pt x="0" y="324"/>
                    </a:moveTo>
                    <a:lnTo>
                      <a:pt x="0" y="318"/>
                    </a:lnTo>
                    <a:lnTo>
                      <a:pt x="0" y="312"/>
                    </a:lnTo>
                    <a:lnTo>
                      <a:pt x="2" y="318"/>
                    </a:lnTo>
                    <a:lnTo>
                      <a:pt x="0" y="324"/>
                    </a:lnTo>
                    <a:lnTo>
                      <a:pt x="0" y="324"/>
                    </a:lnTo>
                    <a:lnTo>
                      <a:pt x="0" y="324"/>
                    </a:lnTo>
                    <a:lnTo>
                      <a:pt x="0" y="324"/>
                    </a:lnTo>
                    <a:close/>
                    <a:moveTo>
                      <a:pt x="409" y="563"/>
                    </a:moveTo>
                    <a:lnTo>
                      <a:pt x="409" y="567"/>
                    </a:lnTo>
                    <a:lnTo>
                      <a:pt x="409" y="567"/>
                    </a:lnTo>
                    <a:lnTo>
                      <a:pt x="412" y="567"/>
                    </a:lnTo>
                    <a:lnTo>
                      <a:pt x="412" y="569"/>
                    </a:lnTo>
                    <a:lnTo>
                      <a:pt x="414" y="569"/>
                    </a:lnTo>
                    <a:lnTo>
                      <a:pt x="418" y="569"/>
                    </a:lnTo>
                    <a:lnTo>
                      <a:pt x="418" y="569"/>
                    </a:lnTo>
                    <a:lnTo>
                      <a:pt x="418" y="572"/>
                    </a:lnTo>
                    <a:lnTo>
                      <a:pt x="409" y="570"/>
                    </a:lnTo>
                    <a:lnTo>
                      <a:pt x="409" y="572"/>
                    </a:lnTo>
                    <a:lnTo>
                      <a:pt x="407" y="572"/>
                    </a:lnTo>
                    <a:lnTo>
                      <a:pt x="407" y="574"/>
                    </a:lnTo>
                    <a:lnTo>
                      <a:pt x="405" y="574"/>
                    </a:lnTo>
                    <a:lnTo>
                      <a:pt x="403" y="572"/>
                    </a:lnTo>
                    <a:lnTo>
                      <a:pt x="401" y="572"/>
                    </a:lnTo>
                    <a:lnTo>
                      <a:pt x="397" y="572"/>
                    </a:lnTo>
                    <a:lnTo>
                      <a:pt x="395" y="572"/>
                    </a:lnTo>
                    <a:lnTo>
                      <a:pt x="392" y="572"/>
                    </a:lnTo>
                    <a:lnTo>
                      <a:pt x="388" y="570"/>
                    </a:lnTo>
                    <a:lnTo>
                      <a:pt x="388" y="569"/>
                    </a:lnTo>
                    <a:lnTo>
                      <a:pt x="393" y="567"/>
                    </a:lnTo>
                    <a:lnTo>
                      <a:pt x="405" y="563"/>
                    </a:lnTo>
                    <a:lnTo>
                      <a:pt x="407" y="563"/>
                    </a:lnTo>
                    <a:lnTo>
                      <a:pt x="409" y="563"/>
                    </a:lnTo>
                    <a:lnTo>
                      <a:pt x="409" y="563"/>
                    </a:lnTo>
                    <a:lnTo>
                      <a:pt x="409" y="563"/>
                    </a:lnTo>
                    <a:lnTo>
                      <a:pt x="409" y="563"/>
                    </a:lnTo>
                    <a:close/>
                    <a:moveTo>
                      <a:pt x="531" y="650"/>
                    </a:moveTo>
                    <a:lnTo>
                      <a:pt x="531" y="650"/>
                    </a:lnTo>
                    <a:lnTo>
                      <a:pt x="533" y="651"/>
                    </a:lnTo>
                    <a:lnTo>
                      <a:pt x="533" y="651"/>
                    </a:lnTo>
                    <a:lnTo>
                      <a:pt x="531" y="650"/>
                    </a:lnTo>
                    <a:lnTo>
                      <a:pt x="531" y="650"/>
                    </a:lnTo>
                    <a:lnTo>
                      <a:pt x="531" y="650"/>
                    </a:lnTo>
                    <a:lnTo>
                      <a:pt x="531" y="650"/>
                    </a:lnTo>
                    <a:close/>
                    <a:moveTo>
                      <a:pt x="550" y="661"/>
                    </a:moveTo>
                    <a:lnTo>
                      <a:pt x="552" y="665"/>
                    </a:lnTo>
                    <a:lnTo>
                      <a:pt x="552" y="661"/>
                    </a:lnTo>
                    <a:lnTo>
                      <a:pt x="550" y="661"/>
                    </a:lnTo>
                    <a:lnTo>
                      <a:pt x="550" y="661"/>
                    </a:lnTo>
                    <a:lnTo>
                      <a:pt x="550" y="661"/>
                    </a:lnTo>
                    <a:lnTo>
                      <a:pt x="550" y="661"/>
                    </a:lnTo>
                    <a:close/>
                    <a:moveTo>
                      <a:pt x="505" y="712"/>
                    </a:moveTo>
                    <a:lnTo>
                      <a:pt x="505" y="715"/>
                    </a:lnTo>
                    <a:lnTo>
                      <a:pt x="508" y="715"/>
                    </a:lnTo>
                    <a:lnTo>
                      <a:pt x="510" y="714"/>
                    </a:lnTo>
                    <a:lnTo>
                      <a:pt x="506" y="712"/>
                    </a:lnTo>
                    <a:lnTo>
                      <a:pt x="505" y="712"/>
                    </a:lnTo>
                    <a:lnTo>
                      <a:pt x="505" y="712"/>
                    </a:lnTo>
                    <a:lnTo>
                      <a:pt x="505" y="712"/>
                    </a:lnTo>
                    <a:lnTo>
                      <a:pt x="505" y="712"/>
                    </a:lnTo>
                    <a:close/>
                    <a:moveTo>
                      <a:pt x="506" y="704"/>
                    </a:moveTo>
                    <a:lnTo>
                      <a:pt x="506" y="708"/>
                    </a:lnTo>
                    <a:lnTo>
                      <a:pt x="508" y="708"/>
                    </a:lnTo>
                    <a:lnTo>
                      <a:pt x="508" y="704"/>
                    </a:lnTo>
                    <a:lnTo>
                      <a:pt x="506" y="704"/>
                    </a:lnTo>
                    <a:lnTo>
                      <a:pt x="506" y="704"/>
                    </a:lnTo>
                    <a:lnTo>
                      <a:pt x="506" y="704"/>
                    </a:lnTo>
                    <a:lnTo>
                      <a:pt x="506" y="704"/>
                    </a:lnTo>
                    <a:close/>
                    <a:moveTo>
                      <a:pt x="503" y="710"/>
                    </a:moveTo>
                    <a:lnTo>
                      <a:pt x="501" y="708"/>
                    </a:lnTo>
                    <a:lnTo>
                      <a:pt x="501" y="704"/>
                    </a:lnTo>
                    <a:lnTo>
                      <a:pt x="505" y="702"/>
                    </a:lnTo>
                    <a:lnTo>
                      <a:pt x="505" y="706"/>
                    </a:lnTo>
                    <a:lnTo>
                      <a:pt x="503" y="710"/>
                    </a:lnTo>
                    <a:lnTo>
                      <a:pt x="503" y="710"/>
                    </a:lnTo>
                    <a:lnTo>
                      <a:pt x="503" y="710"/>
                    </a:lnTo>
                    <a:lnTo>
                      <a:pt x="503" y="710"/>
                    </a:lnTo>
                    <a:close/>
                    <a:moveTo>
                      <a:pt x="491" y="695"/>
                    </a:moveTo>
                    <a:lnTo>
                      <a:pt x="493" y="695"/>
                    </a:lnTo>
                    <a:lnTo>
                      <a:pt x="491" y="691"/>
                    </a:lnTo>
                    <a:lnTo>
                      <a:pt x="493" y="687"/>
                    </a:lnTo>
                    <a:lnTo>
                      <a:pt x="493" y="683"/>
                    </a:lnTo>
                    <a:lnTo>
                      <a:pt x="497" y="682"/>
                    </a:lnTo>
                    <a:lnTo>
                      <a:pt x="497" y="680"/>
                    </a:lnTo>
                    <a:lnTo>
                      <a:pt x="501" y="682"/>
                    </a:lnTo>
                    <a:lnTo>
                      <a:pt x="501" y="687"/>
                    </a:lnTo>
                    <a:lnTo>
                      <a:pt x="501" y="689"/>
                    </a:lnTo>
                    <a:lnTo>
                      <a:pt x="497" y="691"/>
                    </a:lnTo>
                    <a:lnTo>
                      <a:pt x="497" y="695"/>
                    </a:lnTo>
                    <a:lnTo>
                      <a:pt x="493" y="698"/>
                    </a:lnTo>
                    <a:lnTo>
                      <a:pt x="491" y="695"/>
                    </a:lnTo>
                    <a:lnTo>
                      <a:pt x="491" y="695"/>
                    </a:lnTo>
                    <a:lnTo>
                      <a:pt x="491" y="695"/>
                    </a:lnTo>
                    <a:lnTo>
                      <a:pt x="491" y="695"/>
                    </a:lnTo>
                    <a:close/>
                    <a:moveTo>
                      <a:pt x="565" y="704"/>
                    </a:moveTo>
                    <a:lnTo>
                      <a:pt x="572" y="702"/>
                    </a:lnTo>
                    <a:lnTo>
                      <a:pt x="572" y="698"/>
                    </a:lnTo>
                    <a:lnTo>
                      <a:pt x="565" y="691"/>
                    </a:lnTo>
                    <a:lnTo>
                      <a:pt x="563" y="695"/>
                    </a:lnTo>
                    <a:lnTo>
                      <a:pt x="563" y="698"/>
                    </a:lnTo>
                    <a:lnTo>
                      <a:pt x="563" y="700"/>
                    </a:lnTo>
                    <a:lnTo>
                      <a:pt x="563" y="702"/>
                    </a:lnTo>
                    <a:lnTo>
                      <a:pt x="565" y="704"/>
                    </a:lnTo>
                    <a:lnTo>
                      <a:pt x="565" y="704"/>
                    </a:lnTo>
                    <a:lnTo>
                      <a:pt x="565" y="704"/>
                    </a:lnTo>
                    <a:lnTo>
                      <a:pt x="565" y="704"/>
                    </a:lnTo>
                    <a:close/>
                    <a:moveTo>
                      <a:pt x="561" y="710"/>
                    </a:moveTo>
                    <a:lnTo>
                      <a:pt x="563" y="712"/>
                    </a:lnTo>
                    <a:lnTo>
                      <a:pt x="569" y="712"/>
                    </a:lnTo>
                    <a:lnTo>
                      <a:pt x="570" y="714"/>
                    </a:lnTo>
                    <a:lnTo>
                      <a:pt x="572" y="712"/>
                    </a:lnTo>
                    <a:lnTo>
                      <a:pt x="569" y="708"/>
                    </a:lnTo>
                    <a:lnTo>
                      <a:pt x="563" y="708"/>
                    </a:lnTo>
                    <a:lnTo>
                      <a:pt x="561" y="710"/>
                    </a:lnTo>
                    <a:lnTo>
                      <a:pt x="561" y="710"/>
                    </a:lnTo>
                    <a:lnTo>
                      <a:pt x="561" y="710"/>
                    </a:lnTo>
                    <a:lnTo>
                      <a:pt x="561" y="710"/>
                    </a:lnTo>
                    <a:close/>
                    <a:moveTo>
                      <a:pt x="565" y="719"/>
                    </a:moveTo>
                    <a:lnTo>
                      <a:pt x="563" y="715"/>
                    </a:lnTo>
                    <a:lnTo>
                      <a:pt x="567" y="715"/>
                    </a:lnTo>
                    <a:lnTo>
                      <a:pt x="565" y="719"/>
                    </a:lnTo>
                    <a:lnTo>
                      <a:pt x="565" y="719"/>
                    </a:lnTo>
                    <a:lnTo>
                      <a:pt x="565" y="719"/>
                    </a:lnTo>
                    <a:lnTo>
                      <a:pt x="565" y="719"/>
                    </a:lnTo>
                    <a:close/>
                    <a:moveTo>
                      <a:pt x="546" y="778"/>
                    </a:moveTo>
                    <a:lnTo>
                      <a:pt x="546" y="774"/>
                    </a:lnTo>
                    <a:lnTo>
                      <a:pt x="546" y="778"/>
                    </a:lnTo>
                    <a:lnTo>
                      <a:pt x="546" y="778"/>
                    </a:lnTo>
                    <a:lnTo>
                      <a:pt x="546" y="778"/>
                    </a:lnTo>
                    <a:lnTo>
                      <a:pt x="546" y="778"/>
                    </a:lnTo>
                    <a:lnTo>
                      <a:pt x="546" y="778"/>
                    </a:lnTo>
                    <a:close/>
                    <a:moveTo>
                      <a:pt x="525" y="798"/>
                    </a:moveTo>
                    <a:lnTo>
                      <a:pt x="521" y="798"/>
                    </a:lnTo>
                    <a:lnTo>
                      <a:pt x="525" y="795"/>
                    </a:lnTo>
                    <a:lnTo>
                      <a:pt x="525" y="791"/>
                    </a:lnTo>
                    <a:lnTo>
                      <a:pt x="525" y="789"/>
                    </a:lnTo>
                    <a:lnTo>
                      <a:pt x="525" y="791"/>
                    </a:lnTo>
                    <a:lnTo>
                      <a:pt x="525" y="795"/>
                    </a:lnTo>
                    <a:lnTo>
                      <a:pt x="525" y="798"/>
                    </a:lnTo>
                    <a:lnTo>
                      <a:pt x="525" y="798"/>
                    </a:lnTo>
                    <a:lnTo>
                      <a:pt x="525" y="798"/>
                    </a:lnTo>
                    <a:lnTo>
                      <a:pt x="525" y="798"/>
                    </a:lnTo>
                    <a:close/>
                    <a:moveTo>
                      <a:pt x="501" y="798"/>
                    </a:moveTo>
                    <a:lnTo>
                      <a:pt x="501" y="793"/>
                    </a:lnTo>
                    <a:lnTo>
                      <a:pt x="501" y="791"/>
                    </a:lnTo>
                    <a:lnTo>
                      <a:pt x="497" y="789"/>
                    </a:lnTo>
                    <a:lnTo>
                      <a:pt x="497" y="785"/>
                    </a:lnTo>
                    <a:lnTo>
                      <a:pt x="497" y="783"/>
                    </a:lnTo>
                    <a:lnTo>
                      <a:pt x="497" y="781"/>
                    </a:lnTo>
                    <a:lnTo>
                      <a:pt x="497" y="772"/>
                    </a:lnTo>
                    <a:lnTo>
                      <a:pt x="497" y="768"/>
                    </a:lnTo>
                    <a:lnTo>
                      <a:pt x="493" y="768"/>
                    </a:lnTo>
                    <a:lnTo>
                      <a:pt x="493" y="761"/>
                    </a:lnTo>
                    <a:lnTo>
                      <a:pt x="497" y="757"/>
                    </a:lnTo>
                    <a:lnTo>
                      <a:pt x="501" y="761"/>
                    </a:lnTo>
                    <a:lnTo>
                      <a:pt x="503" y="761"/>
                    </a:lnTo>
                    <a:lnTo>
                      <a:pt x="501" y="757"/>
                    </a:lnTo>
                    <a:lnTo>
                      <a:pt x="501" y="755"/>
                    </a:lnTo>
                    <a:lnTo>
                      <a:pt x="497" y="753"/>
                    </a:lnTo>
                    <a:lnTo>
                      <a:pt x="497" y="747"/>
                    </a:lnTo>
                    <a:lnTo>
                      <a:pt x="497" y="744"/>
                    </a:lnTo>
                    <a:lnTo>
                      <a:pt x="497" y="734"/>
                    </a:lnTo>
                    <a:lnTo>
                      <a:pt x="497" y="729"/>
                    </a:lnTo>
                    <a:lnTo>
                      <a:pt x="497" y="723"/>
                    </a:lnTo>
                    <a:lnTo>
                      <a:pt x="497" y="719"/>
                    </a:lnTo>
                    <a:lnTo>
                      <a:pt x="497" y="719"/>
                    </a:lnTo>
                    <a:lnTo>
                      <a:pt x="497" y="714"/>
                    </a:lnTo>
                    <a:lnTo>
                      <a:pt x="501" y="712"/>
                    </a:lnTo>
                    <a:lnTo>
                      <a:pt x="503" y="715"/>
                    </a:lnTo>
                    <a:lnTo>
                      <a:pt x="506" y="715"/>
                    </a:lnTo>
                    <a:lnTo>
                      <a:pt x="510" y="719"/>
                    </a:lnTo>
                    <a:lnTo>
                      <a:pt x="510" y="715"/>
                    </a:lnTo>
                    <a:lnTo>
                      <a:pt x="512" y="715"/>
                    </a:lnTo>
                    <a:lnTo>
                      <a:pt x="512" y="719"/>
                    </a:lnTo>
                    <a:lnTo>
                      <a:pt x="518" y="723"/>
                    </a:lnTo>
                    <a:lnTo>
                      <a:pt x="521" y="729"/>
                    </a:lnTo>
                    <a:lnTo>
                      <a:pt x="525" y="731"/>
                    </a:lnTo>
                    <a:lnTo>
                      <a:pt x="531" y="729"/>
                    </a:lnTo>
                    <a:lnTo>
                      <a:pt x="533" y="729"/>
                    </a:lnTo>
                    <a:lnTo>
                      <a:pt x="535" y="731"/>
                    </a:lnTo>
                    <a:lnTo>
                      <a:pt x="535" y="729"/>
                    </a:lnTo>
                    <a:lnTo>
                      <a:pt x="538" y="729"/>
                    </a:lnTo>
                    <a:lnTo>
                      <a:pt x="550" y="729"/>
                    </a:lnTo>
                    <a:lnTo>
                      <a:pt x="552" y="725"/>
                    </a:lnTo>
                    <a:lnTo>
                      <a:pt x="552" y="723"/>
                    </a:lnTo>
                    <a:lnTo>
                      <a:pt x="555" y="723"/>
                    </a:lnTo>
                    <a:lnTo>
                      <a:pt x="555" y="725"/>
                    </a:lnTo>
                    <a:lnTo>
                      <a:pt x="557" y="723"/>
                    </a:lnTo>
                    <a:lnTo>
                      <a:pt x="559" y="723"/>
                    </a:lnTo>
                    <a:lnTo>
                      <a:pt x="565" y="725"/>
                    </a:lnTo>
                    <a:lnTo>
                      <a:pt x="563" y="729"/>
                    </a:lnTo>
                    <a:lnTo>
                      <a:pt x="561" y="738"/>
                    </a:lnTo>
                    <a:lnTo>
                      <a:pt x="557" y="740"/>
                    </a:lnTo>
                    <a:lnTo>
                      <a:pt x="557" y="747"/>
                    </a:lnTo>
                    <a:lnTo>
                      <a:pt x="555" y="753"/>
                    </a:lnTo>
                    <a:lnTo>
                      <a:pt x="555" y="757"/>
                    </a:lnTo>
                    <a:lnTo>
                      <a:pt x="555" y="759"/>
                    </a:lnTo>
                    <a:lnTo>
                      <a:pt x="555" y="761"/>
                    </a:lnTo>
                    <a:lnTo>
                      <a:pt x="555" y="764"/>
                    </a:lnTo>
                    <a:lnTo>
                      <a:pt x="552" y="763"/>
                    </a:lnTo>
                    <a:lnTo>
                      <a:pt x="552" y="757"/>
                    </a:lnTo>
                    <a:lnTo>
                      <a:pt x="550" y="761"/>
                    </a:lnTo>
                    <a:lnTo>
                      <a:pt x="546" y="763"/>
                    </a:lnTo>
                    <a:lnTo>
                      <a:pt x="546" y="772"/>
                    </a:lnTo>
                    <a:lnTo>
                      <a:pt x="546" y="774"/>
                    </a:lnTo>
                    <a:lnTo>
                      <a:pt x="542" y="774"/>
                    </a:lnTo>
                    <a:lnTo>
                      <a:pt x="542" y="778"/>
                    </a:lnTo>
                    <a:lnTo>
                      <a:pt x="540" y="779"/>
                    </a:lnTo>
                    <a:lnTo>
                      <a:pt x="544" y="781"/>
                    </a:lnTo>
                    <a:lnTo>
                      <a:pt x="544" y="783"/>
                    </a:lnTo>
                    <a:lnTo>
                      <a:pt x="538" y="791"/>
                    </a:lnTo>
                    <a:lnTo>
                      <a:pt x="537" y="789"/>
                    </a:lnTo>
                    <a:lnTo>
                      <a:pt x="533" y="791"/>
                    </a:lnTo>
                    <a:lnTo>
                      <a:pt x="533" y="785"/>
                    </a:lnTo>
                    <a:lnTo>
                      <a:pt x="537" y="787"/>
                    </a:lnTo>
                    <a:lnTo>
                      <a:pt x="538" y="783"/>
                    </a:lnTo>
                    <a:lnTo>
                      <a:pt x="537" y="781"/>
                    </a:lnTo>
                    <a:lnTo>
                      <a:pt x="533" y="783"/>
                    </a:lnTo>
                    <a:lnTo>
                      <a:pt x="531" y="785"/>
                    </a:lnTo>
                    <a:lnTo>
                      <a:pt x="527" y="785"/>
                    </a:lnTo>
                    <a:lnTo>
                      <a:pt x="527" y="781"/>
                    </a:lnTo>
                    <a:lnTo>
                      <a:pt x="527" y="785"/>
                    </a:lnTo>
                    <a:lnTo>
                      <a:pt x="525" y="787"/>
                    </a:lnTo>
                    <a:lnTo>
                      <a:pt x="521" y="791"/>
                    </a:lnTo>
                    <a:lnTo>
                      <a:pt x="521" y="787"/>
                    </a:lnTo>
                    <a:lnTo>
                      <a:pt x="518" y="795"/>
                    </a:lnTo>
                    <a:lnTo>
                      <a:pt x="518" y="798"/>
                    </a:lnTo>
                    <a:lnTo>
                      <a:pt x="516" y="802"/>
                    </a:lnTo>
                    <a:lnTo>
                      <a:pt x="512" y="802"/>
                    </a:lnTo>
                    <a:lnTo>
                      <a:pt x="510" y="798"/>
                    </a:lnTo>
                    <a:lnTo>
                      <a:pt x="510" y="796"/>
                    </a:lnTo>
                    <a:lnTo>
                      <a:pt x="506" y="798"/>
                    </a:lnTo>
                    <a:lnTo>
                      <a:pt x="505" y="798"/>
                    </a:lnTo>
                    <a:lnTo>
                      <a:pt x="501" y="798"/>
                    </a:lnTo>
                    <a:lnTo>
                      <a:pt x="501" y="798"/>
                    </a:lnTo>
                    <a:lnTo>
                      <a:pt x="501" y="798"/>
                    </a:lnTo>
                    <a:lnTo>
                      <a:pt x="501" y="798"/>
                    </a:lnTo>
                    <a:lnTo>
                      <a:pt x="501" y="798"/>
                    </a:lnTo>
                    <a:lnTo>
                      <a:pt x="501" y="798"/>
                    </a:lnTo>
                    <a:close/>
                    <a:moveTo>
                      <a:pt x="8" y="508"/>
                    </a:moveTo>
                    <a:lnTo>
                      <a:pt x="9" y="510"/>
                    </a:lnTo>
                    <a:lnTo>
                      <a:pt x="13" y="510"/>
                    </a:lnTo>
                    <a:lnTo>
                      <a:pt x="21" y="518"/>
                    </a:lnTo>
                    <a:lnTo>
                      <a:pt x="21" y="521"/>
                    </a:lnTo>
                    <a:lnTo>
                      <a:pt x="21" y="523"/>
                    </a:lnTo>
                    <a:lnTo>
                      <a:pt x="25" y="523"/>
                    </a:lnTo>
                    <a:lnTo>
                      <a:pt x="26" y="527"/>
                    </a:lnTo>
                    <a:lnTo>
                      <a:pt x="34" y="527"/>
                    </a:lnTo>
                    <a:lnTo>
                      <a:pt x="34" y="527"/>
                    </a:lnTo>
                    <a:lnTo>
                      <a:pt x="36" y="529"/>
                    </a:lnTo>
                    <a:lnTo>
                      <a:pt x="40" y="529"/>
                    </a:lnTo>
                    <a:lnTo>
                      <a:pt x="45" y="529"/>
                    </a:lnTo>
                    <a:lnTo>
                      <a:pt x="45" y="529"/>
                    </a:lnTo>
                    <a:lnTo>
                      <a:pt x="49" y="529"/>
                    </a:lnTo>
                    <a:lnTo>
                      <a:pt x="49" y="529"/>
                    </a:lnTo>
                    <a:lnTo>
                      <a:pt x="55" y="529"/>
                    </a:lnTo>
                    <a:lnTo>
                      <a:pt x="58" y="529"/>
                    </a:lnTo>
                    <a:lnTo>
                      <a:pt x="58" y="527"/>
                    </a:lnTo>
                    <a:lnTo>
                      <a:pt x="62" y="525"/>
                    </a:lnTo>
                    <a:lnTo>
                      <a:pt x="66" y="521"/>
                    </a:lnTo>
                    <a:lnTo>
                      <a:pt x="72" y="521"/>
                    </a:lnTo>
                    <a:lnTo>
                      <a:pt x="72" y="518"/>
                    </a:lnTo>
                    <a:lnTo>
                      <a:pt x="75" y="516"/>
                    </a:lnTo>
                    <a:lnTo>
                      <a:pt x="75" y="516"/>
                    </a:lnTo>
                    <a:lnTo>
                      <a:pt x="79" y="520"/>
                    </a:lnTo>
                    <a:lnTo>
                      <a:pt x="83" y="514"/>
                    </a:lnTo>
                    <a:lnTo>
                      <a:pt x="83" y="516"/>
                    </a:lnTo>
                    <a:lnTo>
                      <a:pt x="85" y="514"/>
                    </a:lnTo>
                    <a:lnTo>
                      <a:pt x="87" y="510"/>
                    </a:lnTo>
                    <a:lnTo>
                      <a:pt x="98" y="504"/>
                    </a:lnTo>
                    <a:lnTo>
                      <a:pt x="102" y="504"/>
                    </a:lnTo>
                    <a:lnTo>
                      <a:pt x="104" y="504"/>
                    </a:lnTo>
                    <a:lnTo>
                      <a:pt x="107" y="504"/>
                    </a:lnTo>
                    <a:lnTo>
                      <a:pt x="117" y="503"/>
                    </a:lnTo>
                    <a:lnTo>
                      <a:pt x="119" y="504"/>
                    </a:lnTo>
                    <a:lnTo>
                      <a:pt x="124" y="503"/>
                    </a:lnTo>
                    <a:lnTo>
                      <a:pt x="126" y="504"/>
                    </a:lnTo>
                    <a:lnTo>
                      <a:pt x="130" y="504"/>
                    </a:lnTo>
                    <a:lnTo>
                      <a:pt x="134" y="503"/>
                    </a:lnTo>
                    <a:lnTo>
                      <a:pt x="134" y="508"/>
                    </a:lnTo>
                    <a:lnTo>
                      <a:pt x="137" y="508"/>
                    </a:lnTo>
                    <a:lnTo>
                      <a:pt x="139" y="504"/>
                    </a:lnTo>
                    <a:lnTo>
                      <a:pt x="141" y="508"/>
                    </a:lnTo>
                    <a:lnTo>
                      <a:pt x="143" y="504"/>
                    </a:lnTo>
                    <a:lnTo>
                      <a:pt x="151" y="504"/>
                    </a:lnTo>
                    <a:lnTo>
                      <a:pt x="151" y="508"/>
                    </a:lnTo>
                    <a:lnTo>
                      <a:pt x="153" y="508"/>
                    </a:lnTo>
                    <a:lnTo>
                      <a:pt x="156" y="504"/>
                    </a:lnTo>
                    <a:lnTo>
                      <a:pt x="158" y="504"/>
                    </a:lnTo>
                    <a:lnTo>
                      <a:pt x="164" y="503"/>
                    </a:lnTo>
                    <a:lnTo>
                      <a:pt x="168" y="499"/>
                    </a:lnTo>
                    <a:lnTo>
                      <a:pt x="168" y="497"/>
                    </a:lnTo>
                    <a:lnTo>
                      <a:pt x="173" y="493"/>
                    </a:lnTo>
                    <a:lnTo>
                      <a:pt x="175" y="486"/>
                    </a:lnTo>
                    <a:lnTo>
                      <a:pt x="179" y="484"/>
                    </a:lnTo>
                    <a:lnTo>
                      <a:pt x="183" y="484"/>
                    </a:lnTo>
                    <a:lnTo>
                      <a:pt x="186" y="484"/>
                    </a:lnTo>
                    <a:lnTo>
                      <a:pt x="196" y="480"/>
                    </a:lnTo>
                    <a:lnTo>
                      <a:pt x="203" y="474"/>
                    </a:lnTo>
                    <a:lnTo>
                      <a:pt x="211" y="469"/>
                    </a:lnTo>
                    <a:lnTo>
                      <a:pt x="213" y="469"/>
                    </a:lnTo>
                    <a:lnTo>
                      <a:pt x="217" y="469"/>
                    </a:lnTo>
                    <a:lnTo>
                      <a:pt x="220" y="469"/>
                    </a:lnTo>
                    <a:lnTo>
                      <a:pt x="226" y="471"/>
                    </a:lnTo>
                    <a:lnTo>
                      <a:pt x="230" y="471"/>
                    </a:lnTo>
                    <a:lnTo>
                      <a:pt x="233" y="469"/>
                    </a:lnTo>
                    <a:lnTo>
                      <a:pt x="241" y="471"/>
                    </a:lnTo>
                    <a:lnTo>
                      <a:pt x="250" y="467"/>
                    </a:lnTo>
                    <a:lnTo>
                      <a:pt x="256" y="465"/>
                    </a:lnTo>
                    <a:lnTo>
                      <a:pt x="260" y="461"/>
                    </a:lnTo>
                    <a:lnTo>
                      <a:pt x="264" y="461"/>
                    </a:lnTo>
                    <a:lnTo>
                      <a:pt x="269" y="459"/>
                    </a:lnTo>
                    <a:lnTo>
                      <a:pt x="275" y="459"/>
                    </a:lnTo>
                    <a:lnTo>
                      <a:pt x="296" y="456"/>
                    </a:lnTo>
                    <a:lnTo>
                      <a:pt x="305" y="459"/>
                    </a:lnTo>
                    <a:lnTo>
                      <a:pt x="307" y="459"/>
                    </a:lnTo>
                    <a:lnTo>
                      <a:pt x="313" y="456"/>
                    </a:lnTo>
                    <a:lnTo>
                      <a:pt x="318" y="456"/>
                    </a:lnTo>
                    <a:lnTo>
                      <a:pt x="324" y="461"/>
                    </a:lnTo>
                    <a:lnTo>
                      <a:pt x="326" y="469"/>
                    </a:lnTo>
                    <a:lnTo>
                      <a:pt x="329" y="471"/>
                    </a:lnTo>
                    <a:lnTo>
                      <a:pt x="333" y="469"/>
                    </a:lnTo>
                    <a:lnTo>
                      <a:pt x="335" y="467"/>
                    </a:lnTo>
                    <a:lnTo>
                      <a:pt x="339" y="469"/>
                    </a:lnTo>
                    <a:lnTo>
                      <a:pt x="339" y="469"/>
                    </a:lnTo>
                    <a:lnTo>
                      <a:pt x="343" y="469"/>
                    </a:lnTo>
                    <a:lnTo>
                      <a:pt x="346" y="474"/>
                    </a:lnTo>
                    <a:lnTo>
                      <a:pt x="350" y="474"/>
                    </a:lnTo>
                    <a:lnTo>
                      <a:pt x="354" y="474"/>
                    </a:lnTo>
                    <a:lnTo>
                      <a:pt x="363" y="480"/>
                    </a:lnTo>
                    <a:lnTo>
                      <a:pt x="360" y="484"/>
                    </a:lnTo>
                    <a:lnTo>
                      <a:pt x="363" y="484"/>
                    </a:lnTo>
                    <a:lnTo>
                      <a:pt x="365" y="486"/>
                    </a:lnTo>
                    <a:lnTo>
                      <a:pt x="365" y="488"/>
                    </a:lnTo>
                    <a:lnTo>
                      <a:pt x="363" y="488"/>
                    </a:lnTo>
                    <a:lnTo>
                      <a:pt x="360" y="491"/>
                    </a:lnTo>
                    <a:lnTo>
                      <a:pt x="363" y="499"/>
                    </a:lnTo>
                    <a:lnTo>
                      <a:pt x="367" y="499"/>
                    </a:lnTo>
                    <a:lnTo>
                      <a:pt x="371" y="503"/>
                    </a:lnTo>
                    <a:lnTo>
                      <a:pt x="373" y="508"/>
                    </a:lnTo>
                    <a:lnTo>
                      <a:pt x="373" y="510"/>
                    </a:lnTo>
                    <a:lnTo>
                      <a:pt x="377" y="520"/>
                    </a:lnTo>
                    <a:lnTo>
                      <a:pt x="375" y="525"/>
                    </a:lnTo>
                    <a:lnTo>
                      <a:pt x="377" y="527"/>
                    </a:lnTo>
                    <a:lnTo>
                      <a:pt x="377" y="529"/>
                    </a:lnTo>
                    <a:lnTo>
                      <a:pt x="375" y="533"/>
                    </a:lnTo>
                    <a:lnTo>
                      <a:pt x="373" y="533"/>
                    </a:lnTo>
                    <a:lnTo>
                      <a:pt x="371" y="533"/>
                    </a:lnTo>
                    <a:lnTo>
                      <a:pt x="375" y="537"/>
                    </a:lnTo>
                    <a:lnTo>
                      <a:pt x="377" y="538"/>
                    </a:lnTo>
                    <a:lnTo>
                      <a:pt x="378" y="542"/>
                    </a:lnTo>
                    <a:lnTo>
                      <a:pt x="382" y="542"/>
                    </a:lnTo>
                    <a:lnTo>
                      <a:pt x="384" y="544"/>
                    </a:lnTo>
                    <a:lnTo>
                      <a:pt x="384" y="542"/>
                    </a:lnTo>
                    <a:lnTo>
                      <a:pt x="384" y="537"/>
                    </a:lnTo>
                    <a:lnTo>
                      <a:pt x="384" y="537"/>
                    </a:lnTo>
                    <a:lnTo>
                      <a:pt x="388" y="533"/>
                    </a:lnTo>
                    <a:lnTo>
                      <a:pt x="388" y="533"/>
                    </a:lnTo>
                    <a:lnTo>
                      <a:pt x="390" y="529"/>
                    </a:lnTo>
                    <a:lnTo>
                      <a:pt x="393" y="527"/>
                    </a:lnTo>
                    <a:lnTo>
                      <a:pt x="395" y="523"/>
                    </a:lnTo>
                    <a:lnTo>
                      <a:pt x="399" y="520"/>
                    </a:lnTo>
                    <a:lnTo>
                      <a:pt x="407" y="516"/>
                    </a:lnTo>
                    <a:lnTo>
                      <a:pt x="409" y="512"/>
                    </a:lnTo>
                    <a:lnTo>
                      <a:pt x="409" y="512"/>
                    </a:lnTo>
                    <a:lnTo>
                      <a:pt x="414" y="510"/>
                    </a:lnTo>
                    <a:lnTo>
                      <a:pt x="418" y="504"/>
                    </a:lnTo>
                    <a:lnTo>
                      <a:pt x="422" y="497"/>
                    </a:lnTo>
                    <a:lnTo>
                      <a:pt x="427" y="497"/>
                    </a:lnTo>
                    <a:lnTo>
                      <a:pt x="429" y="493"/>
                    </a:lnTo>
                    <a:lnTo>
                      <a:pt x="427" y="489"/>
                    </a:lnTo>
                    <a:lnTo>
                      <a:pt x="427" y="484"/>
                    </a:lnTo>
                    <a:lnTo>
                      <a:pt x="431" y="489"/>
                    </a:lnTo>
                    <a:lnTo>
                      <a:pt x="431" y="495"/>
                    </a:lnTo>
                    <a:lnTo>
                      <a:pt x="431" y="501"/>
                    </a:lnTo>
                    <a:lnTo>
                      <a:pt x="429" y="503"/>
                    </a:lnTo>
                    <a:lnTo>
                      <a:pt x="427" y="512"/>
                    </a:lnTo>
                    <a:lnTo>
                      <a:pt x="420" y="516"/>
                    </a:lnTo>
                    <a:lnTo>
                      <a:pt x="418" y="521"/>
                    </a:lnTo>
                    <a:lnTo>
                      <a:pt x="418" y="523"/>
                    </a:lnTo>
                    <a:lnTo>
                      <a:pt x="418" y="529"/>
                    </a:lnTo>
                    <a:lnTo>
                      <a:pt x="412" y="533"/>
                    </a:lnTo>
                    <a:lnTo>
                      <a:pt x="412" y="537"/>
                    </a:lnTo>
                    <a:lnTo>
                      <a:pt x="409" y="544"/>
                    </a:lnTo>
                    <a:lnTo>
                      <a:pt x="401" y="544"/>
                    </a:lnTo>
                    <a:lnTo>
                      <a:pt x="399" y="550"/>
                    </a:lnTo>
                    <a:lnTo>
                      <a:pt x="397" y="553"/>
                    </a:lnTo>
                    <a:lnTo>
                      <a:pt x="397" y="553"/>
                    </a:lnTo>
                    <a:lnTo>
                      <a:pt x="403" y="553"/>
                    </a:lnTo>
                    <a:lnTo>
                      <a:pt x="409" y="550"/>
                    </a:lnTo>
                    <a:lnTo>
                      <a:pt x="414" y="553"/>
                    </a:lnTo>
                    <a:lnTo>
                      <a:pt x="420" y="542"/>
                    </a:lnTo>
                    <a:lnTo>
                      <a:pt x="422" y="533"/>
                    </a:lnTo>
                    <a:lnTo>
                      <a:pt x="427" y="527"/>
                    </a:lnTo>
                    <a:lnTo>
                      <a:pt x="429" y="529"/>
                    </a:lnTo>
                    <a:lnTo>
                      <a:pt x="429" y="537"/>
                    </a:lnTo>
                    <a:lnTo>
                      <a:pt x="431" y="542"/>
                    </a:lnTo>
                    <a:lnTo>
                      <a:pt x="429" y="544"/>
                    </a:lnTo>
                    <a:lnTo>
                      <a:pt x="429" y="553"/>
                    </a:lnTo>
                    <a:lnTo>
                      <a:pt x="425" y="561"/>
                    </a:lnTo>
                    <a:lnTo>
                      <a:pt x="418" y="563"/>
                    </a:lnTo>
                    <a:lnTo>
                      <a:pt x="420" y="567"/>
                    </a:lnTo>
                    <a:lnTo>
                      <a:pt x="424" y="567"/>
                    </a:lnTo>
                    <a:lnTo>
                      <a:pt x="429" y="567"/>
                    </a:lnTo>
                    <a:lnTo>
                      <a:pt x="431" y="563"/>
                    </a:lnTo>
                    <a:lnTo>
                      <a:pt x="435" y="563"/>
                    </a:lnTo>
                    <a:lnTo>
                      <a:pt x="439" y="557"/>
                    </a:lnTo>
                    <a:lnTo>
                      <a:pt x="442" y="561"/>
                    </a:lnTo>
                    <a:lnTo>
                      <a:pt x="442" y="561"/>
                    </a:lnTo>
                    <a:lnTo>
                      <a:pt x="442" y="563"/>
                    </a:lnTo>
                    <a:lnTo>
                      <a:pt x="439" y="567"/>
                    </a:lnTo>
                    <a:lnTo>
                      <a:pt x="437" y="567"/>
                    </a:lnTo>
                    <a:lnTo>
                      <a:pt x="437" y="567"/>
                    </a:lnTo>
                    <a:lnTo>
                      <a:pt x="439" y="572"/>
                    </a:lnTo>
                    <a:lnTo>
                      <a:pt x="439" y="576"/>
                    </a:lnTo>
                    <a:lnTo>
                      <a:pt x="442" y="582"/>
                    </a:lnTo>
                    <a:lnTo>
                      <a:pt x="442" y="587"/>
                    </a:lnTo>
                    <a:lnTo>
                      <a:pt x="442" y="597"/>
                    </a:lnTo>
                    <a:lnTo>
                      <a:pt x="439" y="602"/>
                    </a:lnTo>
                    <a:lnTo>
                      <a:pt x="439" y="604"/>
                    </a:lnTo>
                    <a:lnTo>
                      <a:pt x="439" y="612"/>
                    </a:lnTo>
                    <a:lnTo>
                      <a:pt x="442" y="612"/>
                    </a:lnTo>
                    <a:lnTo>
                      <a:pt x="442" y="617"/>
                    </a:lnTo>
                    <a:lnTo>
                      <a:pt x="444" y="625"/>
                    </a:lnTo>
                    <a:lnTo>
                      <a:pt x="452" y="634"/>
                    </a:lnTo>
                    <a:lnTo>
                      <a:pt x="456" y="634"/>
                    </a:lnTo>
                    <a:lnTo>
                      <a:pt x="459" y="636"/>
                    </a:lnTo>
                    <a:lnTo>
                      <a:pt x="461" y="640"/>
                    </a:lnTo>
                    <a:lnTo>
                      <a:pt x="467" y="640"/>
                    </a:lnTo>
                    <a:lnTo>
                      <a:pt x="467" y="640"/>
                    </a:lnTo>
                    <a:lnTo>
                      <a:pt x="467" y="640"/>
                    </a:lnTo>
                    <a:lnTo>
                      <a:pt x="473" y="640"/>
                    </a:lnTo>
                    <a:lnTo>
                      <a:pt x="476" y="646"/>
                    </a:lnTo>
                    <a:lnTo>
                      <a:pt x="482" y="646"/>
                    </a:lnTo>
                    <a:lnTo>
                      <a:pt x="486" y="650"/>
                    </a:lnTo>
                    <a:lnTo>
                      <a:pt x="488" y="653"/>
                    </a:lnTo>
                    <a:lnTo>
                      <a:pt x="491" y="655"/>
                    </a:lnTo>
                    <a:lnTo>
                      <a:pt x="493" y="661"/>
                    </a:lnTo>
                    <a:lnTo>
                      <a:pt x="497" y="661"/>
                    </a:lnTo>
                    <a:lnTo>
                      <a:pt x="497" y="657"/>
                    </a:lnTo>
                    <a:lnTo>
                      <a:pt x="505" y="653"/>
                    </a:lnTo>
                    <a:lnTo>
                      <a:pt x="506" y="650"/>
                    </a:lnTo>
                    <a:lnTo>
                      <a:pt x="512" y="650"/>
                    </a:lnTo>
                    <a:lnTo>
                      <a:pt x="518" y="646"/>
                    </a:lnTo>
                    <a:lnTo>
                      <a:pt x="518" y="646"/>
                    </a:lnTo>
                    <a:lnTo>
                      <a:pt x="521" y="646"/>
                    </a:lnTo>
                    <a:lnTo>
                      <a:pt x="521" y="642"/>
                    </a:lnTo>
                    <a:lnTo>
                      <a:pt x="518" y="640"/>
                    </a:lnTo>
                    <a:lnTo>
                      <a:pt x="518" y="640"/>
                    </a:lnTo>
                    <a:lnTo>
                      <a:pt x="525" y="634"/>
                    </a:lnTo>
                    <a:lnTo>
                      <a:pt x="531" y="640"/>
                    </a:lnTo>
                    <a:lnTo>
                      <a:pt x="531" y="642"/>
                    </a:lnTo>
                    <a:lnTo>
                      <a:pt x="525" y="646"/>
                    </a:lnTo>
                    <a:lnTo>
                      <a:pt x="525" y="650"/>
                    </a:lnTo>
                    <a:lnTo>
                      <a:pt x="527" y="651"/>
                    </a:lnTo>
                    <a:lnTo>
                      <a:pt x="531" y="648"/>
                    </a:lnTo>
                    <a:lnTo>
                      <a:pt x="533" y="646"/>
                    </a:lnTo>
                    <a:lnTo>
                      <a:pt x="537" y="648"/>
                    </a:lnTo>
                    <a:lnTo>
                      <a:pt x="537" y="651"/>
                    </a:lnTo>
                    <a:lnTo>
                      <a:pt x="535" y="651"/>
                    </a:lnTo>
                    <a:lnTo>
                      <a:pt x="531" y="653"/>
                    </a:lnTo>
                    <a:lnTo>
                      <a:pt x="537" y="661"/>
                    </a:lnTo>
                    <a:lnTo>
                      <a:pt x="537" y="666"/>
                    </a:lnTo>
                    <a:lnTo>
                      <a:pt x="538" y="666"/>
                    </a:lnTo>
                    <a:lnTo>
                      <a:pt x="542" y="666"/>
                    </a:lnTo>
                    <a:lnTo>
                      <a:pt x="542" y="670"/>
                    </a:lnTo>
                    <a:lnTo>
                      <a:pt x="544" y="672"/>
                    </a:lnTo>
                    <a:lnTo>
                      <a:pt x="546" y="670"/>
                    </a:lnTo>
                    <a:lnTo>
                      <a:pt x="546" y="665"/>
                    </a:lnTo>
                    <a:lnTo>
                      <a:pt x="544" y="666"/>
                    </a:lnTo>
                    <a:lnTo>
                      <a:pt x="544" y="665"/>
                    </a:lnTo>
                    <a:lnTo>
                      <a:pt x="546" y="661"/>
                    </a:lnTo>
                    <a:lnTo>
                      <a:pt x="555" y="661"/>
                    </a:lnTo>
                    <a:lnTo>
                      <a:pt x="555" y="665"/>
                    </a:lnTo>
                    <a:lnTo>
                      <a:pt x="557" y="661"/>
                    </a:lnTo>
                    <a:lnTo>
                      <a:pt x="561" y="655"/>
                    </a:lnTo>
                    <a:lnTo>
                      <a:pt x="572" y="650"/>
                    </a:lnTo>
                    <a:lnTo>
                      <a:pt x="576" y="646"/>
                    </a:lnTo>
                    <a:lnTo>
                      <a:pt x="574" y="646"/>
                    </a:lnTo>
                    <a:lnTo>
                      <a:pt x="572" y="646"/>
                    </a:lnTo>
                    <a:lnTo>
                      <a:pt x="572" y="646"/>
                    </a:lnTo>
                    <a:lnTo>
                      <a:pt x="569" y="642"/>
                    </a:lnTo>
                    <a:lnTo>
                      <a:pt x="572" y="642"/>
                    </a:lnTo>
                    <a:lnTo>
                      <a:pt x="576" y="642"/>
                    </a:lnTo>
                    <a:lnTo>
                      <a:pt x="584" y="640"/>
                    </a:lnTo>
                    <a:lnTo>
                      <a:pt x="599" y="636"/>
                    </a:lnTo>
                    <a:lnTo>
                      <a:pt x="610" y="640"/>
                    </a:lnTo>
                    <a:lnTo>
                      <a:pt x="614" y="636"/>
                    </a:lnTo>
                    <a:lnTo>
                      <a:pt x="614" y="634"/>
                    </a:lnTo>
                    <a:lnTo>
                      <a:pt x="617" y="634"/>
                    </a:lnTo>
                    <a:lnTo>
                      <a:pt x="621" y="633"/>
                    </a:lnTo>
                    <a:lnTo>
                      <a:pt x="625" y="625"/>
                    </a:lnTo>
                    <a:lnTo>
                      <a:pt x="623" y="617"/>
                    </a:lnTo>
                    <a:lnTo>
                      <a:pt x="623" y="616"/>
                    </a:lnTo>
                    <a:lnTo>
                      <a:pt x="631" y="608"/>
                    </a:lnTo>
                    <a:lnTo>
                      <a:pt x="631" y="597"/>
                    </a:lnTo>
                    <a:lnTo>
                      <a:pt x="631" y="593"/>
                    </a:lnTo>
                    <a:lnTo>
                      <a:pt x="634" y="587"/>
                    </a:lnTo>
                    <a:lnTo>
                      <a:pt x="638" y="585"/>
                    </a:lnTo>
                    <a:lnTo>
                      <a:pt x="638" y="582"/>
                    </a:lnTo>
                    <a:lnTo>
                      <a:pt x="648" y="567"/>
                    </a:lnTo>
                    <a:lnTo>
                      <a:pt x="651" y="567"/>
                    </a:lnTo>
                    <a:lnTo>
                      <a:pt x="653" y="557"/>
                    </a:lnTo>
                    <a:lnTo>
                      <a:pt x="659" y="553"/>
                    </a:lnTo>
                    <a:lnTo>
                      <a:pt x="659" y="544"/>
                    </a:lnTo>
                    <a:lnTo>
                      <a:pt x="665" y="542"/>
                    </a:lnTo>
                    <a:lnTo>
                      <a:pt x="665" y="537"/>
                    </a:lnTo>
                    <a:lnTo>
                      <a:pt x="668" y="537"/>
                    </a:lnTo>
                    <a:lnTo>
                      <a:pt x="670" y="527"/>
                    </a:lnTo>
                    <a:lnTo>
                      <a:pt x="668" y="525"/>
                    </a:lnTo>
                    <a:lnTo>
                      <a:pt x="674" y="523"/>
                    </a:lnTo>
                    <a:lnTo>
                      <a:pt x="678" y="516"/>
                    </a:lnTo>
                    <a:lnTo>
                      <a:pt x="680" y="514"/>
                    </a:lnTo>
                    <a:lnTo>
                      <a:pt x="683" y="508"/>
                    </a:lnTo>
                    <a:lnTo>
                      <a:pt x="689" y="508"/>
                    </a:lnTo>
                    <a:lnTo>
                      <a:pt x="693" y="504"/>
                    </a:lnTo>
                    <a:lnTo>
                      <a:pt x="687" y="504"/>
                    </a:lnTo>
                    <a:lnTo>
                      <a:pt x="689" y="504"/>
                    </a:lnTo>
                    <a:lnTo>
                      <a:pt x="693" y="503"/>
                    </a:lnTo>
                    <a:lnTo>
                      <a:pt x="700" y="499"/>
                    </a:lnTo>
                    <a:lnTo>
                      <a:pt x="700" y="495"/>
                    </a:lnTo>
                    <a:lnTo>
                      <a:pt x="700" y="491"/>
                    </a:lnTo>
                    <a:lnTo>
                      <a:pt x="700" y="488"/>
                    </a:lnTo>
                    <a:lnTo>
                      <a:pt x="708" y="484"/>
                    </a:lnTo>
                    <a:lnTo>
                      <a:pt x="708" y="480"/>
                    </a:lnTo>
                    <a:lnTo>
                      <a:pt x="712" y="478"/>
                    </a:lnTo>
                    <a:lnTo>
                      <a:pt x="717" y="472"/>
                    </a:lnTo>
                    <a:lnTo>
                      <a:pt x="713" y="469"/>
                    </a:lnTo>
                    <a:lnTo>
                      <a:pt x="717" y="461"/>
                    </a:lnTo>
                    <a:lnTo>
                      <a:pt x="717" y="459"/>
                    </a:lnTo>
                    <a:lnTo>
                      <a:pt x="717" y="459"/>
                    </a:lnTo>
                    <a:lnTo>
                      <a:pt x="723" y="446"/>
                    </a:lnTo>
                    <a:lnTo>
                      <a:pt x="723" y="439"/>
                    </a:lnTo>
                    <a:lnTo>
                      <a:pt x="729" y="425"/>
                    </a:lnTo>
                    <a:lnTo>
                      <a:pt x="729" y="423"/>
                    </a:lnTo>
                    <a:lnTo>
                      <a:pt x="732" y="414"/>
                    </a:lnTo>
                    <a:lnTo>
                      <a:pt x="738" y="410"/>
                    </a:lnTo>
                    <a:lnTo>
                      <a:pt x="740" y="405"/>
                    </a:lnTo>
                    <a:lnTo>
                      <a:pt x="738" y="401"/>
                    </a:lnTo>
                    <a:lnTo>
                      <a:pt x="742" y="397"/>
                    </a:lnTo>
                    <a:lnTo>
                      <a:pt x="738" y="388"/>
                    </a:lnTo>
                    <a:lnTo>
                      <a:pt x="740" y="382"/>
                    </a:lnTo>
                    <a:lnTo>
                      <a:pt x="736" y="376"/>
                    </a:lnTo>
                    <a:lnTo>
                      <a:pt x="736" y="375"/>
                    </a:lnTo>
                    <a:lnTo>
                      <a:pt x="734" y="371"/>
                    </a:lnTo>
                    <a:lnTo>
                      <a:pt x="736" y="367"/>
                    </a:lnTo>
                    <a:lnTo>
                      <a:pt x="736" y="365"/>
                    </a:lnTo>
                    <a:lnTo>
                      <a:pt x="740" y="358"/>
                    </a:lnTo>
                    <a:lnTo>
                      <a:pt x="740" y="356"/>
                    </a:lnTo>
                    <a:lnTo>
                      <a:pt x="740" y="346"/>
                    </a:lnTo>
                    <a:lnTo>
                      <a:pt x="742" y="342"/>
                    </a:lnTo>
                    <a:lnTo>
                      <a:pt x="740" y="341"/>
                    </a:lnTo>
                    <a:lnTo>
                      <a:pt x="740" y="337"/>
                    </a:lnTo>
                    <a:lnTo>
                      <a:pt x="740" y="331"/>
                    </a:lnTo>
                    <a:lnTo>
                      <a:pt x="738" y="331"/>
                    </a:lnTo>
                    <a:lnTo>
                      <a:pt x="740" y="324"/>
                    </a:lnTo>
                    <a:lnTo>
                      <a:pt x="736" y="322"/>
                    </a:lnTo>
                    <a:lnTo>
                      <a:pt x="734" y="318"/>
                    </a:lnTo>
                    <a:lnTo>
                      <a:pt x="734" y="316"/>
                    </a:lnTo>
                    <a:lnTo>
                      <a:pt x="729" y="312"/>
                    </a:lnTo>
                    <a:lnTo>
                      <a:pt x="727" y="307"/>
                    </a:lnTo>
                    <a:lnTo>
                      <a:pt x="725" y="301"/>
                    </a:lnTo>
                    <a:lnTo>
                      <a:pt x="723" y="297"/>
                    </a:lnTo>
                    <a:lnTo>
                      <a:pt x="723" y="297"/>
                    </a:lnTo>
                    <a:lnTo>
                      <a:pt x="717" y="297"/>
                    </a:lnTo>
                    <a:lnTo>
                      <a:pt x="717" y="297"/>
                    </a:lnTo>
                    <a:lnTo>
                      <a:pt x="713" y="292"/>
                    </a:lnTo>
                    <a:lnTo>
                      <a:pt x="713" y="292"/>
                    </a:lnTo>
                    <a:lnTo>
                      <a:pt x="713" y="288"/>
                    </a:lnTo>
                    <a:lnTo>
                      <a:pt x="708" y="284"/>
                    </a:lnTo>
                    <a:lnTo>
                      <a:pt x="706" y="282"/>
                    </a:lnTo>
                    <a:lnTo>
                      <a:pt x="708" y="278"/>
                    </a:lnTo>
                    <a:lnTo>
                      <a:pt x="704" y="275"/>
                    </a:lnTo>
                    <a:lnTo>
                      <a:pt x="708" y="269"/>
                    </a:lnTo>
                    <a:lnTo>
                      <a:pt x="710" y="263"/>
                    </a:lnTo>
                    <a:lnTo>
                      <a:pt x="708" y="261"/>
                    </a:lnTo>
                    <a:lnTo>
                      <a:pt x="710" y="258"/>
                    </a:lnTo>
                    <a:lnTo>
                      <a:pt x="706" y="258"/>
                    </a:lnTo>
                    <a:lnTo>
                      <a:pt x="706" y="260"/>
                    </a:lnTo>
                    <a:lnTo>
                      <a:pt x="706" y="261"/>
                    </a:lnTo>
                    <a:lnTo>
                      <a:pt x="706" y="263"/>
                    </a:lnTo>
                    <a:lnTo>
                      <a:pt x="697" y="254"/>
                    </a:lnTo>
                    <a:lnTo>
                      <a:pt x="695" y="250"/>
                    </a:lnTo>
                    <a:lnTo>
                      <a:pt x="693" y="250"/>
                    </a:lnTo>
                    <a:lnTo>
                      <a:pt x="693" y="254"/>
                    </a:lnTo>
                    <a:lnTo>
                      <a:pt x="693" y="256"/>
                    </a:lnTo>
                    <a:lnTo>
                      <a:pt x="695" y="263"/>
                    </a:lnTo>
                    <a:lnTo>
                      <a:pt x="689" y="258"/>
                    </a:lnTo>
                    <a:lnTo>
                      <a:pt x="689" y="260"/>
                    </a:lnTo>
                    <a:lnTo>
                      <a:pt x="689" y="256"/>
                    </a:lnTo>
                    <a:lnTo>
                      <a:pt x="687" y="254"/>
                    </a:lnTo>
                    <a:lnTo>
                      <a:pt x="687" y="243"/>
                    </a:lnTo>
                    <a:lnTo>
                      <a:pt x="689" y="243"/>
                    </a:lnTo>
                    <a:lnTo>
                      <a:pt x="689" y="239"/>
                    </a:lnTo>
                    <a:lnTo>
                      <a:pt x="685" y="237"/>
                    </a:lnTo>
                    <a:lnTo>
                      <a:pt x="685" y="235"/>
                    </a:lnTo>
                    <a:lnTo>
                      <a:pt x="683" y="231"/>
                    </a:lnTo>
                    <a:lnTo>
                      <a:pt x="683" y="229"/>
                    </a:lnTo>
                    <a:lnTo>
                      <a:pt x="678" y="224"/>
                    </a:lnTo>
                    <a:lnTo>
                      <a:pt x="676" y="220"/>
                    </a:lnTo>
                    <a:lnTo>
                      <a:pt x="676" y="214"/>
                    </a:lnTo>
                    <a:lnTo>
                      <a:pt x="680" y="218"/>
                    </a:lnTo>
                    <a:lnTo>
                      <a:pt x="680" y="214"/>
                    </a:lnTo>
                    <a:lnTo>
                      <a:pt x="676" y="209"/>
                    </a:lnTo>
                    <a:lnTo>
                      <a:pt x="674" y="209"/>
                    </a:lnTo>
                    <a:lnTo>
                      <a:pt x="670" y="209"/>
                    </a:lnTo>
                    <a:lnTo>
                      <a:pt x="668" y="203"/>
                    </a:lnTo>
                    <a:lnTo>
                      <a:pt x="665" y="203"/>
                    </a:lnTo>
                    <a:lnTo>
                      <a:pt x="663" y="199"/>
                    </a:lnTo>
                    <a:lnTo>
                      <a:pt x="659" y="201"/>
                    </a:lnTo>
                    <a:lnTo>
                      <a:pt x="659" y="199"/>
                    </a:lnTo>
                    <a:lnTo>
                      <a:pt x="655" y="197"/>
                    </a:lnTo>
                    <a:lnTo>
                      <a:pt x="651" y="201"/>
                    </a:lnTo>
                    <a:lnTo>
                      <a:pt x="653" y="197"/>
                    </a:lnTo>
                    <a:lnTo>
                      <a:pt x="655" y="196"/>
                    </a:lnTo>
                    <a:lnTo>
                      <a:pt x="659" y="194"/>
                    </a:lnTo>
                    <a:lnTo>
                      <a:pt x="655" y="194"/>
                    </a:lnTo>
                    <a:lnTo>
                      <a:pt x="653" y="194"/>
                    </a:lnTo>
                    <a:lnTo>
                      <a:pt x="649" y="194"/>
                    </a:lnTo>
                    <a:lnTo>
                      <a:pt x="648" y="190"/>
                    </a:lnTo>
                    <a:lnTo>
                      <a:pt x="646" y="190"/>
                    </a:lnTo>
                    <a:lnTo>
                      <a:pt x="638" y="186"/>
                    </a:lnTo>
                    <a:lnTo>
                      <a:pt x="634" y="179"/>
                    </a:lnTo>
                    <a:lnTo>
                      <a:pt x="634" y="171"/>
                    </a:lnTo>
                    <a:lnTo>
                      <a:pt x="631" y="169"/>
                    </a:lnTo>
                    <a:lnTo>
                      <a:pt x="631" y="165"/>
                    </a:lnTo>
                    <a:lnTo>
                      <a:pt x="634" y="162"/>
                    </a:lnTo>
                    <a:lnTo>
                      <a:pt x="634" y="156"/>
                    </a:lnTo>
                    <a:lnTo>
                      <a:pt x="634" y="147"/>
                    </a:lnTo>
                    <a:lnTo>
                      <a:pt x="631" y="141"/>
                    </a:lnTo>
                    <a:lnTo>
                      <a:pt x="634" y="141"/>
                    </a:lnTo>
                    <a:lnTo>
                      <a:pt x="631" y="137"/>
                    </a:lnTo>
                    <a:lnTo>
                      <a:pt x="629" y="137"/>
                    </a:lnTo>
                    <a:lnTo>
                      <a:pt x="625" y="132"/>
                    </a:lnTo>
                    <a:lnTo>
                      <a:pt x="625" y="122"/>
                    </a:lnTo>
                    <a:lnTo>
                      <a:pt x="627" y="122"/>
                    </a:lnTo>
                    <a:lnTo>
                      <a:pt x="627" y="120"/>
                    </a:lnTo>
                    <a:lnTo>
                      <a:pt x="625" y="116"/>
                    </a:lnTo>
                    <a:lnTo>
                      <a:pt x="623" y="107"/>
                    </a:lnTo>
                    <a:lnTo>
                      <a:pt x="625" y="103"/>
                    </a:lnTo>
                    <a:lnTo>
                      <a:pt x="623" y="99"/>
                    </a:lnTo>
                    <a:lnTo>
                      <a:pt x="625" y="98"/>
                    </a:lnTo>
                    <a:lnTo>
                      <a:pt x="625" y="96"/>
                    </a:lnTo>
                    <a:lnTo>
                      <a:pt x="619" y="88"/>
                    </a:lnTo>
                    <a:lnTo>
                      <a:pt x="614" y="86"/>
                    </a:lnTo>
                    <a:lnTo>
                      <a:pt x="616" y="86"/>
                    </a:lnTo>
                    <a:lnTo>
                      <a:pt x="612" y="83"/>
                    </a:lnTo>
                    <a:lnTo>
                      <a:pt x="606" y="83"/>
                    </a:lnTo>
                    <a:lnTo>
                      <a:pt x="606" y="83"/>
                    </a:lnTo>
                    <a:lnTo>
                      <a:pt x="604" y="86"/>
                    </a:lnTo>
                    <a:lnTo>
                      <a:pt x="601" y="86"/>
                    </a:lnTo>
                    <a:lnTo>
                      <a:pt x="597" y="81"/>
                    </a:lnTo>
                    <a:lnTo>
                      <a:pt x="599" y="79"/>
                    </a:lnTo>
                    <a:lnTo>
                      <a:pt x="595" y="73"/>
                    </a:lnTo>
                    <a:lnTo>
                      <a:pt x="597" y="66"/>
                    </a:lnTo>
                    <a:lnTo>
                      <a:pt x="597" y="58"/>
                    </a:lnTo>
                    <a:lnTo>
                      <a:pt x="595" y="58"/>
                    </a:lnTo>
                    <a:lnTo>
                      <a:pt x="593" y="56"/>
                    </a:lnTo>
                    <a:lnTo>
                      <a:pt x="595" y="52"/>
                    </a:lnTo>
                    <a:lnTo>
                      <a:pt x="591" y="49"/>
                    </a:lnTo>
                    <a:lnTo>
                      <a:pt x="591" y="45"/>
                    </a:lnTo>
                    <a:lnTo>
                      <a:pt x="589" y="43"/>
                    </a:lnTo>
                    <a:lnTo>
                      <a:pt x="589" y="39"/>
                    </a:lnTo>
                    <a:lnTo>
                      <a:pt x="591" y="37"/>
                    </a:lnTo>
                    <a:lnTo>
                      <a:pt x="589" y="37"/>
                    </a:lnTo>
                    <a:lnTo>
                      <a:pt x="585" y="37"/>
                    </a:lnTo>
                    <a:lnTo>
                      <a:pt x="584" y="34"/>
                    </a:lnTo>
                    <a:lnTo>
                      <a:pt x="585" y="26"/>
                    </a:lnTo>
                    <a:lnTo>
                      <a:pt x="584" y="24"/>
                    </a:lnTo>
                    <a:lnTo>
                      <a:pt x="582" y="18"/>
                    </a:lnTo>
                    <a:lnTo>
                      <a:pt x="580" y="17"/>
                    </a:lnTo>
                    <a:lnTo>
                      <a:pt x="580" y="15"/>
                    </a:lnTo>
                    <a:lnTo>
                      <a:pt x="576" y="17"/>
                    </a:lnTo>
                    <a:lnTo>
                      <a:pt x="574" y="18"/>
                    </a:lnTo>
                    <a:lnTo>
                      <a:pt x="574" y="26"/>
                    </a:lnTo>
                    <a:lnTo>
                      <a:pt x="572" y="32"/>
                    </a:lnTo>
                    <a:lnTo>
                      <a:pt x="572" y="32"/>
                    </a:lnTo>
                    <a:lnTo>
                      <a:pt x="570" y="37"/>
                    </a:lnTo>
                    <a:lnTo>
                      <a:pt x="569" y="37"/>
                    </a:lnTo>
                    <a:lnTo>
                      <a:pt x="567" y="43"/>
                    </a:lnTo>
                    <a:lnTo>
                      <a:pt x="563" y="47"/>
                    </a:lnTo>
                    <a:lnTo>
                      <a:pt x="565" y="51"/>
                    </a:lnTo>
                    <a:lnTo>
                      <a:pt x="569" y="52"/>
                    </a:lnTo>
                    <a:lnTo>
                      <a:pt x="567" y="52"/>
                    </a:lnTo>
                    <a:lnTo>
                      <a:pt x="565" y="52"/>
                    </a:lnTo>
                    <a:lnTo>
                      <a:pt x="563" y="58"/>
                    </a:lnTo>
                    <a:lnTo>
                      <a:pt x="561" y="62"/>
                    </a:lnTo>
                    <a:lnTo>
                      <a:pt x="563" y="64"/>
                    </a:lnTo>
                    <a:lnTo>
                      <a:pt x="563" y="67"/>
                    </a:lnTo>
                    <a:lnTo>
                      <a:pt x="561" y="67"/>
                    </a:lnTo>
                    <a:lnTo>
                      <a:pt x="559" y="67"/>
                    </a:lnTo>
                    <a:lnTo>
                      <a:pt x="557" y="79"/>
                    </a:lnTo>
                    <a:lnTo>
                      <a:pt x="559" y="83"/>
                    </a:lnTo>
                    <a:lnTo>
                      <a:pt x="557" y="90"/>
                    </a:lnTo>
                    <a:lnTo>
                      <a:pt x="559" y="96"/>
                    </a:lnTo>
                    <a:lnTo>
                      <a:pt x="559" y="101"/>
                    </a:lnTo>
                    <a:lnTo>
                      <a:pt x="555" y="103"/>
                    </a:lnTo>
                    <a:lnTo>
                      <a:pt x="555" y="107"/>
                    </a:lnTo>
                    <a:lnTo>
                      <a:pt x="552" y="113"/>
                    </a:lnTo>
                    <a:lnTo>
                      <a:pt x="552" y="124"/>
                    </a:lnTo>
                    <a:lnTo>
                      <a:pt x="546" y="128"/>
                    </a:lnTo>
                    <a:lnTo>
                      <a:pt x="550" y="132"/>
                    </a:lnTo>
                    <a:lnTo>
                      <a:pt x="546" y="137"/>
                    </a:lnTo>
                    <a:lnTo>
                      <a:pt x="544" y="141"/>
                    </a:lnTo>
                    <a:lnTo>
                      <a:pt x="544" y="147"/>
                    </a:lnTo>
                    <a:lnTo>
                      <a:pt x="538" y="152"/>
                    </a:lnTo>
                    <a:lnTo>
                      <a:pt x="525" y="156"/>
                    </a:lnTo>
                    <a:lnTo>
                      <a:pt x="521" y="154"/>
                    </a:lnTo>
                    <a:lnTo>
                      <a:pt x="516" y="152"/>
                    </a:lnTo>
                    <a:lnTo>
                      <a:pt x="514" y="150"/>
                    </a:lnTo>
                    <a:lnTo>
                      <a:pt x="508" y="147"/>
                    </a:lnTo>
                    <a:lnTo>
                      <a:pt x="508" y="145"/>
                    </a:lnTo>
                    <a:lnTo>
                      <a:pt x="508" y="141"/>
                    </a:lnTo>
                    <a:lnTo>
                      <a:pt x="506" y="137"/>
                    </a:lnTo>
                    <a:lnTo>
                      <a:pt x="503" y="137"/>
                    </a:lnTo>
                    <a:lnTo>
                      <a:pt x="501" y="135"/>
                    </a:lnTo>
                    <a:lnTo>
                      <a:pt x="493" y="135"/>
                    </a:lnTo>
                    <a:lnTo>
                      <a:pt x="488" y="132"/>
                    </a:lnTo>
                    <a:lnTo>
                      <a:pt x="488" y="130"/>
                    </a:lnTo>
                    <a:lnTo>
                      <a:pt x="482" y="124"/>
                    </a:lnTo>
                    <a:lnTo>
                      <a:pt x="478" y="124"/>
                    </a:lnTo>
                    <a:lnTo>
                      <a:pt x="473" y="120"/>
                    </a:lnTo>
                    <a:lnTo>
                      <a:pt x="473" y="120"/>
                    </a:lnTo>
                    <a:lnTo>
                      <a:pt x="473" y="120"/>
                    </a:lnTo>
                    <a:lnTo>
                      <a:pt x="467" y="116"/>
                    </a:lnTo>
                    <a:lnTo>
                      <a:pt x="463" y="116"/>
                    </a:lnTo>
                    <a:lnTo>
                      <a:pt x="461" y="115"/>
                    </a:lnTo>
                    <a:lnTo>
                      <a:pt x="463" y="113"/>
                    </a:lnTo>
                    <a:lnTo>
                      <a:pt x="457" y="111"/>
                    </a:lnTo>
                    <a:lnTo>
                      <a:pt x="457" y="107"/>
                    </a:lnTo>
                    <a:lnTo>
                      <a:pt x="452" y="101"/>
                    </a:lnTo>
                    <a:lnTo>
                      <a:pt x="448" y="101"/>
                    </a:lnTo>
                    <a:lnTo>
                      <a:pt x="444" y="96"/>
                    </a:lnTo>
                    <a:lnTo>
                      <a:pt x="444" y="92"/>
                    </a:lnTo>
                    <a:lnTo>
                      <a:pt x="448" y="86"/>
                    </a:lnTo>
                    <a:lnTo>
                      <a:pt x="448" y="83"/>
                    </a:lnTo>
                    <a:lnTo>
                      <a:pt x="452" y="81"/>
                    </a:lnTo>
                    <a:lnTo>
                      <a:pt x="454" y="75"/>
                    </a:lnTo>
                    <a:lnTo>
                      <a:pt x="456" y="71"/>
                    </a:lnTo>
                    <a:lnTo>
                      <a:pt x="452" y="73"/>
                    </a:lnTo>
                    <a:lnTo>
                      <a:pt x="450" y="67"/>
                    </a:lnTo>
                    <a:lnTo>
                      <a:pt x="454" y="66"/>
                    </a:lnTo>
                    <a:lnTo>
                      <a:pt x="452" y="62"/>
                    </a:lnTo>
                    <a:lnTo>
                      <a:pt x="454" y="62"/>
                    </a:lnTo>
                    <a:lnTo>
                      <a:pt x="457" y="62"/>
                    </a:lnTo>
                    <a:lnTo>
                      <a:pt x="457" y="62"/>
                    </a:lnTo>
                    <a:lnTo>
                      <a:pt x="461" y="62"/>
                    </a:lnTo>
                    <a:lnTo>
                      <a:pt x="467" y="62"/>
                    </a:lnTo>
                    <a:lnTo>
                      <a:pt x="467" y="58"/>
                    </a:lnTo>
                    <a:lnTo>
                      <a:pt x="463" y="52"/>
                    </a:lnTo>
                    <a:lnTo>
                      <a:pt x="467" y="52"/>
                    </a:lnTo>
                    <a:lnTo>
                      <a:pt x="469" y="52"/>
                    </a:lnTo>
                    <a:lnTo>
                      <a:pt x="473" y="47"/>
                    </a:lnTo>
                    <a:lnTo>
                      <a:pt x="473" y="45"/>
                    </a:lnTo>
                    <a:lnTo>
                      <a:pt x="476" y="43"/>
                    </a:lnTo>
                    <a:lnTo>
                      <a:pt x="476" y="41"/>
                    </a:lnTo>
                    <a:lnTo>
                      <a:pt x="473" y="37"/>
                    </a:lnTo>
                    <a:lnTo>
                      <a:pt x="469" y="41"/>
                    </a:lnTo>
                    <a:lnTo>
                      <a:pt x="467" y="41"/>
                    </a:lnTo>
                    <a:lnTo>
                      <a:pt x="467" y="34"/>
                    </a:lnTo>
                    <a:lnTo>
                      <a:pt x="463" y="37"/>
                    </a:lnTo>
                    <a:lnTo>
                      <a:pt x="459" y="41"/>
                    </a:lnTo>
                    <a:lnTo>
                      <a:pt x="463" y="41"/>
                    </a:lnTo>
                    <a:lnTo>
                      <a:pt x="463" y="45"/>
                    </a:lnTo>
                    <a:lnTo>
                      <a:pt x="459" y="47"/>
                    </a:lnTo>
                    <a:lnTo>
                      <a:pt x="456" y="43"/>
                    </a:lnTo>
                    <a:lnTo>
                      <a:pt x="456" y="41"/>
                    </a:lnTo>
                    <a:lnTo>
                      <a:pt x="454" y="39"/>
                    </a:lnTo>
                    <a:lnTo>
                      <a:pt x="452" y="41"/>
                    </a:lnTo>
                    <a:lnTo>
                      <a:pt x="450" y="43"/>
                    </a:lnTo>
                    <a:lnTo>
                      <a:pt x="450" y="39"/>
                    </a:lnTo>
                    <a:lnTo>
                      <a:pt x="452" y="37"/>
                    </a:lnTo>
                    <a:lnTo>
                      <a:pt x="454" y="37"/>
                    </a:lnTo>
                    <a:lnTo>
                      <a:pt x="450" y="37"/>
                    </a:lnTo>
                    <a:lnTo>
                      <a:pt x="448" y="39"/>
                    </a:lnTo>
                    <a:lnTo>
                      <a:pt x="444" y="41"/>
                    </a:lnTo>
                    <a:lnTo>
                      <a:pt x="442" y="43"/>
                    </a:lnTo>
                    <a:lnTo>
                      <a:pt x="442" y="43"/>
                    </a:lnTo>
                    <a:lnTo>
                      <a:pt x="439" y="41"/>
                    </a:lnTo>
                    <a:lnTo>
                      <a:pt x="437" y="41"/>
                    </a:lnTo>
                    <a:lnTo>
                      <a:pt x="437" y="39"/>
                    </a:lnTo>
                    <a:lnTo>
                      <a:pt x="435" y="37"/>
                    </a:lnTo>
                    <a:lnTo>
                      <a:pt x="433" y="37"/>
                    </a:lnTo>
                    <a:lnTo>
                      <a:pt x="427" y="37"/>
                    </a:lnTo>
                    <a:lnTo>
                      <a:pt x="425" y="37"/>
                    </a:lnTo>
                    <a:lnTo>
                      <a:pt x="424" y="37"/>
                    </a:lnTo>
                    <a:lnTo>
                      <a:pt x="422" y="34"/>
                    </a:lnTo>
                    <a:lnTo>
                      <a:pt x="420" y="34"/>
                    </a:lnTo>
                    <a:lnTo>
                      <a:pt x="418" y="32"/>
                    </a:lnTo>
                    <a:lnTo>
                      <a:pt x="412" y="32"/>
                    </a:lnTo>
                    <a:lnTo>
                      <a:pt x="409" y="32"/>
                    </a:lnTo>
                    <a:lnTo>
                      <a:pt x="405" y="28"/>
                    </a:lnTo>
                    <a:lnTo>
                      <a:pt x="407" y="28"/>
                    </a:lnTo>
                    <a:lnTo>
                      <a:pt x="403" y="24"/>
                    </a:lnTo>
                    <a:lnTo>
                      <a:pt x="401" y="24"/>
                    </a:lnTo>
                    <a:lnTo>
                      <a:pt x="401" y="26"/>
                    </a:lnTo>
                    <a:lnTo>
                      <a:pt x="395" y="28"/>
                    </a:lnTo>
                    <a:lnTo>
                      <a:pt x="393" y="24"/>
                    </a:lnTo>
                    <a:lnTo>
                      <a:pt x="392" y="24"/>
                    </a:lnTo>
                    <a:lnTo>
                      <a:pt x="388" y="20"/>
                    </a:lnTo>
                    <a:lnTo>
                      <a:pt x="384" y="22"/>
                    </a:lnTo>
                    <a:lnTo>
                      <a:pt x="384" y="20"/>
                    </a:lnTo>
                    <a:lnTo>
                      <a:pt x="380" y="22"/>
                    </a:lnTo>
                    <a:lnTo>
                      <a:pt x="384" y="26"/>
                    </a:lnTo>
                    <a:lnTo>
                      <a:pt x="384" y="26"/>
                    </a:lnTo>
                    <a:lnTo>
                      <a:pt x="388" y="28"/>
                    </a:lnTo>
                    <a:lnTo>
                      <a:pt x="388" y="26"/>
                    </a:lnTo>
                    <a:lnTo>
                      <a:pt x="393" y="28"/>
                    </a:lnTo>
                    <a:lnTo>
                      <a:pt x="393" y="32"/>
                    </a:lnTo>
                    <a:lnTo>
                      <a:pt x="395" y="37"/>
                    </a:lnTo>
                    <a:lnTo>
                      <a:pt x="392" y="37"/>
                    </a:lnTo>
                    <a:lnTo>
                      <a:pt x="390" y="43"/>
                    </a:lnTo>
                    <a:lnTo>
                      <a:pt x="388" y="39"/>
                    </a:lnTo>
                    <a:lnTo>
                      <a:pt x="388" y="39"/>
                    </a:lnTo>
                    <a:lnTo>
                      <a:pt x="384" y="41"/>
                    </a:lnTo>
                    <a:lnTo>
                      <a:pt x="373" y="41"/>
                    </a:lnTo>
                    <a:lnTo>
                      <a:pt x="369" y="37"/>
                    </a:lnTo>
                    <a:lnTo>
                      <a:pt x="367" y="39"/>
                    </a:lnTo>
                    <a:lnTo>
                      <a:pt x="363" y="41"/>
                    </a:lnTo>
                    <a:lnTo>
                      <a:pt x="363" y="45"/>
                    </a:lnTo>
                    <a:lnTo>
                      <a:pt x="360" y="45"/>
                    </a:lnTo>
                    <a:lnTo>
                      <a:pt x="363" y="49"/>
                    </a:lnTo>
                    <a:lnTo>
                      <a:pt x="360" y="47"/>
                    </a:lnTo>
                    <a:lnTo>
                      <a:pt x="358" y="47"/>
                    </a:lnTo>
                    <a:lnTo>
                      <a:pt x="354" y="49"/>
                    </a:lnTo>
                    <a:lnTo>
                      <a:pt x="358" y="51"/>
                    </a:lnTo>
                    <a:lnTo>
                      <a:pt x="358" y="52"/>
                    </a:lnTo>
                    <a:lnTo>
                      <a:pt x="350" y="51"/>
                    </a:lnTo>
                    <a:lnTo>
                      <a:pt x="350" y="52"/>
                    </a:lnTo>
                    <a:lnTo>
                      <a:pt x="350" y="56"/>
                    </a:lnTo>
                    <a:lnTo>
                      <a:pt x="348" y="56"/>
                    </a:lnTo>
                    <a:lnTo>
                      <a:pt x="346" y="58"/>
                    </a:lnTo>
                    <a:lnTo>
                      <a:pt x="346" y="62"/>
                    </a:lnTo>
                    <a:lnTo>
                      <a:pt x="348" y="62"/>
                    </a:lnTo>
                    <a:lnTo>
                      <a:pt x="350" y="64"/>
                    </a:lnTo>
                    <a:lnTo>
                      <a:pt x="346" y="62"/>
                    </a:lnTo>
                    <a:lnTo>
                      <a:pt x="345" y="66"/>
                    </a:lnTo>
                    <a:lnTo>
                      <a:pt x="341" y="66"/>
                    </a:lnTo>
                    <a:lnTo>
                      <a:pt x="339" y="71"/>
                    </a:lnTo>
                    <a:lnTo>
                      <a:pt x="333" y="77"/>
                    </a:lnTo>
                    <a:lnTo>
                      <a:pt x="331" y="77"/>
                    </a:lnTo>
                    <a:lnTo>
                      <a:pt x="329" y="83"/>
                    </a:lnTo>
                    <a:lnTo>
                      <a:pt x="329" y="83"/>
                    </a:lnTo>
                    <a:lnTo>
                      <a:pt x="329" y="86"/>
                    </a:lnTo>
                    <a:lnTo>
                      <a:pt x="339" y="86"/>
                    </a:lnTo>
                    <a:lnTo>
                      <a:pt x="333" y="88"/>
                    </a:lnTo>
                    <a:lnTo>
                      <a:pt x="331" y="90"/>
                    </a:lnTo>
                    <a:lnTo>
                      <a:pt x="341" y="94"/>
                    </a:lnTo>
                    <a:lnTo>
                      <a:pt x="339" y="94"/>
                    </a:lnTo>
                    <a:lnTo>
                      <a:pt x="331" y="94"/>
                    </a:lnTo>
                    <a:lnTo>
                      <a:pt x="331" y="92"/>
                    </a:lnTo>
                    <a:lnTo>
                      <a:pt x="331" y="94"/>
                    </a:lnTo>
                    <a:lnTo>
                      <a:pt x="333" y="96"/>
                    </a:lnTo>
                    <a:lnTo>
                      <a:pt x="333" y="101"/>
                    </a:lnTo>
                    <a:lnTo>
                      <a:pt x="339" y="105"/>
                    </a:lnTo>
                    <a:lnTo>
                      <a:pt x="331" y="101"/>
                    </a:lnTo>
                    <a:lnTo>
                      <a:pt x="329" y="96"/>
                    </a:lnTo>
                    <a:lnTo>
                      <a:pt x="326" y="96"/>
                    </a:lnTo>
                    <a:lnTo>
                      <a:pt x="326" y="98"/>
                    </a:lnTo>
                    <a:lnTo>
                      <a:pt x="326" y="99"/>
                    </a:lnTo>
                    <a:lnTo>
                      <a:pt x="326" y="98"/>
                    </a:lnTo>
                    <a:lnTo>
                      <a:pt x="316" y="92"/>
                    </a:lnTo>
                    <a:lnTo>
                      <a:pt x="311" y="92"/>
                    </a:lnTo>
                    <a:lnTo>
                      <a:pt x="313" y="96"/>
                    </a:lnTo>
                    <a:lnTo>
                      <a:pt x="311" y="98"/>
                    </a:lnTo>
                    <a:lnTo>
                      <a:pt x="309" y="96"/>
                    </a:lnTo>
                    <a:lnTo>
                      <a:pt x="307" y="96"/>
                    </a:lnTo>
                    <a:lnTo>
                      <a:pt x="305" y="98"/>
                    </a:lnTo>
                    <a:lnTo>
                      <a:pt x="307" y="101"/>
                    </a:lnTo>
                    <a:lnTo>
                      <a:pt x="307" y="103"/>
                    </a:lnTo>
                    <a:lnTo>
                      <a:pt x="307" y="101"/>
                    </a:lnTo>
                    <a:lnTo>
                      <a:pt x="305" y="103"/>
                    </a:lnTo>
                    <a:lnTo>
                      <a:pt x="305" y="105"/>
                    </a:lnTo>
                    <a:lnTo>
                      <a:pt x="301" y="107"/>
                    </a:lnTo>
                    <a:lnTo>
                      <a:pt x="296" y="107"/>
                    </a:lnTo>
                    <a:lnTo>
                      <a:pt x="301" y="105"/>
                    </a:lnTo>
                    <a:lnTo>
                      <a:pt x="305" y="101"/>
                    </a:lnTo>
                    <a:lnTo>
                      <a:pt x="301" y="96"/>
                    </a:lnTo>
                    <a:lnTo>
                      <a:pt x="305" y="92"/>
                    </a:lnTo>
                    <a:lnTo>
                      <a:pt x="305" y="88"/>
                    </a:lnTo>
                    <a:lnTo>
                      <a:pt x="301" y="88"/>
                    </a:lnTo>
                    <a:lnTo>
                      <a:pt x="296" y="81"/>
                    </a:lnTo>
                    <a:lnTo>
                      <a:pt x="294" y="75"/>
                    </a:lnTo>
                    <a:lnTo>
                      <a:pt x="288" y="75"/>
                    </a:lnTo>
                    <a:lnTo>
                      <a:pt x="284" y="71"/>
                    </a:lnTo>
                    <a:lnTo>
                      <a:pt x="282" y="73"/>
                    </a:lnTo>
                    <a:lnTo>
                      <a:pt x="284" y="75"/>
                    </a:lnTo>
                    <a:lnTo>
                      <a:pt x="281" y="77"/>
                    </a:lnTo>
                    <a:lnTo>
                      <a:pt x="279" y="81"/>
                    </a:lnTo>
                    <a:lnTo>
                      <a:pt x="277" y="81"/>
                    </a:lnTo>
                    <a:lnTo>
                      <a:pt x="277" y="77"/>
                    </a:lnTo>
                    <a:lnTo>
                      <a:pt x="275" y="79"/>
                    </a:lnTo>
                    <a:lnTo>
                      <a:pt x="275" y="81"/>
                    </a:lnTo>
                    <a:lnTo>
                      <a:pt x="271" y="75"/>
                    </a:lnTo>
                    <a:lnTo>
                      <a:pt x="269" y="75"/>
                    </a:lnTo>
                    <a:lnTo>
                      <a:pt x="269" y="79"/>
                    </a:lnTo>
                    <a:lnTo>
                      <a:pt x="271" y="79"/>
                    </a:lnTo>
                    <a:lnTo>
                      <a:pt x="267" y="83"/>
                    </a:lnTo>
                    <a:lnTo>
                      <a:pt x="265" y="86"/>
                    </a:lnTo>
                    <a:lnTo>
                      <a:pt x="267" y="86"/>
                    </a:lnTo>
                    <a:lnTo>
                      <a:pt x="264" y="90"/>
                    </a:lnTo>
                    <a:lnTo>
                      <a:pt x="262" y="86"/>
                    </a:lnTo>
                    <a:lnTo>
                      <a:pt x="260" y="86"/>
                    </a:lnTo>
                    <a:lnTo>
                      <a:pt x="260" y="86"/>
                    </a:lnTo>
                    <a:lnTo>
                      <a:pt x="262" y="83"/>
                    </a:lnTo>
                    <a:lnTo>
                      <a:pt x="258" y="83"/>
                    </a:lnTo>
                    <a:lnTo>
                      <a:pt x="258" y="86"/>
                    </a:lnTo>
                    <a:lnTo>
                      <a:pt x="252" y="86"/>
                    </a:lnTo>
                    <a:lnTo>
                      <a:pt x="252" y="88"/>
                    </a:lnTo>
                    <a:lnTo>
                      <a:pt x="250" y="94"/>
                    </a:lnTo>
                    <a:lnTo>
                      <a:pt x="256" y="94"/>
                    </a:lnTo>
                    <a:lnTo>
                      <a:pt x="252" y="99"/>
                    </a:lnTo>
                    <a:lnTo>
                      <a:pt x="250" y="98"/>
                    </a:lnTo>
                    <a:lnTo>
                      <a:pt x="245" y="99"/>
                    </a:lnTo>
                    <a:lnTo>
                      <a:pt x="247" y="103"/>
                    </a:lnTo>
                    <a:lnTo>
                      <a:pt x="250" y="103"/>
                    </a:lnTo>
                    <a:lnTo>
                      <a:pt x="247" y="107"/>
                    </a:lnTo>
                    <a:lnTo>
                      <a:pt x="247" y="107"/>
                    </a:lnTo>
                    <a:lnTo>
                      <a:pt x="243" y="103"/>
                    </a:lnTo>
                    <a:lnTo>
                      <a:pt x="237" y="107"/>
                    </a:lnTo>
                    <a:lnTo>
                      <a:pt x="235" y="107"/>
                    </a:lnTo>
                    <a:lnTo>
                      <a:pt x="237" y="111"/>
                    </a:lnTo>
                    <a:lnTo>
                      <a:pt x="237" y="111"/>
                    </a:lnTo>
                    <a:lnTo>
                      <a:pt x="237" y="113"/>
                    </a:lnTo>
                    <a:lnTo>
                      <a:pt x="237" y="113"/>
                    </a:lnTo>
                    <a:lnTo>
                      <a:pt x="237" y="116"/>
                    </a:lnTo>
                    <a:lnTo>
                      <a:pt x="237" y="120"/>
                    </a:lnTo>
                    <a:lnTo>
                      <a:pt x="235" y="120"/>
                    </a:lnTo>
                    <a:lnTo>
                      <a:pt x="233" y="124"/>
                    </a:lnTo>
                    <a:lnTo>
                      <a:pt x="241" y="124"/>
                    </a:lnTo>
                    <a:lnTo>
                      <a:pt x="235" y="128"/>
                    </a:lnTo>
                    <a:lnTo>
                      <a:pt x="235" y="130"/>
                    </a:lnTo>
                    <a:lnTo>
                      <a:pt x="232" y="128"/>
                    </a:lnTo>
                    <a:lnTo>
                      <a:pt x="230" y="126"/>
                    </a:lnTo>
                    <a:lnTo>
                      <a:pt x="226" y="122"/>
                    </a:lnTo>
                    <a:lnTo>
                      <a:pt x="226" y="126"/>
                    </a:lnTo>
                    <a:lnTo>
                      <a:pt x="222" y="122"/>
                    </a:lnTo>
                    <a:lnTo>
                      <a:pt x="220" y="120"/>
                    </a:lnTo>
                    <a:lnTo>
                      <a:pt x="217" y="122"/>
                    </a:lnTo>
                    <a:lnTo>
                      <a:pt x="220" y="126"/>
                    </a:lnTo>
                    <a:lnTo>
                      <a:pt x="220" y="128"/>
                    </a:lnTo>
                    <a:lnTo>
                      <a:pt x="217" y="132"/>
                    </a:lnTo>
                    <a:lnTo>
                      <a:pt x="220" y="132"/>
                    </a:lnTo>
                    <a:lnTo>
                      <a:pt x="226" y="132"/>
                    </a:lnTo>
                    <a:lnTo>
                      <a:pt x="222" y="135"/>
                    </a:lnTo>
                    <a:lnTo>
                      <a:pt x="222" y="141"/>
                    </a:lnTo>
                    <a:lnTo>
                      <a:pt x="220" y="137"/>
                    </a:lnTo>
                    <a:lnTo>
                      <a:pt x="220" y="137"/>
                    </a:lnTo>
                    <a:lnTo>
                      <a:pt x="220" y="141"/>
                    </a:lnTo>
                    <a:lnTo>
                      <a:pt x="220" y="147"/>
                    </a:lnTo>
                    <a:lnTo>
                      <a:pt x="220" y="150"/>
                    </a:lnTo>
                    <a:lnTo>
                      <a:pt x="213" y="137"/>
                    </a:lnTo>
                    <a:lnTo>
                      <a:pt x="209" y="132"/>
                    </a:lnTo>
                    <a:lnTo>
                      <a:pt x="207" y="128"/>
                    </a:lnTo>
                    <a:lnTo>
                      <a:pt x="207" y="124"/>
                    </a:lnTo>
                    <a:lnTo>
                      <a:pt x="207" y="126"/>
                    </a:lnTo>
                    <a:lnTo>
                      <a:pt x="201" y="130"/>
                    </a:lnTo>
                    <a:lnTo>
                      <a:pt x="201" y="132"/>
                    </a:lnTo>
                    <a:lnTo>
                      <a:pt x="198" y="135"/>
                    </a:lnTo>
                    <a:lnTo>
                      <a:pt x="198" y="135"/>
                    </a:lnTo>
                    <a:lnTo>
                      <a:pt x="196" y="135"/>
                    </a:lnTo>
                    <a:lnTo>
                      <a:pt x="192" y="137"/>
                    </a:lnTo>
                    <a:lnTo>
                      <a:pt x="188" y="141"/>
                    </a:lnTo>
                    <a:lnTo>
                      <a:pt x="188" y="147"/>
                    </a:lnTo>
                    <a:lnTo>
                      <a:pt x="188" y="156"/>
                    </a:lnTo>
                    <a:lnTo>
                      <a:pt x="192" y="156"/>
                    </a:lnTo>
                    <a:lnTo>
                      <a:pt x="192" y="160"/>
                    </a:lnTo>
                    <a:lnTo>
                      <a:pt x="188" y="162"/>
                    </a:lnTo>
                    <a:lnTo>
                      <a:pt x="186" y="165"/>
                    </a:lnTo>
                    <a:lnTo>
                      <a:pt x="181" y="165"/>
                    </a:lnTo>
                    <a:lnTo>
                      <a:pt x="183" y="169"/>
                    </a:lnTo>
                    <a:lnTo>
                      <a:pt x="177" y="171"/>
                    </a:lnTo>
                    <a:lnTo>
                      <a:pt x="177" y="177"/>
                    </a:lnTo>
                    <a:lnTo>
                      <a:pt x="175" y="179"/>
                    </a:lnTo>
                    <a:lnTo>
                      <a:pt x="169" y="188"/>
                    </a:lnTo>
                    <a:lnTo>
                      <a:pt x="158" y="194"/>
                    </a:lnTo>
                    <a:lnTo>
                      <a:pt x="149" y="194"/>
                    </a:lnTo>
                    <a:lnTo>
                      <a:pt x="145" y="196"/>
                    </a:lnTo>
                    <a:lnTo>
                      <a:pt x="139" y="196"/>
                    </a:lnTo>
                    <a:lnTo>
                      <a:pt x="134" y="196"/>
                    </a:lnTo>
                    <a:lnTo>
                      <a:pt x="132" y="196"/>
                    </a:lnTo>
                    <a:lnTo>
                      <a:pt x="124" y="197"/>
                    </a:lnTo>
                    <a:lnTo>
                      <a:pt x="124" y="201"/>
                    </a:lnTo>
                    <a:lnTo>
                      <a:pt x="121" y="203"/>
                    </a:lnTo>
                    <a:lnTo>
                      <a:pt x="109" y="203"/>
                    </a:lnTo>
                    <a:lnTo>
                      <a:pt x="104" y="205"/>
                    </a:lnTo>
                    <a:lnTo>
                      <a:pt x="104" y="209"/>
                    </a:lnTo>
                    <a:lnTo>
                      <a:pt x="98" y="211"/>
                    </a:lnTo>
                    <a:lnTo>
                      <a:pt x="90" y="211"/>
                    </a:lnTo>
                    <a:lnTo>
                      <a:pt x="89" y="211"/>
                    </a:lnTo>
                    <a:lnTo>
                      <a:pt x="85" y="211"/>
                    </a:lnTo>
                    <a:lnTo>
                      <a:pt x="83" y="209"/>
                    </a:lnTo>
                    <a:lnTo>
                      <a:pt x="83" y="211"/>
                    </a:lnTo>
                    <a:lnTo>
                      <a:pt x="79" y="214"/>
                    </a:lnTo>
                    <a:lnTo>
                      <a:pt x="70" y="214"/>
                    </a:lnTo>
                    <a:lnTo>
                      <a:pt x="70" y="218"/>
                    </a:lnTo>
                    <a:lnTo>
                      <a:pt x="68" y="218"/>
                    </a:lnTo>
                    <a:lnTo>
                      <a:pt x="60" y="222"/>
                    </a:lnTo>
                    <a:lnTo>
                      <a:pt x="55" y="226"/>
                    </a:lnTo>
                    <a:lnTo>
                      <a:pt x="43" y="229"/>
                    </a:lnTo>
                    <a:lnTo>
                      <a:pt x="38" y="235"/>
                    </a:lnTo>
                    <a:lnTo>
                      <a:pt x="38" y="243"/>
                    </a:lnTo>
                    <a:lnTo>
                      <a:pt x="34" y="245"/>
                    </a:lnTo>
                    <a:lnTo>
                      <a:pt x="30" y="243"/>
                    </a:lnTo>
                    <a:lnTo>
                      <a:pt x="34" y="243"/>
                    </a:lnTo>
                    <a:lnTo>
                      <a:pt x="34" y="239"/>
                    </a:lnTo>
                    <a:lnTo>
                      <a:pt x="34" y="233"/>
                    </a:lnTo>
                    <a:lnTo>
                      <a:pt x="34" y="229"/>
                    </a:lnTo>
                    <a:lnTo>
                      <a:pt x="26" y="235"/>
                    </a:lnTo>
                    <a:lnTo>
                      <a:pt x="26" y="239"/>
                    </a:lnTo>
                    <a:lnTo>
                      <a:pt x="21" y="248"/>
                    </a:lnTo>
                    <a:lnTo>
                      <a:pt x="25" y="254"/>
                    </a:lnTo>
                    <a:lnTo>
                      <a:pt x="25" y="258"/>
                    </a:lnTo>
                    <a:lnTo>
                      <a:pt x="25" y="267"/>
                    </a:lnTo>
                    <a:lnTo>
                      <a:pt x="17" y="275"/>
                    </a:lnTo>
                    <a:lnTo>
                      <a:pt x="13" y="288"/>
                    </a:lnTo>
                    <a:lnTo>
                      <a:pt x="15" y="294"/>
                    </a:lnTo>
                    <a:lnTo>
                      <a:pt x="15" y="303"/>
                    </a:lnTo>
                    <a:lnTo>
                      <a:pt x="21" y="314"/>
                    </a:lnTo>
                    <a:lnTo>
                      <a:pt x="21" y="318"/>
                    </a:lnTo>
                    <a:lnTo>
                      <a:pt x="25" y="322"/>
                    </a:lnTo>
                    <a:lnTo>
                      <a:pt x="21" y="326"/>
                    </a:lnTo>
                    <a:lnTo>
                      <a:pt x="21" y="331"/>
                    </a:lnTo>
                    <a:lnTo>
                      <a:pt x="19" y="333"/>
                    </a:lnTo>
                    <a:lnTo>
                      <a:pt x="17" y="331"/>
                    </a:lnTo>
                    <a:lnTo>
                      <a:pt x="17" y="322"/>
                    </a:lnTo>
                    <a:lnTo>
                      <a:pt x="15" y="326"/>
                    </a:lnTo>
                    <a:lnTo>
                      <a:pt x="13" y="326"/>
                    </a:lnTo>
                    <a:lnTo>
                      <a:pt x="13" y="318"/>
                    </a:lnTo>
                    <a:lnTo>
                      <a:pt x="9" y="312"/>
                    </a:lnTo>
                    <a:lnTo>
                      <a:pt x="8" y="316"/>
                    </a:lnTo>
                    <a:lnTo>
                      <a:pt x="8" y="324"/>
                    </a:lnTo>
                    <a:lnTo>
                      <a:pt x="13" y="327"/>
                    </a:lnTo>
                    <a:lnTo>
                      <a:pt x="17" y="335"/>
                    </a:lnTo>
                    <a:lnTo>
                      <a:pt x="11" y="337"/>
                    </a:lnTo>
                    <a:lnTo>
                      <a:pt x="8" y="331"/>
                    </a:lnTo>
                    <a:lnTo>
                      <a:pt x="6" y="324"/>
                    </a:lnTo>
                    <a:lnTo>
                      <a:pt x="4" y="327"/>
                    </a:lnTo>
                    <a:lnTo>
                      <a:pt x="2" y="327"/>
                    </a:lnTo>
                    <a:lnTo>
                      <a:pt x="6" y="335"/>
                    </a:lnTo>
                    <a:lnTo>
                      <a:pt x="13" y="342"/>
                    </a:lnTo>
                    <a:lnTo>
                      <a:pt x="17" y="352"/>
                    </a:lnTo>
                    <a:lnTo>
                      <a:pt x="15" y="373"/>
                    </a:lnTo>
                    <a:lnTo>
                      <a:pt x="19" y="376"/>
                    </a:lnTo>
                    <a:lnTo>
                      <a:pt x="21" y="386"/>
                    </a:lnTo>
                    <a:lnTo>
                      <a:pt x="25" y="401"/>
                    </a:lnTo>
                    <a:lnTo>
                      <a:pt x="25" y="405"/>
                    </a:lnTo>
                    <a:lnTo>
                      <a:pt x="25" y="425"/>
                    </a:lnTo>
                    <a:lnTo>
                      <a:pt x="25" y="429"/>
                    </a:lnTo>
                    <a:lnTo>
                      <a:pt x="25" y="435"/>
                    </a:lnTo>
                    <a:lnTo>
                      <a:pt x="25" y="439"/>
                    </a:lnTo>
                    <a:lnTo>
                      <a:pt x="28" y="450"/>
                    </a:lnTo>
                    <a:lnTo>
                      <a:pt x="28" y="454"/>
                    </a:lnTo>
                    <a:lnTo>
                      <a:pt x="25" y="456"/>
                    </a:lnTo>
                    <a:lnTo>
                      <a:pt x="26" y="459"/>
                    </a:lnTo>
                    <a:lnTo>
                      <a:pt x="26" y="461"/>
                    </a:lnTo>
                    <a:lnTo>
                      <a:pt x="25" y="471"/>
                    </a:lnTo>
                    <a:lnTo>
                      <a:pt x="21" y="474"/>
                    </a:lnTo>
                    <a:lnTo>
                      <a:pt x="25" y="474"/>
                    </a:lnTo>
                    <a:lnTo>
                      <a:pt x="21" y="480"/>
                    </a:lnTo>
                    <a:lnTo>
                      <a:pt x="21" y="484"/>
                    </a:lnTo>
                    <a:lnTo>
                      <a:pt x="21" y="488"/>
                    </a:lnTo>
                    <a:lnTo>
                      <a:pt x="15" y="491"/>
                    </a:lnTo>
                    <a:lnTo>
                      <a:pt x="11" y="489"/>
                    </a:lnTo>
                    <a:lnTo>
                      <a:pt x="6" y="497"/>
                    </a:lnTo>
                    <a:lnTo>
                      <a:pt x="8" y="508"/>
                    </a:lnTo>
                    <a:lnTo>
                      <a:pt x="8" y="508"/>
                    </a:lnTo>
                    <a:lnTo>
                      <a:pt x="8" y="508"/>
                    </a:ln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0" name="Freeform 202"/>
              <p:cNvSpPr>
                <a:spLocks noEditPoints="1"/>
              </p:cNvSpPr>
              <p:nvPr/>
            </p:nvSpPr>
            <p:spPr bwMode="auto">
              <a:xfrm>
                <a:off x="5680" y="3881"/>
                <a:ext cx="295" cy="386"/>
              </a:xfrm>
              <a:custGeom>
                <a:avLst/>
                <a:gdLst/>
                <a:ahLst/>
                <a:cxnLst>
                  <a:cxn ang="0">
                    <a:pos x="2" y="333"/>
                  </a:cxn>
                  <a:cxn ang="0">
                    <a:pos x="239" y="81"/>
                  </a:cxn>
                  <a:cxn ang="0">
                    <a:pos x="246" y="64"/>
                  </a:cxn>
                  <a:cxn ang="0">
                    <a:pos x="250" y="66"/>
                  </a:cxn>
                  <a:cxn ang="0">
                    <a:pos x="201" y="219"/>
                  </a:cxn>
                  <a:cxn ang="0">
                    <a:pos x="235" y="188"/>
                  </a:cxn>
                  <a:cxn ang="0">
                    <a:pos x="252" y="164"/>
                  </a:cxn>
                  <a:cxn ang="0">
                    <a:pos x="271" y="151"/>
                  </a:cxn>
                  <a:cxn ang="0">
                    <a:pos x="280" y="138"/>
                  </a:cxn>
                  <a:cxn ang="0">
                    <a:pos x="295" y="111"/>
                  </a:cxn>
                  <a:cxn ang="0">
                    <a:pos x="271" y="115"/>
                  </a:cxn>
                  <a:cxn ang="0">
                    <a:pos x="250" y="89"/>
                  </a:cxn>
                  <a:cxn ang="0">
                    <a:pos x="244" y="70"/>
                  </a:cxn>
                  <a:cxn ang="0">
                    <a:pos x="243" y="90"/>
                  </a:cxn>
                  <a:cxn ang="0">
                    <a:pos x="235" y="75"/>
                  </a:cxn>
                  <a:cxn ang="0">
                    <a:pos x="233" y="49"/>
                  </a:cxn>
                  <a:cxn ang="0">
                    <a:pos x="239" y="30"/>
                  </a:cxn>
                  <a:cxn ang="0">
                    <a:pos x="229" y="19"/>
                  </a:cxn>
                  <a:cxn ang="0">
                    <a:pos x="222" y="17"/>
                  </a:cxn>
                  <a:cxn ang="0">
                    <a:pos x="216" y="0"/>
                  </a:cxn>
                  <a:cxn ang="0">
                    <a:pos x="212" y="26"/>
                  </a:cxn>
                  <a:cxn ang="0">
                    <a:pos x="222" y="57"/>
                  </a:cxn>
                  <a:cxn ang="0">
                    <a:pos x="227" y="64"/>
                  </a:cxn>
                  <a:cxn ang="0">
                    <a:pos x="222" y="68"/>
                  </a:cxn>
                  <a:cxn ang="0">
                    <a:pos x="227" y="90"/>
                  </a:cxn>
                  <a:cxn ang="0">
                    <a:pos x="222" y="109"/>
                  </a:cxn>
                  <a:cxn ang="0">
                    <a:pos x="212" y="139"/>
                  </a:cxn>
                  <a:cxn ang="0">
                    <a:pos x="201" y="162"/>
                  </a:cxn>
                  <a:cxn ang="0">
                    <a:pos x="201" y="198"/>
                  </a:cxn>
                  <a:cxn ang="0">
                    <a:pos x="177" y="194"/>
                  </a:cxn>
                  <a:cxn ang="0">
                    <a:pos x="177" y="198"/>
                  </a:cxn>
                  <a:cxn ang="0">
                    <a:pos x="177" y="203"/>
                  </a:cxn>
                  <a:cxn ang="0">
                    <a:pos x="22" y="373"/>
                  </a:cxn>
                  <a:cxn ang="0">
                    <a:pos x="2" y="386"/>
                  </a:cxn>
                  <a:cxn ang="0">
                    <a:pos x="11" y="365"/>
                  </a:cxn>
                  <a:cxn ang="0">
                    <a:pos x="15" y="377"/>
                  </a:cxn>
                  <a:cxn ang="0">
                    <a:pos x="5" y="382"/>
                  </a:cxn>
                  <a:cxn ang="0">
                    <a:pos x="0" y="343"/>
                  </a:cxn>
                  <a:cxn ang="0">
                    <a:pos x="11" y="322"/>
                  </a:cxn>
                  <a:cxn ang="0">
                    <a:pos x="26" y="309"/>
                  </a:cxn>
                  <a:cxn ang="0">
                    <a:pos x="41" y="294"/>
                  </a:cxn>
                  <a:cxn ang="0">
                    <a:pos x="69" y="284"/>
                  </a:cxn>
                  <a:cxn ang="0">
                    <a:pos x="94" y="260"/>
                  </a:cxn>
                  <a:cxn ang="0">
                    <a:pos x="124" y="230"/>
                  </a:cxn>
                  <a:cxn ang="0">
                    <a:pos x="147" y="207"/>
                  </a:cxn>
                  <a:cxn ang="0">
                    <a:pos x="163" y="194"/>
                  </a:cxn>
                  <a:cxn ang="0">
                    <a:pos x="167" y="207"/>
                  </a:cxn>
                  <a:cxn ang="0">
                    <a:pos x="180" y="205"/>
                  </a:cxn>
                  <a:cxn ang="0">
                    <a:pos x="184" y="207"/>
                  </a:cxn>
                  <a:cxn ang="0">
                    <a:pos x="171" y="237"/>
                  </a:cxn>
                  <a:cxn ang="0">
                    <a:pos x="147" y="266"/>
                  </a:cxn>
                  <a:cxn ang="0">
                    <a:pos x="137" y="288"/>
                  </a:cxn>
                  <a:cxn ang="0">
                    <a:pos x="130" y="284"/>
                  </a:cxn>
                  <a:cxn ang="0">
                    <a:pos x="118" y="284"/>
                  </a:cxn>
                  <a:cxn ang="0">
                    <a:pos x="103" y="298"/>
                  </a:cxn>
                  <a:cxn ang="0">
                    <a:pos x="81" y="335"/>
                  </a:cxn>
                  <a:cxn ang="0">
                    <a:pos x="67" y="349"/>
                  </a:cxn>
                  <a:cxn ang="0">
                    <a:pos x="51" y="364"/>
                  </a:cxn>
                  <a:cxn ang="0">
                    <a:pos x="26" y="365"/>
                  </a:cxn>
                  <a:cxn ang="0">
                    <a:pos x="11" y="352"/>
                  </a:cxn>
                </a:cxnLst>
                <a:rect l="0" t="0" r="r" b="b"/>
                <a:pathLst>
                  <a:path w="295" h="386">
                    <a:moveTo>
                      <a:pt x="2" y="333"/>
                    </a:moveTo>
                    <a:lnTo>
                      <a:pt x="2" y="333"/>
                    </a:lnTo>
                    <a:lnTo>
                      <a:pt x="5" y="333"/>
                    </a:lnTo>
                    <a:lnTo>
                      <a:pt x="5" y="332"/>
                    </a:lnTo>
                    <a:lnTo>
                      <a:pt x="2" y="332"/>
                    </a:lnTo>
                    <a:lnTo>
                      <a:pt x="2" y="333"/>
                    </a:lnTo>
                    <a:lnTo>
                      <a:pt x="2" y="333"/>
                    </a:lnTo>
                    <a:lnTo>
                      <a:pt x="2" y="333"/>
                    </a:lnTo>
                    <a:lnTo>
                      <a:pt x="2" y="333"/>
                    </a:lnTo>
                    <a:lnTo>
                      <a:pt x="2" y="333"/>
                    </a:lnTo>
                    <a:close/>
                    <a:moveTo>
                      <a:pt x="239" y="81"/>
                    </a:moveTo>
                    <a:lnTo>
                      <a:pt x="241" y="81"/>
                    </a:lnTo>
                    <a:lnTo>
                      <a:pt x="241" y="83"/>
                    </a:lnTo>
                    <a:lnTo>
                      <a:pt x="239" y="83"/>
                    </a:lnTo>
                    <a:lnTo>
                      <a:pt x="239" y="81"/>
                    </a:lnTo>
                    <a:lnTo>
                      <a:pt x="239" y="81"/>
                    </a:lnTo>
                    <a:lnTo>
                      <a:pt x="239" y="81"/>
                    </a:lnTo>
                    <a:lnTo>
                      <a:pt x="239" y="81"/>
                    </a:lnTo>
                    <a:close/>
                    <a:moveTo>
                      <a:pt x="244" y="64"/>
                    </a:moveTo>
                    <a:lnTo>
                      <a:pt x="243" y="64"/>
                    </a:lnTo>
                    <a:lnTo>
                      <a:pt x="244" y="64"/>
                    </a:lnTo>
                    <a:lnTo>
                      <a:pt x="244" y="64"/>
                    </a:lnTo>
                    <a:lnTo>
                      <a:pt x="244" y="64"/>
                    </a:lnTo>
                    <a:lnTo>
                      <a:pt x="244" y="64"/>
                    </a:lnTo>
                    <a:lnTo>
                      <a:pt x="244" y="64"/>
                    </a:lnTo>
                    <a:close/>
                    <a:moveTo>
                      <a:pt x="250" y="66"/>
                    </a:moveTo>
                    <a:lnTo>
                      <a:pt x="246" y="64"/>
                    </a:lnTo>
                    <a:lnTo>
                      <a:pt x="250" y="60"/>
                    </a:lnTo>
                    <a:lnTo>
                      <a:pt x="250" y="60"/>
                    </a:lnTo>
                    <a:lnTo>
                      <a:pt x="250" y="64"/>
                    </a:lnTo>
                    <a:lnTo>
                      <a:pt x="250" y="64"/>
                    </a:lnTo>
                    <a:lnTo>
                      <a:pt x="250" y="66"/>
                    </a:lnTo>
                    <a:lnTo>
                      <a:pt x="250" y="66"/>
                    </a:lnTo>
                    <a:lnTo>
                      <a:pt x="250" y="66"/>
                    </a:lnTo>
                    <a:lnTo>
                      <a:pt x="250" y="66"/>
                    </a:lnTo>
                    <a:lnTo>
                      <a:pt x="250" y="66"/>
                    </a:lnTo>
                    <a:close/>
                    <a:moveTo>
                      <a:pt x="188" y="213"/>
                    </a:moveTo>
                    <a:lnTo>
                      <a:pt x="192" y="213"/>
                    </a:lnTo>
                    <a:lnTo>
                      <a:pt x="195" y="209"/>
                    </a:lnTo>
                    <a:lnTo>
                      <a:pt x="197" y="209"/>
                    </a:lnTo>
                    <a:lnTo>
                      <a:pt x="197" y="215"/>
                    </a:lnTo>
                    <a:lnTo>
                      <a:pt x="197" y="217"/>
                    </a:lnTo>
                    <a:lnTo>
                      <a:pt x="197" y="217"/>
                    </a:lnTo>
                    <a:lnTo>
                      <a:pt x="197" y="217"/>
                    </a:lnTo>
                    <a:lnTo>
                      <a:pt x="201" y="219"/>
                    </a:lnTo>
                    <a:lnTo>
                      <a:pt x="197" y="219"/>
                    </a:lnTo>
                    <a:lnTo>
                      <a:pt x="201" y="222"/>
                    </a:lnTo>
                    <a:lnTo>
                      <a:pt x="203" y="222"/>
                    </a:lnTo>
                    <a:lnTo>
                      <a:pt x="209" y="217"/>
                    </a:lnTo>
                    <a:lnTo>
                      <a:pt x="216" y="209"/>
                    </a:lnTo>
                    <a:lnTo>
                      <a:pt x="222" y="205"/>
                    </a:lnTo>
                    <a:lnTo>
                      <a:pt x="226" y="200"/>
                    </a:lnTo>
                    <a:lnTo>
                      <a:pt x="231" y="190"/>
                    </a:lnTo>
                    <a:lnTo>
                      <a:pt x="235" y="188"/>
                    </a:lnTo>
                    <a:lnTo>
                      <a:pt x="237" y="188"/>
                    </a:lnTo>
                    <a:lnTo>
                      <a:pt x="239" y="188"/>
                    </a:lnTo>
                    <a:lnTo>
                      <a:pt x="239" y="185"/>
                    </a:lnTo>
                    <a:lnTo>
                      <a:pt x="241" y="183"/>
                    </a:lnTo>
                    <a:lnTo>
                      <a:pt x="244" y="181"/>
                    </a:lnTo>
                    <a:lnTo>
                      <a:pt x="246" y="173"/>
                    </a:lnTo>
                    <a:lnTo>
                      <a:pt x="250" y="168"/>
                    </a:lnTo>
                    <a:lnTo>
                      <a:pt x="250" y="166"/>
                    </a:lnTo>
                    <a:lnTo>
                      <a:pt x="252" y="164"/>
                    </a:lnTo>
                    <a:lnTo>
                      <a:pt x="250" y="160"/>
                    </a:lnTo>
                    <a:lnTo>
                      <a:pt x="246" y="160"/>
                    </a:lnTo>
                    <a:lnTo>
                      <a:pt x="244" y="160"/>
                    </a:lnTo>
                    <a:lnTo>
                      <a:pt x="246" y="158"/>
                    </a:lnTo>
                    <a:lnTo>
                      <a:pt x="250" y="158"/>
                    </a:lnTo>
                    <a:lnTo>
                      <a:pt x="258" y="151"/>
                    </a:lnTo>
                    <a:lnTo>
                      <a:pt x="261" y="149"/>
                    </a:lnTo>
                    <a:lnTo>
                      <a:pt x="267" y="151"/>
                    </a:lnTo>
                    <a:lnTo>
                      <a:pt x="271" y="151"/>
                    </a:lnTo>
                    <a:lnTo>
                      <a:pt x="269" y="153"/>
                    </a:lnTo>
                    <a:lnTo>
                      <a:pt x="271" y="155"/>
                    </a:lnTo>
                    <a:lnTo>
                      <a:pt x="271" y="153"/>
                    </a:lnTo>
                    <a:lnTo>
                      <a:pt x="276" y="151"/>
                    </a:lnTo>
                    <a:lnTo>
                      <a:pt x="271" y="149"/>
                    </a:lnTo>
                    <a:lnTo>
                      <a:pt x="271" y="145"/>
                    </a:lnTo>
                    <a:lnTo>
                      <a:pt x="275" y="139"/>
                    </a:lnTo>
                    <a:lnTo>
                      <a:pt x="276" y="136"/>
                    </a:lnTo>
                    <a:lnTo>
                      <a:pt x="280" y="138"/>
                    </a:lnTo>
                    <a:lnTo>
                      <a:pt x="280" y="138"/>
                    </a:lnTo>
                    <a:lnTo>
                      <a:pt x="280" y="136"/>
                    </a:lnTo>
                    <a:lnTo>
                      <a:pt x="282" y="134"/>
                    </a:lnTo>
                    <a:lnTo>
                      <a:pt x="288" y="124"/>
                    </a:lnTo>
                    <a:lnTo>
                      <a:pt x="288" y="124"/>
                    </a:lnTo>
                    <a:lnTo>
                      <a:pt x="288" y="122"/>
                    </a:lnTo>
                    <a:lnTo>
                      <a:pt x="290" y="115"/>
                    </a:lnTo>
                    <a:lnTo>
                      <a:pt x="291" y="113"/>
                    </a:lnTo>
                    <a:lnTo>
                      <a:pt x="295" y="111"/>
                    </a:lnTo>
                    <a:lnTo>
                      <a:pt x="295" y="111"/>
                    </a:lnTo>
                    <a:lnTo>
                      <a:pt x="290" y="109"/>
                    </a:lnTo>
                    <a:lnTo>
                      <a:pt x="288" y="106"/>
                    </a:lnTo>
                    <a:lnTo>
                      <a:pt x="290" y="106"/>
                    </a:lnTo>
                    <a:lnTo>
                      <a:pt x="290" y="106"/>
                    </a:lnTo>
                    <a:lnTo>
                      <a:pt x="286" y="104"/>
                    </a:lnTo>
                    <a:lnTo>
                      <a:pt x="282" y="107"/>
                    </a:lnTo>
                    <a:lnTo>
                      <a:pt x="276" y="115"/>
                    </a:lnTo>
                    <a:lnTo>
                      <a:pt x="271" y="115"/>
                    </a:lnTo>
                    <a:lnTo>
                      <a:pt x="269" y="115"/>
                    </a:lnTo>
                    <a:lnTo>
                      <a:pt x="265" y="115"/>
                    </a:lnTo>
                    <a:lnTo>
                      <a:pt x="258" y="106"/>
                    </a:lnTo>
                    <a:lnTo>
                      <a:pt x="256" y="107"/>
                    </a:lnTo>
                    <a:lnTo>
                      <a:pt x="252" y="104"/>
                    </a:lnTo>
                    <a:lnTo>
                      <a:pt x="250" y="100"/>
                    </a:lnTo>
                    <a:lnTo>
                      <a:pt x="252" y="98"/>
                    </a:lnTo>
                    <a:lnTo>
                      <a:pt x="254" y="94"/>
                    </a:lnTo>
                    <a:lnTo>
                      <a:pt x="250" y="89"/>
                    </a:lnTo>
                    <a:lnTo>
                      <a:pt x="250" y="85"/>
                    </a:lnTo>
                    <a:lnTo>
                      <a:pt x="250" y="83"/>
                    </a:lnTo>
                    <a:lnTo>
                      <a:pt x="250" y="79"/>
                    </a:lnTo>
                    <a:lnTo>
                      <a:pt x="250" y="77"/>
                    </a:lnTo>
                    <a:lnTo>
                      <a:pt x="250" y="77"/>
                    </a:lnTo>
                    <a:lnTo>
                      <a:pt x="250" y="72"/>
                    </a:lnTo>
                    <a:lnTo>
                      <a:pt x="246" y="70"/>
                    </a:lnTo>
                    <a:lnTo>
                      <a:pt x="246" y="72"/>
                    </a:lnTo>
                    <a:lnTo>
                      <a:pt x="244" y="70"/>
                    </a:lnTo>
                    <a:lnTo>
                      <a:pt x="243" y="70"/>
                    </a:lnTo>
                    <a:lnTo>
                      <a:pt x="246" y="74"/>
                    </a:lnTo>
                    <a:lnTo>
                      <a:pt x="246" y="77"/>
                    </a:lnTo>
                    <a:lnTo>
                      <a:pt x="246" y="79"/>
                    </a:lnTo>
                    <a:lnTo>
                      <a:pt x="244" y="81"/>
                    </a:lnTo>
                    <a:lnTo>
                      <a:pt x="244" y="85"/>
                    </a:lnTo>
                    <a:lnTo>
                      <a:pt x="246" y="85"/>
                    </a:lnTo>
                    <a:lnTo>
                      <a:pt x="246" y="90"/>
                    </a:lnTo>
                    <a:lnTo>
                      <a:pt x="243" y="90"/>
                    </a:lnTo>
                    <a:lnTo>
                      <a:pt x="241" y="89"/>
                    </a:lnTo>
                    <a:lnTo>
                      <a:pt x="241" y="85"/>
                    </a:lnTo>
                    <a:lnTo>
                      <a:pt x="237" y="85"/>
                    </a:lnTo>
                    <a:lnTo>
                      <a:pt x="237" y="83"/>
                    </a:lnTo>
                    <a:lnTo>
                      <a:pt x="233" y="81"/>
                    </a:lnTo>
                    <a:lnTo>
                      <a:pt x="231" y="81"/>
                    </a:lnTo>
                    <a:lnTo>
                      <a:pt x="231" y="79"/>
                    </a:lnTo>
                    <a:lnTo>
                      <a:pt x="233" y="77"/>
                    </a:lnTo>
                    <a:lnTo>
                      <a:pt x="235" y="75"/>
                    </a:lnTo>
                    <a:lnTo>
                      <a:pt x="231" y="72"/>
                    </a:lnTo>
                    <a:lnTo>
                      <a:pt x="235" y="68"/>
                    </a:lnTo>
                    <a:lnTo>
                      <a:pt x="237" y="68"/>
                    </a:lnTo>
                    <a:lnTo>
                      <a:pt x="239" y="64"/>
                    </a:lnTo>
                    <a:lnTo>
                      <a:pt x="237" y="60"/>
                    </a:lnTo>
                    <a:lnTo>
                      <a:pt x="237" y="60"/>
                    </a:lnTo>
                    <a:lnTo>
                      <a:pt x="237" y="57"/>
                    </a:lnTo>
                    <a:lnTo>
                      <a:pt x="237" y="53"/>
                    </a:lnTo>
                    <a:lnTo>
                      <a:pt x="233" y="49"/>
                    </a:lnTo>
                    <a:lnTo>
                      <a:pt x="233" y="47"/>
                    </a:lnTo>
                    <a:lnTo>
                      <a:pt x="235" y="49"/>
                    </a:lnTo>
                    <a:lnTo>
                      <a:pt x="239" y="49"/>
                    </a:lnTo>
                    <a:lnTo>
                      <a:pt x="239" y="43"/>
                    </a:lnTo>
                    <a:lnTo>
                      <a:pt x="241" y="43"/>
                    </a:lnTo>
                    <a:lnTo>
                      <a:pt x="241" y="38"/>
                    </a:lnTo>
                    <a:lnTo>
                      <a:pt x="239" y="34"/>
                    </a:lnTo>
                    <a:lnTo>
                      <a:pt x="241" y="30"/>
                    </a:lnTo>
                    <a:lnTo>
                      <a:pt x="239" y="30"/>
                    </a:lnTo>
                    <a:lnTo>
                      <a:pt x="233" y="34"/>
                    </a:lnTo>
                    <a:lnTo>
                      <a:pt x="229" y="30"/>
                    </a:lnTo>
                    <a:lnTo>
                      <a:pt x="231" y="28"/>
                    </a:lnTo>
                    <a:lnTo>
                      <a:pt x="229" y="26"/>
                    </a:lnTo>
                    <a:lnTo>
                      <a:pt x="227" y="26"/>
                    </a:lnTo>
                    <a:lnTo>
                      <a:pt x="229" y="21"/>
                    </a:lnTo>
                    <a:lnTo>
                      <a:pt x="233" y="21"/>
                    </a:lnTo>
                    <a:lnTo>
                      <a:pt x="233" y="19"/>
                    </a:lnTo>
                    <a:lnTo>
                      <a:pt x="229" y="19"/>
                    </a:lnTo>
                    <a:lnTo>
                      <a:pt x="226" y="17"/>
                    </a:lnTo>
                    <a:lnTo>
                      <a:pt x="226" y="17"/>
                    </a:lnTo>
                    <a:lnTo>
                      <a:pt x="226" y="13"/>
                    </a:lnTo>
                    <a:lnTo>
                      <a:pt x="226" y="13"/>
                    </a:lnTo>
                    <a:lnTo>
                      <a:pt x="226" y="11"/>
                    </a:lnTo>
                    <a:lnTo>
                      <a:pt x="226" y="11"/>
                    </a:lnTo>
                    <a:lnTo>
                      <a:pt x="222" y="13"/>
                    </a:lnTo>
                    <a:lnTo>
                      <a:pt x="222" y="15"/>
                    </a:lnTo>
                    <a:lnTo>
                      <a:pt x="222" y="17"/>
                    </a:lnTo>
                    <a:lnTo>
                      <a:pt x="220" y="17"/>
                    </a:lnTo>
                    <a:lnTo>
                      <a:pt x="220" y="13"/>
                    </a:lnTo>
                    <a:lnTo>
                      <a:pt x="220" y="11"/>
                    </a:lnTo>
                    <a:lnTo>
                      <a:pt x="218" y="6"/>
                    </a:lnTo>
                    <a:lnTo>
                      <a:pt x="218" y="2"/>
                    </a:lnTo>
                    <a:lnTo>
                      <a:pt x="218" y="2"/>
                    </a:lnTo>
                    <a:lnTo>
                      <a:pt x="220" y="0"/>
                    </a:lnTo>
                    <a:lnTo>
                      <a:pt x="218" y="0"/>
                    </a:lnTo>
                    <a:lnTo>
                      <a:pt x="216" y="0"/>
                    </a:lnTo>
                    <a:lnTo>
                      <a:pt x="211" y="0"/>
                    </a:lnTo>
                    <a:lnTo>
                      <a:pt x="211" y="2"/>
                    </a:lnTo>
                    <a:lnTo>
                      <a:pt x="212" y="4"/>
                    </a:lnTo>
                    <a:lnTo>
                      <a:pt x="216" y="13"/>
                    </a:lnTo>
                    <a:lnTo>
                      <a:pt x="218" y="17"/>
                    </a:lnTo>
                    <a:lnTo>
                      <a:pt x="216" y="25"/>
                    </a:lnTo>
                    <a:lnTo>
                      <a:pt x="216" y="26"/>
                    </a:lnTo>
                    <a:lnTo>
                      <a:pt x="214" y="26"/>
                    </a:lnTo>
                    <a:lnTo>
                      <a:pt x="212" y="26"/>
                    </a:lnTo>
                    <a:lnTo>
                      <a:pt x="216" y="34"/>
                    </a:lnTo>
                    <a:lnTo>
                      <a:pt x="216" y="34"/>
                    </a:lnTo>
                    <a:lnTo>
                      <a:pt x="220" y="34"/>
                    </a:lnTo>
                    <a:lnTo>
                      <a:pt x="222" y="34"/>
                    </a:lnTo>
                    <a:lnTo>
                      <a:pt x="222" y="34"/>
                    </a:lnTo>
                    <a:lnTo>
                      <a:pt x="218" y="36"/>
                    </a:lnTo>
                    <a:lnTo>
                      <a:pt x="220" y="41"/>
                    </a:lnTo>
                    <a:lnTo>
                      <a:pt x="222" y="47"/>
                    </a:lnTo>
                    <a:lnTo>
                      <a:pt x="222" y="57"/>
                    </a:lnTo>
                    <a:lnTo>
                      <a:pt x="222" y="60"/>
                    </a:lnTo>
                    <a:lnTo>
                      <a:pt x="222" y="64"/>
                    </a:lnTo>
                    <a:lnTo>
                      <a:pt x="222" y="64"/>
                    </a:lnTo>
                    <a:lnTo>
                      <a:pt x="226" y="60"/>
                    </a:lnTo>
                    <a:lnTo>
                      <a:pt x="222" y="60"/>
                    </a:lnTo>
                    <a:lnTo>
                      <a:pt x="226" y="58"/>
                    </a:lnTo>
                    <a:lnTo>
                      <a:pt x="226" y="60"/>
                    </a:lnTo>
                    <a:lnTo>
                      <a:pt x="226" y="64"/>
                    </a:lnTo>
                    <a:lnTo>
                      <a:pt x="227" y="64"/>
                    </a:lnTo>
                    <a:lnTo>
                      <a:pt x="227" y="60"/>
                    </a:lnTo>
                    <a:lnTo>
                      <a:pt x="227" y="60"/>
                    </a:lnTo>
                    <a:lnTo>
                      <a:pt x="227" y="60"/>
                    </a:lnTo>
                    <a:lnTo>
                      <a:pt x="229" y="64"/>
                    </a:lnTo>
                    <a:lnTo>
                      <a:pt x="226" y="66"/>
                    </a:lnTo>
                    <a:lnTo>
                      <a:pt x="226" y="68"/>
                    </a:lnTo>
                    <a:lnTo>
                      <a:pt x="226" y="70"/>
                    </a:lnTo>
                    <a:lnTo>
                      <a:pt x="226" y="72"/>
                    </a:lnTo>
                    <a:lnTo>
                      <a:pt x="222" y="68"/>
                    </a:lnTo>
                    <a:lnTo>
                      <a:pt x="222" y="68"/>
                    </a:lnTo>
                    <a:lnTo>
                      <a:pt x="222" y="75"/>
                    </a:lnTo>
                    <a:lnTo>
                      <a:pt x="226" y="83"/>
                    </a:lnTo>
                    <a:lnTo>
                      <a:pt x="226" y="83"/>
                    </a:lnTo>
                    <a:lnTo>
                      <a:pt x="227" y="83"/>
                    </a:lnTo>
                    <a:lnTo>
                      <a:pt x="229" y="85"/>
                    </a:lnTo>
                    <a:lnTo>
                      <a:pt x="229" y="85"/>
                    </a:lnTo>
                    <a:lnTo>
                      <a:pt x="231" y="89"/>
                    </a:lnTo>
                    <a:lnTo>
                      <a:pt x="227" y="90"/>
                    </a:lnTo>
                    <a:lnTo>
                      <a:pt x="227" y="90"/>
                    </a:lnTo>
                    <a:lnTo>
                      <a:pt x="227" y="94"/>
                    </a:lnTo>
                    <a:lnTo>
                      <a:pt x="227" y="94"/>
                    </a:lnTo>
                    <a:lnTo>
                      <a:pt x="226" y="104"/>
                    </a:lnTo>
                    <a:lnTo>
                      <a:pt x="226" y="104"/>
                    </a:lnTo>
                    <a:lnTo>
                      <a:pt x="226" y="106"/>
                    </a:lnTo>
                    <a:lnTo>
                      <a:pt x="226" y="107"/>
                    </a:lnTo>
                    <a:lnTo>
                      <a:pt x="226" y="109"/>
                    </a:lnTo>
                    <a:lnTo>
                      <a:pt x="222" y="109"/>
                    </a:lnTo>
                    <a:lnTo>
                      <a:pt x="222" y="113"/>
                    </a:lnTo>
                    <a:lnTo>
                      <a:pt x="222" y="115"/>
                    </a:lnTo>
                    <a:lnTo>
                      <a:pt x="222" y="115"/>
                    </a:lnTo>
                    <a:lnTo>
                      <a:pt x="222" y="115"/>
                    </a:lnTo>
                    <a:lnTo>
                      <a:pt x="220" y="119"/>
                    </a:lnTo>
                    <a:lnTo>
                      <a:pt x="218" y="122"/>
                    </a:lnTo>
                    <a:lnTo>
                      <a:pt x="216" y="134"/>
                    </a:lnTo>
                    <a:lnTo>
                      <a:pt x="214" y="138"/>
                    </a:lnTo>
                    <a:lnTo>
                      <a:pt x="212" y="139"/>
                    </a:lnTo>
                    <a:lnTo>
                      <a:pt x="209" y="139"/>
                    </a:lnTo>
                    <a:lnTo>
                      <a:pt x="207" y="139"/>
                    </a:lnTo>
                    <a:lnTo>
                      <a:pt x="203" y="139"/>
                    </a:lnTo>
                    <a:lnTo>
                      <a:pt x="197" y="143"/>
                    </a:lnTo>
                    <a:lnTo>
                      <a:pt x="192" y="147"/>
                    </a:lnTo>
                    <a:lnTo>
                      <a:pt x="192" y="151"/>
                    </a:lnTo>
                    <a:lnTo>
                      <a:pt x="192" y="155"/>
                    </a:lnTo>
                    <a:lnTo>
                      <a:pt x="197" y="158"/>
                    </a:lnTo>
                    <a:lnTo>
                      <a:pt x="201" y="162"/>
                    </a:lnTo>
                    <a:lnTo>
                      <a:pt x="203" y="166"/>
                    </a:lnTo>
                    <a:lnTo>
                      <a:pt x="209" y="168"/>
                    </a:lnTo>
                    <a:lnTo>
                      <a:pt x="211" y="170"/>
                    </a:lnTo>
                    <a:lnTo>
                      <a:pt x="211" y="179"/>
                    </a:lnTo>
                    <a:lnTo>
                      <a:pt x="212" y="179"/>
                    </a:lnTo>
                    <a:lnTo>
                      <a:pt x="211" y="181"/>
                    </a:lnTo>
                    <a:lnTo>
                      <a:pt x="211" y="185"/>
                    </a:lnTo>
                    <a:lnTo>
                      <a:pt x="209" y="188"/>
                    </a:lnTo>
                    <a:lnTo>
                      <a:pt x="201" y="198"/>
                    </a:lnTo>
                    <a:lnTo>
                      <a:pt x="197" y="203"/>
                    </a:lnTo>
                    <a:lnTo>
                      <a:pt x="192" y="207"/>
                    </a:lnTo>
                    <a:lnTo>
                      <a:pt x="188" y="209"/>
                    </a:lnTo>
                    <a:lnTo>
                      <a:pt x="188" y="213"/>
                    </a:lnTo>
                    <a:lnTo>
                      <a:pt x="188" y="213"/>
                    </a:lnTo>
                    <a:lnTo>
                      <a:pt x="188" y="213"/>
                    </a:lnTo>
                    <a:lnTo>
                      <a:pt x="188" y="213"/>
                    </a:lnTo>
                    <a:close/>
                    <a:moveTo>
                      <a:pt x="177" y="198"/>
                    </a:moveTo>
                    <a:lnTo>
                      <a:pt x="177" y="194"/>
                    </a:lnTo>
                    <a:lnTo>
                      <a:pt x="180" y="192"/>
                    </a:lnTo>
                    <a:lnTo>
                      <a:pt x="182" y="192"/>
                    </a:lnTo>
                    <a:lnTo>
                      <a:pt x="182" y="194"/>
                    </a:lnTo>
                    <a:lnTo>
                      <a:pt x="180" y="198"/>
                    </a:lnTo>
                    <a:lnTo>
                      <a:pt x="179" y="198"/>
                    </a:lnTo>
                    <a:lnTo>
                      <a:pt x="177" y="198"/>
                    </a:lnTo>
                    <a:lnTo>
                      <a:pt x="177" y="198"/>
                    </a:lnTo>
                    <a:lnTo>
                      <a:pt x="177" y="198"/>
                    </a:lnTo>
                    <a:lnTo>
                      <a:pt x="177" y="198"/>
                    </a:lnTo>
                    <a:lnTo>
                      <a:pt x="177" y="198"/>
                    </a:lnTo>
                    <a:close/>
                    <a:moveTo>
                      <a:pt x="177" y="203"/>
                    </a:moveTo>
                    <a:lnTo>
                      <a:pt x="179" y="202"/>
                    </a:lnTo>
                    <a:lnTo>
                      <a:pt x="180" y="200"/>
                    </a:lnTo>
                    <a:lnTo>
                      <a:pt x="179" y="203"/>
                    </a:lnTo>
                    <a:lnTo>
                      <a:pt x="177" y="203"/>
                    </a:lnTo>
                    <a:lnTo>
                      <a:pt x="177" y="203"/>
                    </a:lnTo>
                    <a:lnTo>
                      <a:pt x="177" y="203"/>
                    </a:lnTo>
                    <a:lnTo>
                      <a:pt x="177" y="203"/>
                    </a:lnTo>
                    <a:close/>
                    <a:moveTo>
                      <a:pt x="173" y="202"/>
                    </a:moveTo>
                    <a:lnTo>
                      <a:pt x="177" y="202"/>
                    </a:lnTo>
                    <a:lnTo>
                      <a:pt x="177" y="202"/>
                    </a:lnTo>
                    <a:lnTo>
                      <a:pt x="177" y="200"/>
                    </a:lnTo>
                    <a:lnTo>
                      <a:pt x="173" y="202"/>
                    </a:lnTo>
                    <a:lnTo>
                      <a:pt x="173" y="202"/>
                    </a:lnTo>
                    <a:lnTo>
                      <a:pt x="173" y="202"/>
                    </a:lnTo>
                    <a:lnTo>
                      <a:pt x="173" y="202"/>
                    </a:lnTo>
                    <a:close/>
                    <a:moveTo>
                      <a:pt x="22" y="373"/>
                    </a:moveTo>
                    <a:lnTo>
                      <a:pt x="24" y="373"/>
                    </a:lnTo>
                    <a:lnTo>
                      <a:pt x="24" y="373"/>
                    </a:lnTo>
                    <a:lnTo>
                      <a:pt x="22" y="373"/>
                    </a:lnTo>
                    <a:lnTo>
                      <a:pt x="22" y="373"/>
                    </a:lnTo>
                    <a:lnTo>
                      <a:pt x="22" y="373"/>
                    </a:lnTo>
                    <a:lnTo>
                      <a:pt x="22" y="373"/>
                    </a:lnTo>
                    <a:close/>
                    <a:moveTo>
                      <a:pt x="5" y="382"/>
                    </a:moveTo>
                    <a:lnTo>
                      <a:pt x="2" y="386"/>
                    </a:lnTo>
                    <a:lnTo>
                      <a:pt x="2" y="386"/>
                    </a:lnTo>
                    <a:lnTo>
                      <a:pt x="2" y="382"/>
                    </a:lnTo>
                    <a:lnTo>
                      <a:pt x="5" y="381"/>
                    </a:lnTo>
                    <a:lnTo>
                      <a:pt x="5" y="381"/>
                    </a:lnTo>
                    <a:lnTo>
                      <a:pt x="5" y="377"/>
                    </a:lnTo>
                    <a:lnTo>
                      <a:pt x="9" y="377"/>
                    </a:lnTo>
                    <a:lnTo>
                      <a:pt x="9" y="373"/>
                    </a:lnTo>
                    <a:lnTo>
                      <a:pt x="9" y="369"/>
                    </a:lnTo>
                    <a:lnTo>
                      <a:pt x="9" y="367"/>
                    </a:lnTo>
                    <a:lnTo>
                      <a:pt x="11" y="365"/>
                    </a:lnTo>
                    <a:lnTo>
                      <a:pt x="15" y="369"/>
                    </a:lnTo>
                    <a:lnTo>
                      <a:pt x="17" y="373"/>
                    </a:lnTo>
                    <a:lnTo>
                      <a:pt x="19" y="373"/>
                    </a:lnTo>
                    <a:lnTo>
                      <a:pt x="17" y="373"/>
                    </a:lnTo>
                    <a:lnTo>
                      <a:pt x="15" y="373"/>
                    </a:lnTo>
                    <a:lnTo>
                      <a:pt x="15" y="373"/>
                    </a:lnTo>
                    <a:lnTo>
                      <a:pt x="15" y="373"/>
                    </a:lnTo>
                    <a:lnTo>
                      <a:pt x="15" y="373"/>
                    </a:lnTo>
                    <a:lnTo>
                      <a:pt x="15" y="377"/>
                    </a:lnTo>
                    <a:lnTo>
                      <a:pt x="17" y="377"/>
                    </a:lnTo>
                    <a:lnTo>
                      <a:pt x="17" y="381"/>
                    </a:lnTo>
                    <a:lnTo>
                      <a:pt x="17" y="381"/>
                    </a:lnTo>
                    <a:lnTo>
                      <a:pt x="15" y="381"/>
                    </a:lnTo>
                    <a:lnTo>
                      <a:pt x="11" y="382"/>
                    </a:lnTo>
                    <a:lnTo>
                      <a:pt x="9" y="382"/>
                    </a:lnTo>
                    <a:lnTo>
                      <a:pt x="9" y="382"/>
                    </a:lnTo>
                    <a:lnTo>
                      <a:pt x="5" y="382"/>
                    </a:lnTo>
                    <a:lnTo>
                      <a:pt x="5" y="382"/>
                    </a:lnTo>
                    <a:lnTo>
                      <a:pt x="5" y="382"/>
                    </a:lnTo>
                    <a:lnTo>
                      <a:pt x="5" y="382"/>
                    </a:lnTo>
                    <a:lnTo>
                      <a:pt x="5" y="382"/>
                    </a:lnTo>
                    <a:close/>
                    <a:moveTo>
                      <a:pt x="2" y="352"/>
                    </a:moveTo>
                    <a:lnTo>
                      <a:pt x="0" y="347"/>
                    </a:lnTo>
                    <a:lnTo>
                      <a:pt x="2" y="343"/>
                    </a:lnTo>
                    <a:lnTo>
                      <a:pt x="2" y="343"/>
                    </a:lnTo>
                    <a:lnTo>
                      <a:pt x="2" y="343"/>
                    </a:lnTo>
                    <a:lnTo>
                      <a:pt x="0" y="343"/>
                    </a:lnTo>
                    <a:lnTo>
                      <a:pt x="2" y="337"/>
                    </a:lnTo>
                    <a:lnTo>
                      <a:pt x="5" y="337"/>
                    </a:lnTo>
                    <a:lnTo>
                      <a:pt x="9" y="337"/>
                    </a:lnTo>
                    <a:lnTo>
                      <a:pt x="11" y="335"/>
                    </a:lnTo>
                    <a:lnTo>
                      <a:pt x="9" y="333"/>
                    </a:lnTo>
                    <a:lnTo>
                      <a:pt x="5" y="332"/>
                    </a:lnTo>
                    <a:lnTo>
                      <a:pt x="5" y="330"/>
                    </a:lnTo>
                    <a:lnTo>
                      <a:pt x="9" y="324"/>
                    </a:lnTo>
                    <a:lnTo>
                      <a:pt x="11" y="322"/>
                    </a:lnTo>
                    <a:lnTo>
                      <a:pt x="11" y="322"/>
                    </a:lnTo>
                    <a:lnTo>
                      <a:pt x="15" y="322"/>
                    </a:lnTo>
                    <a:lnTo>
                      <a:pt x="15" y="324"/>
                    </a:lnTo>
                    <a:lnTo>
                      <a:pt x="17" y="322"/>
                    </a:lnTo>
                    <a:lnTo>
                      <a:pt x="17" y="317"/>
                    </a:lnTo>
                    <a:lnTo>
                      <a:pt x="19" y="313"/>
                    </a:lnTo>
                    <a:lnTo>
                      <a:pt x="20" y="313"/>
                    </a:lnTo>
                    <a:lnTo>
                      <a:pt x="26" y="309"/>
                    </a:lnTo>
                    <a:lnTo>
                      <a:pt x="26" y="309"/>
                    </a:lnTo>
                    <a:lnTo>
                      <a:pt x="30" y="307"/>
                    </a:lnTo>
                    <a:lnTo>
                      <a:pt x="30" y="303"/>
                    </a:lnTo>
                    <a:lnTo>
                      <a:pt x="30" y="301"/>
                    </a:lnTo>
                    <a:lnTo>
                      <a:pt x="34" y="300"/>
                    </a:lnTo>
                    <a:lnTo>
                      <a:pt x="35" y="301"/>
                    </a:lnTo>
                    <a:lnTo>
                      <a:pt x="35" y="303"/>
                    </a:lnTo>
                    <a:lnTo>
                      <a:pt x="35" y="298"/>
                    </a:lnTo>
                    <a:lnTo>
                      <a:pt x="39" y="294"/>
                    </a:lnTo>
                    <a:lnTo>
                      <a:pt x="41" y="294"/>
                    </a:lnTo>
                    <a:lnTo>
                      <a:pt x="47" y="292"/>
                    </a:lnTo>
                    <a:lnTo>
                      <a:pt x="49" y="286"/>
                    </a:lnTo>
                    <a:lnTo>
                      <a:pt x="54" y="283"/>
                    </a:lnTo>
                    <a:lnTo>
                      <a:pt x="58" y="283"/>
                    </a:lnTo>
                    <a:lnTo>
                      <a:pt x="60" y="283"/>
                    </a:lnTo>
                    <a:lnTo>
                      <a:pt x="64" y="283"/>
                    </a:lnTo>
                    <a:lnTo>
                      <a:pt x="64" y="283"/>
                    </a:lnTo>
                    <a:lnTo>
                      <a:pt x="66" y="283"/>
                    </a:lnTo>
                    <a:lnTo>
                      <a:pt x="69" y="284"/>
                    </a:lnTo>
                    <a:lnTo>
                      <a:pt x="69" y="283"/>
                    </a:lnTo>
                    <a:lnTo>
                      <a:pt x="67" y="279"/>
                    </a:lnTo>
                    <a:lnTo>
                      <a:pt x="67" y="277"/>
                    </a:lnTo>
                    <a:lnTo>
                      <a:pt x="75" y="273"/>
                    </a:lnTo>
                    <a:lnTo>
                      <a:pt x="79" y="271"/>
                    </a:lnTo>
                    <a:lnTo>
                      <a:pt x="84" y="266"/>
                    </a:lnTo>
                    <a:lnTo>
                      <a:pt x="90" y="262"/>
                    </a:lnTo>
                    <a:lnTo>
                      <a:pt x="94" y="262"/>
                    </a:lnTo>
                    <a:lnTo>
                      <a:pt x="94" y="260"/>
                    </a:lnTo>
                    <a:lnTo>
                      <a:pt x="99" y="258"/>
                    </a:lnTo>
                    <a:lnTo>
                      <a:pt x="103" y="258"/>
                    </a:lnTo>
                    <a:lnTo>
                      <a:pt x="109" y="252"/>
                    </a:lnTo>
                    <a:lnTo>
                      <a:pt x="118" y="243"/>
                    </a:lnTo>
                    <a:lnTo>
                      <a:pt x="118" y="241"/>
                    </a:lnTo>
                    <a:lnTo>
                      <a:pt x="118" y="237"/>
                    </a:lnTo>
                    <a:lnTo>
                      <a:pt x="118" y="234"/>
                    </a:lnTo>
                    <a:lnTo>
                      <a:pt x="122" y="230"/>
                    </a:lnTo>
                    <a:lnTo>
                      <a:pt x="124" y="230"/>
                    </a:lnTo>
                    <a:lnTo>
                      <a:pt x="124" y="228"/>
                    </a:lnTo>
                    <a:lnTo>
                      <a:pt x="126" y="222"/>
                    </a:lnTo>
                    <a:lnTo>
                      <a:pt x="130" y="222"/>
                    </a:lnTo>
                    <a:lnTo>
                      <a:pt x="133" y="222"/>
                    </a:lnTo>
                    <a:lnTo>
                      <a:pt x="137" y="219"/>
                    </a:lnTo>
                    <a:lnTo>
                      <a:pt x="137" y="219"/>
                    </a:lnTo>
                    <a:lnTo>
                      <a:pt x="143" y="213"/>
                    </a:lnTo>
                    <a:lnTo>
                      <a:pt x="143" y="209"/>
                    </a:lnTo>
                    <a:lnTo>
                      <a:pt x="147" y="207"/>
                    </a:lnTo>
                    <a:lnTo>
                      <a:pt x="148" y="198"/>
                    </a:lnTo>
                    <a:lnTo>
                      <a:pt x="150" y="192"/>
                    </a:lnTo>
                    <a:lnTo>
                      <a:pt x="154" y="190"/>
                    </a:lnTo>
                    <a:lnTo>
                      <a:pt x="156" y="188"/>
                    </a:lnTo>
                    <a:lnTo>
                      <a:pt x="162" y="185"/>
                    </a:lnTo>
                    <a:lnTo>
                      <a:pt x="163" y="188"/>
                    </a:lnTo>
                    <a:lnTo>
                      <a:pt x="162" y="188"/>
                    </a:lnTo>
                    <a:lnTo>
                      <a:pt x="162" y="192"/>
                    </a:lnTo>
                    <a:lnTo>
                      <a:pt x="163" y="194"/>
                    </a:lnTo>
                    <a:lnTo>
                      <a:pt x="163" y="194"/>
                    </a:lnTo>
                    <a:lnTo>
                      <a:pt x="167" y="192"/>
                    </a:lnTo>
                    <a:lnTo>
                      <a:pt x="167" y="194"/>
                    </a:lnTo>
                    <a:lnTo>
                      <a:pt x="167" y="198"/>
                    </a:lnTo>
                    <a:lnTo>
                      <a:pt x="167" y="198"/>
                    </a:lnTo>
                    <a:lnTo>
                      <a:pt x="167" y="198"/>
                    </a:lnTo>
                    <a:lnTo>
                      <a:pt x="163" y="200"/>
                    </a:lnTo>
                    <a:lnTo>
                      <a:pt x="163" y="202"/>
                    </a:lnTo>
                    <a:lnTo>
                      <a:pt x="167" y="207"/>
                    </a:lnTo>
                    <a:lnTo>
                      <a:pt x="167" y="209"/>
                    </a:lnTo>
                    <a:lnTo>
                      <a:pt x="171" y="205"/>
                    </a:lnTo>
                    <a:lnTo>
                      <a:pt x="173" y="203"/>
                    </a:lnTo>
                    <a:lnTo>
                      <a:pt x="177" y="203"/>
                    </a:lnTo>
                    <a:lnTo>
                      <a:pt x="177" y="203"/>
                    </a:lnTo>
                    <a:lnTo>
                      <a:pt x="177" y="205"/>
                    </a:lnTo>
                    <a:lnTo>
                      <a:pt x="179" y="209"/>
                    </a:lnTo>
                    <a:lnTo>
                      <a:pt x="180" y="205"/>
                    </a:lnTo>
                    <a:lnTo>
                      <a:pt x="180" y="205"/>
                    </a:lnTo>
                    <a:lnTo>
                      <a:pt x="179" y="203"/>
                    </a:lnTo>
                    <a:lnTo>
                      <a:pt x="180" y="200"/>
                    </a:lnTo>
                    <a:lnTo>
                      <a:pt x="184" y="200"/>
                    </a:lnTo>
                    <a:lnTo>
                      <a:pt x="184" y="203"/>
                    </a:lnTo>
                    <a:lnTo>
                      <a:pt x="186" y="203"/>
                    </a:lnTo>
                    <a:lnTo>
                      <a:pt x="182" y="207"/>
                    </a:lnTo>
                    <a:lnTo>
                      <a:pt x="179" y="209"/>
                    </a:lnTo>
                    <a:lnTo>
                      <a:pt x="182" y="209"/>
                    </a:lnTo>
                    <a:lnTo>
                      <a:pt x="184" y="207"/>
                    </a:lnTo>
                    <a:lnTo>
                      <a:pt x="180" y="213"/>
                    </a:lnTo>
                    <a:lnTo>
                      <a:pt x="180" y="213"/>
                    </a:lnTo>
                    <a:lnTo>
                      <a:pt x="179" y="217"/>
                    </a:lnTo>
                    <a:lnTo>
                      <a:pt x="179" y="219"/>
                    </a:lnTo>
                    <a:lnTo>
                      <a:pt x="180" y="222"/>
                    </a:lnTo>
                    <a:lnTo>
                      <a:pt x="180" y="228"/>
                    </a:lnTo>
                    <a:lnTo>
                      <a:pt x="182" y="228"/>
                    </a:lnTo>
                    <a:lnTo>
                      <a:pt x="179" y="228"/>
                    </a:lnTo>
                    <a:lnTo>
                      <a:pt x="171" y="237"/>
                    </a:lnTo>
                    <a:lnTo>
                      <a:pt x="167" y="239"/>
                    </a:lnTo>
                    <a:lnTo>
                      <a:pt x="163" y="247"/>
                    </a:lnTo>
                    <a:lnTo>
                      <a:pt x="163" y="247"/>
                    </a:lnTo>
                    <a:lnTo>
                      <a:pt x="160" y="247"/>
                    </a:lnTo>
                    <a:lnTo>
                      <a:pt x="156" y="252"/>
                    </a:lnTo>
                    <a:lnTo>
                      <a:pt x="156" y="254"/>
                    </a:lnTo>
                    <a:lnTo>
                      <a:pt x="150" y="258"/>
                    </a:lnTo>
                    <a:lnTo>
                      <a:pt x="150" y="262"/>
                    </a:lnTo>
                    <a:lnTo>
                      <a:pt x="147" y="266"/>
                    </a:lnTo>
                    <a:lnTo>
                      <a:pt x="139" y="266"/>
                    </a:lnTo>
                    <a:lnTo>
                      <a:pt x="139" y="268"/>
                    </a:lnTo>
                    <a:lnTo>
                      <a:pt x="137" y="273"/>
                    </a:lnTo>
                    <a:lnTo>
                      <a:pt x="137" y="279"/>
                    </a:lnTo>
                    <a:lnTo>
                      <a:pt x="135" y="279"/>
                    </a:lnTo>
                    <a:lnTo>
                      <a:pt x="139" y="279"/>
                    </a:lnTo>
                    <a:lnTo>
                      <a:pt x="139" y="283"/>
                    </a:lnTo>
                    <a:lnTo>
                      <a:pt x="139" y="286"/>
                    </a:lnTo>
                    <a:lnTo>
                      <a:pt x="137" y="288"/>
                    </a:lnTo>
                    <a:lnTo>
                      <a:pt x="137" y="286"/>
                    </a:lnTo>
                    <a:lnTo>
                      <a:pt x="137" y="283"/>
                    </a:lnTo>
                    <a:lnTo>
                      <a:pt x="135" y="283"/>
                    </a:lnTo>
                    <a:lnTo>
                      <a:pt x="135" y="283"/>
                    </a:lnTo>
                    <a:lnTo>
                      <a:pt x="135" y="286"/>
                    </a:lnTo>
                    <a:lnTo>
                      <a:pt x="133" y="288"/>
                    </a:lnTo>
                    <a:lnTo>
                      <a:pt x="131" y="286"/>
                    </a:lnTo>
                    <a:lnTo>
                      <a:pt x="128" y="286"/>
                    </a:lnTo>
                    <a:lnTo>
                      <a:pt x="130" y="284"/>
                    </a:lnTo>
                    <a:lnTo>
                      <a:pt x="130" y="284"/>
                    </a:lnTo>
                    <a:lnTo>
                      <a:pt x="128" y="283"/>
                    </a:lnTo>
                    <a:lnTo>
                      <a:pt x="126" y="284"/>
                    </a:lnTo>
                    <a:lnTo>
                      <a:pt x="126" y="286"/>
                    </a:lnTo>
                    <a:lnTo>
                      <a:pt x="122" y="286"/>
                    </a:lnTo>
                    <a:lnTo>
                      <a:pt x="122" y="286"/>
                    </a:lnTo>
                    <a:lnTo>
                      <a:pt x="120" y="283"/>
                    </a:lnTo>
                    <a:lnTo>
                      <a:pt x="118" y="283"/>
                    </a:lnTo>
                    <a:lnTo>
                      <a:pt x="118" y="284"/>
                    </a:lnTo>
                    <a:lnTo>
                      <a:pt x="120" y="286"/>
                    </a:lnTo>
                    <a:lnTo>
                      <a:pt x="118" y="292"/>
                    </a:lnTo>
                    <a:lnTo>
                      <a:pt x="115" y="292"/>
                    </a:lnTo>
                    <a:lnTo>
                      <a:pt x="113" y="292"/>
                    </a:lnTo>
                    <a:lnTo>
                      <a:pt x="113" y="294"/>
                    </a:lnTo>
                    <a:lnTo>
                      <a:pt x="109" y="294"/>
                    </a:lnTo>
                    <a:lnTo>
                      <a:pt x="107" y="292"/>
                    </a:lnTo>
                    <a:lnTo>
                      <a:pt x="107" y="296"/>
                    </a:lnTo>
                    <a:lnTo>
                      <a:pt x="103" y="298"/>
                    </a:lnTo>
                    <a:lnTo>
                      <a:pt x="99" y="301"/>
                    </a:lnTo>
                    <a:lnTo>
                      <a:pt x="99" y="305"/>
                    </a:lnTo>
                    <a:lnTo>
                      <a:pt x="98" y="307"/>
                    </a:lnTo>
                    <a:lnTo>
                      <a:pt x="94" y="313"/>
                    </a:lnTo>
                    <a:lnTo>
                      <a:pt x="94" y="317"/>
                    </a:lnTo>
                    <a:lnTo>
                      <a:pt x="94" y="322"/>
                    </a:lnTo>
                    <a:lnTo>
                      <a:pt x="84" y="326"/>
                    </a:lnTo>
                    <a:lnTo>
                      <a:pt x="83" y="330"/>
                    </a:lnTo>
                    <a:lnTo>
                      <a:pt x="81" y="335"/>
                    </a:lnTo>
                    <a:lnTo>
                      <a:pt x="77" y="341"/>
                    </a:lnTo>
                    <a:lnTo>
                      <a:pt x="73" y="343"/>
                    </a:lnTo>
                    <a:lnTo>
                      <a:pt x="73" y="347"/>
                    </a:lnTo>
                    <a:lnTo>
                      <a:pt x="73" y="347"/>
                    </a:lnTo>
                    <a:lnTo>
                      <a:pt x="71" y="347"/>
                    </a:lnTo>
                    <a:lnTo>
                      <a:pt x="75" y="347"/>
                    </a:lnTo>
                    <a:lnTo>
                      <a:pt x="75" y="347"/>
                    </a:lnTo>
                    <a:lnTo>
                      <a:pt x="73" y="349"/>
                    </a:lnTo>
                    <a:lnTo>
                      <a:pt x="67" y="349"/>
                    </a:lnTo>
                    <a:lnTo>
                      <a:pt x="64" y="352"/>
                    </a:lnTo>
                    <a:lnTo>
                      <a:pt x="60" y="354"/>
                    </a:lnTo>
                    <a:lnTo>
                      <a:pt x="60" y="358"/>
                    </a:lnTo>
                    <a:lnTo>
                      <a:pt x="56" y="360"/>
                    </a:lnTo>
                    <a:lnTo>
                      <a:pt x="56" y="358"/>
                    </a:lnTo>
                    <a:lnTo>
                      <a:pt x="54" y="356"/>
                    </a:lnTo>
                    <a:lnTo>
                      <a:pt x="54" y="360"/>
                    </a:lnTo>
                    <a:lnTo>
                      <a:pt x="54" y="362"/>
                    </a:lnTo>
                    <a:lnTo>
                      <a:pt x="51" y="364"/>
                    </a:lnTo>
                    <a:lnTo>
                      <a:pt x="45" y="367"/>
                    </a:lnTo>
                    <a:lnTo>
                      <a:pt x="39" y="371"/>
                    </a:lnTo>
                    <a:lnTo>
                      <a:pt x="35" y="371"/>
                    </a:lnTo>
                    <a:lnTo>
                      <a:pt x="30" y="371"/>
                    </a:lnTo>
                    <a:lnTo>
                      <a:pt x="30" y="367"/>
                    </a:lnTo>
                    <a:lnTo>
                      <a:pt x="26" y="371"/>
                    </a:lnTo>
                    <a:lnTo>
                      <a:pt x="26" y="371"/>
                    </a:lnTo>
                    <a:lnTo>
                      <a:pt x="30" y="367"/>
                    </a:lnTo>
                    <a:lnTo>
                      <a:pt x="26" y="365"/>
                    </a:lnTo>
                    <a:lnTo>
                      <a:pt x="22" y="364"/>
                    </a:lnTo>
                    <a:lnTo>
                      <a:pt x="22" y="360"/>
                    </a:lnTo>
                    <a:lnTo>
                      <a:pt x="20" y="358"/>
                    </a:lnTo>
                    <a:lnTo>
                      <a:pt x="17" y="358"/>
                    </a:lnTo>
                    <a:lnTo>
                      <a:pt x="15" y="356"/>
                    </a:lnTo>
                    <a:lnTo>
                      <a:pt x="17" y="354"/>
                    </a:lnTo>
                    <a:lnTo>
                      <a:pt x="15" y="352"/>
                    </a:lnTo>
                    <a:lnTo>
                      <a:pt x="15" y="352"/>
                    </a:lnTo>
                    <a:lnTo>
                      <a:pt x="11" y="352"/>
                    </a:lnTo>
                    <a:lnTo>
                      <a:pt x="9" y="352"/>
                    </a:lnTo>
                    <a:lnTo>
                      <a:pt x="9" y="352"/>
                    </a:lnTo>
                    <a:lnTo>
                      <a:pt x="9" y="352"/>
                    </a:lnTo>
                    <a:lnTo>
                      <a:pt x="5" y="352"/>
                    </a:lnTo>
                    <a:lnTo>
                      <a:pt x="2" y="352"/>
                    </a:lnTo>
                    <a:lnTo>
                      <a:pt x="2" y="352"/>
                    </a:lnTo>
                    <a:lnTo>
                      <a:pt x="2" y="352"/>
                    </a:ln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1" name="Freeform 203"/>
              <p:cNvSpPr>
                <a:spLocks/>
              </p:cNvSpPr>
              <p:nvPr/>
            </p:nvSpPr>
            <p:spPr bwMode="auto">
              <a:xfrm>
                <a:off x="3971" y="2357"/>
                <a:ext cx="544" cy="609"/>
              </a:xfrm>
              <a:custGeom>
                <a:avLst/>
                <a:gdLst/>
                <a:ahLst/>
                <a:cxnLst>
                  <a:cxn ang="0">
                    <a:pos x="237" y="143"/>
                  </a:cxn>
                  <a:cxn ang="0">
                    <a:pos x="244" y="147"/>
                  </a:cxn>
                  <a:cxn ang="0">
                    <a:pos x="257" y="154"/>
                  </a:cxn>
                  <a:cxn ang="0">
                    <a:pos x="263" y="143"/>
                  </a:cxn>
                  <a:cxn ang="0">
                    <a:pos x="270" y="112"/>
                  </a:cxn>
                  <a:cxn ang="0">
                    <a:pos x="289" y="94"/>
                  </a:cxn>
                  <a:cxn ang="0">
                    <a:pos x="280" y="91"/>
                  </a:cxn>
                  <a:cxn ang="0">
                    <a:pos x="277" y="84"/>
                  </a:cxn>
                  <a:cxn ang="0">
                    <a:pos x="276" y="79"/>
                  </a:cxn>
                  <a:cxn ang="0">
                    <a:pos x="245" y="99"/>
                  </a:cxn>
                  <a:cxn ang="0">
                    <a:pos x="240" y="107"/>
                  </a:cxn>
                  <a:cxn ang="0">
                    <a:pos x="209" y="102"/>
                  </a:cxn>
                  <a:cxn ang="0">
                    <a:pos x="202" y="102"/>
                  </a:cxn>
                  <a:cxn ang="0">
                    <a:pos x="193" y="119"/>
                  </a:cxn>
                  <a:cxn ang="0">
                    <a:pos x="179" y="116"/>
                  </a:cxn>
                  <a:cxn ang="0">
                    <a:pos x="164" y="109"/>
                  </a:cxn>
                  <a:cxn ang="0">
                    <a:pos x="151" y="108"/>
                  </a:cxn>
                  <a:cxn ang="0">
                    <a:pos x="124" y="95"/>
                  </a:cxn>
                  <a:cxn ang="0">
                    <a:pos x="115" y="67"/>
                  </a:cxn>
                  <a:cxn ang="0">
                    <a:pos x="108" y="53"/>
                  </a:cxn>
                  <a:cxn ang="0">
                    <a:pos x="113" y="55"/>
                  </a:cxn>
                  <a:cxn ang="0">
                    <a:pos x="115" y="35"/>
                  </a:cxn>
                  <a:cxn ang="0">
                    <a:pos x="125" y="27"/>
                  </a:cxn>
                  <a:cxn ang="0">
                    <a:pos x="99" y="20"/>
                  </a:cxn>
                  <a:cxn ang="0">
                    <a:pos x="80" y="1"/>
                  </a:cxn>
                  <a:cxn ang="0">
                    <a:pos x="66" y="4"/>
                  </a:cxn>
                  <a:cxn ang="0">
                    <a:pos x="53" y="13"/>
                  </a:cxn>
                  <a:cxn ang="0">
                    <a:pos x="67" y="22"/>
                  </a:cxn>
                  <a:cxn ang="0">
                    <a:pos x="71" y="50"/>
                  </a:cxn>
                  <a:cxn ang="0">
                    <a:pos x="70" y="62"/>
                  </a:cxn>
                  <a:cxn ang="0">
                    <a:pos x="57" y="83"/>
                  </a:cxn>
                  <a:cxn ang="0">
                    <a:pos x="28" y="102"/>
                  </a:cxn>
                  <a:cxn ang="0">
                    <a:pos x="24" y="119"/>
                  </a:cxn>
                  <a:cxn ang="0">
                    <a:pos x="27" y="128"/>
                  </a:cxn>
                  <a:cxn ang="0">
                    <a:pos x="7" y="147"/>
                  </a:cxn>
                  <a:cxn ang="0">
                    <a:pos x="1" y="152"/>
                  </a:cxn>
                  <a:cxn ang="0">
                    <a:pos x="3" y="152"/>
                  </a:cxn>
                  <a:cxn ang="0">
                    <a:pos x="7" y="166"/>
                  </a:cxn>
                  <a:cxn ang="0">
                    <a:pos x="43" y="168"/>
                  </a:cxn>
                  <a:cxn ang="0">
                    <a:pos x="48" y="175"/>
                  </a:cxn>
                  <a:cxn ang="0">
                    <a:pos x="46" y="204"/>
                  </a:cxn>
                  <a:cxn ang="0">
                    <a:pos x="47" y="208"/>
                  </a:cxn>
                  <a:cxn ang="0">
                    <a:pos x="65" y="263"/>
                  </a:cxn>
                  <a:cxn ang="0">
                    <a:pos x="75" y="286"/>
                  </a:cxn>
                  <a:cxn ang="0">
                    <a:pos x="104" y="314"/>
                  </a:cxn>
                  <a:cxn ang="0">
                    <a:pos x="117" y="300"/>
                  </a:cxn>
                  <a:cxn ang="0">
                    <a:pos x="123" y="281"/>
                  </a:cxn>
                  <a:cxn ang="0">
                    <a:pos x="126" y="264"/>
                  </a:cxn>
                  <a:cxn ang="0">
                    <a:pos x="136" y="241"/>
                  </a:cxn>
                  <a:cxn ang="0">
                    <a:pos x="160" y="220"/>
                  </a:cxn>
                  <a:cxn ang="0">
                    <a:pos x="173" y="206"/>
                  </a:cxn>
                  <a:cxn ang="0">
                    <a:pos x="196" y="185"/>
                  </a:cxn>
                  <a:cxn ang="0">
                    <a:pos x="206" y="170"/>
                  </a:cxn>
                  <a:cxn ang="0">
                    <a:pos x="214" y="157"/>
                  </a:cxn>
                  <a:cxn ang="0">
                    <a:pos x="209" y="150"/>
                  </a:cxn>
                  <a:cxn ang="0">
                    <a:pos x="204" y="140"/>
                  </a:cxn>
                  <a:cxn ang="0">
                    <a:pos x="203" y="126"/>
                  </a:cxn>
                  <a:cxn ang="0">
                    <a:pos x="212" y="120"/>
                  </a:cxn>
                  <a:cxn ang="0">
                    <a:pos x="218" y="121"/>
                  </a:cxn>
                  <a:cxn ang="0">
                    <a:pos x="245" y="133"/>
                  </a:cxn>
                </a:cxnLst>
                <a:rect l="0" t="0" r="r" b="b"/>
                <a:pathLst>
                  <a:path w="289" h="323">
                    <a:moveTo>
                      <a:pt x="245" y="133"/>
                    </a:moveTo>
                    <a:cubicBezTo>
                      <a:pt x="244" y="137"/>
                      <a:pt x="244" y="142"/>
                      <a:pt x="237" y="143"/>
                    </a:cubicBezTo>
                    <a:cubicBezTo>
                      <a:pt x="233" y="148"/>
                      <a:pt x="236" y="153"/>
                      <a:pt x="240" y="156"/>
                    </a:cubicBezTo>
                    <a:cubicBezTo>
                      <a:pt x="242" y="155"/>
                      <a:pt x="241" y="149"/>
                      <a:pt x="244" y="147"/>
                    </a:cubicBezTo>
                    <a:cubicBezTo>
                      <a:pt x="251" y="154"/>
                      <a:pt x="245" y="164"/>
                      <a:pt x="254" y="168"/>
                    </a:cubicBezTo>
                    <a:cubicBezTo>
                      <a:pt x="257" y="163"/>
                      <a:pt x="252" y="157"/>
                      <a:pt x="257" y="154"/>
                    </a:cubicBezTo>
                    <a:cubicBezTo>
                      <a:pt x="255" y="150"/>
                      <a:pt x="258" y="147"/>
                      <a:pt x="255" y="142"/>
                    </a:cubicBezTo>
                    <a:cubicBezTo>
                      <a:pt x="258" y="143"/>
                      <a:pt x="259" y="143"/>
                      <a:pt x="263" y="143"/>
                    </a:cubicBezTo>
                    <a:cubicBezTo>
                      <a:pt x="264" y="138"/>
                      <a:pt x="268" y="134"/>
                      <a:pt x="266" y="129"/>
                    </a:cubicBezTo>
                    <a:cubicBezTo>
                      <a:pt x="269" y="125"/>
                      <a:pt x="271" y="118"/>
                      <a:pt x="270" y="112"/>
                    </a:cubicBezTo>
                    <a:cubicBezTo>
                      <a:pt x="275" y="109"/>
                      <a:pt x="282" y="97"/>
                      <a:pt x="287" y="105"/>
                    </a:cubicBezTo>
                    <a:cubicBezTo>
                      <a:pt x="288" y="102"/>
                      <a:pt x="283" y="98"/>
                      <a:pt x="289" y="94"/>
                    </a:cubicBezTo>
                    <a:cubicBezTo>
                      <a:pt x="289" y="93"/>
                      <a:pt x="288" y="92"/>
                      <a:pt x="288" y="91"/>
                    </a:cubicBezTo>
                    <a:cubicBezTo>
                      <a:pt x="284" y="91"/>
                      <a:pt x="284" y="89"/>
                      <a:pt x="280" y="91"/>
                    </a:cubicBezTo>
                    <a:cubicBezTo>
                      <a:pt x="279" y="90"/>
                      <a:pt x="280" y="87"/>
                      <a:pt x="281" y="86"/>
                    </a:cubicBezTo>
                    <a:cubicBezTo>
                      <a:pt x="280" y="83"/>
                      <a:pt x="280" y="84"/>
                      <a:pt x="277" y="84"/>
                    </a:cubicBezTo>
                    <a:cubicBezTo>
                      <a:pt x="277" y="83"/>
                      <a:pt x="278" y="82"/>
                      <a:pt x="278" y="81"/>
                    </a:cubicBezTo>
                    <a:cubicBezTo>
                      <a:pt x="277" y="82"/>
                      <a:pt x="276" y="80"/>
                      <a:pt x="276" y="79"/>
                    </a:cubicBezTo>
                    <a:cubicBezTo>
                      <a:pt x="271" y="83"/>
                      <a:pt x="268" y="87"/>
                      <a:pt x="262" y="81"/>
                    </a:cubicBezTo>
                    <a:cubicBezTo>
                      <a:pt x="259" y="89"/>
                      <a:pt x="247" y="92"/>
                      <a:pt x="245" y="99"/>
                    </a:cubicBezTo>
                    <a:cubicBezTo>
                      <a:pt x="243" y="100"/>
                      <a:pt x="240" y="102"/>
                      <a:pt x="235" y="102"/>
                    </a:cubicBezTo>
                    <a:cubicBezTo>
                      <a:pt x="235" y="106"/>
                      <a:pt x="239" y="105"/>
                      <a:pt x="240" y="107"/>
                    </a:cubicBezTo>
                    <a:cubicBezTo>
                      <a:pt x="239" y="109"/>
                      <a:pt x="241" y="110"/>
                      <a:pt x="241" y="112"/>
                    </a:cubicBezTo>
                    <a:cubicBezTo>
                      <a:pt x="228" y="114"/>
                      <a:pt x="205" y="121"/>
                      <a:pt x="209" y="102"/>
                    </a:cubicBezTo>
                    <a:cubicBezTo>
                      <a:pt x="209" y="102"/>
                      <a:pt x="208" y="102"/>
                      <a:pt x="208" y="101"/>
                    </a:cubicBezTo>
                    <a:cubicBezTo>
                      <a:pt x="205" y="100"/>
                      <a:pt x="205" y="103"/>
                      <a:pt x="202" y="102"/>
                    </a:cubicBezTo>
                    <a:cubicBezTo>
                      <a:pt x="203" y="107"/>
                      <a:pt x="202" y="115"/>
                      <a:pt x="203" y="119"/>
                    </a:cubicBezTo>
                    <a:cubicBezTo>
                      <a:pt x="203" y="122"/>
                      <a:pt x="194" y="122"/>
                      <a:pt x="193" y="119"/>
                    </a:cubicBezTo>
                    <a:cubicBezTo>
                      <a:pt x="189" y="123"/>
                      <a:pt x="184" y="117"/>
                      <a:pt x="181" y="119"/>
                    </a:cubicBezTo>
                    <a:cubicBezTo>
                      <a:pt x="181" y="118"/>
                      <a:pt x="180" y="118"/>
                      <a:pt x="179" y="116"/>
                    </a:cubicBezTo>
                    <a:cubicBezTo>
                      <a:pt x="178" y="116"/>
                      <a:pt x="177" y="117"/>
                      <a:pt x="177" y="118"/>
                    </a:cubicBezTo>
                    <a:cubicBezTo>
                      <a:pt x="172" y="116"/>
                      <a:pt x="169" y="110"/>
                      <a:pt x="164" y="109"/>
                    </a:cubicBezTo>
                    <a:cubicBezTo>
                      <a:pt x="159" y="109"/>
                      <a:pt x="156" y="113"/>
                      <a:pt x="153" y="111"/>
                    </a:cubicBezTo>
                    <a:cubicBezTo>
                      <a:pt x="152" y="110"/>
                      <a:pt x="152" y="108"/>
                      <a:pt x="151" y="108"/>
                    </a:cubicBezTo>
                    <a:cubicBezTo>
                      <a:pt x="148" y="107"/>
                      <a:pt x="145" y="107"/>
                      <a:pt x="143" y="107"/>
                    </a:cubicBezTo>
                    <a:cubicBezTo>
                      <a:pt x="137" y="104"/>
                      <a:pt x="132" y="98"/>
                      <a:pt x="124" y="95"/>
                    </a:cubicBezTo>
                    <a:cubicBezTo>
                      <a:pt x="128" y="88"/>
                      <a:pt x="126" y="83"/>
                      <a:pt x="134" y="80"/>
                    </a:cubicBezTo>
                    <a:cubicBezTo>
                      <a:pt x="127" y="75"/>
                      <a:pt x="122" y="74"/>
                      <a:pt x="115" y="67"/>
                    </a:cubicBezTo>
                    <a:cubicBezTo>
                      <a:pt x="114" y="66"/>
                      <a:pt x="114" y="68"/>
                      <a:pt x="112" y="67"/>
                    </a:cubicBezTo>
                    <a:cubicBezTo>
                      <a:pt x="112" y="64"/>
                      <a:pt x="109" y="55"/>
                      <a:pt x="108" y="53"/>
                    </a:cubicBezTo>
                    <a:cubicBezTo>
                      <a:pt x="110" y="53"/>
                      <a:pt x="111" y="53"/>
                      <a:pt x="111" y="52"/>
                    </a:cubicBezTo>
                    <a:cubicBezTo>
                      <a:pt x="112" y="52"/>
                      <a:pt x="112" y="55"/>
                      <a:pt x="113" y="55"/>
                    </a:cubicBezTo>
                    <a:cubicBezTo>
                      <a:pt x="116" y="56"/>
                      <a:pt x="116" y="52"/>
                      <a:pt x="119" y="53"/>
                    </a:cubicBezTo>
                    <a:cubicBezTo>
                      <a:pt x="119" y="44"/>
                      <a:pt x="110" y="43"/>
                      <a:pt x="115" y="35"/>
                    </a:cubicBezTo>
                    <a:cubicBezTo>
                      <a:pt x="116" y="36"/>
                      <a:pt x="117" y="36"/>
                      <a:pt x="118" y="36"/>
                    </a:cubicBezTo>
                    <a:cubicBezTo>
                      <a:pt x="118" y="31"/>
                      <a:pt x="122" y="31"/>
                      <a:pt x="125" y="27"/>
                    </a:cubicBezTo>
                    <a:cubicBezTo>
                      <a:pt x="128" y="23"/>
                      <a:pt x="127" y="15"/>
                      <a:pt x="118" y="14"/>
                    </a:cubicBezTo>
                    <a:cubicBezTo>
                      <a:pt x="113" y="14"/>
                      <a:pt x="105" y="20"/>
                      <a:pt x="99" y="20"/>
                    </a:cubicBezTo>
                    <a:cubicBezTo>
                      <a:pt x="100" y="18"/>
                      <a:pt x="97" y="15"/>
                      <a:pt x="94" y="17"/>
                    </a:cubicBezTo>
                    <a:cubicBezTo>
                      <a:pt x="93" y="11"/>
                      <a:pt x="83" y="8"/>
                      <a:pt x="80" y="1"/>
                    </a:cubicBezTo>
                    <a:cubicBezTo>
                      <a:pt x="74" y="0"/>
                      <a:pt x="70" y="3"/>
                      <a:pt x="65" y="2"/>
                    </a:cubicBezTo>
                    <a:cubicBezTo>
                      <a:pt x="65" y="3"/>
                      <a:pt x="66" y="3"/>
                      <a:pt x="66" y="4"/>
                    </a:cubicBezTo>
                    <a:cubicBezTo>
                      <a:pt x="63" y="5"/>
                      <a:pt x="62" y="3"/>
                      <a:pt x="60" y="4"/>
                    </a:cubicBezTo>
                    <a:cubicBezTo>
                      <a:pt x="58" y="7"/>
                      <a:pt x="53" y="7"/>
                      <a:pt x="53" y="13"/>
                    </a:cubicBezTo>
                    <a:cubicBezTo>
                      <a:pt x="58" y="14"/>
                      <a:pt x="59" y="18"/>
                      <a:pt x="64" y="18"/>
                    </a:cubicBezTo>
                    <a:cubicBezTo>
                      <a:pt x="64" y="20"/>
                      <a:pt x="64" y="23"/>
                      <a:pt x="67" y="22"/>
                    </a:cubicBezTo>
                    <a:cubicBezTo>
                      <a:pt x="68" y="25"/>
                      <a:pt x="65" y="27"/>
                      <a:pt x="61" y="29"/>
                    </a:cubicBezTo>
                    <a:cubicBezTo>
                      <a:pt x="62" y="37"/>
                      <a:pt x="58" y="47"/>
                      <a:pt x="71" y="50"/>
                    </a:cubicBezTo>
                    <a:cubicBezTo>
                      <a:pt x="73" y="52"/>
                      <a:pt x="74" y="55"/>
                      <a:pt x="78" y="55"/>
                    </a:cubicBezTo>
                    <a:cubicBezTo>
                      <a:pt x="79" y="60"/>
                      <a:pt x="72" y="58"/>
                      <a:pt x="70" y="62"/>
                    </a:cubicBezTo>
                    <a:cubicBezTo>
                      <a:pt x="72" y="66"/>
                      <a:pt x="69" y="66"/>
                      <a:pt x="71" y="69"/>
                    </a:cubicBezTo>
                    <a:cubicBezTo>
                      <a:pt x="65" y="74"/>
                      <a:pt x="64" y="81"/>
                      <a:pt x="57" y="83"/>
                    </a:cubicBezTo>
                    <a:cubicBezTo>
                      <a:pt x="58" y="87"/>
                      <a:pt x="55" y="87"/>
                      <a:pt x="56" y="90"/>
                    </a:cubicBezTo>
                    <a:cubicBezTo>
                      <a:pt x="49" y="94"/>
                      <a:pt x="37" y="114"/>
                      <a:pt x="28" y="102"/>
                    </a:cubicBezTo>
                    <a:cubicBezTo>
                      <a:pt x="23" y="105"/>
                      <a:pt x="18" y="109"/>
                      <a:pt x="17" y="116"/>
                    </a:cubicBezTo>
                    <a:cubicBezTo>
                      <a:pt x="19" y="117"/>
                      <a:pt x="20" y="119"/>
                      <a:pt x="24" y="119"/>
                    </a:cubicBezTo>
                    <a:cubicBezTo>
                      <a:pt x="23" y="123"/>
                      <a:pt x="23" y="122"/>
                      <a:pt x="23" y="127"/>
                    </a:cubicBezTo>
                    <a:cubicBezTo>
                      <a:pt x="24" y="127"/>
                      <a:pt x="26" y="130"/>
                      <a:pt x="27" y="128"/>
                    </a:cubicBezTo>
                    <a:cubicBezTo>
                      <a:pt x="28" y="131"/>
                      <a:pt x="32" y="140"/>
                      <a:pt x="32" y="144"/>
                    </a:cubicBezTo>
                    <a:cubicBezTo>
                      <a:pt x="26" y="149"/>
                      <a:pt x="9" y="141"/>
                      <a:pt x="7" y="147"/>
                    </a:cubicBezTo>
                    <a:cubicBezTo>
                      <a:pt x="4" y="147"/>
                      <a:pt x="2" y="147"/>
                      <a:pt x="0" y="149"/>
                    </a:cubicBezTo>
                    <a:cubicBezTo>
                      <a:pt x="1" y="149"/>
                      <a:pt x="1" y="150"/>
                      <a:pt x="1" y="152"/>
                    </a:cubicBezTo>
                    <a:cubicBezTo>
                      <a:pt x="2" y="150"/>
                      <a:pt x="4" y="150"/>
                      <a:pt x="5" y="149"/>
                    </a:cubicBezTo>
                    <a:cubicBezTo>
                      <a:pt x="7" y="150"/>
                      <a:pt x="3" y="151"/>
                      <a:pt x="3" y="152"/>
                    </a:cubicBezTo>
                    <a:cubicBezTo>
                      <a:pt x="6" y="161"/>
                      <a:pt x="18" y="164"/>
                      <a:pt x="24" y="159"/>
                    </a:cubicBezTo>
                    <a:cubicBezTo>
                      <a:pt x="21" y="167"/>
                      <a:pt x="12" y="166"/>
                      <a:pt x="7" y="166"/>
                    </a:cubicBezTo>
                    <a:cubicBezTo>
                      <a:pt x="13" y="174"/>
                      <a:pt x="19" y="181"/>
                      <a:pt x="24" y="185"/>
                    </a:cubicBezTo>
                    <a:cubicBezTo>
                      <a:pt x="34" y="187"/>
                      <a:pt x="45" y="178"/>
                      <a:pt x="43" y="168"/>
                    </a:cubicBezTo>
                    <a:cubicBezTo>
                      <a:pt x="46" y="170"/>
                      <a:pt x="45" y="173"/>
                      <a:pt x="45" y="175"/>
                    </a:cubicBezTo>
                    <a:cubicBezTo>
                      <a:pt x="47" y="175"/>
                      <a:pt x="47" y="177"/>
                      <a:pt x="48" y="175"/>
                    </a:cubicBezTo>
                    <a:cubicBezTo>
                      <a:pt x="44" y="180"/>
                      <a:pt x="47" y="182"/>
                      <a:pt x="48" y="187"/>
                    </a:cubicBezTo>
                    <a:cubicBezTo>
                      <a:pt x="45" y="193"/>
                      <a:pt x="46" y="200"/>
                      <a:pt x="46" y="204"/>
                    </a:cubicBezTo>
                    <a:cubicBezTo>
                      <a:pt x="46" y="205"/>
                      <a:pt x="47" y="205"/>
                      <a:pt x="48" y="205"/>
                    </a:cubicBezTo>
                    <a:cubicBezTo>
                      <a:pt x="49" y="207"/>
                      <a:pt x="47" y="207"/>
                      <a:pt x="47" y="208"/>
                    </a:cubicBezTo>
                    <a:cubicBezTo>
                      <a:pt x="51" y="220"/>
                      <a:pt x="51" y="235"/>
                      <a:pt x="57" y="246"/>
                    </a:cubicBezTo>
                    <a:cubicBezTo>
                      <a:pt x="59" y="251"/>
                      <a:pt x="64" y="256"/>
                      <a:pt x="65" y="263"/>
                    </a:cubicBezTo>
                    <a:cubicBezTo>
                      <a:pt x="65" y="264"/>
                      <a:pt x="65" y="266"/>
                      <a:pt x="65" y="267"/>
                    </a:cubicBezTo>
                    <a:cubicBezTo>
                      <a:pt x="67" y="274"/>
                      <a:pt x="72" y="279"/>
                      <a:pt x="75" y="286"/>
                    </a:cubicBezTo>
                    <a:cubicBezTo>
                      <a:pt x="81" y="296"/>
                      <a:pt x="82" y="322"/>
                      <a:pt x="96" y="323"/>
                    </a:cubicBezTo>
                    <a:cubicBezTo>
                      <a:pt x="100" y="323"/>
                      <a:pt x="105" y="320"/>
                      <a:pt x="104" y="314"/>
                    </a:cubicBezTo>
                    <a:cubicBezTo>
                      <a:pt x="107" y="312"/>
                      <a:pt x="110" y="311"/>
                      <a:pt x="113" y="311"/>
                    </a:cubicBezTo>
                    <a:cubicBezTo>
                      <a:pt x="111" y="307"/>
                      <a:pt x="118" y="303"/>
                      <a:pt x="117" y="300"/>
                    </a:cubicBezTo>
                    <a:cubicBezTo>
                      <a:pt x="121" y="299"/>
                      <a:pt x="120" y="300"/>
                      <a:pt x="124" y="299"/>
                    </a:cubicBezTo>
                    <a:cubicBezTo>
                      <a:pt x="124" y="292"/>
                      <a:pt x="121" y="287"/>
                      <a:pt x="123" y="281"/>
                    </a:cubicBezTo>
                    <a:cubicBezTo>
                      <a:pt x="124" y="280"/>
                      <a:pt x="128" y="276"/>
                      <a:pt x="125" y="275"/>
                    </a:cubicBezTo>
                    <a:cubicBezTo>
                      <a:pt x="128" y="274"/>
                      <a:pt x="131" y="264"/>
                      <a:pt x="126" y="264"/>
                    </a:cubicBezTo>
                    <a:cubicBezTo>
                      <a:pt x="126" y="263"/>
                      <a:pt x="127" y="263"/>
                      <a:pt x="128" y="263"/>
                    </a:cubicBezTo>
                    <a:cubicBezTo>
                      <a:pt x="125" y="256"/>
                      <a:pt x="124" y="236"/>
                      <a:pt x="136" y="241"/>
                    </a:cubicBezTo>
                    <a:cubicBezTo>
                      <a:pt x="138" y="233"/>
                      <a:pt x="145" y="235"/>
                      <a:pt x="151" y="231"/>
                    </a:cubicBezTo>
                    <a:cubicBezTo>
                      <a:pt x="148" y="225"/>
                      <a:pt x="155" y="225"/>
                      <a:pt x="160" y="220"/>
                    </a:cubicBezTo>
                    <a:cubicBezTo>
                      <a:pt x="162" y="219"/>
                      <a:pt x="162" y="216"/>
                      <a:pt x="163" y="215"/>
                    </a:cubicBezTo>
                    <a:cubicBezTo>
                      <a:pt x="167" y="212"/>
                      <a:pt x="170" y="210"/>
                      <a:pt x="173" y="206"/>
                    </a:cubicBezTo>
                    <a:cubicBezTo>
                      <a:pt x="178" y="200"/>
                      <a:pt x="179" y="196"/>
                      <a:pt x="181" y="195"/>
                    </a:cubicBezTo>
                    <a:cubicBezTo>
                      <a:pt x="186" y="194"/>
                      <a:pt x="196" y="193"/>
                      <a:pt x="196" y="185"/>
                    </a:cubicBezTo>
                    <a:cubicBezTo>
                      <a:pt x="196" y="183"/>
                      <a:pt x="194" y="181"/>
                      <a:pt x="195" y="179"/>
                    </a:cubicBezTo>
                    <a:cubicBezTo>
                      <a:pt x="199" y="174"/>
                      <a:pt x="204" y="177"/>
                      <a:pt x="206" y="170"/>
                    </a:cubicBezTo>
                    <a:cubicBezTo>
                      <a:pt x="209" y="174"/>
                      <a:pt x="212" y="170"/>
                      <a:pt x="215" y="170"/>
                    </a:cubicBezTo>
                    <a:cubicBezTo>
                      <a:pt x="215" y="164"/>
                      <a:pt x="212" y="161"/>
                      <a:pt x="214" y="157"/>
                    </a:cubicBezTo>
                    <a:cubicBezTo>
                      <a:pt x="214" y="156"/>
                      <a:pt x="213" y="156"/>
                      <a:pt x="211" y="156"/>
                    </a:cubicBezTo>
                    <a:cubicBezTo>
                      <a:pt x="212" y="152"/>
                      <a:pt x="210" y="152"/>
                      <a:pt x="209" y="150"/>
                    </a:cubicBezTo>
                    <a:cubicBezTo>
                      <a:pt x="209" y="148"/>
                      <a:pt x="211" y="147"/>
                      <a:pt x="210" y="144"/>
                    </a:cubicBezTo>
                    <a:cubicBezTo>
                      <a:pt x="208" y="143"/>
                      <a:pt x="205" y="142"/>
                      <a:pt x="204" y="140"/>
                    </a:cubicBezTo>
                    <a:cubicBezTo>
                      <a:pt x="205" y="136"/>
                      <a:pt x="208" y="134"/>
                      <a:pt x="212" y="133"/>
                    </a:cubicBezTo>
                    <a:cubicBezTo>
                      <a:pt x="209" y="129"/>
                      <a:pt x="206" y="129"/>
                      <a:pt x="203" y="126"/>
                    </a:cubicBezTo>
                    <a:cubicBezTo>
                      <a:pt x="203" y="123"/>
                      <a:pt x="208" y="121"/>
                      <a:pt x="205" y="119"/>
                    </a:cubicBezTo>
                    <a:cubicBezTo>
                      <a:pt x="208" y="119"/>
                      <a:pt x="209" y="122"/>
                      <a:pt x="212" y="120"/>
                    </a:cubicBezTo>
                    <a:cubicBezTo>
                      <a:pt x="213" y="121"/>
                      <a:pt x="215" y="122"/>
                      <a:pt x="216" y="123"/>
                    </a:cubicBezTo>
                    <a:cubicBezTo>
                      <a:pt x="217" y="124"/>
                      <a:pt x="218" y="123"/>
                      <a:pt x="218" y="121"/>
                    </a:cubicBezTo>
                    <a:cubicBezTo>
                      <a:pt x="221" y="123"/>
                      <a:pt x="220" y="128"/>
                      <a:pt x="220" y="130"/>
                    </a:cubicBezTo>
                    <a:cubicBezTo>
                      <a:pt x="231" y="135"/>
                      <a:pt x="235" y="130"/>
                      <a:pt x="245" y="133"/>
                    </a:cubicBez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29715" name="Rectangle 3"/>
          <p:cNvSpPr>
            <a:spLocks noGrp="1" noChangeArrowheads="1"/>
          </p:cNvSpPr>
          <p:nvPr>
            <p:ph type="title"/>
          </p:nvPr>
        </p:nvSpPr>
        <p:spPr/>
        <p:txBody>
          <a:bodyPr/>
          <a:lstStyle/>
          <a:p>
            <a:pPr>
              <a:tabLst>
                <a:tab pos="5562600" algn="l"/>
              </a:tabLst>
            </a:pPr>
            <a:r>
              <a:rPr cap="none" dirty="0" smtClean="0"/>
              <a:t>4</a:t>
            </a:r>
            <a:r>
              <a:rPr lang="fr-FR" cap="none" dirty="0" smtClean="0"/>
              <a:t>0+</a:t>
            </a:r>
            <a:r>
              <a:rPr cap="none" dirty="0" smtClean="0"/>
              <a:t> countries and 1</a:t>
            </a:r>
            <a:r>
              <a:rPr lang="fr-FR" cap="none" dirty="0" smtClean="0"/>
              <a:t>20+</a:t>
            </a:r>
            <a:r>
              <a:rPr cap="none" dirty="0" smtClean="0"/>
              <a:t> </a:t>
            </a:r>
            <a:r>
              <a:rPr lang="fr-FR" cap="none" dirty="0" err="1" smtClean="0"/>
              <a:t>nationalities</a:t>
            </a:r>
            <a:r>
              <a:rPr cap="none" dirty="0" smtClean="0"/>
              <a:t/>
            </a:r>
            <a:br>
              <a:rPr cap="none" dirty="0" smtClean="0"/>
            </a:br>
            <a:r>
              <a:rPr sz="1600" b="0" cap="none" dirty="0" smtClean="0"/>
              <a:t>(As of </a:t>
            </a:r>
            <a:r>
              <a:rPr lang="fr-FR" sz="1600" b="0" cap="none" dirty="0" err="1" smtClean="0"/>
              <a:t>December</a:t>
            </a:r>
            <a:r>
              <a:rPr lang="fr-FR" sz="1600" b="0" cap="none" dirty="0" smtClean="0"/>
              <a:t> 31, </a:t>
            </a:r>
            <a:r>
              <a:rPr lang="fr-FR" sz="1600" dirty="0" smtClean="0"/>
              <a:t>2015)</a:t>
            </a:r>
            <a:endParaRPr b="0" cap="none" dirty="0" smtClean="0"/>
          </a:p>
        </p:txBody>
      </p:sp>
      <p:sp>
        <p:nvSpPr>
          <p:cNvPr id="1559" name="Rectangle à coins arrondis 35"/>
          <p:cNvSpPr/>
          <p:nvPr>
            <p:custDataLst>
              <p:tags r:id="rId1"/>
            </p:custDataLst>
          </p:nvPr>
        </p:nvSpPr>
        <p:spPr bwMode="auto">
          <a:xfrm>
            <a:off x="7131050" y="1186543"/>
            <a:ext cx="2491922" cy="1077686"/>
          </a:xfrm>
          <a:prstGeom prst="round2DiagRect">
            <a:avLst/>
          </a:prstGeom>
          <a:solidFill>
            <a:schemeClr val="accent1"/>
          </a:soli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36000" rIns="0" bIns="36000" anchor="ctr"/>
          <a:lstStyle/>
          <a:p>
            <a:pPr algn="ctr">
              <a:lnSpc>
                <a:spcPct val="90000"/>
              </a:lnSpc>
              <a:tabLst>
                <a:tab pos="1709738" algn="dec"/>
              </a:tabLst>
              <a:defRPr/>
            </a:pPr>
            <a:r>
              <a:rPr lang="en-US" sz="2400" b="1" dirty="0" smtClean="0"/>
              <a:t>+ 180,000</a:t>
            </a:r>
            <a:endParaRPr lang="en-US" sz="1800" b="1" dirty="0" smtClean="0"/>
          </a:p>
          <a:p>
            <a:pPr algn="ctr">
              <a:lnSpc>
                <a:spcPct val="90000"/>
              </a:lnSpc>
              <a:tabLst>
                <a:tab pos="1709738" algn="dec"/>
              </a:tabLst>
              <a:defRPr/>
            </a:pPr>
            <a:r>
              <a:rPr lang="en-US" sz="1800" dirty="0" smtClean="0"/>
              <a:t>people worldwide</a:t>
            </a:r>
          </a:p>
          <a:p>
            <a:pPr algn="ctr">
              <a:lnSpc>
                <a:spcPct val="90000"/>
              </a:lnSpc>
              <a:tabLst>
                <a:tab pos="1709738" algn="dec"/>
              </a:tabLst>
              <a:defRPr/>
            </a:pPr>
            <a:r>
              <a:rPr lang="en-US" sz="1200" dirty="0" smtClean="0"/>
              <a:t>(98 430 working offshore)</a:t>
            </a:r>
            <a:endParaRPr lang="en-US" sz="1800" dirty="0" smtClean="0"/>
          </a:p>
        </p:txBody>
      </p:sp>
      <p:sp>
        <p:nvSpPr>
          <p:cNvPr id="1560" name="ZoneTexte 1559"/>
          <p:cNvSpPr txBox="1"/>
          <p:nvPr/>
        </p:nvSpPr>
        <p:spPr>
          <a:xfrm>
            <a:off x="293917" y="2688786"/>
            <a:ext cx="1328057" cy="590931"/>
          </a:xfrm>
          <a:prstGeom prst="rect">
            <a:avLst/>
          </a:prstGeom>
          <a:noFill/>
        </p:spPr>
        <p:txBody>
          <a:bodyPr wrap="square" rtlCol="0">
            <a:spAutoFit/>
          </a:bodyPr>
          <a:lstStyle/>
          <a:p>
            <a:pPr>
              <a:lnSpc>
                <a:spcPct val="90000"/>
              </a:lnSpc>
            </a:pPr>
            <a:r>
              <a:rPr lang="en-US" sz="1800" b="1" dirty="0" smtClean="0"/>
              <a:t>North</a:t>
            </a:r>
          </a:p>
          <a:p>
            <a:pPr>
              <a:lnSpc>
                <a:spcPct val="90000"/>
              </a:lnSpc>
            </a:pPr>
            <a:r>
              <a:rPr lang="en-US" sz="1800" b="1" dirty="0" smtClean="0"/>
              <a:t>America</a:t>
            </a:r>
          </a:p>
        </p:txBody>
      </p:sp>
      <p:sp>
        <p:nvSpPr>
          <p:cNvPr id="1561" name="ZoneTexte 1560"/>
          <p:cNvSpPr txBox="1"/>
          <p:nvPr/>
        </p:nvSpPr>
        <p:spPr>
          <a:xfrm>
            <a:off x="620493" y="4245430"/>
            <a:ext cx="1796143" cy="369332"/>
          </a:xfrm>
          <a:prstGeom prst="rect">
            <a:avLst/>
          </a:prstGeom>
          <a:noFill/>
        </p:spPr>
        <p:txBody>
          <a:bodyPr wrap="square" rtlCol="0">
            <a:spAutoFit/>
          </a:bodyPr>
          <a:lstStyle/>
          <a:p>
            <a:r>
              <a:rPr lang="en-US" sz="1800" b="1" dirty="0" smtClean="0"/>
              <a:t>Latin America</a:t>
            </a:r>
          </a:p>
        </p:txBody>
      </p:sp>
      <p:sp>
        <p:nvSpPr>
          <p:cNvPr id="1562" name="ZoneTexte 1561"/>
          <p:cNvSpPr txBox="1"/>
          <p:nvPr/>
        </p:nvSpPr>
        <p:spPr>
          <a:xfrm>
            <a:off x="3974201" y="1926774"/>
            <a:ext cx="1098543" cy="369332"/>
          </a:xfrm>
          <a:prstGeom prst="rect">
            <a:avLst/>
          </a:prstGeom>
          <a:noFill/>
        </p:spPr>
        <p:txBody>
          <a:bodyPr wrap="square" rtlCol="0">
            <a:spAutoFit/>
          </a:bodyPr>
          <a:lstStyle/>
          <a:p>
            <a:r>
              <a:rPr lang="en-US" sz="1800" b="1" dirty="0" smtClean="0"/>
              <a:t>Europe</a:t>
            </a:r>
          </a:p>
        </p:txBody>
      </p:sp>
      <p:sp>
        <p:nvSpPr>
          <p:cNvPr id="1563" name="ZoneTexte 1562"/>
          <p:cNvSpPr txBox="1"/>
          <p:nvPr/>
        </p:nvSpPr>
        <p:spPr>
          <a:xfrm>
            <a:off x="4191902" y="4016830"/>
            <a:ext cx="1631950" cy="646331"/>
          </a:xfrm>
          <a:prstGeom prst="rect">
            <a:avLst/>
          </a:prstGeom>
          <a:noFill/>
        </p:spPr>
        <p:txBody>
          <a:bodyPr wrap="square" rtlCol="0">
            <a:spAutoFit/>
          </a:bodyPr>
          <a:lstStyle/>
          <a:p>
            <a:pPr algn="ctr"/>
            <a:r>
              <a:rPr lang="en-US" sz="1800" b="1" dirty="0" smtClean="0"/>
              <a:t>Middle-East &amp; Africa</a:t>
            </a:r>
          </a:p>
        </p:txBody>
      </p:sp>
      <p:sp>
        <p:nvSpPr>
          <p:cNvPr id="1564" name="ZoneTexte 1563"/>
          <p:cNvSpPr txBox="1"/>
          <p:nvPr/>
        </p:nvSpPr>
        <p:spPr>
          <a:xfrm>
            <a:off x="8033652" y="3788236"/>
            <a:ext cx="1534887" cy="369332"/>
          </a:xfrm>
          <a:prstGeom prst="rect">
            <a:avLst/>
          </a:prstGeom>
          <a:noFill/>
        </p:spPr>
        <p:txBody>
          <a:bodyPr wrap="square" rtlCol="0">
            <a:spAutoFit/>
          </a:bodyPr>
          <a:lstStyle/>
          <a:p>
            <a:r>
              <a:rPr lang="en-US" sz="1800" b="1" dirty="0" smtClean="0"/>
              <a:t>Asia-Pacific</a:t>
            </a:r>
          </a:p>
        </p:txBody>
      </p:sp>
      <p:sp>
        <p:nvSpPr>
          <p:cNvPr id="1565" name="Rectangle 1"/>
          <p:cNvSpPr>
            <a:spLocks noChangeArrowheads="1"/>
          </p:cNvSpPr>
          <p:nvPr/>
        </p:nvSpPr>
        <p:spPr bwMode="auto">
          <a:xfrm>
            <a:off x="10108394" y="81363"/>
            <a:ext cx="2198346" cy="5755422"/>
          </a:xfrm>
          <a:prstGeom prst="rect">
            <a:avLst/>
          </a:prstGeom>
          <a:solidFill>
            <a:schemeClr val="bg1"/>
          </a:solidFill>
          <a:ln w="9525">
            <a:solidFill>
              <a:schemeClr val="bg1"/>
            </a:solidFill>
            <a:miter lim="800000"/>
            <a:headEnd/>
            <a:tailEnd/>
          </a:ln>
          <a:effectLst/>
        </p:spPr>
        <p:txBody>
          <a:bodyPr vert="horz" wrap="square" lIns="91440" tIns="45720" rIns="91440" bIns="45720" numCol="1" anchor="ctr" anchorCtr="0" compatLnSpc="1">
            <a:prstTxWarp prst="textNoShape">
              <a:avLst/>
            </a:prstTxWarp>
            <a:spAutoFit/>
          </a:bodyPr>
          <a:lstStyle/>
          <a:p>
            <a:pPr marL="228600" lvl="0" indent="-228600" algn="ctr"/>
            <a:r>
              <a:rPr lang="en-US" sz="800" dirty="0" smtClean="0"/>
              <a:t>FOR INFORMATION:</a:t>
            </a:r>
          </a:p>
          <a:p>
            <a:pPr marL="228600" lvl="0" indent="-228600" algn="ctr"/>
            <a:endParaRPr lang="en-US" sz="800" dirty="0" smtClean="0"/>
          </a:p>
          <a:p>
            <a:pPr marL="228600" lvl="0" indent="-228600">
              <a:buFont typeface="+mj-lt"/>
              <a:buAutoNum type="arabicPeriod"/>
            </a:pPr>
            <a:r>
              <a:rPr lang="en-US" sz="800" dirty="0" smtClean="0"/>
              <a:t>Argentina </a:t>
            </a:r>
          </a:p>
          <a:p>
            <a:pPr marL="228600" lvl="0" indent="-228600">
              <a:buFont typeface="+mj-lt"/>
              <a:buAutoNum type="arabicPeriod"/>
            </a:pPr>
            <a:r>
              <a:rPr lang="en-US" sz="800" dirty="0" smtClean="0"/>
              <a:t>Australia </a:t>
            </a:r>
          </a:p>
          <a:p>
            <a:pPr marL="228600" lvl="0" indent="-228600">
              <a:buFont typeface="+mj-lt"/>
              <a:buAutoNum type="arabicPeriod"/>
            </a:pPr>
            <a:r>
              <a:rPr lang="en-US" sz="800" dirty="0" smtClean="0"/>
              <a:t>Austria </a:t>
            </a:r>
          </a:p>
          <a:p>
            <a:pPr marL="228600" lvl="0" indent="-228600">
              <a:buFont typeface="+mj-lt"/>
              <a:buAutoNum type="arabicPeriod"/>
            </a:pPr>
            <a:r>
              <a:rPr lang="en-US" sz="800" dirty="0" smtClean="0"/>
              <a:t>Belgium </a:t>
            </a:r>
          </a:p>
          <a:p>
            <a:pPr marL="228600" lvl="0" indent="-228600">
              <a:buFont typeface="+mj-lt"/>
              <a:buAutoNum type="arabicPeriod"/>
            </a:pPr>
            <a:r>
              <a:rPr lang="en-US" sz="800" dirty="0" smtClean="0"/>
              <a:t>Brazil </a:t>
            </a:r>
          </a:p>
          <a:p>
            <a:pPr marL="228600" lvl="0" indent="-228600">
              <a:buFont typeface="+mj-lt"/>
              <a:buAutoNum type="arabicPeriod"/>
            </a:pPr>
            <a:r>
              <a:rPr lang="en-US" sz="800" dirty="0" smtClean="0"/>
              <a:t>Canada </a:t>
            </a:r>
          </a:p>
          <a:p>
            <a:pPr marL="228600" lvl="0" indent="-228600">
              <a:buFont typeface="+mj-lt"/>
              <a:buAutoNum type="arabicPeriod"/>
            </a:pPr>
            <a:r>
              <a:rPr lang="en-US" sz="800" dirty="0" smtClean="0"/>
              <a:t>Chile (Production center only)</a:t>
            </a:r>
          </a:p>
          <a:p>
            <a:pPr marL="228600" lvl="0" indent="-228600">
              <a:buFont typeface="+mj-lt"/>
              <a:buAutoNum type="arabicPeriod"/>
            </a:pPr>
            <a:r>
              <a:rPr lang="en-US" sz="800" dirty="0" smtClean="0"/>
              <a:t>China / Hong Kong </a:t>
            </a:r>
          </a:p>
          <a:p>
            <a:pPr marL="228600" lvl="0" indent="-228600">
              <a:buFont typeface="+mj-lt"/>
              <a:buAutoNum type="arabicPeriod"/>
            </a:pPr>
            <a:r>
              <a:rPr lang="en-US" sz="800" dirty="0" smtClean="0"/>
              <a:t>Colombia</a:t>
            </a:r>
          </a:p>
          <a:p>
            <a:pPr marL="228600" lvl="0" indent="-228600">
              <a:buFont typeface="+mj-lt"/>
              <a:buAutoNum type="arabicPeriod"/>
            </a:pPr>
            <a:r>
              <a:rPr lang="en-US" sz="800" dirty="0" smtClean="0"/>
              <a:t>Czech Republic </a:t>
            </a:r>
          </a:p>
          <a:p>
            <a:pPr marL="228600" lvl="0" indent="-228600">
              <a:buFont typeface="+mj-lt"/>
              <a:buAutoNum type="arabicPeriod"/>
            </a:pPr>
            <a:r>
              <a:rPr lang="en-US" sz="800" dirty="0" smtClean="0"/>
              <a:t>Denmark </a:t>
            </a:r>
          </a:p>
          <a:p>
            <a:pPr marL="228600" lvl="0" indent="-228600">
              <a:buFont typeface="+mj-lt"/>
              <a:buAutoNum type="arabicPeriod"/>
            </a:pPr>
            <a:r>
              <a:rPr lang="en-US" sz="800" dirty="0" smtClean="0"/>
              <a:t>Finland </a:t>
            </a:r>
          </a:p>
          <a:p>
            <a:pPr marL="228600" lvl="0" indent="-228600">
              <a:buFont typeface="+mj-lt"/>
              <a:buAutoNum type="arabicPeriod"/>
            </a:pPr>
            <a:r>
              <a:rPr lang="en-US" sz="800" dirty="0" smtClean="0"/>
              <a:t>France </a:t>
            </a:r>
          </a:p>
          <a:p>
            <a:pPr marL="228600" lvl="0" indent="-228600">
              <a:buFont typeface="+mj-lt"/>
              <a:buAutoNum type="arabicPeriod"/>
            </a:pPr>
            <a:r>
              <a:rPr lang="en-US" sz="800" dirty="0" smtClean="0"/>
              <a:t>Germany </a:t>
            </a:r>
          </a:p>
          <a:p>
            <a:pPr marL="228600" lvl="0" indent="-228600">
              <a:buFont typeface="+mj-lt"/>
              <a:buAutoNum type="arabicPeriod"/>
            </a:pPr>
            <a:r>
              <a:rPr lang="en-US" sz="800" dirty="0" smtClean="0"/>
              <a:t>Guatemala (Production center only)</a:t>
            </a:r>
          </a:p>
          <a:p>
            <a:pPr marL="228600" lvl="0" indent="-228600">
              <a:buFont typeface="+mj-lt"/>
              <a:buAutoNum type="arabicPeriod"/>
            </a:pPr>
            <a:r>
              <a:rPr lang="en-US" sz="800" dirty="0" smtClean="0"/>
              <a:t>Hungary </a:t>
            </a:r>
          </a:p>
          <a:p>
            <a:pPr marL="228600" lvl="0" indent="-228600">
              <a:buFont typeface="+mj-lt"/>
              <a:buAutoNum type="arabicPeriod"/>
            </a:pPr>
            <a:r>
              <a:rPr lang="en-US" sz="800" dirty="0" smtClean="0"/>
              <a:t>India </a:t>
            </a:r>
          </a:p>
          <a:p>
            <a:pPr marL="228600" lvl="0" indent="-228600">
              <a:buFont typeface="+mj-lt"/>
              <a:buAutoNum type="arabicPeriod"/>
            </a:pPr>
            <a:r>
              <a:rPr lang="en-US" sz="800" dirty="0" smtClean="0"/>
              <a:t>Ireland </a:t>
            </a:r>
          </a:p>
          <a:p>
            <a:pPr marL="228600" lvl="0" indent="-228600">
              <a:buFont typeface="+mj-lt"/>
              <a:buAutoNum type="arabicPeriod"/>
            </a:pPr>
            <a:r>
              <a:rPr lang="en-US" sz="800" dirty="0" smtClean="0"/>
              <a:t>Italy </a:t>
            </a:r>
          </a:p>
          <a:p>
            <a:pPr marL="228600" lvl="0" indent="-228600">
              <a:buFont typeface="+mj-lt"/>
              <a:buAutoNum type="arabicPeriod"/>
            </a:pPr>
            <a:r>
              <a:rPr lang="en-US" sz="800" dirty="0" smtClean="0"/>
              <a:t>Japan</a:t>
            </a:r>
          </a:p>
          <a:p>
            <a:pPr marL="228600" lvl="0" indent="-228600">
              <a:buFont typeface="+mj-lt"/>
              <a:buAutoNum type="arabicPeriod"/>
            </a:pPr>
            <a:r>
              <a:rPr lang="en-US" sz="800" dirty="0" smtClean="0"/>
              <a:t>Luxemburg </a:t>
            </a:r>
          </a:p>
          <a:p>
            <a:pPr marL="228600" lvl="0" indent="-228600">
              <a:buFont typeface="+mj-lt"/>
              <a:buAutoNum type="arabicPeriod"/>
            </a:pPr>
            <a:r>
              <a:rPr lang="en-US" sz="800" dirty="0" smtClean="0"/>
              <a:t>Malaysia </a:t>
            </a:r>
          </a:p>
          <a:p>
            <a:pPr marL="228600" lvl="0" indent="-228600">
              <a:buFont typeface="+mj-lt"/>
              <a:buAutoNum type="arabicPeriod"/>
            </a:pPr>
            <a:r>
              <a:rPr lang="en-US" sz="800" dirty="0" smtClean="0"/>
              <a:t>Mexico </a:t>
            </a:r>
          </a:p>
          <a:p>
            <a:pPr marL="228600" lvl="0" indent="-228600">
              <a:buFont typeface="+mj-lt"/>
              <a:buAutoNum type="arabicPeriod"/>
            </a:pPr>
            <a:r>
              <a:rPr lang="en-US" sz="800" dirty="0" smtClean="0"/>
              <a:t>Morocco (Production center only)</a:t>
            </a:r>
          </a:p>
          <a:p>
            <a:pPr marL="228600" lvl="0" indent="-228600">
              <a:buFont typeface="+mj-lt"/>
              <a:buAutoNum type="arabicPeriod"/>
            </a:pPr>
            <a:r>
              <a:rPr lang="en-US" sz="800" dirty="0" smtClean="0"/>
              <a:t>New Zealand</a:t>
            </a:r>
          </a:p>
          <a:p>
            <a:pPr marL="228600" lvl="0" indent="-228600">
              <a:buFont typeface="+mj-lt"/>
              <a:buAutoNum type="arabicPeriod"/>
            </a:pPr>
            <a:r>
              <a:rPr lang="en-US" sz="800" dirty="0" smtClean="0"/>
              <a:t>Norway </a:t>
            </a:r>
          </a:p>
          <a:p>
            <a:pPr marL="228600" lvl="0" indent="-228600">
              <a:buFont typeface="+mj-lt"/>
              <a:buAutoNum type="arabicPeriod"/>
            </a:pPr>
            <a:r>
              <a:rPr lang="en-US" sz="800" dirty="0" smtClean="0"/>
              <a:t>Philippines </a:t>
            </a:r>
          </a:p>
          <a:p>
            <a:pPr marL="228600" lvl="0" indent="-228600">
              <a:buFont typeface="+mj-lt"/>
              <a:buAutoNum type="arabicPeriod"/>
            </a:pPr>
            <a:r>
              <a:rPr lang="en-US" sz="800" dirty="0" smtClean="0"/>
              <a:t>Poland </a:t>
            </a:r>
          </a:p>
          <a:p>
            <a:pPr marL="228600" lvl="0" indent="-228600">
              <a:buFont typeface="+mj-lt"/>
              <a:buAutoNum type="arabicPeriod"/>
            </a:pPr>
            <a:r>
              <a:rPr lang="en-US" sz="800" dirty="0" smtClean="0"/>
              <a:t>Portugal </a:t>
            </a:r>
          </a:p>
          <a:p>
            <a:pPr marL="228600" lvl="0" indent="-228600">
              <a:buFont typeface="+mj-lt"/>
              <a:buAutoNum type="arabicPeriod"/>
            </a:pPr>
            <a:r>
              <a:rPr lang="en-US" sz="800" dirty="0" smtClean="0"/>
              <a:t>Romania </a:t>
            </a:r>
          </a:p>
          <a:p>
            <a:pPr marL="228600" lvl="0" indent="-228600">
              <a:buFont typeface="+mj-lt"/>
              <a:buAutoNum type="arabicPeriod"/>
            </a:pPr>
            <a:r>
              <a:rPr lang="en-US" sz="800" dirty="0" smtClean="0"/>
              <a:t>Saudi Arabia</a:t>
            </a:r>
          </a:p>
          <a:p>
            <a:pPr marL="228600" lvl="0" indent="-228600">
              <a:buFont typeface="+mj-lt"/>
              <a:buAutoNum type="arabicPeriod"/>
            </a:pPr>
            <a:r>
              <a:rPr lang="en-US" sz="800" dirty="0" smtClean="0"/>
              <a:t>Singapore </a:t>
            </a:r>
          </a:p>
          <a:p>
            <a:pPr marL="228600" lvl="0" indent="-228600">
              <a:buFont typeface="+mj-lt"/>
              <a:buAutoNum type="arabicPeriod"/>
            </a:pPr>
            <a:r>
              <a:rPr lang="en-US" sz="800" dirty="0" smtClean="0"/>
              <a:t>Slovakia </a:t>
            </a:r>
          </a:p>
          <a:p>
            <a:pPr marL="228600" lvl="0" indent="-228600">
              <a:buFont typeface="+mj-lt"/>
              <a:buAutoNum type="arabicPeriod"/>
            </a:pPr>
            <a:r>
              <a:rPr lang="en-US" sz="800" dirty="0" smtClean="0"/>
              <a:t>South Africa</a:t>
            </a:r>
          </a:p>
          <a:p>
            <a:pPr marL="228600" lvl="0" indent="-228600">
              <a:buFont typeface="+mj-lt"/>
              <a:buAutoNum type="arabicPeriod"/>
            </a:pPr>
            <a:r>
              <a:rPr lang="en-US" sz="800" dirty="0" smtClean="0"/>
              <a:t>Spain </a:t>
            </a:r>
          </a:p>
          <a:p>
            <a:pPr marL="228600" lvl="0" indent="-228600">
              <a:buFont typeface="+mj-lt"/>
              <a:buAutoNum type="arabicPeriod"/>
            </a:pPr>
            <a:r>
              <a:rPr lang="en-US" sz="800" dirty="0" smtClean="0"/>
              <a:t>Sweden </a:t>
            </a:r>
          </a:p>
          <a:p>
            <a:pPr marL="228600" lvl="0" indent="-228600">
              <a:buFont typeface="+mj-lt"/>
              <a:buAutoNum type="arabicPeriod"/>
            </a:pPr>
            <a:r>
              <a:rPr lang="en-US" sz="800" dirty="0" smtClean="0"/>
              <a:t>Switzerland</a:t>
            </a:r>
          </a:p>
          <a:p>
            <a:pPr marL="228600" lvl="0" indent="-228600">
              <a:buFont typeface="+mj-lt"/>
              <a:buAutoNum type="arabicPeriod"/>
            </a:pPr>
            <a:r>
              <a:rPr lang="en-US" sz="800" dirty="0" smtClean="0"/>
              <a:t>Russia (Production center only)</a:t>
            </a:r>
          </a:p>
          <a:p>
            <a:pPr marL="228600" lvl="0" indent="-228600">
              <a:buFont typeface="+mj-lt"/>
              <a:buAutoNum type="arabicPeriod"/>
            </a:pPr>
            <a:r>
              <a:rPr lang="en-US" sz="800" dirty="0" smtClean="0"/>
              <a:t>Taiwan </a:t>
            </a:r>
          </a:p>
          <a:p>
            <a:pPr marL="228600" lvl="0" indent="-228600">
              <a:buFont typeface="+mj-lt"/>
              <a:buAutoNum type="arabicPeriod"/>
            </a:pPr>
            <a:r>
              <a:rPr lang="en-US" sz="800" dirty="0" smtClean="0"/>
              <a:t>The Netherlands </a:t>
            </a:r>
          </a:p>
          <a:p>
            <a:pPr marL="228600" lvl="0" indent="-228600">
              <a:buFont typeface="+mj-lt"/>
              <a:buAutoNum type="arabicPeriod"/>
            </a:pPr>
            <a:r>
              <a:rPr lang="en-US" sz="800" dirty="0" smtClean="0"/>
              <a:t>UK </a:t>
            </a:r>
          </a:p>
          <a:p>
            <a:pPr marL="228600" lvl="0" indent="-228600">
              <a:buFont typeface="+mj-lt"/>
              <a:buAutoNum type="arabicPeriod"/>
            </a:pPr>
            <a:r>
              <a:rPr lang="en-US" sz="800" dirty="0" smtClean="0"/>
              <a:t>United Arab Emirates</a:t>
            </a:r>
          </a:p>
          <a:p>
            <a:pPr marL="228600" lvl="0" indent="-228600">
              <a:buFont typeface="+mj-lt"/>
              <a:buAutoNum type="arabicPeriod"/>
            </a:pPr>
            <a:r>
              <a:rPr lang="en-US" sz="800" dirty="0" smtClean="0"/>
              <a:t>US</a:t>
            </a:r>
          </a:p>
          <a:p>
            <a:pPr marL="228600" lvl="0" indent="-228600">
              <a:buFont typeface="+mj-lt"/>
              <a:buAutoNum type="arabicPeriod"/>
            </a:pPr>
            <a:r>
              <a:rPr lang="en-US" sz="800" dirty="0" smtClean="0"/>
              <a:t>Vietnam (Production center only)</a:t>
            </a:r>
            <a:endParaRPr lang="en-US" sz="800" dirty="0"/>
          </a:p>
        </p:txBody>
      </p:sp>
      <p:sp>
        <p:nvSpPr>
          <p:cNvPr id="1566" name="Rectangle 1565"/>
          <p:cNvSpPr/>
          <p:nvPr/>
        </p:nvSpPr>
        <p:spPr>
          <a:xfrm>
            <a:off x="10150210" y="5815967"/>
            <a:ext cx="2056973" cy="807913"/>
          </a:xfrm>
          <a:prstGeom prst="rect">
            <a:avLst/>
          </a:prstGeom>
          <a:ln>
            <a:noFill/>
          </a:ln>
        </p:spPr>
        <p:txBody>
          <a:bodyPr wrap="none">
            <a:spAutoFit/>
          </a:bodyPr>
          <a:lstStyle/>
          <a:p>
            <a:pPr algn="ctr">
              <a:defRPr/>
            </a:pPr>
            <a:r>
              <a:rPr lang="en-US" sz="1200" b="1" dirty="0" smtClean="0">
                <a:cs typeface="Arial" charset="0"/>
              </a:rPr>
              <a:t>Officially we say:</a:t>
            </a:r>
          </a:p>
          <a:p>
            <a:pPr algn="ctr">
              <a:defRPr/>
            </a:pPr>
            <a:r>
              <a:rPr lang="en-US" sz="1200" b="1" dirty="0" smtClean="0">
                <a:cs typeface="Arial" charset="0"/>
              </a:rPr>
              <a:t>More than 180,000 people</a:t>
            </a:r>
          </a:p>
          <a:p>
            <a:pPr algn="ctr">
              <a:defRPr/>
            </a:pPr>
            <a:r>
              <a:rPr lang="en-US" sz="1050" dirty="0" smtClean="0">
                <a:cs typeface="Arial" charset="0"/>
              </a:rPr>
              <a:t>in </a:t>
            </a:r>
            <a:r>
              <a:rPr lang="en-US" sz="1200" b="1" dirty="0" smtClean="0">
                <a:cs typeface="Arial" charset="0"/>
              </a:rPr>
              <a:t>over 40 countries</a:t>
            </a:r>
          </a:p>
          <a:p>
            <a:pPr algn="ctr">
              <a:defRPr/>
            </a:pPr>
            <a:r>
              <a:rPr lang="en-US" sz="1050" dirty="0" smtClean="0">
                <a:cs typeface="Arial" charset="0"/>
              </a:rPr>
              <a:t>(As of December 31</a:t>
            </a:r>
            <a:endParaRPr lang="en-US" sz="1050" b="1" dirty="0" smtClean="0">
              <a:cs typeface="Arial" charset="0"/>
            </a:endParaRPr>
          </a:p>
        </p:txBody>
      </p:sp>
      <p:sp>
        <p:nvSpPr>
          <p:cNvPr id="214" name="ZoneTexte 213"/>
          <p:cNvSpPr txBox="1"/>
          <p:nvPr/>
        </p:nvSpPr>
        <p:spPr>
          <a:xfrm>
            <a:off x="370115" y="3124196"/>
            <a:ext cx="914400" cy="369332"/>
          </a:xfrm>
          <a:prstGeom prst="rect">
            <a:avLst/>
          </a:prstGeom>
          <a:noFill/>
        </p:spPr>
        <p:txBody>
          <a:bodyPr wrap="square" rtlCol="0">
            <a:spAutoFit/>
          </a:bodyPr>
          <a:lstStyle/>
          <a:p>
            <a:pPr algn="ctr"/>
            <a:r>
              <a:rPr lang="en-US" sz="1800" dirty="0" smtClean="0">
                <a:solidFill>
                  <a:schemeClr val="accent5"/>
                </a:solidFill>
                <a:latin typeface="Arial Narrow" pitchFamily="34" charset="0"/>
              </a:rPr>
              <a:t>16 034</a:t>
            </a:r>
          </a:p>
        </p:txBody>
      </p:sp>
      <p:sp>
        <p:nvSpPr>
          <p:cNvPr id="215" name="ZoneTexte 214"/>
          <p:cNvSpPr txBox="1"/>
          <p:nvPr/>
        </p:nvSpPr>
        <p:spPr>
          <a:xfrm>
            <a:off x="1061364" y="4452254"/>
            <a:ext cx="914400" cy="369332"/>
          </a:xfrm>
          <a:prstGeom prst="rect">
            <a:avLst/>
          </a:prstGeom>
          <a:noFill/>
        </p:spPr>
        <p:txBody>
          <a:bodyPr wrap="square" rtlCol="0">
            <a:spAutoFit/>
          </a:bodyPr>
          <a:lstStyle/>
          <a:p>
            <a:pPr algn="ctr"/>
            <a:r>
              <a:rPr lang="en-US" sz="1800" dirty="0" smtClean="0">
                <a:solidFill>
                  <a:schemeClr val="accent3"/>
                </a:solidFill>
                <a:latin typeface="Arial Narrow" pitchFamily="34" charset="0"/>
              </a:rPr>
              <a:t>9 363</a:t>
            </a:r>
          </a:p>
        </p:txBody>
      </p:sp>
      <p:sp>
        <p:nvSpPr>
          <p:cNvPr id="216" name="ZoneTexte 215"/>
          <p:cNvSpPr txBox="1"/>
          <p:nvPr/>
        </p:nvSpPr>
        <p:spPr>
          <a:xfrm>
            <a:off x="3989621" y="2155368"/>
            <a:ext cx="914400" cy="369332"/>
          </a:xfrm>
          <a:prstGeom prst="rect">
            <a:avLst/>
          </a:prstGeom>
          <a:noFill/>
        </p:spPr>
        <p:txBody>
          <a:bodyPr wrap="square" rtlCol="0">
            <a:spAutoFit/>
          </a:bodyPr>
          <a:lstStyle/>
          <a:p>
            <a:pPr algn="ctr"/>
            <a:r>
              <a:rPr lang="en-US" sz="1800" dirty="0" smtClean="0">
                <a:solidFill>
                  <a:schemeClr val="accent6">
                    <a:lumMod val="75000"/>
                  </a:schemeClr>
                </a:solidFill>
                <a:latin typeface="Arial Narrow" pitchFamily="34" charset="0"/>
              </a:rPr>
              <a:t>62 301</a:t>
            </a:r>
          </a:p>
        </p:txBody>
      </p:sp>
      <p:sp>
        <p:nvSpPr>
          <p:cNvPr id="217" name="ZoneTexte 216"/>
          <p:cNvSpPr txBox="1"/>
          <p:nvPr/>
        </p:nvSpPr>
        <p:spPr>
          <a:xfrm>
            <a:off x="4566564" y="4506681"/>
            <a:ext cx="914400" cy="369332"/>
          </a:xfrm>
          <a:prstGeom prst="rect">
            <a:avLst/>
          </a:prstGeom>
          <a:noFill/>
        </p:spPr>
        <p:txBody>
          <a:bodyPr wrap="square" rtlCol="0">
            <a:spAutoFit/>
          </a:bodyPr>
          <a:lstStyle/>
          <a:p>
            <a:pPr algn="ctr"/>
            <a:r>
              <a:rPr lang="en-US" sz="1800" dirty="0" smtClean="0">
                <a:solidFill>
                  <a:schemeClr val="accent2"/>
                </a:solidFill>
                <a:latin typeface="Arial Narrow" pitchFamily="34" charset="0"/>
              </a:rPr>
              <a:t>1 407</a:t>
            </a:r>
          </a:p>
        </p:txBody>
      </p:sp>
      <p:sp>
        <p:nvSpPr>
          <p:cNvPr id="218" name="ZoneTexte 217"/>
          <p:cNvSpPr txBox="1"/>
          <p:nvPr/>
        </p:nvSpPr>
        <p:spPr>
          <a:xfrm>
            <a:off x="8267707" y="3995051"/>
            <a:ext cx="914400" cy="369332"/>
          </a:xfrm>
          <a:prstGeom prst="rect">
            <a:avLst/>
          </a:prstGeom>
          <a:noFill/>
        </p:spPr>
        <p:txBody>
          <a:bodyPr wrap="square" rtlCol="0">
            <a:spAutoFit/>
          </a:bodyPr>
          <a:lstStyle/>
          <a:p>
            <a:pPr algn="ctr"/>
            <a:r>
              <a:rPr lang="en-US" sz="1800" dirty="0" smtClean="0">
                <a:solidFill>
                  <a:schemeClr val="accent4"/>
                </a:solidFill>
                <a:latin typeface="Arial Narrow" pitchFamily="34" charset="0"/>
              </a:rPr>
              <a:t>91 504</a:t>
            </a:r>
          </a:p>
        </p:txBody>
      </p:sp>
    </p:spTree>
  </p:cSld>
  <p:clrMapOvr>
    <a:masterClrMapping/>
  </p:clrMapOvr>
  <p:transition spd="med" advClick="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 xmlns:a14="http://schemas.microsoft.com/office/drawing/2010/main" val="0"/>
              </a:ext>
            </a:extLst>
          </a:blip>
          <a:srcRect b="15649"/>
          <a:stretch/>
        </p:blipFill>
        <p:spPr>
          <a:xfrm>
            <a:off x="-1408" y="642938"/>
            <a:ext cx="9908815" cy="5572125"/>
          </a:xfrm>
          <a:prstGeom prst="rect">
            <a:avLst/>
          </a:prstGeom>
        </p:spPr>
      </p:pic>
      <p:sp>
        <p:nvSpPr>
          <p:cNvPr id="5" name="Rectangle 4"/>
          <p:cNvSpPr/>
          <p:nvPr/>
        </p:nvSpPr>
        <p:spPr>
          <a:xfrm>
            <a:off x="472083" y="1915666"/>
            <a:ext cx="4674394" cy="1196033"/>
          </a:xfrm>
          <a:prstGeom prst="rect">
            <a:avLst/>
          </a:prstGeom>
          <a:solidFill>
            <a:srgbClr val="BA0065">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chemeClr val="tx2">
                  <a:lumMod val="50000"/>
                </a:schemeClr>
              </a:solidFill>
            </a:endParaRPr>
          </a:p>
        </p:txBody>
      </p:sp>
      <p:pic>
        <p:nvPicPr>
          <p:cNvPr id="45" name="Picture 22"/>
          <p:cNvPicPr>
            <a:picLocks noChangeAspect="1"/>
          </p:cNvPicPr>
          <p:nvPr/>
        </p:nvPicPr>
        <p:blipFill rotWithShape="1">
          <a:blip r:embed="rId4" cstate="print">
            <a:extLst>
              <a:ext uri="{28A0092B-C50C-407E-A947-70E740481C1C}">
                <a14:useLocalDpi xmlns="" xmlns:a14="http://schemas.microsoft.com/office/drawing/2010/main" val="0"/>
              </a:ext>
            </a:extLst>
          </a:blip>
          <a:srcRect b="78963"/>
          <a:stretch/>
        </p:blipFill>
        <p:spPr>
          <a:xfrm>
            <a:off x="2476" y="642940"/>
            <a:ext cx="9903524" cy="1172208"/>
          </a:xfrm>
          <a:prstGeom prst="rect">
            <a:avLst/>
          </a:prstGeom>
        </p:spPr>
      </p:pic>
      <p:sp>
        <p:nvSpPr>
          <p:cNvPr id="331" name="CaixaDeTexto 3"/>
          <p:cNvSpPr txBox="1"/>
          <p:nvPr/>
        </p:nvSpPr>
        <p:spPr>
          <a:xfrm>
            <a:off x="219708" y="848289"/>
            <a:ext cx="5490606" cy="442429"/>
          </a:xfrm>
          <a:prstGeom prst="rect">
            <a:avLst/>
          </a:prstGeom>
          <a:noFill/>
          <a:effectLst/>
        </p:spPr>
        <p:txBody>
          <a:bodyPr wrap="none" rtlCol="0">
            <a:spAutoFit/>
          </a:bodyPr>
          <a:lstStyle/>
          <a:p>
            <a:pPr defTabSz="742950">
              <a:defRPr/>
            </a:pPr>
            <a:r>
              <a:rPr lang="en-US" sz="2275" kern="0" dirty="0">
                <a:solidFill>
                  <a:prstClr val="white"/>
                </a:solidFill>
                <a:latin typeface="Arial" panose="020B0604020202020204" pitchFamily="34" charset="0"/>
                <a:ea typeface="Segoe UI" panose="020B0502040204020203" pitchFamily="34" charset="0"/>
                <a:cs typeface="Arial" panose="020B0604020202020204" pitchFamily="34" charset="0"/>
              </a:rPr>
              <a:t>We are a </a:t>
            </a:r>
            <a:r>
              <a:rPr lang="en-US" sz="2275" b="1" kern="0" dirty="0">
                <a:solidFill>
                  <a:prstClr val="white"/>
                </a:solidFill>
                <a:latin typeface="Arial" panose="020B0604020202020204" pitchFamily="34" charset="0"/>
                <a:ea typeface="Segoe UI" panose="020B0502040204020203" pitchFamily="34" charset="0"/>
                <a:cs typeface="Arial" panose="020B0604020202020204" pitchFamily="34" charset="0"/>
              </a:rPr>
              <a:t>multicultural people</a:t>
            </a:r>
            <a:r>
              <a:rPr lang="en-US" sz="2275" kern="0" dirty="0">
                <a:solidFill>
                  <a:prstClr val="white"/>
                </a:solidFill>
                <a:latin typeface="Arial" panose="020B0604020202020204" pitchFamily="34" charset="0"/>
                <a:ea typeface="Segoe UI" panose="020B0502040204020203" pitchFamily="34" charset="0"/>
                <a:cs typeface="Arial" panose="020B0604020202020204" pitchFamily="34" charset="0"/>
              </a:rPr>
              <a:t> company</a:t>
            </a:r>
            <a:endParaRPr lang="pt-PT" sz="2275" b="1" kern="0" dirty="0">
              <a:solidFill>
                <a:prstClr val="white"/>
              </a:solidFill>
              <a:latin typeface="Arial" panose="020B0604020202020204" pitchFamily="34" charset="0"/>
              <a:ea typeface="Segoe UI" panose="020B0502040204020203" pitchFamily="34" charset="0"/>
              <a:cs typeface="Arial" panose="020B0604020202020204" pitchFamily="34" charset="0"/>
            </a:endParaRPr>
          </a:p>
        </p:txBody>
      </p:sp>
      <p:sp>
        <p:nvSpPr>
          <p:cNvPr id="15" name="Rectangle 14"/>
          <p:cNvSpPr/>
          <p:nvPr/>
        </p:nvSpPr>
        <p:spPr>
          <a:xfrm>
            <a:off x="544395" y="2067011"/>
            <a:ext cx="4529769" cy="972574"/>
          </a:xfrm>
          <a:prstGeom prst="rect">
            <a:avLst/>
          </a:prstGeom>
        </p:spPr>
        <p:txBody>
          <a:bodyPr wrap="square">
            <a:spAutoFit/>
          </a:bodyPr>
          <a:lstStyle/>
          <a:p>
            <a:pPr algn="ctr" defTabSz="742950">
              <a:lnSpc>
                <a:spcPct val="80000"/>
              </a:lnSpc>
              <a:tabLst>
                <a:tab pos="1389579" algn="dec"/>
              </a:tabLst>
              <a:defRPr/>
            </a:pPr>
            <a:r>
              <a:rPr lang="en-US" sz="3575" b="1" kern="0" dirty="0">
                <a:solidFill>
                  <a:schemeClr val="bg1"/>
                </a:solidFill>
                <a:latin typeface="Arial" panose="020B0604020202020204" pitchFamily="34" charset="0"/>
                <a:cs typeface="Arial" panose="020B0604020202020204" pitchFamily="34" charset="0"/>
              </a:rPr>
              <a:t>190,000+</a:t>
            </a:r>
            <a:r>
              <a:rPr lang="en-US" sz="2600" b="1" kern="0" dirty="0">
                <a:solidFill>
                  <a:schemeClr val="bg1"/>
                </a:solidFill>
                <a:latin typeface="Arial" panose="020B0604020202020204" pitchFamily="34" charset="0"/>
                <a:cs typeface="Arial" panose="020B0604020202020204" pitchFamily="34" charset="0"/>
              </a:rPr>
              <a:t> </a:t>
            </a:r>
            <a:r>
              <a:rPr lang="en-US" sz="2275" kern="0" dirty="0">
                <a:solidFill>
                  <a:schemeClr val="bg1"/>
                </a:solidFill>
                <a:latin typeface="Arial" panose="020B0604020202020204" pitchFamily="34" charset="0"/>
                <a:cs typeface="Arial" panose="020B0604020202020204" pitchFamily="34" charset="0"/>
              </a:rPr>
              <a:t>people worldwide</a:t>
            </a:r>
            <a:endParaRPr lang="en-US" sz="1138" kern="0" dirty="0">
              <a:solidFill>
                <a:schemeClr val="bg1"/>
              </a:solidFill>
              <a:latin typeface="Arial" panose="020B0604020202020204" pitchFamily="34" charset="0"/>
              <a:cs typeface="Arial" panose="020B0604020202020204" pitchFamily="34" charset="0"/>
            </a:endParaRPr>
          </a:p>
          <a:p>
            <a:pPr algn="ctr" defTabSz="742950">
              <a:lnSpc>
                <a:spcPct val="80000"/>
              </a:lnSpc>
              <a:tabLst>
                <a:tab pos="1389579" algn="dec"/>
              </a:tabLst>
              <a:defRPr/>
            </a:pPr>
            <a:r>
              <a:rPr lang="en-US" sz="1950" kern="0" dirty="0">
                <a:solidFill>
                  <a:schemeClr val="bg1"/>
                </a:solidFill>
                <a:latin typeface="Arial" panose="020B0604020202020204" pitchFamily="34" charset="0"/>
                <a:cs typeface="Arial" panose="020B0604020202020204" pitchFamily="34" charset="0"/>
              </a:rPr>
              <a:t>working together as </a:t>
            </a:r>
            <a:r>
              <a:rPr lang="en-US" sz="3575" b="1" kern="0" dirty="0">
                <a:solidFill>
                  <a:schemeClr val="bg1"/>
                </a:solidFill>
                <a:latin typeface="Arial" panose="020B0604020202020204" pitchFamily="34" charset="0"/>
                <a:cs typeface="Arial" panose="020B0604020202020204" pitchFamily="34" charset="0"/>
              </a:rPr>
              <a:t>one team</a:t>
            </a:r>
            <a:endParaRPr lang="en-US" sz="3006" b="1" kern="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grpSp>
        <p:nvGrpSpPr>
          <p:cNvPr id="335" name="Group 334"/>
          <p:cNvGrpSpPr/>
          <p:nvPr/>
        </p:nvGrpSpPr>
        <p:grpSpPr>
          <a:xfrm>
            <a:off x="1269378" y="3470764"/>
            <a:ext cx="1255470" cy="522413"/>
            <a:chOff x="315067" y="5221578"/>
            <a:chExt cx="956489" cy="642969"/>
          </a:xfrm>
        </p:grpSpPr>
        <p:sp>
          <p:nvSpPr>
            <p:cNvPr id="347" name="CaixaDeTexto 50"/>
            <p:cNvSpPr txBox="1"/>
            <p:nvPr/>
          </p:nvSpPr>
          <p:spPr>
            <a:xfrm>
              <a:off x="317508" y="5221578"/>
              <a:ext cx="954048" cy="359862"/>
            </a:xfrm>
            <a:prstGeom prst="rect">
              <a:avLst/>
            </a:prstGeom>
            <a:noFill/>
            <a:effectLst/>
          </p:spPr>
          <p:txBody>
            <a:bodyPr wrap="none" rtlCol="0">
              <a:spAutoFit/>
            </a:bodyPr>
            <a:lstStyle/>
            <a:p>
              <a:pPr defTabSz="742950">
                <a:defRPr/>
              </a:pPr>
              <a:r>
                <a:rPr lang="pt-PT" sz="1300" kern="0" dirty="0">
                  <a:solidFill>
                    <a:srgbClr val="324146"/>
                  </a:solidFill>
                  <a:latin typeface="Arial" panose="020B0604020202020204" pitchFamily="34" charset="0"/>
                  <a:ea typeface="Segoe UI" panose="020B0502040204020203" pitchFamily="34" charset="0"/>
                  <a:cs typeface="Arial" panose="020B0604020202020204" pitchFamily="34" charset="0"/>
                </a:rPr>
                <a:t>North America</a:t>
              </a:r>
            </a:p>
          </p:txBody>
        </p:sp>
        <p:sp>
          <p:nvSpPr>
            <p:cNvPr id="23" name="Rectangle 22"/>
            <p:cNvSpPr/>
            <p:nvPr/>
          </p:nvSpPr>
          <p:spPr>
            <a:xfrm>
              <a:off x="315067" y="5443131"/>
              <a:ext cx="717123" cy="421416"/>
            </a:xfrm>
            <a:prstGeom prst="rect">
              <a:avLst/>
            </a:prstGeom>
          </p:spPr>
          <p:txBody>
            <a:bodyPr wrap="none">
              <a:spAutoFit/>
            </a:bodyPr>
            <a:lstStyle/>
            <a:p>
              <a:pPr defTabSz="742950">
                <a:defRPr/>
              </a:pPr>
              <a:r>
                <a:rPr lang="en-US" sz="1625" b="1" kern="0" dirty="0">
                  <a:solidFill>
                    <a:srgbClr val="BA0065"/>
                  </a:solidFill>
                  <a:latin typeface="Arial" panose="020B0604020202020204" pitchFamily="34" charset="0"/>
                  <a:cs typeface="Arial" panose="020B0604020202020204" pitchFamily="34" charset="0"/>
                </a:rPr>
                <a:t>~16,780</a:t>
              </a:r>
              <a:endParaRPr lang="en-US" sz="1463" b="1" kern="0" dirty="0">
                <a:solidFill>
                  <a:srgbClr val="BA0065"/>
                </a:solidFill>
                <a:latin typeface="Arial" panose="020B0604020202020204" pitchFamily="34" charset="0"/>
                <a:cs typeface="Arial" panose="020B0604020202020204" pitchFamily="34" charset="0"/>
              </a:endParaRPr>
            </a:p>
          </p:txBody>
        </p:sp>
      </p:grpSp>
      <p:grpSp>
        <p:nvGrpSpPr>
          <p:cNvPr id="336" name="Group 335"/>
          <p:cNvGrpSpPr/>
          <p:nvPr/>
        </p:nvGrpSpPr>
        <p:grpSpPr>
          <a:xfrm>
            <a:off x="1269378" y="4172399"/>
            <a:ext cx="1343287" cy="521352"/>
            <a:chOff x="1719255" y="4992978"/>
            <a:chExt cx="1653276" cy="641665"/>
          </a:xfrm>
        </p:grpSpPr>
        <p:sp>
          <p:nvSpPr>
            <p:cNvPr id="348" name="CaixaDeTexto 50"/>
            <p:cNvSpPr txBox="1"/>
            <p:nvPr/>
          </p:nvSpPr>
          <p:spPr>
            <a:xfrm>
              <a:off x="1725977" y="4992978"/>
              <a:ext cx="1646554" cy="359862"/>
            </a:xfrm>
            <a:prstGeom prst="rect">
              <a:avLst/>
            </a:prstGeom>
            <a:noFill/>
            <a:effectLst/>
          </p:spPr>
          <p:txBody>
            <a:bodyPr wrap="square" rtlCol="0">
              <a:spAutoFit/>
            </a:bodyPr>
            <a:lstStyle/>
            <a:p>
              <a:pPr defTabSz="742950">
                <a:defRPr/>
              </a:pPr>
              <a:r>
                <a:rPr lang="pt-PT" sz="1300" kern="0" dirty="0">
                  <a:solidFill>
                    <a:srgbClr val="324146"/>
                  </a:solidFill>
                  <a:latin typeface="Arial" panose="020B0604020202020204" pitchFamily="34" charset="0"/>
                  <a:ea typeface="Segoe UI" panose="020B0502040204020203" pitchFamily="34" charset="0"/>
                  <a:cs typeface="Arial" panose="020B0604020202020204" pitchFamily="34" charset="0"/>
                </a:rPr>
                <a:t>Latin America</a:t>
              </a:r>
            </a:p>
          </p:txBody>
        </p:sp>
        <p:sp>
          <p:nvSpPr>
            <p:cNvPr id="353" name="Rectangle 352"/>
            <p:cNvSpPr/>
            <p:nvPr/>
          </p:nvSpPr>
          <p:spPr>
            <a:xfrm>
              <a:off x="1719255" y="5213226"/>
              <a:ext cx="1016452" cy="421417"/>
            </a:xfrm>
            <a:prstGeom prst="rect">
              <a:avLst/>
            </a:prstGeom>
          </p:spPr>
          <p:txBody>
            <a:bodyPr wrap="none">
              <a:spAutoFit/>
            </a:bodyPr>
            <a:lstStyle/>
            <a:p>
              <a:pPr defTabSz="742950">
                <a:defRPr/>
              </a:pPr>
              <a:r>
                <a:rPr lang="en-US" sz="1625" b="1" kern="0" dirty="0">
                  <a:solidFill>
                    <a:srgbClr val="BA0065"/>
                  </a:solidFill>
                  <a:latin typeface="Arial" panose="020B0604020202020204" pitchFamily="34" charset="0"/>
                  <a:cs typeface="Arial" panose="020B0604020202020204" pitchFamily="34" charset="0"/>
                </a:rPr>
                <a:t>~8,580</a:t>
              </a:r>
            </a:p>
          </p:txBody>
        </p:sp>
      </p:grpSp>
      <p:grpSp>
        <p:nvGrpSpPr>
          <p:cNvPr id="337" name="Group 336"/>
          <p:cNvGrpSpPr/>
          <p:nvPr/>
        </p:nvGrpSpPr>
        <p:grpSpPr>
          <a:xfrm>
            <a:off x="1269382" y="4847139"/>
            <a:ext cx="941283" cy="535241"/>
            <a:chOff x="2878588" y="5116672"/>
            <a:chExt cx="1158503" cy="658759"/>
          </a:xfrm>
        </p:grpSpPr>
        <p:sp>
          <p:nvSpPr>
            <p:cNvPr id="349" name="CaixaDeTexto 50"/>
            <p:cNvSpPr txBox="1"/>
            <p:nvPr/>
          </p:nvSpPr>
          <p:spPr>
            <a:xfrm>
              <a:off x="2898851" y="5116672"/>
              <a:ext cx="890185" cy="359862"/>
            </a:xfrm>
            <a:prstGeom prst="rect">
              <a:avLst/>
            </a:prstGeom>
            <a:noFill/>
            <a:effectLst/>
          </p:spPr>
          <p:txBody>
            <a:bodyPr wrap="none" rtlCol="0">
              <a:spAutoFit/>
            </a:bodyPr>
            <a:lstStyle/>
            <a:p>
              <a:pPr defTabSz="742950">
                <a:defRPr/>
              </a:pPr>
              <a:r>
                <a:rPr lang="pt-PT" sz="1300" kern="0" dirty="0">
                  <a:solidFill>
                    <a:srgbClr val="324146"/>
                  </a:solidFill>
                  <a:latin typeface="Arial" panose="020B0604020202020204" pitchFamily="34" charset="0"/>
                  <a:ea typeface="Segoe UI" panose="020B0502040204020203" pitchFamily="34" charset="0"/>
                  <a:cs typeface="Arial" panose="020B0604020202020204" pitchFamily="34" charset="0"/>
                </a:rPr>
                <a:t>Europe</a:t>
              </a:r>
            </a:p>
          </p:txBody>
        </p:sp>
        <p:sp>
          <p:nvSpPr>
            <p:cNvPr id="354" name="Rectangle 353"/>
            <p:cNvSpPr/>
            <p:nvPr/>
          </p:nvSpPr>
          <p:spPr>
            <a:xfrm>
              <a:off x="2878588" y="5354014"/>
              <a:ext cx="1158503" cy="421417"/>
            </a:xfrm>
            <a:prstGeom prst="rect">
              <a:avLst/>
            </a:prstGeom>
          </p:spPr>
          <p:txBody>
            <a:bodyPr wrap="none">
              <a:spAutoFit/>
            </a:bodyPr>
            <a:lstStyle/>
            <a:p>
              <a:pPr defTabSz="742950">
                <a:defRPr/>
              </a:pPr>
              <a:r>
                <a:rPr lang="en-US" sz="1625" b="1" kern="0" dirty="0">
                  <a:solidFill>
                    <a:srgbClr val="BA0065"/>
                  </a:solidFill>
                  <a:latin typeface="Arial" panose="020B0604020202020204" pitchFamily="34" charset="0"/>
                  <a:cs typeface="Arial" panose="020B0604020202020204" pitchFamily="34" charset="0"/>
                </a:rPr>
                <a:t>~64,400</a:t>
              </a:r>
            </a:p>
          </p:txBody>
        </p:sp>
      </p:grpSp>
      <p:grpSp>
        <p:nvGrpSpPr>
          <p:cNvPr id="338" name="Group 337"/>
          <p:cNvGrpSpPr/>
          <p:nvPr/>
        </p:nvGrpSpPr>
        <p:grpSpPr>
          <a:xfrm>
            <a:off x="3281535" y="3489480"/>
            <a:ext cx="1980006" cy="522413"/>
            <a:chOff x="7182510" y="5094578"/>
            <a:chExt cx="2436930" cy="642969"/>
          </a:xfrm>
        </p:grpSpPr>
        <p:sp>
          <p:nvSpPr>
            <p:cNvPr id="350" name="CaixaDeTexto 50"/>
            <p:cNvSpPr txBox="1"/>
            <p:nvPr/>
          </p:nvSpPr>
          <p:spPr>
            <a:xfrm>
              <a:off x="7182510" y="5094578"/>
              <a:ext cx="2436930" cy="359862"/>
            </a:xfrm>
            <a:prstGeom prst="rect">
              <a:avLst/>
            </a:prstGeom>
            <a:noFill/>
            <a:effectLst/>
          </p:spPr>
          <p:txBody>
            <a:bodyPr wrap="square" rtlCol="0">
              <a:spAutoFit/>
            </a:bodyPr>
            <a:lstStyle/>
            <a:p>
              <a:pPr defTabSz="742950">
                <a:defRPr/>
              </a:pPr>
              <a:r>
                <a:rPr lang="pt-PT" sz="1300" kern="0" dirty="0">
                  <a:solidFill>
                    <a:srgbClr val="324146"/>
                  </a:solidFill>
                  <a:latin typeface="Arial" panose="020B0604020202020204" pitchFamily="34" charset="0"/>
                  <a:ea typeface="Segoe UI" panose="020B0502040204020203" pitchFamily="34" charset="0"/>
                  <a:cs typeface="Arial" panose="020B0604020202020204" pitchFamily="34" charset="0"/>
                </a:rPr>
                <a:t>Middle-East</a:t>
              </a:r>
            </a:p>
          </p:txBody>
        </p:sp>
        <p:sp>
          <p:nvSpPr>
            <p:cNvPr id="355" name="Rectangle 354"/>
            <p:cNvSpPr/>
            <p:nvPr/>
          </p:nvSpPr>
          <p:spPr>
            <a:xfrm>
              <a:off x="7188653" y="5316131"/>
              <a:ext cx="661325" cy="421416"/>
            </a:xfrm>
            <a:prstGeom prst="rect">
              <a:avLst/>
            </a:prstGeom>
          </p:spPr>
          <p:txBody>
            <a:bodyPr wrap="none">
              <a:spAutoFit/>
            </a:bodyPr>
            <a:lstStyle/>
            <a:p>
              <a:pPr defTabSz="742950">
                <a:defRPr/>
              </a:pPr>
              <a:r>
                <a:rPr lang="en-US" sz="1625" b="1" kern="0" dirty="0">
                  <a:solidFill>
                    <a:srgbClr val="BA0065"/>
                  </a:solidFill>
                  <a:latin typeface="Arial" panose="020B0604020202020204" pitchFamily="34" charset="0"/>
                  <a:cs typeface="Arial" panose="020B0604020202020204" pitchFamily="34" charset="0"/>
                </a:rPr>
                <a:t>~95</a:t>
              </a:r>
            </a:p>
          </p:txBody>
        </p:sp>
      </p:grpSp>
      <p:grpSp>
        <p:nvGrpSpPr>
          <p:cNvPr id="330" name="Group 329"/>
          <p:cNvGrpSpPr/>
          <p:nvPr/>
        </p:nvGrpSpPr>
        <p:grpSpPr>
          <a:xfrm>
            <a:off x="2742100" y="3503747"/>
            <a:ext cx="532942" cy="532942"/>
            <a:chOff x="7417691" y="4337049"/>
            <a:chExt cx="655929" cy="655929"/>
          </a:xfrm>
        </p:grpSpPr>
        <p:sp>
          <p:nvSpPr>
            <p:cNvPr id="345" name="Elipse 14"/>
            <p:cNvSpPr/>
            <p:nvPr/>
          </p:nvSpPr>
          <p:spPr>
            <a:xfrm>
              <a:off x="7417691" y="4337049"/>
              <a:ext cx="655929" cy="655929"/>
            </a:xfrm>
            <a:prstGeom prst="ellipse">
              <a:avLst/>
            </a:prstGeom>
            <a:solidFill>
              <a:srgbClr val="3241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rgbClr val="9F958F">
                    <a:lumMod val="50000"/>
                  </a:srgbClr>
                </a:solidFill>
                <a:latin typeface="Arial" panose="020B0604020202020204" pitchFamily="34" charset="0"/>
                <a:cs typeface="Arial" panose="020B0604020202020204" pitchFamily="34" charset="0"/>
              </a:endParaRPr>
            </a:p>
          </p:txBody>
        </p:sp>
        <p:pic>
          <p:nvPicPr>
            <p:cNvPr id="316" name="Picture 315"/>
            <p:cNvPicPr>
              <a:picLocks noChangeAspect="1"/>
            </p:cNvPicPr>
            <p:nvPr/>
          </p:nvPicPr>
          <p:blipFill rotWithShape="1">
            <a:blip r:embed="rId5" cstate="print">
              <a:lum bright="70000" contrast="-70000"/>
              <a:extLst>
                <a:ext uri="{28A0092B-C50C-407E-A947-70E740481C1C}">
                  <a14:useLocalDpi xmlns="" xmlns:a14="http://schemas.microsoft.com/office/drawing/2010/main" val="0"/>
                </a:ext>
              </a:extLst>
            </a:blip>
            <a:srcRect l="51999" b="58614"/>
            <a:stretch/>
          </p:blipFill>
          <p:spPr>
            <a:xfrm>
              <a:off x="7613325" y="4498867"/>
              <a:ext cx="341955" cy="294832"/>
            </a:xfrm>
            <a:prstGeom prst="rect">
              <a:avLst/>
            </a:prstGeom>
          </p:spPr>
        </p:pic>
      </p:grpSp>
      <p:grpSp>
        <p:nvGrpSpPr>
          <p:cNvPr id="334" name="Group 333"/>
          <p:cNvGrpSpPr/>
          <p:nvPr/>
        </p:nvGrpSpPr>
        <p:grpSpPr>
          <a:xfrm>
            <a:off x="729943" y="4851752"/>
            <a:ext cx="532942" cy="532942"/>
            <a:chOff x="3126728" y="4337049"/>
            <a:chExt cx="655929" cy="655929"/>
          </a:xfrm>
        </p:grpSpPr>
        <p:sp>
          <p:nvSpPr>
            <p:cNvPr id="344" name="Elipse 14"/>
            <p:cNvSpPr/>
            <p:nvPr/>
          </p:nvSpPr>
          <p:spPr>
            <a:xfrm>
              <a:off x="3126728" y="4337049"/>
              <a:ext cx="655929" cy="655929"/>
            </a:xfrm>
            <a:prstGeom prst="ellipse">
              <a:avLst/>
            </a:prstGeom>
            <a:solidFill>
              <a:srgbClr val="3241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rgbClr val="9F958F">
                    <a:lumMod val="50000"/>
                  </a:srgbClr>
                </a:solidFill>
                <a:latin typeface="Arial" panose="020B0604020202020204" pitchFamily="34" charset="0"/>
                <a:cs typeface="Arial" panose="020B0604020202020204" pitchFamily="34" charset="0"/>
              </a:endParaRPr>
            </a:p>
          </p:txBody>
        </p:sp>
        <p:pic>
          <p:nvPicPr>
            <p:cNvPr id="318" name="Picture 317"/>
            <p:cNvPicPr>
              <a:picLocks noChangeAspect="1"/>
            </p:cNvPicPr>
            <p:nvPr/>
          </p:nvPicPr>
          <p:blipFill>
            <a:blip r:embed="rId6" cstate="print">
              <a:lum bright="70000" contrast="-70000"/>
              <a:extLst>
                <a:ext uri="{28A0092B-C50C-407E-A947-70E740481C1C}">
                  <a14:useLocalDpi xmlns="" xmlns:a14="http://schemas.microsoft.com/office/drawing/2010/main" val="0"/>
                </a:ext>
              </a:extLst>
            </a:blip>
            <a:stretch>
              <a:fillRect/>
            </a:stretch>
          </p:blipFill>
          <p:spPr>
            <a:xfrm>
              <a:off x="3236522" y="4383909"/>
              <a:ext cx="407452" cy="469833"/>
            </a:xfrm>
            <a:prstGeom prst="rect">
              <a:avLst/>
            </a:prstGeom>
          </p:spPr>
        </p:pic>
      </p:grpSp>
      <p:grpSp>
        <p:nvGrpSpPr>
          <p:cNvPr id="332" name="Group 331"/>
          <p:cNvGrpSpPr/>
          <p:nvPr/>
        </p:nvGrpSpPr>
        <p:grpSpPr>
          <a:xfrm>
            <a:off x="729943" y="3485663"/>
            <a:ext cx="532942" cy="532942"/>
            <a:chOff x="592755" y="4337049"/>
            <a:chExt cx="655929" cy="655929"/>
          </a:xfrm>
        </p:grpSpPr>
        <p:sp>
          <p:nvSpPr>
            <p:cNvPr id="342" name="Elipse 14"/>
            <p:cNvSpPr/>
            <p:nvPr/>
          </p:nvSpPr>
          <p:spPr>
            <a:xfrm>
              <a:off x="592755" y="4337049"/>
              <a:ext cx="655929" cy="655929"/>
            </a:xfrm>
            <a:prstGeom prst="ellipse">
              <a:avLst/>
            </a:prstGeom>
            <a:solidFill>
              <a:srgbClr val="3241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rgbClr val="9F958F">
                    <a:lumMod val="50000"/>
                  </a:srgbClr>
                </a:solidFill>
                <a:latin typeface="Arial" panose="020B0604020202020204" pitchFamily="34" charset="0"/>
                <a:cs typeface="Arial" panose="020B0604020202020204" pitchFamily="34" charset="0"/>
              </a:endParaRPr>
            </a:p>
          </p:txBody>
        </p:sp>
        <p:pic>
          <p:nvPicPr>
            <p:cNvPr id="323" name="Picture 322"/>
            <p:cNvPicPr>
              <a:picLocks noChangeAspect="1"/>
            </p:cNvPicPr>
            <p:nvPr/>
          </p:nvPicPr>
          <p:blipFill>
            <a:blip r:embed="rId7" cstate="print">
              <a:lum bright="70000" contrast="-70000"/>
              <a:extLst>
                <a:ext uri="{28A0092B-C50C-407E-A947-70E740481C1C}">
                  <a14:useLocalDpi xmlns="" xmlns:a14="http://schemas.microsoft.com/office/drawing/2010/main" val="0"/>
                </a:ext>
              </a:extLst>
            </a:blip>
            <a:stretch>
              <a:fillRect/>
            </a:stretch>
          </p:blipFill>
          <p:spPr>
            <a:xfrm>
              <a:off x="665164" y="4532631"/>
              <a:ext cx="496131" cy="348686"/>
            </a:xfrm>
            <a:prstGeom prst="rect">
              <a:avLst/>
            </a:prstGeom>
          </p:spPr>
        </p:pic>
      </p:grpSp>
      <p:grpSp>
        <p:nvGrpSpPr>
          <p:cNvPr id="339" name="Group 338"/>
          <p:cNvGrpSpPr/>
          <p:nvPr/>
        </p:nvGrpSpPr>
        <p:grpSpPr>
          <a:xfrm>
            <a:off x="3289279" y="4172406"/>
            <a:ext cx="1181793" cy="499195"/>
            <a:chOff x="8587329" y="5031078"/>
            <a:chExt cx="1454515" cy="614394"/>
          </a:xfrm>
        </p:grpSpPr>
        <p:sp>
          <p:nvSpPr>
            <p:cNvPr id="351" name="CaixaDeTexto 50"/>
            <p:cNvSpPr txBox="1"/>
            <p:nvPr/>
          </p:nvSpPr>
          <p:spPr>
            <a:xfrm>
              <a:off x="8601290" y="5031078"/>
              <a:ext cx="1440554" cy="359863"/>
            </a:xfrm>
            <a:prstGeom prst="rect">
              <a:avLst/>
            </a:prstGeom>
            <a:noFill/>
            <a:effectLst/>
          </p:spPr>
          <p:txBody>
            <a:bodyPr wrap="square" rtlCol="0">
              <a:spAutoFit/>
            </a:bodyPr>
            <a:lstStyle/>
            <a:p>
              <a:pPr defTabSz="742950">
                <a:defRPr/>
              </a:pPr>
              <a:r>
                <a:rPr lang="pt-PT" sz="1300" kern="0" dirty="0">
                  <a:solidFill>
                    <a:srgbClr val="324146"/>
                  </a:solidFill>
                  <a:latin typeface="Arial" panose="020B0604020202020204" pitchFamily="34" charset="0"/>
                  <a:ea typeface="Segoe UI" panose="020B0502040204020203" pitchFamily="34" charset="0"/>
                  <a:cs typeface="Arial" panose="020B0604020202020204" pitchFamily="34" charset="0"/>
                </a:rPr>
                <a:t>Asia-Pacific</a:t>
              </a:r>
            </a:p>
          </p:txBody>
        </p:sp>
        <p:sp>
          <p:nvSpPr>
            <p:cNvPr id="356" name="Rectangle 355"/>
            <p:cNvSpPr/>
            <p:nvPr/>
          </p:nvSpPr>
          <p:spPr>
            <a:xfrm>
              <a:off x="8587329" y="5224055"/>
              <a:ext cx="1016452" cy="421417"/>
            </a:xfrm>
            <a:prstGeom prst="rect">
              <a:avLst/>
            </a:prstGeom>
          </p:spPr>
          <p:txBody>
            <a:bodyPr wrap="none">
              <a:spAutoFit/>
            </a:bodyPr>
            <a:lstStyle/>
            <a:p>
              <a:pPr defTabSz="742950">
                <a:defRPr/>
              </a:pPr>
              <a:r>
                <a:rPr lang="en-US" sz="1625" b="1" kern="0" dirty="0">
                  <a:solidFill>
                    <a:srgbClr val="BA0065"/>
                  </a:solidFill>
                  <a:latin typeface="Arial" panose="020B0604020202020204" pitchFamily="34" charset="0"/>
                  <a:cs typeface="Arial" panose="020B0604020202020204" pitchFamily="34" charset="0"/>
                </a:rPr>
                <a:t>~5,060</a:t>
              </a:r>
            </a:p>
          </p:txBody>
        </p:sp>
      </p:grpSp>
      <p:grpSp>
        <p:nvGrpSpPr>
          <p:cNvPr id="2" name="Groupe 1"/>
          <p:cNvGrpSpPr/>
          <p:nvPr/>
        </p:nvGrpSpPr>
        <p:grpSpPr>
          <a:xfrm>
            <a:off x="2742100" y="4168708"/>
            <a:ext cx="532942" cy="532942"/>
            <a:chOff x="306248" y="5135122"/>
            <a:chExt cx="655929" cy="655929"/>
          </a:xfrm>
        </p:grpSpPr>
        <p:sp>
          <p:nvSpPr>
            <p:cNvPr id="346" name="Elipse 14"/>
            <p:cNvSpPr/>
            <p:nvPr/>
          </p:nvSpPr>
          <p:spPr>
            <a:xfrm>
              <a:off x="306248" y="5135122"/>
              <a:ext cx="655929" cy="655929"/>
            </a:xfrm>
            <a:prstGeom prst="ellipse">
              <a:avLst/>
            </a:prstGeom>
            <a:solidFill>
              <a:srgbClr val="3241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b="1" kern="0" dirty="0" err="1">
                <a:solidFill>
                  <a:srgbClr val="9F958F">
                    <a:lumMod val="50000"/>
                  </a:srgbClr>
                </a:solidFill>
                <a:latin typeface="Arial" panose="020B0604020202020204" pitchFamily="34" charset="0"/>
                <a:cs typeface="Arial" panose="020B0604020202020204" pitchFamily="34" charset="0"/>
              </a:endParaRPr>
            </a:p>
          </p:txBody>
        </p:sp>
        <p:pic>
          <p:nvPicPr>
            <p:cNvPr id="317" name="Picture 316"/>
            <p:cNvPicPr>
              <a:picLocks noChangeAspect="1"/>
            </p:cNvPicPr>
            <p:nvPr/>
          </p:nvPicPr>
          <p:blipFill>
            <a:blip r:embed="rId8" cstate="print">
              <a:lum bright="70000" contrast="-70000"/>
              <a:extLst>
                <a:ext uri="{28A0092B-C50C-407E-A947-70E740481C1C}">
                  <a14:useLocalDpi xmlns="" xmlns:a14="http://schemas.microsoft.com/office/drawing/2010/main" val="0"/>
                </a:ext>
              </a:extLst>
            </a:blip>
            <a:stretch>
              <a:fillRect/>
            </a:stretch>
          </p:blipFill>
          <p:spPr>
            <a:xfrm>
              <a:off x="341070" y="5184086"/>
              <a:ext cx="563030" cy="563030"/>
            </a:xfrm>
            <a:prstGeom prst="rect">
              <a:avLst/>
            </a:prstGeom>
          </p:spPr>
        </p:pic>
      </p:grpSp>
      <p:sp>
        <p:nvSpPr>
          <p:cNvPr id="39" name="Arc 38"/>
          <p:cNvSpPr/>
          <p:nvPr/>
        </p:nvSpPr>
        <p:spPr>
          <a:xfrm rot="2134900">
            <a:off x="5800088" y="1687914"/>
            <a:ext cx="2469621" cy="3100355"/>
          </a:xfrm>
          <a:prstGeom prst="arc">
            <a:avLst>
              <a:gd name="adj1" fmla="val 7508539"/>
              <a:gd name="adj2" fmla="val 13766255"/>
            </a:avLst>
          </a:prstGeom>
          <a:ln w="76200">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sz="1544">
              <a:solidFill>
                <a:srgbClr val="00264A"/>
              </a:solidFill>
            </a:endParaRPr>
          </a:p>
        </p:txBody>
      </p:sp>
      <p:sp>
        <p:nvSpPr>
          <p:cNvPr id="40" name="Arc 39"/>
          <p:cNvSpPr/>
          <p:nvPr/>
        </p:nvSpPr>
        <p:spPr>
          <a:xfrm rot="13079804">
            <a:off x="7022053" y="2610653"/>
            <a:ext cx="2469621" cy="3231185"/>
          </a:xfrm>
          <a:prstGeom prst="arc">
            <a:avLst>
              <a:gd name="adj1" fmla="val 7508539"/>
              <a:gd name="adj2" fmla="val 13766255"/>
            </a:avLst>
          </a:prstGeom>
          <a:ln w="76200">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sz="1544">
              <a:solidFill>
                <a:srgbClr val="00264A"/>
              </a:solidFill>
            </a:endParaRPr>
          </a:p>
        </p:txBody>
      </p:sp>
      <p:grpSp>
        <p:nvGrpSpPr>
          <p:cNvPr id="41" name="Group 40"/>
          <p:cNvGrpSpPr/>
          <p:nvPr/>
        </p:nvGrpSpPr>
        <p:grpSpPr>
          <a:xfrm>
            <a:off x="1238" y="5758463"/>
            <a:ext cx="9903525" cy="456605"/>
            <a:chOff x="1524" y="6296025"/>
            <a:chExt cx="12188954" cy="561975"/>
          </a:xfrm>
        </p:grpSpPr>
        <p:pic>
          <p:nvPicPr>
            <p:cNvPr id="42" name="Imagem 21"/>
            <p:cNvPicPr>
              <a:picLocks noChangeAspect="1"/>
            </p:cNvPicPr>
            <p:nvPr/>
          </p:nvPicPr>
          <p:blipFill rotWithShape="1">
            <a:blip r:embed="rId9" cstate="print">
              <a:extLst>
                <a:ext uri="{28A0092B-C50C-407E-A947-70E740481C1C}">
                  <a14:useLocalDpi xmlns="" xmlns:a14="http://schemas.microsoft.com/office/drawing/2010/main" val="0"/>
                </a:ext>
              </a:extLst>
            </a:blip>
            <a:srcRect t="91806"/>
            <a:stretch/>
          </p:blipFill>
          <p:spPr>
            <a:xfrm>
              <a:off x="1524" y="6296025"/>
              <a:ext cx="12188954" cy="561975"/>
            </a:xfrm>
            <a:prstGeom prst="rect">
              <a:avLst/>
            </a:prstGeom>
          </p:spPr>
        </p:pic>
        <p:sp>
          <p:nvSpPr>
            <p:cNvPr id="43" name="Retângulo 43"/>
            <p:cNvSpPr/>
            <p:nvPr/>
          </p:nvSpPr>
          <p:spPr>
            <a:xfrm>
              <a:off x="10192035" y="6491446"/>
              <a:ext cx="1983188" cy="236751"/>
            </a:xfrm>
            <a:prstGeom prst="rect">
              <a:avLst/>
            </a:prstGeom>
          </p:spPr>
          <p:txBody>
            <a:bodyPr wrap="none">
              <a:spAutoFit/>
            </a:bodyPr>
            <a:lstStyle/>
            <a:p>
              <a:pPr algn="r"/>
              <a:r>
                <a:rPr lang="en-US" sz="650" dirty="0">
                  <a:solidFill>
                    <a:prstClr val="black">
                      <a:lumMod val="50000"/>
                      <a:lumOff val="50000"/>
                    </a:prstClr>
                  </a:solidFill>
                  <a:cs typeface="Arial" panose="020B0604020202020204" pitchFamily="34" charset="0"/>
                </a:rPr>
                <a:t>© 2017 Capgemini. All rights reserved.</a:t>
              </a:r>
            </a:p>
          </p:txBody>
        </p:sp>
        <p:sp>
          <p:nvSpPr>
            <p:cNvPr id="44" name="Retângulo 43"/>
            <p:cNvSpPr/>
            <p:nvPr/>
          </p:nvSpPr>
          <p:spPr>
            <a:xfrm>
              <a:off x="5865610" y="6491446"/>
              <a:ext cx="351577" cy="236751"/>
            </a:xfrm>
            <a:prstGeom prst="rect">
              <a:avLst/>
            </a:prstGeom>
          </p:spPr>
          <p:txBody>
            <a:bodyPr wrap="none">
              <a:spAutoFit/>
            </a:bodyPr>
            <a:lstStyle/>
            <a:p>
              <a:pPr algn="r"/>
              <a:fld id="{0502E5A9-B53C-401E-A0E0-4A359BB0A9E5}" type="slidenum">
                <a:rPr lang="en-US" sz="650">
                  <a:solidFill>
                    <a:prstClr val="black">
                      <a:lumMod val="50000"/>
                      <a:lumOff val="50000"/>
                    </a:prstClr>
                  </a:solidFill>
                  <a:cs typeface="Arial" panose="020B0604020202020204" pitchFamily="34" charset="0"/>
                </a:rPr>
                <a:pPr algn="r"/>
                <a:t>9</a:t>
              </a:fld>
              <a:endParaRPr lang="en-US" sz="650" dirty="0">
                <a:solidFill>
                  <a:prstClr val="black">
                    <a:lumMod val="50000"/>
                    <a:lumOff val="50000"/>
                  </a:prstClr>
                </a:solidFill>
                <a:cs typeface="Arial" panose="020B0604020202020204" pitchFamily="34" charset="0"/>
              </a:endParaRPr>
            </a:p>
          </p:txBody>
        </p:sp>
      </p:grpSp>
      <p:grpSp>
        <p:nvGrpSpPr>
          <p:cNvPr id="47" name="Group 338"/>
          <p:cNvGrpSpPr/>
          <p:nvPr/>
        </p:nvGrpSpPr>
        <p:grpSpPr>
          <a:xfrm>
            <a:off x="3289279" y="4840112"/>
            <a:ext cx="1181793" cy="499195"/>
            <a:chOff x="8587329" y="5031078"/>
            <a:chExt cx="1454515" cy="614394"/>
          </a:xfrm>
        </p:grpSpPr>
        <p:sp>
          <p:nvSpPr>
            <p:cNvPr id="48" name="CaixaDeTexto 50"/>
            <p:cNvSpPr txBox="1"/>
            <p:nvPr/>
          </p:nvSpPr>
          <p:spPr>
            <a:xfrm>
              <a:off x="8601290" y="5031078"/>
              <a:ext cx="1440554" cy="359863"/>
            </a:xfrm>
            <a:prstGeom prst="rect">
              <a:avLst/>
            </a:prstGeom>
            <a:noFill/>
            <a:effectLst/>
          </p:spPr>
          <p:txBody>
            <a:bodyPr wrap="square" rtlCol="0">
              <a:spAutoFit/>
            </a:bodyPr>
            <a:lstStyle/>
            <a:p>
              <a:pPr defTabSz="742950">
                <a:defRPr/>
              </a:pPr>
              <a:r>
                <a:rPr lang="pt-PT" sz="1300" kern="0" dirty="0">
                  <a:solidFill>
                    <a:srgbClr val="324146"/>
                  </a:solidFill>
                  <a:latin typeface="Arial" panose="020B0604020202020204" pitchFamily="34" charset="0"/>
                  <a:ea typeface="Segoe UI" panose="020B0502040204020203" pitchFamily="34" charset="0"/>
                  <a:cs typeface="Arial" panose="020B0604020202020204" pitchFamily="34" charset="0"/>
                </a:rPr>
                <a:t>India</a:t>
              </a:r>
            </a:p>
          </p:txBody>
        </p:sp>
        <p:sp>
          <p:nvSpPr>
            <p:cNvPr id="49" name="Rectangle 48"/>
            <p:cNvSpPr/>
            <p:nvPr/>
          </p:nvSpPr>
          <p:spPr>
            <a:xfrm>
              <a:off x="8587329" y="5224055"/>
              <a:ext cx="1158503" cy="421417"/>
            </a:xfrm>
            <a:prstGeom prst="rect">
              <a:avLst/>
            </a:prstGeom>
          </p:spPr>
          <p:txBody>
            <a:bodyPr wrap="none">
              <a:spAutoFit/>
            </a:bodyPr>
            <a:lstStyle/>
            <a:p>
              <a:pPr defTabSz="742950">
                <a:defRPr/>
              </a:pPr>
              <a:r>
                <a:rPr lang="en-US" sz="1625" b="1" kern="0" dirty="0">
                  <a:solidFill>
                    <a:srgbClr val="BA0065"/>
                  </a:solidFill>
                  <a:latin typeface="Arial" panose="020B0604020202020204" pitchFamily="34" charset="0"/>
                  <a:cs typeface="Arial" panose="020B0604020202020204" pitchFamily="34" charset="0"/>
                </a:rPr>
                <a:t>~96,680</a:t>
              </a:r>
            </a:p>
          </p:txBody>
        </p:sp>
      </p:grpSp>
      <p:grpSp>
        <p:nvGrpSpPr>
          <p:cNvPr id="7" name="Groupe 6"/>
          <p:cNvGrpSpPr/>
          <p:nvPr/>
        </p:nvGrpSpPr>
        <p:grpSpPr>
          <a:xfrm>
            <a:off x="729943" y="4168708"/>
            <a:ext cx="532942" cy="532942"/>
            <a:chOff x="898391" y="4339403"/>
            <a:chExt cx="655929" cy="655929"/>
          </a:xfrm>
        </p:grpSpPr>
        <p:sp>
          <p:nvSpPr>
            <p:cNvPr id="343" name="Elipse 14"/>
            <p:cNvSpPr/>
            <p:nvPr/>
          </p:nvSpPr>
          <p:spPr>
            <a:xfrm>
              <a:off x="898391" y="4339403"/>
              <a:ext cx="655929" cy="655929"/>
            </a:xfrm>
            <a:prstGeom prst="ellipse">
              <a:avLst/>
            </a:prstGeom>
            <a:solidFill>
              <a:srgbClr val="3241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kern="0" dirty="0" err="1">
                <a:solidFill>
                  <a:srgbClr val="9F958F">
                    <a:lumMod val="50000"/>
                  </a:srgbClr>
                </a:solidFill>
                <a:latin typeface="Arial" panose="020B0604020202020204" pitchFamily="34" charset="0"/>
                <a:cs typeface="Arial" panose="020B0604020202020204" pitchFamily="34" charset="0"/>
              </a:endParaRPr>
            </a:p>
          </p:txBody>
        </p:sp>
        <p:pic>
          <p:nvPicPr>
            <p:cNvPr id="6" name="Image 5"/>
            <p:cNvPicPr>
              <a:picLocks noChangeAspect="1"/>
            </p:cNvPicPr>
            <p:nvPr/>
          </p:nvPicPr>
          <p:blipFill>
            <a:blip r:embed="rId10" cstate="print">
              <a:extLst>
                <a:ext uri="{28A0092B-C50C-407E-A947-70E740481C1C}">
                  <a14:useLocalDpi xmlns="" xmlns:a14="http://schemas.microsoft.com/office/drawing/2010/main" val="0"/>
                </a:ext>
              </a:extLst>
            </a:blip>
            <a:stretch>
              <a:fillRect/>
            </a:stretch>
          </p:blipFill>
          <p:spPr>
            <a:xfrm>
              <a:off x="1111996" y="4474463"/>
              <a:ext cx="285718" cy="414000"/>
            </a:xfrm>
            <a:prstGeom prst="rect">
              <a:avLst/>
            </a:prstGeom>
          </p:spPr>
        </p:pic>
      </p:grpSp>
      <p:grpSp>
        <p:nvGrpSpPr>
          <p:cNvPr id="8" name="Groupe 7"/>
          <p:cNvGrpSpPr/>
          <p:nvPr/>
        </p:nvGrpSpPr>
        <p:grpSpPr>
          <a:xfrm>
            <a:off x="2742100" y="4836414"/>
            <a:ext cx="532942" cy="532942"/>
            <a:chOff x="3374891" y="5161195"/>
            <a:chExt cx="655929" cy="655929"/>
          </a:xfrm>
        </p:grpSpPr>
        <p:sp>
          <p:nvSpPr>
            <p:cNvPr id="51" name="Elipse 14"/>
            <p:cNvSpPr/>
            <p:nvPr/>
          </p:nvSpPr>
          <p:spPr>
            <a:xfrm>
              <a:off x="3374891" y="5161195"/>
              <a:ext cx="655929" cy="655929"/>
            </a:xfrm>
            <a:prstGeom prst="ellipse">
              <a:avLst/>
            </a:prstGeom>
            <a:solidFill>
              <a:srgbClr val="3241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pt-PT" sz="1950" b="1" kern="0" dirty="0" err="1">
                <a:solidFill>
                  <a:srgbClr val="9F958F">
                    <a:lumMod val="50000"/>
                  </a:srgbClr>
                </a:solidFill>
                <a:latin typeface="Arial" panose="020B0604020202020204" pitchFamily="34" charset="0"/>
                <a:cs typeface="Arial" panose="020B0604020202020204" pitchFamily="34" charset="0"/>
              </a:endParaRPr>
            </a:p>
          </p:txBody>
        </p:sp>
        <p:sp>
          <p:nvSpPr>
            <p:cNvPr id="67" name="Freeform 8"/>
            <p:cNvSpPr>
              <a:spLocks noChangeAspect="1"/>
            </p:cNvSpPr>
            <p:nvPr/>
          </p:nvSpPr>
          <p:spPr bwMode="auto">
            <a:xfrm>
              <a:off x="3530012" y="5288382"/>
              <a:ext cx="369918" cy="414000"/>
            </a:xfrm>
            <a:custGeom>
              <a:avLst/>
              <a:gdLst/>
              <a:ahLst/>
              <a:cxnLst>
                <a:cxn ang="0">
                  <a:pos x="1348" y="816"/>
                </a:cxn>
                <a:cxn ang="0">
                  <a:pos x="1388" y="840"/>
                </a:cxn>
                <a:cxn ang="0">
                  <a:pos x="1461" y="880"/>
                </a:cxn>
                <a:cxn ang="0">
                  <a:pos x="1497" y="816"/>
                </a:cxn>
                <a:cxn ang="0">
                  <a:pos x="1537" y="640"/>
                </a:cxn>
                <a:cxn ang="0">
                  <a:pos x="1645" y="536"/>
                </a:cxn>
                <a:cxn ang="0">
                  <a:pos x="1593" y="520"/>
                </a:cxn>
                <a:cxn ang="0">
                  <a:pos x="1577" y="480"/>
                </a:cxn>
                <a:cxn ang="0">
                  <a:pos x="1573" y="448"/>
                </a:cxn>
                <a:cxn ang="0">
                  <a:pos x="1397" y="564"/>
                </a:cxn>
                <a:cxn ang="0">
                  <a:pos x="1368" y="608"/>
                </a:cxn>
                <a:cxn ang="0">
                  <a:pos x="1192" y="584"/>
                </a:cxn>
                <a:cxn ang="0">
                  <a:pos x="1152" y="584"/>
                </a:cxn>
                <a:cxn ang="0">
                  <a:pos x="1096" y="680"/>
                </a:cxn>
                <a:cxn ang="0">
                  <a:pos x="1016" y="664"/>
                </a:cxn>
                <a:cxn ang="0">
                  <a:pos x="932" y="624"/>
                </a:cxn>
                <a:cxn ang="0">
                  <a:pos x="856" y="616"/>
                </a:cxn>
                <a:cxn ang="0">
                  <a:pos x="704" y="544"/>
                </a:cxn>
                <a:cxn ang="0">
                  <a:pos x="656" y="380"/>
                </a:cxn>
                <a:cxn ang="0">
                  <a:pos x="616" y="300"/>
                </a:cxn>
                <a:cxn ang="0">
                  <a:pos x="640" y="316"/>
                </a:cxn>
                <a:cxn ang="0">
                  <a:pos x="652" y="200"/>
                </a:cxn>
                <a:cxn ang="0">
                  <a:pos x="708" y="156"/>
                </a:cxn>
                <a:cxn ang="0">
                  <a:pos x="564" y="112"/>
                </a:cxn>
                <a:cxn ang="0">
                  <a:pos x="452" y="4"/>
                </a:cxn>
                <a:cxn ang="0">
                  <a:pos x="372" y="24"/>
                </a:cxn>
                <a:cxn ang="0">
                  <a:pos x="300" y="76"/>
                </a:cxn>
                <a:cxn ang="0">
                  <a:pos x="380" y="124"/>
                </a:cxn>
                <a:cxn ang="0">
                  <a:pos x="400" y="284"/>
                </a:cxn>
                <a:cxn ang="0">
                  <a:pos x="396" y="356"/>
                </a:cxn>
                <a:cxn ang="0">
                  <a:pos x="324" y="476"/>
                </a:cxn>
                <a:cxn ang="0">
                  <a:pos x="160" y="584"/>
                </a:cxn>
                <a:cxn ang="0">
                  <a:pos x="132" y="676"/>
                </a:cxn>
                <a:cxn ang="0">
                  <a:pos x="152" y="732"/>
                </a:cxn>
                <a:cxn ang="0">
                  <a:pos x="36" y="840"/>
                </a:cxn>
                <a:cxn ang="0">
                  <a:pos x="4" y="864"/>
                </a:cxn>
                <a:cxn ang="0">
                  <a:pos x="16" y="868"/>
                </a:cxn>
                <a:cxn ang="0">
                  <a:pos x="40" y="944"/>
                </a:cxn>
                <a:cxn ang="0">
                  <a:pos x="244" y="960"/>
                </a:cxn>
                <a:cxn ang="0">
                  <a:pos x="272" y="1000"/>
                </a:cxn>
                <a:cxn ang="0">
                  <a:pos x="260" y="1164"/>
                </a:cxn>
                <a:cxn ang="0">
                  <a:pos x="264" y="1188"/>
                </a:cxn>
                <a:cxn ang="0">
                  <a:pos x="368" y="1500"/>
                </a:cxn>
                <a:cxn ang="0">
                  <a:pos x="428" y="1628"/>
                </a:cxn>
                <a:cxn ang="0">
                  <a:pos x="592" y="1792"/>
                </a:cxn>
                <a:cxn ang="0">
                  <a:pos x="664" y="1708"/>
                </a:cxn>
                <a:cxn ang="0">
                  <a:pos x="700" y="1604"/>
                </a:cxn>
                <a:cxn ang="0">
                  <a:pos x="716" y="1504"/>
                </a:cxn>
                <a:cxn ang="0">
                  <a:pos x="772" y="1372"/>
                </a:cxn>
                <a:cxn ang="0">
                  <a:pos x="908" y="1256"/>
                </a:cxn>
                <a:cxn ang="0">
                  <a:pos x="984" y="1176"/>
                </a:cxn>
                <a:cxn ang="0">
                  <a:pos x="1116" y="1052"/>
                </a:cxn>
                <a:cxn ang="0">
                  <a:pos x="1172" y="972"/>
                </a:cxn>
                <a:cxn ang="0">
                  <a:pos x="1216" y="896"/>
                </a:cxn>
                <a:cxn ang="0">
                  <a:pos x="1188" y="856"/>
                </a:cxn>
                <a:cxn ang="0">
                  <a:pos x="1160" y="796"/>
                </a:cxn>
                <a:cxn ang="0">
                  <a:pos x="1156" y="716"/>
                </a:cxn>
                <a:cxn ang="0">
                  <a:pos x="1208" y="684"/>
                </a:cxn>
                <a:cxn ang="0">
                  <a:pos x="1240" y="692"/>
                </a:cxn>
                <a:cxn ang="0">
                  <a:pos x="1397" y="756"/>
                </a:cxn>
              </a:cxnLst>
              <a:rect l="0" t="0" r="r" b="b"/>
              <a:pathLst>
                <a:path w="1645" h="1841">
                  <a:moveTo>
                    <a:pt x="1397" y="756"/>
                  </a:moveTo>
                  <a:cubicBezTo>
                    <a:pt x="1390" y="783"/>
                    <a:pt x="1387" y="808"/>
                    <a:pt x="1348" y="816"/>
                  </a:cubicBezTo>
                  <a:cubicBezTo>
                    <a:pt x="1326" y="844"/>
                    <a:pt x="1342" y="872"/>
                    <a:pt x="1364" y="892"/>
                  </a:cubicBezTo>
                  <a:cubicBezTo>
                    <a:pt x="1380" y="883"/>
                    <a:pt x="1374" y="851"/>
                    <a:pt x="1388" y="840"/>
                  </a:cubicBezTo>
                  <a:cubicBezTo>
                    <a:pt x="1430" y="878"/>
                    <a:pt x="1396" y="933"/>
                    <a:pt x="1445" y="960"/>
                  </a:cubicBezTo>
                  <a:cubicBezTo>
                    <a:pt x="1464" y="931"/>
                    <a:pt x="1433" y="895"/>
                    <a:pt x="1461" y="880"/>
                  </a:cubicBezTo>
                  <a:cubicBezTo>
                    <a:pt x="1453" y="857"/>
                    <a:pt x="1468" y="838"/>
                    <a:pt x="1449" y="812"/>
                  </a:cubicBezTo>
                  <a:cubicBezTo>
                    <a:pt x="1470" y="816"/>
                    <a:pt x="1473" y="814"/>
                    <a:pt x="1497" y="816"/>
                  </a:cubicBezTo>
                  <a:cubicBezTo>
                    <a:pt x="1504" y="788"/>
                    <a:pt x="1528" y="764"/>
                    <a:pt x="1513" y="736"/>
                  </a:cubicBezTo>
                  <a:cubicBezTo>
                    <a:pt x="1532" y="714"/>
                    <a:pt x="1540" y="674"/>
                    <a:pt x="1537" y="640"/>
                  </a:cubicBezTo>
                  <a:cubicBezTo>
                    <a:pt x="1568" y="624"/>
                    <a:pt x="1604" y="554"/>
                    <a:pt x="1633" y="596"/>
                  </a:cubicBezTo>
                  <a:cubicBezTo>
                    <a:pt x="1637" y="580"/>
                    <a:pt x="1614" y="559"/>
                    <a:pt x="1645" y="536"/>
                  </a:cubicBezTo>
                  <a:cubicBezTo>
                    <a:pt x="1645" y="529"/>
                    <a:pt x="1640" y="527"/>
                    <a:pt x="1641" y="520"/>
                  </a:cubicBezTo>
                  <a:cubicBezTo>
                    <a:pt x="1619" y="521"/>
                    <a:pt x="1616" y="509"/>
                    <a:pt x="1593" y="520"/>
                  </a:cubicBezTo>
                  <a:cubicBezTo>
                    <a:pt x="1587" y="513"/>
                    <a:pt x="1595" y="496"/>
                    <a:pt x="1601" y="488"/>
                  </a:cubicBezTo>
                  <a:cubicBezTo>
                    <a:pt x="1595" y="475"/>
                    <a:pt x="1592" y="478"/>
                    <a:pt x="1577" y="480"/>
                  </a:cubicBezTo>
                  <a:cubicBezTo>
                    <a:pt x="1578" y="472"/>
                    <a:pt x="1585" y="470"/>
                    <a:pt x="1585" y="460"/>
                  </a:cubicBezTo>
                  <a:cubicBezTo>
                    <a:pt x="1577" y="468"/>
                    <a:pt x="1574" y="457"/>
                    <a:pt x="1573" y="448"/>
                  </a:cubicBezTo>
                  <a:cubicBezTo>
                    <a:pt x="1541" y="471"/>
                    <a:pt x="1523" y="494"/>
                    <a:pt x="1493" y="464"/>
                  </a:cubicBezTo>
                  <a:cubicBezTo>
                    <a:pt x="1472" y="506"/>
                    <a:pt x="1407" y="525"/>
                    <a:pt x="1397" y="564"/>
                  </a:cubicBezTo>
                  <a:cubicBezTo>
                    <a:pt x="1383" y="568"/>
                    <a:pt x="1366" y="584"/>
                    <a:pt x="1340" y="580"/>
                  </a:cubicBezTo>
                  <a:cubicBezTo>
                    <a:pt x="1335" y="604"/>
                    <a:pt x="1361" y="597"/>
                    <a:pt x="1368" y="608"/>
                  </a:cubicBezTo>
                  <a:cubicBezTo>
                    <a:pt x="1362" y="619"/>
                    <a:pt x="1370" y="628"/>
                    <a:pt x="1372" y="636"/>
                  </a:cubicBezTo>
                  <a:cubicBezTo>
                    <a:pt x="1300" y="649"/>
                    <a:pt x="1169" y="688"/>
                    <a:pt x="1192" y="584"/>
                  </a:cubicBezTo>
                  <a:cubicBezTo>
                    <a:pt x="1189" y="582"/>
                    <a:pt x="1185" y="580"/>
                    <a:pt x="1184" y="576"/>
                  </a:cubicBezTo>
                  <a:cubicBezTo>
                    <a:pt x="1166" y="571"/>
                    <a:pt x="1169" y="587"/>
                    <a:pt x="1152" y="584"/>
                  </a:cubicBezTo>
                  <a:cubicBezTo>
                    <a:pt x="1154" y="612"/>
                    <a:pt x="1147" y="653"/>
                    <a:pt x="1156" y="676"/>
                  </a:cubicBezTo>
                  <a:cubicBezTo>
                    <a:pt x="1154" y="693"/>
                    <a:pt x="1104" y="693"/>
                    <a:pt x="1096" y="680"/>
                  </a:cubicBezTo>
                  <a:cubicBezTo>
                    <a:pt x="1073" y="699"/>
                    <a:pt x="1048" y="668"/>
                    <a:pt x="1028" y="680"/>
                  </a:cubicBezTo>
                  <a:cubicBezTo>
                    <a:pt x="1027" y="674"/>
                    <a:pt x="1023" y="673"/>
                    <a:pt x="1016" y="664"/>
                  </a:cubicBezTo>
                  <a:cubicBezTo>
                    <a:pt x="1010" y="664"/>
                    <a:pt x="1006" y="667"/>
                    <a:pt x="1004" y="672"/>
                  </a:cubicBezTo>
                  <a:cubicBezTo>
                    <a:pt x="978" y="661"/>
                    <a:pt x="961" y="628"/>
                    <a:pt x="932" y="624"/>
                  </a:cubicBezTo>
                  <a:cubicBezTo>
                    <a:pt x="906" y="620"/>
                    <a:pt x="889" y="645"/>
                    <a:pt x="868" y="632"/>
                  </a:cubicBezTo>
                  <a:cubicBezTo>
                    <a:pt x="864" y="629"/>
                    <a:pt x="862" y="618"/>
                    <a:pt x="856" y="616"/>
                  </a:cubicBezTo>
                  <a:cubicBezTo>
                    <a:pt x="843" y="610"/>
                    <a:pt x="823" y="612"/>
                    <a:pt x="812" y="608"/>
                  </a:cubicBezTo>
                  <a:cubicBezTo>
                    <a:pt x="776" y="592"/>
                    <a:pt x="753" y="561"/>
                    <a:pt x="704" y="544"/>
                  </a:cubicBezTo>
                  <a:cubicBezTo>
                    <a:pt x="725" y="503"/>
                    <a:pt x="718" y="473"/>
                    <a:pt x="760" y="456"/>
                  </a:cubicBezTo>
                  <a:cubicBezTo>
                    <a:pt x="721" y="430"/>
                    <a:pt x="691" y="420"/>
                    <a:pt x="656" y="380"/>
                  </a:cubicBezTo>
                  <a:cubicBezTo>
                    <a:pt x="647" y="378"/>
                    <a:pt x="648" y="387"/>
                    <a:pt x="636" y="384"/>
                  </a:cubicBezTo>
                  <a:cubicBezTo>
                    <a:pt x="638" y="367"/>
                    <a:pt x="618" y="315"/>
                    <a:pt x="616" y="300"/>
                  </a:cubicBezTo>
                  <a:cubicBezTo>
                    <a:pt x="622" y="300"/>
                    <a:pt x="628" y="301"/>
                    <a:pt x="628" y="296"/>
                  </a:cubicBezTo>
                  <a:cubicBezTo>
                    <a:pt x="639" y="296"/>
                    <a:pt x="635" y="311"/>
                    <a:pt x="640" y="316"/>
                  </a:cubicBezTo>
                  <a:cubicBezTo>
                    <a:pt x="659" y="317"/>
                    <a:pt x="657" y="298"/>
                    <a:pt x="676" y="300"/>
                  </a:cubicBezTo>
                  <a:cubicBezTo>
                    <a:pt x="674" y="249"/>
                    <a:pt x="622" y="243"/>
                    <a:pt x="652" y="200"/>
                  </a:cubicBezTo>
                  <a:cubicBezTo>
                    <a:pt x="657" y="203"/>
                    <a:pt x="663" y="205"/>
                    <a:pt x="672" y="204"/>
                  </a:cubicBezTo>
                  <a:cubicBezTo>
                    <a:pt x="670" y="174"/>
                    <a:pt x="695" y="175"/>
                    <a:pt x="708" y="156"/>
                  </a:cubicBezTo>
                  <a:cubicBezTo>
                    <a:pt x="727" y="129"/>
                    <a:pt x="724" y="86"/>
                    <a:pt x="668" y="80"/>
                  </a:cubicBezTo>
                  <a:cubicBezTo>
                    <a:pt x="641" y="77"/>
                    <a:pt x="594" y="113"/>
                    <a:pt x="564" y="112"/>
                  </a:cubicBezTo>
                  <a:cubicBezTo>
                    <a:pt x="567" y="105"/>
                    <a:pt x="552" y="83"/>
                    <a:pt x="536" y="96"/>
                  </a:cubicBezTo>
                  <a:cubicBezTo>
                    <a:pt x="529" y="61"/>
                    <a:pt x="470" y="43"/>
                    <a:pt x="452" y="4"/>
                  </a:cubicBezTo>
                  <a:cubicBezTo>
                    <a:pt x="419" y="0"/>
                    <a:pt x="395" y="15"/>
                    <a:pt x="368" y="12"/>
                  </a:cubicBezTo>
                  <a:cubicBezTo>
                    <a:pt x="370" y="15"/>
                    <a:pt x="372" y="18"/>
                    <a:pt x="372" y="24"/>
                  </a:cubicBezTo>
                  <a:cubicBezTo>
                    <a:pt x="357" y="27"/>
                    <a:pt x="353" y="19"/>
                    <a:pt x="340" y="20"/>
                  </a:cubicBezTo>
                  <a:cubicBezTo>
                    <a:pt x="330" y="41"/>
                    <a:pt x="299" y="42"/>
                    <a:pt x="300" y="76"/>
                  </a:cubicBezTo>
                  <a:cubicBezTo>
                    <a:pt x="326" y="79"/>
                    <a:pt x="333" y="102"/>
                    <a:pt x="360" y="104"/>
                  </a:cubicBezTo>
                  <a:cubicBezTo>
                    <a:pt x="360" y="113"/>
                    <a:pt x="365" y="133"/>
                    <a:pt x="380" y="124"/>
                  </a:cubicBezTo>
                  <a:cubicBezTo>
                    <a:pt x="384" y="143"/>
                    <a:pt x="366" y="155"/>
                    <a:pt x="344" y="168"/>
                  </a:cubicBezTo>
                  <a:cubicBezTo>
                    <a:pt x="350" y="210"/>
                    <a:pt x="328" y="270"/>
                    <a:pt x="400" y="284"/>
                  </a:cubicBezTo>
                  <a:cubicBezTo>
                    <a:pt x="411" y="298"/>
                    <a:pt x="420" y="315"/>
                    <a:pt x="444" y="316"/>
                  </a:cubicBezTo>
                  <a:cubicBezTo>
                    <a:pt x="448" y="343"/>
                    <a:pt x="407" y="328"/>
                    <a:pt x="396" y="356"/>
                  </a:cubicBezTo>
                  <a:cubicBezTo>
                    <a:pt x="407" y="376"/>
                    <a:pt x="393" y="377"/>
                    <a:pt x="400" y="396"/>
                  </a:cubicBezTo>
                  <a:cubicBezTo>
                    <a:pt x="371" y="419"/>
                    <a:pt x="362" y="461"/>
                    <a:pt x="324" y="476"/>
                  </a:cubicBezTo>
                  <a:cubicBezTo>
                    <a:pt x="328" y="497"/>
                    <a:pt x="311" y="497"/>
                    <a:pt x="316" y="512"/>
                  </a:cubicBezTo>
                  <a:cubicBezTo>
                    <a:pt x="275" y="534"/>
                    <a:pt x="211" y="651"/>
                    <a:pt x="160" y="584"/>
                  </a:cubicBezTo>
                  <a:cubicBezTo>
                    <a:pt x="130" y="601"/>
                    <a:pt x="100" y="620"/>
                    <a:pt x="96" y="664"/>
                  </a:cubicBezTo>
                  <a:cubicBezTo>
                    <a:pt x="108" y="668"/>
                    <a:pt x="114" y="678"/>
                    <a:pt x="132" y="676"/>
                  </a:cubicBezTo>
                  <a:cubicBezTo>
                    <a:pt x="130" y="700"/>
                    <a:pt x="130" y="694"/>
                    <a:pt x="128" y="724"/>
                  </a:cubicBezTo>
                  <a:cubicBezTo>
                    <a:pt x="135" y="726"/>
                    <a:pt x="146" y="743"/>
                    <a:pt x="152" y="732"/>
                  </a:cubicBezTo>
                  <a:cubicBezTo>
                    <a:pt x="160" y="749"/>
                    <a:pt x="178" y="797"/>
                    <a:pt x="180" y="820"/>
                  </a:cubicBezTo>
                  <a:cubicBezTo>
                    <a:pt x="148" y="847"/>
                    <a:pt x="49" y="806"/>
                    <a:pt x="36" y="840"/>
                  </a:cubicBezTo>
                  <a:cubicBezTo>
                    <a:pt x="20" y="839"/>
                    <a:pt x="7" y="840"/>
                    <a:pt x="0" y="848"/>
                  </a:cubicBezTo>
                  <a:cubicBezTo>
                    <a:pt x="3" y="852"/>
                    <a:pt x="4" y="857"/>
                    <a:pt x="4" y="864"/>
                  </a:cubicBezTo>
                  <a:cubicBezTo>
                    <a:pt x="11" y="858"/>
                    <a:pt x="20" y="853"/>
                    <a:pt x="28" y="848"/>
                  </a:cubicBezTo>
                  <a:cubicBezTo>
                    <a:pt x="38" y="853"/>
                    <a:pt x="16" y="860"/>
                    <a:pt x="16" y="868"/>
                  </a:cubicBezTo>
                  <a:cubicBezTo>
                    <a:pt x="34" y="918"/>
                    <a:pt x="100" y="933"/>
                    <a:pt x="132" y="908"/>
                  </a:cubicBezTo>
                  <a:cubicBezTo>
                    <a:pt x="119" y="950"/>
                    <a:pt x="67" y="947"/>
                    <a:pt x="40" y="944"/>
                  </a:cubicBezTo>
                  <a:cubicBezTo>
                    <a:pt x="69" y="990"/>
                    <a:pt x="104" y="1033"/>
                    <a:pt x="136" y="1056"/>
                  </a:cubicBezTo>
                  <a:cubicBezTo>
                    <a:pt x="194" y="1068"/>
                    <a:pt x="256" y="1017"/>
                    <a:pt x="244" y="960"/>
                  </a:cubicBezTo>
                  <a:cubicBezTo>
                    <a:pt x="258" y="968"/>
                    <a:pt x="256" y="985"/>
                    <a:pt x="256" y="1000"/>
                  </a:cubicBezTo>
                  <a:cubicBezTo>
                    <a:pt x="267" y="1000"/>
                    <a:pt x="264" y="1007"/>
                    <a:pt x="272" y="1000"/>
                  </a:cubicBezTo>
                  <a:cubicBezTo>
                    <a:pt x="248" y="1029"/>
                    <a:pt x="263" y="1038"/>
                    <a:pt x="272" y="1068"/>
                  </a:cubicBezTo>
                  <a:cubicBezTo>
                    <a:pt x="253" y="1103"/>
                    <a:pt x="261" y="1141"/>
                    <a:pt x="260" y="1164"/>
                  </a:cubicBezTo>
                  <a:cubicBezTo>
                    <a:pt x="261" y="1169"/>
                    <a:pt x="268" y="1167"/>
                    <a:pt x="272" y="1168"/>
                  </a:cubicBezTo>
                  <a:cubicBezTo>
                    <a:pt x="276" y="1181"/>
                    <a:pt x="266" y="1180"/>
                    <a:pt x="264" y="1188"/>
                  </a:cubicBezTo>
                  <a:cubicBezTo>
                    <a:pt x="288" y="1257"/>
                    <a:pt x="288" y="1338"/>
                    <a:pt x="320" y="1400"/>
                  </a:cubicBezTo>
                  <a:cubicBezTo>
                    <a:pt x="336" y="1430"/>
                    <a:pt x="360" y="1461"/>
                    <a:pt x="368" y="1500"/>
                  </a:cubicBezTo>
                  <a:cubicBezTo>
                    <a:pt x="370" y="1508"/>
                    <a:pt x="366" y="1517"/>
                    <a:pt x="368" y="1524"/>
                  </a:cubicBezTo>
                  <a:cubicBezTo>
                    <a:pt x="378" y="1560"/>
                    <a:pt x="408" y="1590"/>
                    <a:pt x="428" y="1628"/>
                  </a:cubicBezTo>
                  <a:cubicBezTo>
                    <a:pt x="460" y="1686"/>
                    <a:pt x="465" y="1836"/>
                    <a:pt x="544" y="1840"/>
                  </a:cubicBezTo>
                  <a:cubicBezTo>
                    <a:pt x="566" y="1841"/>
                    <a:pt x="595" y="1825"/>
                    <a:pt x="592" y="1792"/>
                  </a:cubicBezTo>
                  <a:cubicBezTo>
                    <a:pt x="609" y="1779"/>
                    <a:pt x="625" y="1774"/>
                    <a:pt x="644" y="1772"/>
                  </a:cubicBezTo>
                  <a:cubicBezTo>
                    <a:pt x="632" y="1753"/>
                    <a:pt x="669" y="1729"/>
                    <a:pt x="664" y="1708"/>
                  </a:cubicBezTo>
                  <a:cubicBezTo>
                    <a:pt x="687" y="1705"/>
                    <a:pt x="681" y="1708"/>
                    <a:pt x="704" y="1704"/>
                  </a:cubicBezTo>
                  <a:cubicBezTo>
                    <a:pt x="705" y="1662"/>
                    <a:pt x="690" y="1634"/>
                    <a:pt x="700" y="1604"/>
                  </a:cubicBezTo>
                  <a:cubicBezTo>
                    <a:pt x="703" y="1595"/>
                    <a:pt x="729" y="1572"/>
                    <a:pt x="712" y="1568"/>
                  </a:cubicBezTo>
                  <a:cubicBezTo>
                    <a:pt x="730" y="1563"/>
                    <a:pt x="745" y="1507"/>
                    <a:pt x="716" y="1504"/>
                  </a:cubicBezTo>
                  <a:cubicBezTo>
                    <a:pt x="717" y="1499"/>
                    <a:pt x="724" y="1501"/>
                    <a:pt x="728" y="1500"/>
                  </a:cubicBezTo>
                  <a:cubicBezTo>
                    <a:pt x="712" y="1458"/>
                    <a:pt x="705" y="1347"/>
                    <a:pt x="772" y="1372"/>
                  </a:cubicBezTo>
                  <a:cubicBezTo>
                    <a:pt x="784" y="1327"/>
                    <a:pt x="827" y="1337"/>
                    <a:pt x="860" y="1316"/>
                  </a:cubicBezTo>
                  <a:cubicBezTo>
                    <a:pt x="841" y="1283"/>
                    <a:pt x="884" y="1280"/>
                    <a:pt x="908" y="1256"/>
                  </a:cubicBezTo>
                  <a:cubicBezTo>
                    <a:pt x="919" y="1246"/>
                    <a:pt x="924" y="1229"/>
                    <a:pt x="928" y="1224"/>
                  </a:cubicBezTo>
                  <a:cubicBezTo>
                    <a:pt x="947" y="1206"/>
                    <a:pt x="968" y="1197"/>
                    <a:pt x="984" y="1176"/>
                  </a:cubicBezTo>
                  <a:cubicBezTo>
                    <a:pt x="1015" y="1138"/>
                    <a:pt x="1017" y="1115"/>
                    <a:pt x="1032" y="1112"/>
                  </a:cubicBezTo>
                  <a:cubicBezTo>
                    <a:pt x="1060" y="1106"/>
                    <a:pt x="1113" y="1100"/>
                    <a:pt x="1116" y="1052"/>
                  </a:cubicBezTo>
                  <a:cubicBezTo>
                    <a:pt x="1117" y="1042"/>
                    <a:pt x="1106" y="1033"/>
                    <a:pt x="1108" y="1020"/>
                  </a:cubicBezTo>
                  <a:cubicBezTo>
                    <a:pt x="1132" y="993"/>
                    <a:pt x="1158" y="1009"/>
                    <a:pt x="1172" y="972"/>
                  </a:cubicBezTo>
                  <a:cubicBezTo>
                    <a:pt x="1189" y="992"/>
                    <a:pt x="1206" y="972"/>
                    <a:pt x="1224" y="972"/>
                  </a:cubicBezTo>
                  <a:cubicBezTo>
                    <a:pt x="1224" y="937"/>
                    <a:pt x="1204" y="918"/>
                    <a:pt x="1216" y="896"/>
                  </a:cubicBezTo>
                  <a:cubicBezTo>
                    <a:pt x="1215" y="889"/>
                    <a:pt x="1210" y="887"/>
                    <a:pt x="1200" y="888"/>
                  </a:cubicBezTo>
                  <a:cubicBezTo>
                    <a:pt x="1205" y="869"/>
                    <a:pt x="1194" y="865"/>
                    <a:pt x="1188" y="856"/>
                  </a:cubicBezTo>
                  <a:cubicBezTo>
                    <a:pt x="1190" y="843"/>
                    <a:pt x="1200" y="838"/>
                    <a:pt x="1196" y="820"/>
                  </a:cubicBezTo>
                  <a:cubicBezTo>
                    <a:pt x="1181" y="816"/>
                    <a:pt x="1167" y="810"/>
                    <a:pt x="1160" y="796"/>
                  </a:cubicBezTo>
                  <a:cubicBezTo>
                    <a:pt x="1168" y="775"/>
                    <a:pt x="1185" y="765"/>
                    <a:pt x="1204" y="756"/>
                  </a:cubicBezTo>
                  <a:cubicBezTo>
                    <a:pt x="1190" y="735"/>
                    <a:pt x="1174" y="737"/>
                    <a:pt x="1156" y="716"/>
                  </a:cubicBezTo>
                  <a:cubicBezTo>
                    <a:pt x="1157" y="700"/>
                    <a:pt x="1181" y="692"/>
                    <a:pt x="1168" y="676"/>
                  </a:cubicBezTo>
                  <a:cubicBezTo>
                    <a:pt x="1185" y="681"/>
                    <a:pt x="1189" y="696"/>
                    <a:pt x="1208" y="684"/>
                  </a:cubicBezTo>
                  <a:cubicBezTo>
                    <a:pt x="1214" y="692"/>
                    <a:pt x="1221" y="698"/>
                    <a:pt x="1228" y="704"/>
                  </a:cubicBezTo>
                  <a:cubicBezTo>
                    <a:pt x="1237" y="705"/>
                    <a:pt x="1241" y="701"/>
                    <a:pt x="1240" y="692"/>
                  </a:cubicBezTo>
                  <a:cubicBezTo>
                    <a:pt x="1257" y="701"/>
                    <a:pt x="1253" y="728"/>
                    <a:pt x="1252" y="740"/>
                  </a:cubicBezTo>
                  <a:cubicBezTo>
                    <a:pt x="1316" y="772"/>
                    <a:pt x="1339" y="740"/>
                    <a:pt x="1397" y="756"/>
                  </a:cubicBezTo>
                  <a:close/>
                </a:path>
              </a:pathLst>
            </a:custGeom>
            <a:solidFill>
              <a:schemeClr val="bg1"/>
            </a:solidFill>
            <a:ln w="3175">
              <a:noFill/>
              <a:round/>
              <a:headEnd/>
              <a:tailEnd/>
            </a:ln>
          </p:spPr>
          <p:txBody>
            <a:bodyPr vert="horz" wrap="square" lIns="74295" tIns="37148" rIns="74295" bIns="37148" numCol="1" anchor="t" anchorCtr="0" compatLnSpc="1">
              <a:prstTxWarp prst="textNoShape">
                <a:avLst/>
              </a:prstTxWarp>
            </a:bodyPr>
            <a:lstStyle/>
            <a:p>
              <a:endParaRPr lang="en-US" sz="1544"/>
            </a:p>
          </p:txBody>
        </p:sp>
      </p:grpSp>
    </p:spTree>
    <p:extLst>
      <p:ext uri="{BB962C8B-B14F-4D97-AF65-F5344CB8AC3E}">
        <p14:creationId xmlns="" xmlns:p14="http://schemas.microsoft.com/office/powerpoint/2010/main" val="2497816758"/>
      </p:ext>
    </p:extLst>
  </p:cSld>
  <p:clrMapOvr>
    <a:masterClrMapping/>
  </p:clrMapOvr>
  <mc:AlternateContent xmlns:mc="http://schemas.openxmlformats.org/markup-compatibility/2006">
    <mc:Choice xmlns="" xmlns:p14="http://schemas.microsoft.com/office/powerpoint/2010/main" Requires="p14">
      <p:transition spd="med" p14:dur="700" advClick="0">
        <p:fade/>
      </p:transition>
    </mc:Choice>
    <mc:Fallback>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6" presetClass="entr" presetSubtype="37" fill="hold" grpId="0" nodeType="withEffect">
                                  <p:stCondLst>
                                    <p:cond delay="250"/>
                                  </p:stCondLst>
                                  <p:childTnLst>
                                    <p:set>
                                      <p:cBhvr>
                                        <p:cTn id="9" dur="1" fill="hold">
                                          <p:stCondLst>
                                            <p:cond delay="0"/>
                                          </p:stCondLst>
                                        </p:cTn>
                                        <p:tgtEl>
                                          <p:spTgt spid="15"/>
                                        </p:tgtEl>
                                        <p:attrNameLst>
                                          <p:attrName>style.visibility</p:attrName>
                                        </p:attrNameLst>
                                      </p:cBhvr>
                                      <p:to>
                                        <p:strVal val="visible"/>
                                      </p:to>
                                    </p:set>
                                    <p:animEffect transition="in" filter="barn(outVertical)">
                                      <p:cBhvr>
                                        <p:cTn id="10" dur="750"/>
                                        <p:tgtEl>
                                          <p:spTgt spid="15"/>
                                        </p:tgtEl>
                                      </p:cBhvr>
                                    </p:animEffect>
                                  </p:childTnLst>
                                </p:cTn>
                              </p:par>
                            </p:childTnLst>
                          </p:cTn>
                        </p:par>
                        <p:par>
                          <p:cTn id="11" fill="hold">
                            <p:stCondLst>
                              <p:cond delay="1000"/>
                            </p:stCondLst>
                            <p:childTnLst>
                              <p:par>
                                <p:cTn id="12" presetID="49" presetClass="entr" presetSubtype="0" decel="100000" fill="hold" nodeType="afterEffect">
                                  <p:stCondLst>
                                    <p:cond delay="0"/>
                                  </p:stCondLst>
                                  <p:childTnLst>
                                    <p:set>
                                      <p:cBhvr>
                                        <p:cTn id="13" dur="1" fill="hold">
                                          <p:stCondLst>
                                            <p:cond delay="0"/>
                                          </p:stCondLst>
                                        </p:cTn>
                                        <p:tgtEl>
                                          <p:spTgt spid="332"/>
                                        </p:tgtEl>
                                        <p:attrNameLst>
                                          <p:attrName>style.visibility</p:attrName>
                                        </p:attrNameLst>
                                      </p:cBhvr>
                                      <p:to>
                                        <p:strVal val="visible"/>
                                      </p:to>
                                    </p:set>
                                    <p:anim calcmode="lin" valueType="num">
                                      <p:cBhvr>
                                        <p:cTn id="14" dur="500" fill="hold"/>
                                        <p:tgtEl>
                                          <p:spTgt spid="332"/>
                                        </p:tgtEl>
                                        <p:attrNameLst>
                                          <p:attrName>ppt_w</p:attrName>
                                        </p:attrNameLst>
                                      </p:cBhvr>
                                      <p:tavLst>
                                        <p:tav tm="0">
                                          <p:val>
                                            <p:fltVal val="0"/>
                                          </p:val>
                                        </p:tav>
                                        <p:tav tm="100000">
                                          <p:val>
                                            <p:strVal val="#ppt_w"/>
                                          </p:val>
                                        </p:tav>
                                      </p:tavLst>
                                    </p:anim>
                                    <p:anim calcmode="lin" valueType="num">
                                      <p:cBhvr>
                                        <p:cTn id="15" dur="500" fill="hold"/>
                                        <p:tgtEl>
                                          <p:spTgt spid="332"/>
                                        </p:tgtEl>
                                        <p:attrNameLst>
                                          <p:attrName>ppt_h</p:attrName>
                                        </p:attrNameLst>
                                      </p:cBhvr>
                                      <p:tavLst>
                                        <p:tav tm="0">
                                          <p:val>
                                            <p:fltVal val="0"/>
                                          </p:val>
                                        </p:tav>
                                        <p:tav tm="100000">
                                          <p:val>
                                            <p:strVal val="#ppt_h"/>
                                          </p:val>
                                        </p:tav>
                                      </p:tavLst>
                                    </p:anim>
                                    <p:anim calcmode="lin" valueType="num">
                                      <p:cBhvr>
                                        <p:cTn id="16" dur="500" fill="hold"/>
                                        <p:tgtEl>
                                          <p:spTgt spid="332"/>
                                        </p:tgtEl>
                                        <p:attrNameLst>
                                          <p:attrName>style.rotation</p:attrName>
                                        </p:attrNameLst>
                                      </p:cBhvr>
                                      <p:tavLst>
                                        <p:tav tm="0">
                                          <p:val>
                                            <p:fltVal val="360"/>
                                          </p:val>
                                        </p:tav>
                                        <p:tav tm="100000">
                                          <p:val>
                                            <p:fltVal val="0"/>
                                          </p:val>
                                        </p:tav>
                                      </p:tavLst>
                                    </p:anim>
                                    <p:animEffect transition="in" filter="fade">
                                      <p:cBhvr>
                                        <p:cTn id="17" dur="500"/>
                                        <p:tgtEl>
                                          <p:spTgt spid="332"/>
                                        </p:tgtEl>
                                      </p:cBhvr>
                                    </p:animEffect>
                                  </p:childTnLst>
                                </p:cTn>
                              </p:par>
                              <p:par>
                                <p:cTn id="18" presetID="10" presetClass="entr" presetSubtype="0" fill="hold" nodeType="withEffect">
                                  <p:stCondLst>
                                    <p:cond delay="0"/>
                                  </p:stCondLst>
                                  <p:childTnLst>
                                    <p:set>
                                      <p:cBhvr>
                                        <p:cTn id="19" dur="1" fill="hold">
                                          <p:stCondLst>
                                            <p:cond delay="0"/>
                                          </p:stCondLst>
                                        </p:cTn>
                                        <p:tgtEl>
                                          <p:spTgt spid="335"/>
                                        </p:tgtEl>
                                        <p:attrNameLst>
                                          <p:attrName>style.visibility</p:attrName>
                                        </p:attrNameLst>
                                      </p:cBhvr>
                                      <p:to>
                                        <p:strVal val="visible"/>
                                      </p:to>
                                    </p:set>
                                    <p:animEffect transition="in" filter="fade">
                                      <p:cBhvr>
                                        <p:cTn id="20" dur="500"/>
                                        <p:tgtEl>
                                          <p:spTgt spid="335"/>
                                        </p:tgtEl>
                                      </p:cBhvr>
                                    </p:animEffect>
                                  </p:childTnLst>
                                </p:cTn>
                              </p:par>
                            </p:childTnLst>
                          </p:cTn>
                        </p:par>
                        <p:par>
                          <p:cTn id="21" fill="hold">
                            <p:stCondLst>
                              <p:cond delay="1500"/>
                            </p:stCondLst>
                            <p:childTnLst>
                              <p:par>
                                <p:cTn id="22" presetID="49" presetClass="entr" presetSubtype="0" decel="100000" fill="hold" nodeType="afterEffect">
                                  <p:stCondLst>
                                    <p:cond delay="0"/>
                                  </p:stCondLst>
                                  <p:childTnLst>
                                    <p:set>
                                      <p:cBhvr>
                                        <p:cTn id="23" dur="1" fill="hold">
                                          <p:stCondLst>
                                            <p:cond delay="0"/>
                                          </p:stCondLst>
                                        </p:cTn>
                                        <p:tgtEl>
                                          <p:spTgt spid="7"/>
                                        </p:tgtEl>
                                        <p:attrNameLst>
                                          <p:attrName>style.visibility</p:attrName>
                                        </p:attrNameLst>
                                      </p:cBhvr>
                                      <p:to>
                                        <p:strVal val="visible"/>
                                      </p:to>
                                    </p:set>
                                    <p:anim calcmode="lin" valueType="num">
                                      <p:cBhvr>
                                        <p:cTn id="24" dur="500" fill="hold"/>
                                        <p:tgtEl>
                                          <p:spTgt spid="7"/>
                                        </p:tgtEl>
                                        <p:attrNameLst>
                                          <p:attrName>ppt_w</p:attrName>
                                        </p:attrNameLst>
                                      </p:cBhvr>
                                      <p:tavLst>
                                        <p:tav tm="0">
                                          <p:val>
                                            <p:fltVal val="0"/>
                                          </p:val>
                                        </p:tav>
                                        <p:tav tm="100000">
                                          <p:val>
                                            <p:strVal val="#ppt_w"/>
                                          </p:val>
                                        </p:tav>
                                      </p:tavLst>
                                    </p:anim>
                                    <p:anim calcmode="lin" valueType="num">
                                      <p:cBhvr>
                                        <p:cTn id="25" dur="500" fill="hold"/>
                                        <p:tgtEl>
                                          <p:spTgt spid="7"/>
                                        </p:tgtEl>
                                        <p:attrNameLst>
                                          <p:attrName>ppt_h</p:attrName>
                                        </p:attrNameLst>
                                      </p:cBhvr>
                                      <p:tavLst>
                                        <p:tav tm="0">
                                          <p:val>
                                            <p:fltVal val="0"/>
                                          </p:val>
                                        </p:tav>
                                        <p:tav tm="100000">
                                          <p:val>
                                            <p:strVal val="#ppt_h"/>
                                          </p:val>
                                        </p:tav>
                                      </p:tavLst>
                                    </p:anim>
                                    <p:anim calcmode="lin" valueType="num">
                                      <p:cBhvr>
                                        <p:cTn id="26" dur="500" fill="hold"/>
                                        <p:tgtEl>
                                          <p:spTgt spid="7"/>
                                        </p:tgtEl>
                                        <p:attrNameLst>
                                          <p:attrName>style.rotation</p:attrName>
                                        </p:attrNameLst>
                                      </p:cBhvr>
                                      <p:tavLst>
                                        <p:tav tm="0">
                                          <p:val>
                                            <p:fltVal val="360"/>
                                          </p:val>
                                        </p:tav>
                                        <p:tav tm="100000">
                                          <p:val>
                                            <p:fltVal val="0"/>
                                          </p:val>
                                        </p:tav>
                                      </p:tavLst>
                                    </p:anim>
                                    <p:animEffect transition="in" filter="fade">
                                      <p:cBhvr>
                                        <p:cTn id="27" dur="500"/>
                                        <p:tgtEl>
                                          <p:spTgt spid="7"/>
                                        </p:tgtEl>
                                      </p:cBhvr>
                                    </p:animEffect>
                                  </p:childTnLst>
                                </p:cTn>
                              </p:par>
                              <p:par>
                                <p:cTn id="28" presetID="10" presetClass="entr" presetSubtype="0" fill="hold" nodeType="withEffect">
                                  <p:stCondLst>
                                    <p:cond delay="0"/>
                                  </p:stCondLst>
                                  <p:childTnLst>
                                    <p:set>
                                      <p:cBhvr>
                                        <p:cTn id="29" dur="1" fill="hold">
                                          <p:stCondLst>
                                            <p:cond delay="0"/>
                                          </p:stCondLst>
                                        </p:cTn>
                                        <p:tgtEl>
                                          <p:spTgt spid="336"/>
                                        </p:tgtEl>
                                        <p:attrNameLst>
                                          <p:attrName>style.visibility</p:attrName>
                                        </p:attrNameLst>
                                      </p:cBhvr>
                                      <p:to>
                                        <p:strVal val="visible"/>
                                      </p:to>
                                    </p:set>
                                    <p:animEffect transition="in" filter="fade">
                                      <p:cBhvr>
                                        <p:cTn id="30" dur="500"/>
                                        <p:tgtEl>
                                          <p:spTgt spid="336"/>
                                        </p:tgtEl>
                                      </p:cBhvr>
                                    </p:animEffect>
                                  </p:childTnLst>
                                </p:cTn>
                              </p:par>
                            </p:childTnLst>
                          </p:cTn>
                        </p:par>
                        <p:par>
                          <p:cTn id="31" fill="hold">
                            <p:stCondLst>
                              <p:cond delay="2000"/>
                            </p:stCondLst>
                            <p:childTnLst>
                              <p:par>
                                <p:cTn id="32" presetID="49" presetClass="entr" presetSubtype="0" decel="100000" fill="hold" nodeType="afterEffect">
                                  <p:stCondLst>
                                    <p:cond delay="0"/>
                                  </p:stCondLst>
                                  <p:childTnLst>
                                    <p:set>
                                      <p:cBhvr>
                                        <p:cTn id="33" dur="1" fill="hold">
                                          <p:stCondLst>
                                            <p:cond delay="0"/>
                                          </p:stCondLst>
                                        </p:cTn>
                                        <p:tgtEl>
                                          <p:spTgt spid="334"/>
                                        </p:tgtEl>
                                        <p:attrNameLst>
                                          <p:attrName>style.visibility</p:attrName>
                                        </p:attrNameLst>
                                      </p:cBhvr>
                                      <p:to>
                                        <p:strVal val="visible"/>
                                      </p:to>
                                    </p:set>
                                    <p:anim calcmode="lin" valueType="num">
                                      <p:cBhvr>
                                        <p:cTn id="34" dur="500" fill="hold"/>
                                        <p:tgtEl>
                                          <p:spTgt spid="334"/>
                                        </p:tgtEl>
                                        <p:attrNameLst>
                                          <p:attrName>ppt_w</p:attrName>
                                        </p:attrNameLst>
                                      </p:cBhvr>
                                      <p:tavLst>
                                        <p:tav tm="0">
                                          <p:val>
                                            <p:fltVal val="0"/>
                                          </p:val>
                                        </p:tav>
                                        <p:tav tm="100000">
                                          <p:val>
                                            <p:strVal val="#ppt_w"/>
                                          </p:val>
                                        </p:tav>
                                      </p:tavLst>
                                    </p:anim>
                                    <p:anim calcmode="lin" valueType="num">
                                      <p:cBhvr>
                                        <p:cTn id="35" dur="500" fill="hold"/>
                                        <p:tgtEl>
                                          <p:spTgt spid="334"/>
                                        </p:tgtEl>
                                        <p:attrNameLst>
                                          <p:attrName>ppt_h</p:attrName>
                                        </p:attrNameLst>
                                      </p:cBhvr>
                                      <p:tavLst>
                                        <p:tav tm="0">
                                          <p:val>
                                            <p:fltVal val="0"/>
                                          </p:val>
                                        </p:tav>
                                        <p:tav tm="100000">
                                          <p:val>
                                            <p:strVal val="#ppt_h"/>
                                          </p:val>
                                        </p:tav>
                                      </p:tavLst>
                                    </p:anim>
                                    <p:anim calcmode="lin" valueType="num">
                                      <p:cBhvr>
                                        <p:cTn id="36" dur="500" fill="hold"/>
                                        <p:tgtEl>
                                          <p:spTgt spid="334"/>
                                        </p:tgtEl>
                                        <p:attrNameLst>
                                          <p:attrName>style.rotation</p:attrName>
                                        </p:attrNameLst>
                                      </p:cBhvr>
                                      <p:tavLst>
                                        <p:tav tm="0">
                                          <p:val>
                                            <p:fltVal val="360"/>
                                          </p:val>
                                        </p:tav>
                                        <p:tav tm="100000">
                                          <p:val>
                                            <p:fltVal val="0"/>
                                          </p:val>
                                        </p:tav>
                                      </p:tavLst>
                                    </p:anim>
                                    <p:animEffect transition="in" filter="fade">
                                      <p:cBhvr>
                                        <p:cTn id="37" dur="500"/>
                                        <p:tgtEl>
                                          <p:spTgt spid="334"/>
                                        </p:tgtEl>
                                      </p:cBhvr>
                                    </p:animEffect>
                                  </p:childTnLst>
                                </p:cTn>
                              </p:par>
                              <p:par>
                                <p:cTn id="38" presetID="10" presetClass="entr" presetSubtype="0" fill="hold" nodeType="withEffect">
                                  <p:stCondLst>
                                    <p:cond delay="0"/>
                                  </p:stCondLst>
                                  <p:childTnLst>
                                    <p:set>
                                      <p:cBhvr>
                                        <p:cTn id="39" dur="1" fill="hold">
                                          <p:stCondLst>
                                            <p:cond delay="0"/>
                                          </p:stCondLst>
                                        </p:cTn>
                                        <p:tgtEl>
                                          <p:spTgt spid="337"/>
                                        </p:tgtEl>
                                        <p:attrNameLst>
                                          <p:attrName>style.visibility</p:attrName>
                                        </p:attrNameLst>
                                      </p:cBhvr>
                                      <p:to>
                                        <p:strVal val="visible"/>
                                      </p:to>
                                    </p:set>
                                    <p:animEffect transition="in" filter="fade">
                                      <p:cBhvr>
                                        <p:cTn id="40" dur="500"/>
                                        <p:tgtEl>
                                          <p:spTgt spid="337"/>
                                        </p:tgtEl>
                                      </p:cBhvr>
                                    </p:animEffect>
                                  </p:childTnLst>
                                </p:cTn>
                              </p:par>
                            </p:childTnLst>
                          </p:cTn>
                        </p:par>
                        <p:par>
                          <p:cTn id="41" fill="hold">
                            <p:stCondLst>
                              <p:cond delay="2500"/>
                            </p:stCondLst>
                            <p:childTnLst>
                              <p:par>
                                <p:cTn id="42" presetID="49" presetClass="entr" presetSubtype="0" decel="100000" fill="hold" nodeType="afterEffect">
                                  <p:stCondLst>
                                    <p:cond delay="0"/>
                                  </p:stCondLst>
                                  <p:childTnLst>
                                    <p:set>
                                      <p:cBhvr>
                                        <p:cTn id="43" dur="1" fill="hold">
                                          <p:stCondLst>
                                            <p:cond delay="0"/>
                                          </p:stCondLst>
                                        </p:cTn>
                                        <p:tgtEl>
                                          <p:spTgt spid="330"/>
                                        </p:tgtEl>
                                        <p:attrNameLst>
                                          <p:attrName>style.visibility</p:attrName>
                                        </p:attrNameLst>
                                      </p:cBhvr>
                                      <p:to>
                                        <p:strVal val="visible"/>
                                      </p:to>
                                    </p:set>
                                    <p:anim calcmode="lin" valueType="num">
                                      <p:cBhvr>
                                        <p:cTn id="44" dur="500" fill="hold"/>
                                        <p:tgtEl>
                                          <p:spTgt spid="330"/>
                                        </p:tgtEl>
                                        <p:attrNameLst>
                                          <p:attrName>ppt_w</p:attrName>
                                        </p:attrNameLst>
                                      </p:cBhvr>
                                      <p:tavLst>
                                        <p:tav tm="0">
                                          <p:val>
                                            <p:fltVal val="0"/>
                                          </p:val>
                                        </p:tav>
                                        <p:tav tm="100000">
                                          <p:val>
                                            <p:strVal val="#ppt_w"/>
                                          </p:val>
                                        </p:tav>
                                      </p:tavLst>
                                    </p:anim>
                                    <p:anim calcmode="lin" valueType="num">
                                      <p:cBhvr>
                                        <p:cTn id="45" dur="500" fill="hold"/>
                                        <p:tgtEl>
                                          <p:spTgt spid="330"/>
                                        </p:tgtEl>
                                        <p:attrNameLst>
                                          <p:attrName>ppt_h</p:attrName>
                                        </p:attrNameLst>
                                      </p:cBhvr>
                                      <p:tavLst>
                                        <p:tav tm="0">
                                          <p:val>
                                            <p:fltVal val="0"/>
                                          </p:val>
                                        </p:tav>
                                        <p:tav tm="100000">
                                          <p:val>
                                            <p:strVal val="#ppt_h"/>
                                          </p:val>
                                        </p:tav>
                                      </p:tavLst>
                                    </p:anim>
                                    <p:anim calcmode="lin" valueType="num">
                                      <p:cBhvr>
                                        <p:cTn id="46" dur="500" fill="hold"/>
                                        <p:tgtEl>
                                          <p:spTgt spid="330"/>
                                        </p:tgtEl>
                                        <p:attrNameLst>
                                          <p:attrName>style.rotation</p:attrName>
                                        </p:attrNameLst>
                                      </p:cBhvr>
                                      <p:tavLst>
                                        <p:tav tm="0">
                                          <p:val>
                                            <p:fltVal val="360"/>
                                          </p:val>
                                        </p:tav>
                                        <p:tav tm="100000">
                                          <p:val>
                                            <p:fltVal val="0"/>
                                          </p:val>
                                        </p:tav>
                                      </p:tavLst>
                                    </p:anim>
                                    <p:animEffect transition="in" filter="fade">
                                      <p:cBhvr>
                                        <p:cTn id="47" dur="500"/>
                                        <p:tgtEl>
                                          <p:spTgt spid="330"/>
                                        </p:tgtEl>
                                      </p:cBhvr>
                                    </p:animEffect>
                                  </p:childTnLst>
                                </p:cTn>
                              </p:par>
                              <p:par>
                                <p:cTn id="48" presetID="10" presetClass="entr" presetSubtype="0" fill="hold" nodeType="withEffect">
                                  <p:stCondLst>
                                    <p:cond delay="0"/>
                                  </p:stCondLst>
                                  <p:childTnLst>
                                    <p:set>
                                      <p:cBhvr>
                                        <p:cTn id="49" dur="1" fill="hold">
                                          <p:stCondLst>
                                            <p:cond delay="0"/>
                                          </p:stCondLst>
                                        </p:cTn>
                                        <p:tgtEl>
                                          <p:spTgt spid="338"/>
                                        </p:tgtEl>
                                        <p:attrNameLst>
                                          <p:attrName>style.visibility</p:attrName>
                                        </p:attrNameLst>
                                      </p:cBhvr>
                                      <p:to>
                                        <p:strVal val="visible"/>
                                      </p:to>
                                    </p:set>
                                    <p:animEffect transition="in" filter="fade">
                                      <p:cBhvr>
                                        <p:cTn id="50" dur="500"/>
                                        <p:tgtEl>
                                          <p:spTgt spid="338"/>
                                        </p:tgtEl>
                                      </p:cBhvr>
                                    </p:animEffect>
                                  </p:childTnLst>
                                </p:cTn>
                              </p:par>
                            </p:childTnLst>
                          </p:cTn>
                        </p:par>
                        <p:par>
                          <p:cTn id="51" fill="hold">
                            <p:stCondLst>
                              <p:cond delay="3000"/>
                            </p:stCondLst>
                            <p:childTnLst>
                              <p:par>
                                <p:cTn id="52" presetID="49" presetClass="entr" presetSubtype="0" decel="100000" fill="hold" nodeType="afterEffect">
                                  <p:stCondLst>
                                    <p:cond delay="0"/>
                                  </p:stCondLst>
                                  <p:childTnLst>
                                    <p:set>
                                      <p:cBhvr>
                                        <p:cTn id="53" dur="1" fill="hold">
                                          <p:stCondLst>
                                            <p:cond delay="0"/>
                                          </p:stCondLst>
                                        </p:cTn>
                                        <p:tgtEl>
                                          <p:spTgt spid="2"/>
                                        </p:tgtEl>
                                        <p:attrNameLst>
                                          <p:attrName>style.visibility</p:attrName>
                                        </p:attrNameLst>
                                      </p:cBhvr>
                                      <p:to>
                                        <p:strVal val="visible"/>
                                      </p:to>
                                    </p:set>
                                    <p:anim calcmode="lin" valueType="num">
                                      <p:cBhvr>
                                        <p:cTn id="54" dur="500" fill="hold"/>
                                        <p:tgtEl>
                                          <p:spTgt spid="2"/>
                                        </p:tgtEl>
                                        <p:attrNameLst>
                                          <p:attrName>ppt_w</p:attrName>
                                        </p:attrNameLst>
                                      </p:cBhvr>
                                      <p:tavLst>
                                        <p:tav tm="0">
                                          <p:val>
                                            <p:fltVal val="0"/>
                                          </p:val>
                                        </p:tav>
                                        <p:tav tm="100000">
                                          <p:val>
                                            <p:strVal val="#ppt_w"/>
                                          </p:val>
                                        </p:tav>
                                      </p:tavLst>
                                    </p:anim>
                                    <p:anim calcmode="lin" valueType="num">
                                      <p:cBhvr>
                                        <p:cTn id="55" dur="500" fill="hold"/>
                                        <p:tgtEl>
                                          <p:spTgt spid="2"/>
                                        </p:tgtEl>
                                        <p:attrNameLst>
                                          <p:attrName>ppt_h</p:attrName>
                                        </p:attrNameLst>
                                      </p:cBhvr>
                                      <p:tavLst>
                                        <p:tav tm="0">
                                          <p:val>
                                            <p:fltVal val="0"/>
                                          </p:val>
                                        </p:tav>
                                        <p:tav tm="100000">
                                          <p:val>
                                            <p:strVal val="#ppt_h"/>
                                          </p:val>
                                        </p:tav>
                                      </p:tavLst>
                                    </p:anim>
                                    <p:anim calcmode="lin" valueType="num">
                                      <p:cBhvr>
                                        <p:cTn id="56" dur="500" fill="hold"/>
                                        <p:tgtEl>
                                          <p:spTgt spid="2"/>
                                        </p:tgtEl>
                                        <p:attrNameLst>
                                          <p:attrName>style.rotation</p:attrName>
                                        </p:attrNameLst>
                                      </p:cBhvr>
                                      <p:tavLst>
                                        <p:tav tm="0">
                                          <p:val>
                                            <p:fltVal val="360"/>
                                          </p:val>
                                        </p:tav>
                                        <p:tav tm="100000">
                                          <p:val>
                                            <p:fltVal val="0"/>
                                          </p:val>
                                        </p:tav>
                                      </p:tavLst>
                                    </p:anim>
                                    <p:animEffect transition="in" filter="fade">
                                      <p:cBhvr>
                                        <p:cTn id="57" dur="500"/>
                                        <p:tgtEl>
                                          <p:spTgt spid="2"/>
                                        </p:tgtEl>
                                      </p:cBhvr>
                                    </p:animEffect>
                                  </p:childTnLst>
                                </p:cTn>
                              </p:par>
                              <p:par>
                                <p:cTn id="58" presetID="10" presetClass="entr" presetSubtype="0" fill="hold" nodeType="withEffect">
                                  <p:stCondLst>
                                    <p:cond delay="0"/>
                                  </p:stCondLst>
                                  <p:childTnLst>
                                    <p:set>
                                      <p:cBhvr>
                                        <p:cTn id="59" dur="1" fill="hold">
                                          <p:stCondLst>
                                            <p:cond delay="0"/>
                                          </p:stCondLst>
                                        </p:cTn>
                                        <p:tgtEl>
                                          <p:spTgt spid="339"/>
                                        </p:tgtEl>
                                        <p:attrNameLst>
                                          <p:attrName>style.visibility</p:attrName>
                                        </p:attrNameLst>
                                      </p:cBhvr>
                                      <p:to>
                                        <p:strVal val="visible"/>
                                      </p:to>
                                    </p:set>
                                    <p:animEffect transition="in" filter="fade">
                                      <p:cBhvr>
                                        <p:cTn id="60" dur="500"/>
                                        <p:tgtEl>
                                          <p:spTgt spid="339"/>
                                        </p:tgtEl>
                                      </p:cBhvr>
                                    </p:animEffect>
                                  </p:childTnLst>
                                </p:cTn>
                              </p:par>
                            </p:childTnLst>
                          </p:cTn>
                        </p:par>
                        <p:par>
                          <p:cTn id="61" fill="hold">
                            <p:stCondLst>
                              <p:cond delay="3500"/>
                            </p:stCondLst>
                            <p:childTnLst>
                              <p:par>
                                <p:cTn id="62" presetID="49" presetClass="entr" presetSubtype="0" decel="100000" fill="hold" nodeType="afterEffect">
                                  <p:stCondLst>
                                    <p:cond delay="0"/>
                                  </p:stCondLst>
                                  <p:childTnLst>
                                    <p:set>
                                      <p:cBhvr>
                                        <p:cTn id="63" dur="1" fill="hold">
                                          <p:stCondLst>
                                            <p:cond delay="0"/>
                                          </p:stCondLst>
                                        </p:cTn>
                                        <p:tgtEl>
                                          <p:spTgt spid="8"/>
                                        </p:tgtEl>
                                        <p:attrNameLst>
                                          <p:attrName>style.visibility</p:attrName>
                                        </p:attrNameLst>
                                      </p:cBhvr>
                                      <p:to>
                                        <p:strVal val="visible"/>
                                      </p:to>
                                    </p:set>
                                    <p:anim calcmode="lin" valueType="num">
                                      <p:cBhvr>
                                        <p:cTn id="64" dur="500" fill="hold"/>
                                        <p:tgtEl>
                                          <p:spTgt spid="8"/>
                                        </p:tgtEl>
                                        <p:attrNameLst>
                                          <p:attrName>ppt_w</p:attrName>
                                        </p:attrNameLst>
                                      </p:cBhvr>
                                      <p:tavLst>
                                        <p:tav tm="0">
                                          <p:val>
                                            <p:fltVal val="0"/>
                                          </p:val>
                                        </p:tav>
                                        <p:tav tm="100000">
                                          <p:val>
                                            <p:strVal val="#ppt_w"/>
                                          </p:val>
                                        </p:tav>
                                      </p:tavLst>
                                    </p:anim>
                                    <p:anim calcmode="lin" valueType="num">
                                      <p:cBhvr>
                                        <p:cTn id="65" dur="500" fill="hold"/>
                                        <p:tgtEl>
                                          <p:spTgt spid="8"/>
                                        </p:tgtEl>
                                        <p:attrNameLst>
                                          <p:attrName>ppt_h</p:attrName>
                                        </p:attrNameLst>
                                      </p:cBhvr>
                                      <p:tavLst>
                                        <p:tav tm="0">
                                          <p:val>
                                            <p:fltVal val="0"/>
                                          </p:val>
                                        </p:tav>
                                        <p:tav tm="100000">
                                          <p:val>
                                            <p:strVal val="#ppt_h"/>
                                          </p:val>
                                        </p:tav>
                                      </p:tavLst>
                                    </p:anim>
                                    <p:anim calcmode="lin" valueType="num">
                                      <p:cBhvr>
                                        <p:cTn id="66" dur="500" fill="hold"/>
                                        <p:tgtEl>
                                          <p:spTgt spid="8"/>
                                        </p:tgtEl>
                                        <p:attrNameLst>
                                          <p:attrName>style.rotation</p:attrName>
                                        </p:attrNameLst>
                                      </p:cBhvr>
                                      <p:tavLst>
                                        <p:tav tm="0">
                                          <p:val>
                                            <p:fltVal val="360"/>
                                          </p:val>
                                        </p:tav>
                                        <p:tav tm="100000">
                                          <p:val>
                                            <p:fltVal val="0"/>
                                          </p:val>
                                        </p:tav>
                                      </p:tavLst>
                                    </p:anim>
                                    <p:animEffect transition="in" filter="fade">
                                      <p:cBhvr>
                                        <p:cTn id="67" dur="500"/>
                                        <p:tgtEl>
                                          <p:spTgt spid="8"/>
                                        </p:tgtEl>
                                      </p:cBhvr>
                                    </p:animEffect>
                                  </p:childTnLst>
                                </p:cTn>
                              </p:par>
                              <p:par>
                                <p:cTn id="68" presetID="10" presetClass="entr" presetSubtype="0" fill="hold" nodeType="withEffect">
                                  <p:stCondLst>
                                    <p:cond delay="0"/>
                                  </p:stCondLst>
                                  <p:childTnLst>
                                    <p:set>
                                      <p:cBhvr>
                                        <p:cTn id="69" dur="1" fill="hold">
                                          <p:stCondLst>
                                            <p:cond delay="0"/>
                                          </p:stCondLst>
                                        </p:cTn>
                                        <p:tgtEl>
                                          <p:spTgt spid="47"/>
                                        </p:tgtEl>
                                        <p:attrNameLst>
                                          <p:attrName>style.visibility</p:attrName>
                                        </p:attrNameLst>
                                      </p:cBhvr>
                                      <p:to>
                                        <p:strVal val="visible"/>
                                      </p:to>
                                    </p:set>
                                    <p:animEffect transition="in" filter="fade">
                                      <p:cBhvr>
                                        <p:cTn id="70" dur="500"/>
                                        <p:tgtEl>
                                          <p:spTgt spid="47"/>
                                        </p:tgtEl>
                                      </p:cBhvr>
                                    </p:animEffect>
                                  </p:childTnLst>
                                </p:cTn>
                              </p:par>
                              <p:par>
                                <p:cTn id="71" presetID="22" presetClass="entr" presetSubtype="1" fill="hold" grpId="0" nodeType="withEffect">
                                  <p:stCondLst>
                                    <p:cond delay="500"/>
                                  </p:stCondLst>
                                  <p:childTnLst>
                                    <p:set>
                                      <p:cBhvr>
                                        <p:cTn id="72" dur="1" fill="hold">
                                          <p:stCondLst>
                                            <p:cond delay="0"/>
                                          </p:stCondLst>
                                        </p:cTn>
                                        <p:tgtEl>
                                          <p:spTgt spid="40"/>
                                        </p:tgtEl>
                                        <p:attrNameLst>
                                          <p:attrName>style.visibility</p:attrName>
                                        </p:attrNameLst>
                                      </p:cBhvr>
                                      <p:to>
                                        <p:strVal val="visible"/>
                                      </p:to>
                                    </p:set>
                                    <p:animEffect transition="in" filter="wipe(up)">
                                      <p:cBhvr>
                                        <p:cTn id="73" dur="500"/>
                                        <p:tgtEl>
                                          <p:spTgt spid="40"/>
                                        </p:tgtEl>
                                      </p:cBhvr>
                                    </p:animEffect>
                                  </p:childTnLst>
                                </p:cTn>
                              </p:par>
                              <p:par>
                                <p:cTn id="74" presetID="22" presetClass="entr" presetSubtype="4" fill="hold" grpId="0" nodeType="withEffect">
                                  <p:stCondLst>
                                    <p:cond delay="500"/>
                                  </p:stCondLst>
                                  <p:childTnLst>
                                    <p:set>
                                      <p:cBhvr>
                                        <p:cTn id="75" dur="1" fill="hold">
                                          <p:stCondLst>
                                            <p:cond delay="0"/>
                                          </p:stCondLst>
                                        </p:cTn>
                                        <p:tgtEl>
                                          <p:spTgt spid="39"/>
                                        </p:tgtEl>
                                        <p:attrNameLst>
                                          <p:attrName>style.visibility</p:attrName>
                                        </p:attrNameLst>
                                      </p:cBhvr>
                                      <p:to>
                                        <p:strVal val="visible"/>
                                      </p:to>
                                    </p:set>
                                    <p:animEffect transition="in" filter="wipe(down)">
                                      <p:cBhvr>
                                        <p:cTn id="76"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5" grpId="0"/>
      <p:bldP spid="39" grpId="0" animBg="1"/>
      <p:bldP spid="4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8n0ButqnUKBh7vMa20C2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8n0ButqnUKBh7vMa20C2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D8C15F1ZpECUL5b5vvF0.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_Xw4F2kmwU.DrbxQR21q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D8C15F1ZpECUL5b5vvF0.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ppt_Template_CoverOption1">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Template_CoverOption1</Template>
  <TotalTime>573</TotalTime>
  <Words>5970</Words>
  <Application>Microsoft Office PowerPoint</Application>
  <PresentationFormat>A4 Paper (210x297 mm)</PresentationFormat>
  <Paragraphs>1237</Paragraphs>
  <Slides>63</Slides>
  <Notes>41</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63</vt:i4>
      </vt:variant>
    </vt:vector>
  </HeadingPairs>
  <TitlesOfParts>
    <vt:vector size="67" baseType="lpstr">
      <vt:lpstr>ppt_Template_CoverOption1</vt:lpstr>
      <vt:lpstr>Section break</vt:lpstr>
      <vt:lpstr>Closing slides</vt:lpstr>
      <vt:lpstr>think-cell Slide</vt:lpstr>
      <vt:lpstr>Introduction to Capgemini</vt:lpstr>
      <vt:lpstr>Group Overview</vt:lpstr>
      <vt:lpstr>Capgemini Group: Who we are </vt:lpstr>
      <vt:lpstr>Slide 4</vt:lpstr>
      <vt:lpstr>Slide 5</vt:lpstr>
      <vt:lpstr>Slide 6</vt:lpstr>
      <vt:lpstr>A Proven Track Record of Growth</vt:lpstr>
      <vt:lpstr>40+ countries and 120+ nationalities (As of December 31, 2015)</vt:lpstr>
      <vt:lpstr>Slide 9</vt:lpstr>
      <vt:lpstr>Our Brand promise</vt:lpstr>
      <vt:lpstr>Capgemini Values: At the heart of everything we do</vt:lpstr>
      <vt:lpstr>Systems and Tools</vt:lpstr>
      <vt:lpstr>Log-in &amp; Security: Password Details</vt:lpstr>
      <vt:lpstr>Log-in &amp; Security: How to change Password</vt:lpstr>
      <vt:lpstr>Desktop / Laptop / Telephone Extension Allocation</vt:lpstr>
      <vt:lpstr>Log-in &amp; Security: Mobile Pass</vt:lpstr>
      <vt:lpstr>Log-in &amp; Security: VPN</vt:lpstr>
      <vt:lpstr>Key Communication Tools</vt:lpstr>
      <vt:lpstr>Ways to Contact IT Team</vt:lpstr>
      <vt:lpstr>Email: Outlook</vt:lpstr>
      <vt:lpstr>Email Signature</vt:lpstr>
      <vt:lpstr>File Storage &amp; Transfer: File Transfer Service (FTS)</vt:lpstr>
      <vt:lpstr>Help Desks</vt:lpstr>
      <vt:lpstr>FS SBU Tools can be found  on iConnect</vt:lpstr>
      <vt:lpstr>iConnect</vt:lpstr>
      <vt:lpstr>Useful Links on iConnect</vt:lpstr>
      <vt:lpstr>T&amp;E: Expense System Overview</vt:lpstr>
      <vt:lpstr>T&amp;E: Timesheet Entry Overview</vt:lpstr>
      <vt:lpstr>T&amp;E: Timesheet Entry Exercise</vt:lpstr>
      <vt:lpstr>T&amp;E: Timesheet Entry Exercise</vt:lpstr>
      <vt:lpstr>T&amp;A: Timesheet Approval Overview</vt:lpstr>
      <vt:lpstr>Compensation Structure – Bonus </vt:lpstr>
      <vt:lpstr>Career Path: Role Advancement</vt:lpstr>
      <vt:lpstr>Business Cards</vt:lpstr>
      <vt:lpstr>Company Transportation</vt:lpstr>
      <vt:lpstr>Company Transportation</vt:lpstr>
      <vt:lpstr>Knowledge Management (KM)</vt:lpstr>
      <vt:lpstr>Referral Bonus Program</vt:lpstr>
      <vt:lpstr>FS SBU People Care</vt:lpstr>
      <vt:lpstr>FS SBU People Care Organization</vt:lpstr>
      <vt:lpstr>MyLearning: Learning on Demand</vt:lpstr>
      <vt:lpstr>Benefits Overview</vt:lpstr>
      <vt:lpstr>Benefits Overview</vt:lpstr>
      <vt:lpstr>Benefits Overview</vt:lpstr>
      <vt:lpstr>Benefits Overview</vt:lpstr>
      <vt:lpstr>Benefits Overview</vt:lpstr>
      <vt:lpstr>Benefits Overview</vt:lpstr>
      <vt:lpstr>Benefits Overview</vt:lpstr>
      <vt:lpstr>HR Genie App</vt:lpstr>
      <vt:lpstr>HR Genie App</vt:lpstr>
      <vt:lpstr>Health &amp; Safety Policy</vt:lpstr>
      <vt:lpstr>Health &amp; Safety Policy</vt:lpstr>
      <vt:lpstr>Leaves</vt:lpstr>
      <vt:lpstr>Leaves</vt:lpstr>
      <vt:lpstr>Leaves</vt:lpstr>
      <vt:lpstr>Holidays</vt:lpstr>
      <vt:lpstr>Professional Dress Code for Women</vt:lpstr>
      <vt:lpstr>Professional Dress Code for Men</vt:lpstr>
      <vt:lpstr>Relocation for India Joinees</vt:lpstr>
      <vt:lpstr>Useful Intranet Weblinks (Office Network or VPN Access Only) </vt:lpstr>
      <vt:lpstr>Payroll</vt:lpstr>
      <vt:lpstr>Useful Intranet Weblinks (Office Network or VPN Access Only) </vt:lpstr>
      <vt:lpstr>Slide 63</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y 1  Onboarding</dc:title>
  <dc:subject>ppt Template</dc:subject>
  <dc:creator>harirao</dc:creator>
  <cp:lastModifiedBy>harirao</cp:lastModifiedBy>
  <cp:revision>72</cp:revision>
  <dcterms:created xsi:type="dcterms:W3CDTF">2016-07-29T06:21:15Z</dcterms:created>
  <dcterms:modified xsi:type="dcterms:W3CDTF">2017-07-04T10:17:36Z</dcterms:modified>
</cp:coreProperties>
</file>